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tags/tag3.xml" ContentType="application/vnd.openxmlformats-officedocument.presentationml.tags+xml"/>
  <Override PartName="/ppt/charts/chart2.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charts/chart5.xml" ContentType="application/vnd.openxmlformats-officedocument.drawingml.chart+xml"/>
  <Override PartName="/ppt/theme/themeOverride2.xml" ContentType="application/vnd.openxmlformats-officedocument.themeOverride+xml"/>
  <Override PartName="/ppt/charts/chart6.xml" ContentType="application/vnd.openxmlformats-officedocument.drawingml.chart+xml"/>
  <Override PartName="/ppt/theme/themeOverride3.xml" ContentType="application/vnd.openxmlformats-officedocument.themeOverride+xml"/>
  <Override PartName="/ppt/charts/chart7.xml" ContentType="application/vnd.openxmlformats-officedocument.drawingml.chart+xml"/>
  <Override PartName="/ppt/theme/themeOverride4.xml" ContentType="application/vnd.openxmlformats-officedocument.themeOverride+xml"/>
  <Override PartName="/ppt/charts/chart8.xml" ContentType="application/vnd.openxmlformats-officedocument.drawingml.chart+xml"/>
  <Override PartName="/ppt/theme/themeOverride5.xml" ContentType="application/vnd.openxmlformats-officedocument.themeOverride+xml"/>
  <Override PartName="/ppt/charts/chart9.xml" ContentType="application/vnd.openxmlformats-officedocument.drawingml.chart+xml"/>
  <Override PartName="/ppt/theme/themeOverride6.xml" ContentType="application/vnd.openxmlformats-officedocument.themeOverride+xml"/>
  <Override PartName="/ppt/charts/chart10.xml" ContentType="application/vnd.openxmlformats-officedocument.drawingml.chart+xml"/>
  <Override PartName="/ppt/theme/themeOverride7.xml" ContentType="application/vnd.openxmlformats-officedocument.themeOverr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heme/themeOverride8.xml" ContentType="application/vnd.openxmlformats-officedocument.themeOverride+xml"/>
  <Override PartName="/ppt/notesSlides/notesSlide5.xml" ContentType="application/vnd.openxmlformats-officedocument.presentationml.notesSlide+xml"/>
  <Override PartName="/ppt/charts/chart14.xml" ContentType="application/vnd.openxmlformats-officedocument.drawingml.chart+xml"/>
  <Override PartName="/ppt/theme/themeOverride9.xml" ContentType="application/vnd.openxmlformats-officedocument.themeOverride+xml"/>
  <Override PartName="/ppt/charts/chart15.xml" ContentType="application/vnd.openxmlformats-officedocument.drawingml.chart+xml"/>
  <Override PartName="/ppt/theme/themeOverride10.xml" ContentType="application/vnd.openxmlformats-officedocument.themeOverride+xml"/>
  <Override PartName="/ppt/notesSlides/notesSlide6.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0.xml" ContentType="application/vnd.openxmlformats-officedocument.drawingml.chart+xml"/>
  <Override PartName="/ppt/theme/themeOverride11.xml" ContentType="application/vnd.openxmlformats-officedocument.themeOverride+xml"/>
  <Override PartName="/ppt/charts/chart21.xml" ContentType="application/vnd.openxmlformats-officedocument.drawingml.chart+xml"/>
  <Override PartName="/ppt/theme/themeOverride12.xml" ContentType="application/vnd.openxmlformats-officedocument.themeOverride+xml"/>
  <Override PartName="/ppt/charts/chart22.xml" ContentType="application/vnd.openxmlformats-officedocument.drawingml.chart+xml"/>
  <Override PartName="/ppt/theme/themeOverride13.xml" ContentType="application/vnd.openxmlformats-officedocument.themeOverride+xml"/>
  <Override PartName="/ppt/charts/chart23.xml" ContentType="application/vnd.openxmlformats-officedocument.drawingml.chart+xml"/>
  <Override PartName="/ppt/charts/chart24.xml" ContentType="application/vnd.openxmlformats-officedocument.drawingml.chart+xml"/>
  <Override PartName="/ppt/theme/themeOverride14.xml" ContentType="application/vnd.openxmlformats-officedocument.themeOverride+xml"/>
  <Override PartName="/ppt/charts/chart25.xml" ContentType="application/vnd.openxmlformats-officedocument.drawingml.chart+xml"/>
  <Override PartName="/ppt/charts/chart26.xml" ContentType="application/vnd.openxmlformats-officedocument.drawingml.chart+xml"/>
  <Override PartName="/ppt/tags/tag4.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heme/themeOverride15.xml" ContentType="application/vnd.openxmlformats-officedocument.themeOverride+xml"/>
  <Override PartName="/ppt/charts/chart29.xml" ContentType="application/vnd.openxmlformats-officedocument.drawingml.chart+xml"/>
  <Override PartName="/ppt/charts/chart30.xml" ContentType="application/vnd.openxmlformats-officedocument.drawingml.chart+xml"/>
  <Override PartName="/ppt/tags/tag5.xml" ContentType="application/vnd.openxmlformats-officedocument.presentationml.tags+xml"/>
  <Override PartName="/ppt/charts/chart31.xml" ContentType="application/vnd.openxmlformats-officedocument.drawingml.chart+xml"/>
  <Override PartName="/ppt/theme/themeOverride16.xml" ContentType="application/vnd.openxmlformats-officedocument.themeOverride+xml"/>
  <Override PartName="/ppt/charts/chart32.xml" ContentType="application/vnd.openxmlformats-officedocument.drawingml.chart+xml"/>
  <Override PartName="/ppt/theme/themeOverride17.xml" ContentType="application/vnd.openxmlformats-officedocument.themeOverride+xml"/>
  <Override PartName="/ppt/charts/chart33.xml" ContentType="application/vnd.openxmlformats-officedocument.drawingml.chart+xml"/>
  <Override PartName="/ppt/charts/chart34.xml" ContentType="application/vnd.openxmlformats-officedocument.drawingml.chart+xml"/>
  <Override PartName="/ppt/tags/tag6.xml" ContentType="application/vnd.openxmlformats-officedocument.presentationml.tags+xml"/>
  <Override PartName="/ppt/charts/chart35.xml" ContentType="application/vnd.openxmlformats-officedocument.drawingml.chart+xml"/>
  <Override PartName="/ppt/theme/themeOverride18.xml" ContentType="application/vnd.openxmlformats-officedocument.themeOverride+xml"/>
  <Override PartName="/ppt/charts/chart36.xml" ContentType="application/vnd.openxmlformats-officedocument.drawingml.chart+xml"/>
  <Override PartName="/ppt/charts/chart37.xml" ContentType="application/vnd.openxmlformats-officedocument.drawingml.chart+xml"/>
  <Override PartName="/ppt/theme/themeOverride19.xml" ContentType="application/vnd.openxmlformats-officedocument.themeOverride+xml"/>
  <Override PartName="/ppt/charts/chart38.xml" ContentType="application/vnd.openxmlformats-officedocument.drawingml.chart+xml"/>
  <Override PartName="/ppt/theme/themeOverride20.xml" ContentType="application/vnd.openxmlformats-officedocument.themeOverride+xml"/>
  <Override PartName="/ppt/charts/chart39.xml" ContentType="application/vnd.openxmlformats-officedocument.drawingml.chart+xml"/>
  <Override PartName="/ppt/charts/chart40.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theme/themeOverride2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 id="2147483688" r:id="rId2"/>
  </p:sldMasterIdLst>
  <p:notesMasterIdLst>
    <p:notesMasterId r:id="rId72"/>
  </p:notesMasterIdLst>
  <p:handoutMasterIdLst>
    <p:handoutMasterId r:id="rId73"/>
  </p:handoutMasterIdLst>
  <p:sldIdLst>
    <p:sldId id="294" r:id="rId3"/>
    <p:sldId id="416" r:id="rId4"/>
    <p:sldId id="331" r:id="rId5"/>
    <p:sldId id="332" r:id="rId6"/>
    <p:sldId id="417" r:id="rId7"/>
    <p:sldId id="418" r:id="rId8"/>
    <p:sldId id="295" r:id="rId9"/>
    <p:sldId id="334" r:id="rId10"/>
    <p:sldId id="298" r:id="rId11"/>
    <p:sldId id="404" r:id="rId12"/>
    <p:sldId id="336" r:id="rId13"/>
    <p:sldId id="300" r:id="rId14"/>
    <p:sldId id="405" r:id="rId15"/>
    <p:sldId id="406" r:id="rId16"/>
    <p:sldId id="303" r:id="rId17"/>
    <p:sldId id="304" r:id="rId18"/>
    <p:sldId id="305" r:id="rId19"/>
    <p:sldId id="306" r:id="rId20"/>
    <p:sldId id="307" r:id="rId21"/>
    <p:sldId id="353" r:id="rId22"/>
    <p:sldId id="308" r:id="rId23"/>
    <p:sldId id="309" r:id="rId24"/>
    <p:sldId id="310" r:id="rId25"/>
    <p:sldId id="311" r:id="rId26"/>
    <p:sldId id="312" r:id="rId27"/>
    <p:sldId id="313" r:id="rId28"/>
    <p:sldId id="329" r:id="rId29"/>
    <p:sldId id="315" r:id="rId30"/>
    <p:sldId id="316" r:id="rId31"/>
    <p:sldId id="355" r:id="rId32"/>
    <p:sldId id="394" r:id="rId33"/>
    <p:sldId id="374" r:id="rId34"/>
    <p:sldId id="401" r:id="rId35"/>
    <p:sldId id="402" r:id="rId36"/>
    <p:sldId id="414" r:id="rId37"/>
    <p:sldId id="415" r:id="rId38"/>
    <p:sldId id="320" r:id="rId39"/>
    <p:sldId id="387" r:id="rId40"/>
    <p:sldId id="388" r:id="rId41"/>
    <p:sldId id="321" r:id="rId42"/>
    <p:sldId id="322" r:id="rId43"/>
    <p:sldId id="323" r:id="rId44"/>
    <p:sldId id="324" r:id="rId45"/>
    <p:sldId id="392" r:id="rId46"/>
    <p:sldId id="393" r:id="rId47"/>
    <p:sldId id="372" r:id="rId48"/>
    <p:sldId id="376" r:id="rId49"/>
    <p:sldId id="367" r:id="rId50"/>
    <p:sldId id="368" r:id="rId51"/>
    <p:sldId id="369" r:id="rId52"/>
    <p:sldId id="363" r:id="rId53"/>
    <p:sldId id="371" r:id="rId54"/>
    <p:sldId id="337" r:id="rId55"/>
    <p:sldId id="366" r:id="rId56"/>
    <p:sldId id="362" r:id="rId57"/>
    <p:sldId id="419" r:id="rId58"/>
    <p:sldId id="420" r:id="rId59"/>
    <p:sldId id="421" r:id="rId60"/>
    <p:sldId id="422" r:id="rId61"/>
    <p:sldId id="423" r:id="rId62"/>
    <p:sldId id="424" r:id="rId63"/>
    <p:sldId id="425" r:id="rId64"/>
    <p:sldId id="343" r:id="rId65"/>
    <p:sldId id="344" r:id="rId66"/>
    <p:sldId id="389" r:id="rId67"/>
    <p:sldId id="347" r:id="rId68"/>
    <p:sldId id="348" r:id="rId69"/>
    <p:sldId id="349" r:id="rId70"/>
    <p:sldId id="350" r:id="rId71"/>
  </p:sldIdLst>
  <p:sldSz cx="9144000" cy="6858000" type="screen4x3"/>
  <p:notesSz cx="6669088" cy="987266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userDrawn="1">
          <p15:clr>
            <a:srgbClr val="A4A3A4"/>
          </p15:clr>
        </p15:guide>
        <p15:guide id="2" pos="2880" userDrawn="1">
          <p15:clr>
            <a:srgbClr val="A4A3A4"/>
          </p15:clr>
        </p15:guide>
        <p15:guide id="3" pos="317" userDrawn="1">
          <p15:clr>
            <a:srgbClr val="A4A3A4"/>
          </p15:clr>
        </p15:guide>
        <p15:guide id="4" pos="5420" userDrawn="1">
          <p15:clr>
            <a:srgbClr val="A4A3A4"/>
          </p15:clr>
        </p15:guide>
        <p15:guide id="5" orient="horz" pos="878">
          <p15:clr>
            <a:srgbClr val="A4A3A4"/>
          </p15:clr>
        </p15:guide>
      </p15:sldGuideLst>
    </p:ext>
    <p:ext uri="{2D200454-40CA-4A62-9FC3-DE9A4176ACB9}">
      <p15:notesGuideLst xmlns="" xmlns:p15="http://schemas.microsoft.com/office/powerpoint/2012/main">
        <p15:guide id="1" orient="horz" pos="3109">
          <p15:clr>
            <a:srgbClr val="A4A3A4"/>
          </p15:clr>
        </p15:guide>
        <p15:guide id="2" pos="210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C64"/>
    <a:srgbClr val="1596C8"/>
    <a:srgbClr val="005483"/>
    <a:srgbClr val="0073A3"/>
    <a:srgbClr val="39B2B6"/>
    <a:srgbClr val="E6E6E6"/>
    <a:srgbClr val="F5F5F5"/>
    <a:srgbClr val="D6D6D6"/>
    <a:srgbClr val="EBEBEB"/>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51" autoAdjust="0"/>
    <p:restoredTop sz="89784" autoAdjust="0"/>
  </p:normalViewPr>
  <p:slideViewPr>
    <p:cSldViewPr snapToGrid="0" snapToObjects="1">
      <p:cViewPr varScale="1">
        <p:scale>
          <a:sx n="82" d="100"/>
          <a:sy n="82" d="100"/>
        </p:scale>
        <p:origin x="-1866" y="-96"/>
      </p:cViewPr>
      <p:guideLst>
        <p:guide orient="horz" pos="2160"/>
        <p:guide orient="horz" pos="878"/>
        <p:guide pos="2880"/>
        <p:guide pos="317"/>
        <p:guide pos="5420"/>
      </p:guideLst>
    </p:cSldViewPr>
  </p:slideViewPr>
  <p:notesTextViewPr>
    <p:cViewPr>
      <p:scale>
        <a:sx n="50" d="100"/>
        <a:sy n="50" d="100"/>
      </p:scale>
      <p:origin x="0" y="0"/>
    </p:cViewPr>
  </p:notesTextViewPr>
  <p:sorterViewPr>
    <p:cViewPr>
      <p:scale>
        <a:sx n="66" d="100"/>
        <a:sy n="66" d="100"/>
      </p:scale>
      <p:origin x="0" y="2424"/>
    </p:cViewPr>
  </p:sorterViewPr>
  <p:notesViewPr>
    <p:cSldViewPr snapToGrid="0" snapToObjects="1" showGuides="1">
      <p:cViewPr varScale="1">
        <p:scale>
          <a:sx n="74" d="100"/>
          <a:sy n="74" d="100"/>
        </p:scale>
        <p:origin x="-3162" y="-90"/>
      </p:cViewPr>
      <p:guideLst>
        <p:guide orient="horz" pos="3109"/>
        <p:guide pos="210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handoutMaster" Target="handoutMasters/handoutMaster1.xml"/><Relationship Id="rId81"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notesMaster" Target="notesMasters/notes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2" Type="http://schemas.openxmlformats.org/officeDocument/2006/relationships/oleObject" Target="file:///C:\Users\somsouth\AppData\Local\Temp\Performance_from_29-04-2009_to_14-10-2016.xls" TargetMode="External"/><Relationship Id="rId1" Type="http://schemas.openxmlformats.org/officeDocument/2006/relationships/themeOverride" Target="../theme/themeOverride7.xml"/></Relationships>
</file>

<file path=ppt/charts/_rels/chart11.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8%20Performances\FICHIER%20PERF%20STRATEGIES%20REEL.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Presentations%20clients\PF48299%20-%20FullMarketCap.xlsx" TargetMode="External"/></Relationships>
</file>

<file path=ppt/charts/_rels/chart13.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8%20Performances\FICHIER%20PERF%20STRATEGIES%20REEL.xlsx" TargetMode="External"/><Relationship Id="rId1" Type="http://schemas.openxmlformats.org/officeDocument/2006/relationships/themeOverride" Target="../theme/themeOverride8.xml"/></Relationships>
</file>

<file path=ppt/charts/_rels/chart14.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8%20Performances\FICHIER%20PERF%20STRATEGIES%20REEL.xlsx" TargetMode="External"/><Relationship Id="rId1" Type="http://schemas.openxmlformats.org/officeDocument/2006/relationships/themeOverride" Target="../theme/themeOverride9.xml"/></Relationships>
</file>

<file path=ppt/charts/_rels/chart15.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8%20Performances\FICHIER%20PERF%20STRATEGIES%20REEL.xlsx" TargetMode="External"/><Relationship Id="rId1" Type="http://schemas.openxmlformats.org/officeDocument/2006/relationships/themeOverride" Target="../theme/themeOverride10.xml"/></Relationships>
</file>

<file path=ppt/charts/_rels/chart16.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Process\Smart%20Beta\04%20RiskParity\Excel\OBSmart_20170102_Fig&#233;.xlsm"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Process\Smart%20Beta\04%20RiskParity\Excel\OBSmart_20170102_Fig&#233;.xlsm"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2%20Pr&#233;sentations%20standard\02%20Smart%20Beta\04%20Risk%20Parity\Equity\Excel\OBSmart_20170102_Fig&#233;%20en%20ENG.xlsm" TargetMode="External"/></Relationships>
</file>

<file path=ppt/charts/_rels/chart19.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2%20Pr&#233;sentations%20standard\02%20Smart%20Beta\04%20Risk%20Parity\Equity\Excel\OBSmart_20170102_Fig&#233;%20en%20ENG.xlsm"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8%20Performances\FICHIER%20PERF%20STRATEGIES%20REEL.xlsx" TargetMode="External"/><Relationship Id="rId1" Type="http://schemas.openxmlformats.org/officeDocument/2006/relationships/themeOverride" Target="../theme/themeOverride11.xml"/></Relationships>
</file>

<file path=ppt/charts/_rels/chart21.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8%20Performances\FICHIER%20PERF%20STRATEGIES%20REEL.xlsx" TargetMode="External"/><Relationship Id="rId1" Type="http://schemas.openxmlformats.org/officeDocument/2006/relationships/themeOverride" Target="../theme/themeOverride12.xml"/></Relationships>
</file>

<file path=ppt/charts/_rels/chart22.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3%20Reporting\Positions\Active%20Smart%20Beta%20Positions%20Reporting.xlsm" TargetMode="External"/><Relationship Id="rId1" Type="http://schemas.openxmlformats.org/officeDocument/2006/relationships/themeOverride" Target="../theme/themeOverride13.xml"/></Relationships>
</file>

<file path=ppt/charts/_rels/chart23.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3%20Reporting\Positions\Active%20Smart%20Beta%20Positions%20Reporting.xlsm" TargetMode="External"/></Relationships>
</file>

<file path=ppt/charts/_rels/chart24.xml.rels><?xml version="1.0" encoding="UTF-8" standalone="yes"?>
<Relationships xmlns="http://schemas.openxmlformats.org/package/2006/relationships"><Relationship Id="rId2" Type="http://schemas.openxmlformats.org/officeDocument/2006/relationships/oleObject" Target="file:///C:\Users\hoogveld\AppData\Local\Microsoft\Windows\Temporary%20Internet%20Files\Content.Outlook\UZ5WO6U6\index.xlsx" TargetMode="External"/><Relationship Id="rId1" Type="http://schemas.openxmlformats.org/officeDocument/2006/relationships/themeOverride" Target="../theme/themeOverride14.xml"/></Relationships>
</file>

<file path=ppt/charts/_rels/chart25.xml.rels><?xml version="1.0" encoding="UTF-8" standalone="yes"?>
<Relationships xmlns="http://schemas.openxmlformats.org/package/2006/relationships"><Relationship Id="rId1" Type="http://schemas.openxmlformats.org/officeDocument/2006/relationships/oleObject" Target="file:///\\ad-its.credit-agricole.fr\dfs\public\GESTION_RPSE\Core\Factor%20Investing\momentum%20currency.xlsx" TargetMode="External"/></Relationships>
</file>

<file path=ppt/charts/_rels/chart26.xml.rels><?xml version="1.0" encoding="UTF-8" standalone="yes"?>
<Relationships xmlns="http://schemas.openxmlformats.org/package/2006/relationships"><Relationship Id="rId1" Type="http://schemas.openxmlformats.org/officeDocument/2006/relationships/oleObject" Target="file:///\\ad-its.credit-agricole.fr\dfs\public\GESTION_RPSE\Core\Factor%20Investing\GPIF\momentum%20currency.xlsx" TargetMode="External"/></Relationships>
</file>

<file path=ppt/charts/_rels/chart27.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8%20Performances\FICHIER%20PERF%20STRATEGIES%20REEL.xlsx" TargetMode="External"/></Relationships>
</file>

<file path=ppt/charts/_rels/chart28.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8%20Performances\FICHIER%20PERF%20STRATEGIES%20REEL.xlsx" TargetMode="External"/><Relationship Id="rId1" Type="http://schemas.openxmlformats.org/officeDocument/2006/relationships/themeOverride" Target="../theme/themeOverride15.xml"/></Relationships>
</file>

<file path=ppt/charts/_rels/chart29.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3%20Reporting\Positions\Active%20Smart%20Beta%20Positions%20Reporting.xlsm"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8%20Performances\FICHIER%20PERF%20STRATEGIES%20REEL.xlsx" TargetMode="External"/></Relationships>
</file>

<file path=ppt/charts/_rels/chart30.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3%20Reporting\Positions\Active%20Smart%20Beta%20Positions%20Reporting.xlsm" TargetMode="External"/></Relationships>
</file>

<file path=ppt/charts/_rels/chart31.xml.rels><?xml version="1.0" encoding="UTF-8" standalone="yes"?>
<Relationships xmlns="http://schemas.openxmlformats.org/package/2006/relationships"><Relationship Id="rId2" Type="http://schemas.openxmlformats.org/officeDocument/2006/relationships/oleObject" Target="file:///P:\GESTION_RPSE\Core\Investment%20Specialist\08%20Performances\FICHIER%20PERF%20STRATEGIES%20REEL.xlsx" TargetMode="External"/><Relationship Id="rId1" Type="http://schemas.openxmlformats.org/officeDocument/2006/relationships/themeOverride" Target="../theme/themeOverride16.xml"/></Relationships>
</file>

<file path=ppt/charts/_rels/chart32.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8%20Performances\FICHIER%20PERF%20STRATEGIES%20REEL.xlsx" TargetMode="External"/><Relationship Id="rId1" Type="http://schemas.openxmlformats.org/officeDocument/2006/relationships/themeOverride" Target="../theme/themeOverride17.xml"/></Relationships>
</file>

<file path=ppt/charts/_rels/chart33.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3%20Reporting\Positions\Active%20Smart%20Beta%20Positions%20Reporting.xlsm" TargetMode="External"/></Relationships>
</file>

<file path=ppt/charts/_rels/chart34.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3%20Reporting\Positions\Active%20Smart%20Beta%20Positions%20Reporting.xlsm" TargetMode="External"/></Relationships>
</file>

<file path=ppt/charts/_rels/chart35.xml.rels><?xml version="1.0" encoding="UTF-8" standalone="yes"?>
<Relationships xmlns="http://schemas.openxmlformats.org/package/2006/relationships"><Relationship Id="rId2" Type="http://schemas.openxmlformats.org/officeDocument/2006/relationships/oleObject" Target="file:///P:\GESTION_RPSE\Core\Investment%20Specialist\08%20Performances\FICHIER%20PERF%20STRATEGIES%20REEL.xlsx" TargetMode="External"/><Relationship Id="rId1" Type="http://schemas.openxmlformats.org/officeDocument/2006/relationships/themeOverride" Target="../theme/themeOverride18.xml"/></Relationships>
</file>

<file path=ppt/charts/_rels/chart36.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8%20Performances\FICHIER%20PERF%20STRATEGIES%20REEL.xlsx" TargetMode="External"/></Relationships>
</file>

<file path=ppt/charts/_rels/chart37.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8%20Performances\FICHIER%20PERF%20STRATEGIES%20REEL.xlsx" TargetMode="External"/><Relationship Id="rId1" Type="http://schemas.openxmlformats.org/officeDocument/2006/relationships/themeOverride" Target="../theme/themeOverride19.xml"/></Relationships>
</file>

<file path=ppt/charts/_rels/chart38.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8%20Performances\FICHIER%20PERF%20STRATEGIES%20REEL.xlsx" TargetMode="External"/><Relationship Id="rId1" Type="http://schemas.openxmlformats.org/officeDocument/2006/relationships/themeOverride" Target="../theme/themeOverride20.xml"/></Relationships>
</file>

<file path=ppt/charts/_rels/chart39.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3%20Reporting\Positions\Active%20Smart%20Beta%20Positions%20Reporting.xlsm" TargetMode="External"/></Relationships>
</file>

<file path=ppt/charts/_rels/chart4.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8%20Performances\FICHIER%20PERF%20STRATEGIES%20REEL.xlsx" TargetMode="External"/><Relationship Id="rId1" Type="http://schemas.openxmlformats.org/officeDocument/2006/relationships/themeOverride" Target="../theme/themeOverride1.xml"/></Relationships>
</file>

<file path=ppt/charts/_rels/chart40.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3%20Reporting\Positions\Active%20Smart%20Beta%20Positions%20Reporting.xlsm" TargetMode="External"/></Relationships>
</file>

<file path=ppt/charts/_rels/chart41.xml.rels><?xml version="1.0" encoding="UTF-8" standalone="yes"?>
<Relationships xmlns="http://schemas.openxmlformats.org/package/2006/relationships"><Relationship Id="rId1" Type="http://schemas.openxmlformats.org/officeDocument/2006/relationships/oleObject" Target="file:///\\ad-its.credit-agricole.fr\dfs\public\GESTION_RPSE\Core\Investment%20Specialist\08%20Performances\FICHIER%20PERF%20STRATEGIES%20REEL.xlsx" TargetMode="External"/></Relationships>
</file>

<file path=ppt/charts/_rels/chart42.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8%20Performances\FICHIER%20PERF%20STRATEGIES%20REEL.xlsx" TargetMode="External"/><Relationship Id="rId1" Type="http://schemas.openxmlformats.org/officeDocument/2006/relationships/themeOverride" Target="../theme/themeOverride21.xml"/></Relationships>
</file>

<file path=ppt/charts/_rels/chart5.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8%20Performances\FICHIER%20PERF%20STRATEGIES%20REEL.xlsx" TargetMode="External"/><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2" Type="http://schemas.openxmlformats.org/officeDocument/2006/relationships/oleObject" Target="file:///\\ad-its.credit-agricole.fr\dfs\public\GESTION_RPSE\Core\Investment%20Specialist\08%20Performances\FICHIER%20PERF%20STRATEGIES%20REEL.xlsx" TargetMode="External"/><Relationship Id="rId1" Type="http://schemas.openxmlformats.org/officeDocument/2006/relationships/themeOverride" Target="../theme/themeOverride3.xml"/></Relationships>
</file>

<file path=ppt/charts/_rels/chart7.xml.rels><?xml version="1.0" encoding="UTF-8" standalone="yes"?>
<Relationships xmlns="http://schemas.openxmlformats.org/package/2006/relationships"><Relationship Id="rId2" Type="http://schemas.openxmlformats.org/officeDocument/2006/relationships/oleObject" Target="file:///\\ad-its.credit-agricole.fr\dfs\PUBLIC\IDT\EAP\INVESTMENT%20SPECIALISTS\SMART%20BETA\Performances%20&#224;%20mettre%20&#224;%20jour%20mensuellement\FICHIER%20PERF%20STRATEGIES%20REEL.xlsx" TargetMode="External"/><Relationship Id="rId1" Type="http://schemas.openxmlformats.org/officeDocument/2006/relationships/themeOverride" Target="../theme/themeOverride4.xml"/></Relationships>
</file>

<file path=ppt/charts/_rels/chart8.xml.rels><?xml version="1.0" encoding="UTF-8" standalone="yes"?>
<Relationships xmlns="http://schemas.openxmlformats.org/package/2006/relationships"><Relationship Id="rId2" Type="http://schemas.openxmlformats.org/officeDocument/2006/relationships/oleObject" Target="file:///C:\Users\somsouth\AppData\Local\Temp\Performance_from_29-04-2009_to_14-10-2016.xls" TargetMode="External"/><Relationship Id="rId1" Type="http://schemas.openxmlformats.org/officeDocument/2006/relationships/themeOverride" Target="../theme/themeOverride5.xml"/></Relationships>
</file>

<file path=ppt/charts/_rels/chart9.xml.rels><?xml version="1.0" encoding="UTF-8" standalone="yes"?>
<Relationships xmlns="http://schemas.openxmlformats.org/package/2006/relationships"><Relationship Id="rId2" Type="http://schemas.openxmlformats.org/officeDocument/2006/relationships/oleObject" Target="file:///C:\Users\somsouth\AppData\Local\Temp\Performance_from_29-04-2009_to_14-10-2016.xls" TargetMode="External"/><Relationship Id="rId1"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053231939163501"/>
          <c:y val="0.17886178861788599"/>
          <c:w val="0.51901140684410696"/>
          <c:h val="0.73983739837398499"/>
        </c:manualLayout>
      </c:layout>
      <c:doughnutChart>
        <c:varyColors val="1"/>
        <c:ser>
          <c:idx val="0"/>
          <c:order val="0"/>
          <c:spPr>
            <a:ln w="19050">
              <a:solidFill>
                <a:schemeClr val="bg1"/>
              </a:solidFill>
            </a:ln>
          </c:spPr>
          <c:dPt>
            <c:idx val="0"/>
            <c:bubble3D val="0"/>
            <c:spPr>
              <a:solidFill>
                <a:srgbClr val="005482"/>
              </a:solidFill>
              <a:ln w="19050">
                <a:solidFill>
                  <a:schemeClr val="bg1"/>
                </a:solidFill>
              </a:ln>
              <a:effectLst/>
            </c:spPr>
            <c:extLst xmlns:c16r2="http://schemas.microsoft.com/office/drawing/2015/06/chart">
              <c:ext xmlns:c16="http://schemas.microsoft.com/office/drawing/2014/chart" uri="{C3380CC4-5D6E-409C-BE32-E72D297353CC}">
                <c16:uniqueId val="{00000001-40EF-4F1B-AAD2-92945456A3C2}"/>
              </c:ext>
            </c:extLst>
          </c:dPt>
          <c:dPt>
            <c:idx val="1"/>
            <c:bubble3D val="0"/>
            <c:spPr>
              <a:solidFill>
                <a:srgbClr val="1496C9"/>
              </a:solidFill>
              <a:ln w="19050">
                <a:solidFill>
                  <a:schemeClr val="bg1"/>
                </a:solidFill>
              </a:ln>
              <a:effectLst/>
            </c:spPr>
            <c:extLst xmlns:c16r2="http://schemas.microsoft.com/office/drawing/2015/06/chart">
              <c:ext xmlns:c16="http://schemas.microsoft.com/office/drawing/2014/chart" uri="{C3380CC4-5D6E-409C-BE32-E72D297353CC}">
                <c16:uniqueId val="{00000003-40EF-4F1B-AAD2-92945456A3C2}"/>
              </c:ext>
            </c:extLst>
          </c:dPt>
          <c:dPt>
            <c:idx val="2"/>
            <c:bubble3D val="0"/>
            <c:spPr>
              <a:solidFill>
                <a:srgbClr val="00C4F1"/>
              </a:solidFill>
              <a:ln w="19050">
                <a:solidFill>
                  <a:schemeClr val="bg1"/>
                </a:solidFill>
              </a:ln>
              <a:effectLst/>
            </c:spPr>
            <c:extLst xmlns:c16r2="http://schemas.microsoft.com/office/drawing/2015/06/chart">
              <c:ext xmlns:c16="http://schemas.microsoft.com/office/drawing/2014/chart" uri="{C3380CC4-5D6E-409C-BE32-E72D297353CC}">
                <c16:uniqueId val="{00000001-43F1-435D-86F5-873EE4221383}"/>
              </c:ext>
            </c:extLst>
          </c:dPt>
          <c:dPt>
            <c:idx val="3"/>
            <c:bubble3D val="0"/>
            <c:spPr>
              <a:solidFill>
                <a:schemeClr val="tx1"/>
              </a:solidFill>
              <a:ln w="19050">
                <a:solidFill>
                  <a:schemeClr val="bg1"/>
                </a:solidFill>
              </a:ln>
              <a:effectLst/>
            </c:spPr>
            <c:extLst xmlns:c16r2="http://schemas.microsoft.com/office/drawing/2015/06/chart">
              <c:ext xmlns:c16="http://schemas.microsoft.com/office/drawing/2014/chart" uri="{C3380CC4-5D6E-409C-BE32-E72D297353CC}">
                <c16:uniqueId val="{00000003-43F1-435D-86F5-873EE4221383}"/>
              </c:ext>
            </c:extLst>
          </c:dPt>
          <c:dPt>
            <c:idx val="4"/>
            <c:bubble3D val="0"/>
            <c:spPr>
              <a:solidFill>
                <a:schemeClr val="bg1">
                  <a:lumMod val="65000"/>
                </a:schemeClr>
              </a:solidFill>
              <a:ln w="19050">
                <a:solidFill>
                  <a:schemeClr val="bg1"/>
                </a:solidFill>
              </a:ln>
              <a:effectLst/>
            </c:spPr>
            <c:extLst xmlns:c16r2="http://schemas.microsoft.com/office/drawing/2015/06/chart">
              <c:ext xmlns:c16="http://schemas.microsoft.com/office/drawing/2014/chart" uri="{C3380CC4-5D6E-409C-BE32-E72D297353CC}">
                <c16:uniqueId val="{00000005-43F1-435D-86F5-873EE4221383}"/>
              </c:ext>
            </c:extLst>
          </c:dPt>
          <c:dPt>
            <c:idx val="5"/>
            <c:bubble3D val="0"/>
            <c:spPr>
              <a:solidFill>
                <a:schemeClr val="accent6"/>
              </a:solidFill>
              <a:ln w="19050">
                <a:solidFill>
                  <a:schemeClr val="bg1"/>
                </a:solidFill>
              </a:ln>
              <a:effectLst/>
            </c:spPr>
            <c:extLst xmlns:c16r2="http://schemas.microsoft.com/office/drawing/2015/06/chart">
              <c:ext xmlns:c16="http://schemas.microsoft.com/office/drawing/2014/chart" uri="{C3380CC4-5D6E-409C-BE32-E72D297353CC}">
                <c16:uniqueId val="{00000007-43F1-435D-86F5-873EE4221383}"/>
              </c:ext>
            </c:extLst>
          </c:dPt>
          <c:dLbls>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noProof="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xmlns:c16r2="http://schemas.microsoft.com/office/drawing/2015/06/chart">
              <c:ext xmlns:c15="http://schemas.microsoft.com/office/drawing/2012/chart" uri="{CE6537A1-D6FC-4f65-9D91-7224C49458BB}"/>
            </c:extLst>
          </c:dLbls>
          <c:cat>
            <c:strRef>
              <c:f>Data!$A$2:$A$6</c:f>
              <c:strCache>
                <c:ptCount val="5"/>
                <c:pt idx="0">
                  <c:v>Equities</c:v>
                </c:pt>
                <c:pt idx="1">
                  <c:v>Multi-asset</c:v>
                </c:pt>
                <c:pt idx="2">
                  <c:v>Treasury</c:v>
                </c:pt>
                <c:pt idx="3">
                  <c:v>Bonds</c:v>
                </c:pt>
                <c:pt idx="4">
                  <c:v>Real, alternative and structured</c:v>
                </c:pt>
              </c:strCache>
            </c:strRef>
          </c:cat>
          <c:val>
            <c:numRef>
              <c:f>Data!$C$2:$C$6</c:f>
              <c:numCache>
                <c:formatCode>0%</c:formatCode>
                <c:ptCount val="5"/>
                <c:pt idx="0">
                  <c:v>0.1469013006886</c:v>
                </c:pt>
                <c:pt idx="1">
                  <c:v>0.17903596021423099</c:v>
                </c:pt>
                <c:pt idx="2">
                  <c:v>0.142310635042081</c:v>
                </c:pt>
                <c:pt idx="3">
                  <c:v>0.46977811782708501</c:v>
                </c:pt>
                <c:pt idx="4">
                  <c:v>6.1973986228003097E-2</c:v>
                </c:pt>
              </c:numCache>
            </c:numRef>
          </c:val>
          <c:extLst xmlns:c16r2="http://schemas.microsoft.com/office/drawing/2015/06/chart">
            <c:ext xmlns:c16="http://schemas.microsoft.com/office/drawing/2014/chart" uri="{C3380CC4-5D6E-409C-BE32-E72D297353CC}">
              <c16:uniqueId val="{00000008-43F1-435D-86F5-873EE4221383}"/>
            </c:ext>
          </c:extLst>
        </c:ser>
        <c:dLbls>
          <c:showLegendKey val="0"/>
          <c:showVal val="0"/>
          <c:showCatName val="0"/>
          <c:showSerName val="0"/>
          <c:showPercent val="0"/>
          <c:showBubbleSize val="0"/>
          <c:showLeaderLines val="1"/>
        </c:dLbls>
        <c:firstSliceAng val="0"/>
        <c:holeSize val="61"/>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lang="en-US" sz="1800" noProof="0"/>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xMode val="edge"/>
          <c:yMode val="edge"/>
          <c:x val="7.2727965455930913E-3"/>
          <c:y val="2.1052631578947368E-2"/>
          <c:w val="0.9927272034544069"/>
          <c:h val="0.89473684210526316"/>
        </c:manualLayout>
      </c:layout>
      <c:lineChart>
        <c:grouping val="standard"/>
        <c:varyColors val="0"/>
        <c:ser>
          <c:idx val="0"/>
          <c:order val="0"/>
          <c:tx>
            <c:strRef>
              <c:f>Sheet3!$O$1</c:f>
              <c:strCache>
                <c:ptCount val="1"/>
                <c:pt idx="0">
                  <c:v>AFE Europe Conservative </c:v>
                </c:pt>
              </c:strCache>
            </c:strRef>
          </c:tx>
          <c:spPr>
            <a:ln w="28575">
              <a:solidFill>
                <a:srgbClr val="001C4B"/>
              </a:solidFill>
              <a:prstDash val="solid"/>
            </a:ln>
          </c:spPr>
          <c:marker>
            <c:symbol val="none"/>
          </c:marker>
          <c:cat>
            <c:numRef>
              <c:f>Sheet3!$N$2:$N$63</c:f>
              <c:numCache>
                <c:formatCode>m/d/yyyy</c:formatCode>
                <c:ptCount val="62"/>
                <c:pt idx="0">
                  <c:v>42124</c:v>
                </c:pt>
                <c:pt idx="1">
                  <c:v>42125</c:v>
                </c:pt>
                <c:pt idx="2">
                  <c:v>42128</c:v>
                </c:pt>
                <c:pt idx="3">
                  <c:v>42129</c:v>
                </c:pt>
                <c:pt idx="4">
                  <c:v>42130</c:v>
                </c:pt>
                <c:pt idx="5">
                  <c:v>42131</c:v>
                </c:pt>
                <c:pt idx="6">
                  <c:v>42132</c:v>
                </c:pt>
                <c:pt idx="7">
                  <c:v>42135</c:v>
                </c:pt>
                <c:pt idx="8">
                  <c:v>42136</c:v>
                </c:pt>
                <c:pt idx="9">
                  <c:v>42137</c:v>
                </c:pt>
                <c:pt idx="10">
                  <c:v>42138</c:v>
                </c:pt>
                <c:pt idx="11">
                  <c:v>42139</c:v>
                </c:pt>
                <c:pt idx="12">
                  <c:v>42142</c:v>
                </c:pt>
                <c:pt idx="13">
                  <c:v>42143</c:v>
                </c:pt>
                <c:pt idx="14">
                  <c:v>42144</c:v>
                </c:pt>
                <c:pt idx="15">
                  <c:v>42145</c:v>
                </c:pt>
                <c:pt idx="16">
                  <c:v>42146</c:v>
                </c:pt>
                <c:pt idx="17">
                  <c:v>42149</c:v>
                </c:pt>
                <c:pt idx="18">
                  <c:v>42150</c:v>
                </c:pt>
                <c:pt idx="19">
                  <c:v>42151</c:v>
                </c:pt>
                <c:pt idx="20">
                  <c:v>42152</c:v>
                </c:pt>
                <c:pt idx="21">
                  <c:v>42153</c:v>
                </c:pt>
                <c:pt idx="22">
                  <c:v>42156</c:v>
                </c:pt>
                <c:pt idx="23">
                  <c:v>42157</c:v>
                </c:pt>
                <c:pt idx="24">
                  <c:v>42158</c:v>
                </c:pt>
                <c:pt idx="25">
                  <c:v>42159</c:v>
                </c:pt>
                <c:pt idx="26">
                  <c:v>42160</c:v>
                </c:pt>
                <c:pt idx="27">
                  <c:v>42163</c:v>
                </c:pt>
                <c:pt idx="28">
                  <c:v>42164</c:v>
                </c:pt>
                <c:pt idx="29">
                  <c:v>42165</c:v>
                </c:pt>
                <c:pt idx="30">
                  <c:v>42166</c:v>
                </c:pt>
                <c:pt idx="31">
                  <c:v>42167</c:v>
                </c:pt>
                <c:pt idx="32">
                  <c:v>42170</c:v>
                </c:pt>
                <c:pt idx="33">
                  <c:v>42171</c:v>
                </c:pt>
                <c:pt idx="34">
                  <c:v>42172</c:v>
                </c:pt>
                <c:pt idx="35">
                  <c:v>42173</c:v>
                </c:pt>
                <c:pt idx="36">
                  <c:v>42174</c:v>
                </c:pt>
                <c:pt idx="37">
                  <c:v>42177</c:v>
                </c:pt>
                <c:pt idx="38">
                  <c:v>42178</c:v>
                </c:pt>
                <c:pt idx="39">
                  <c:v>42179</c:v>
                </c:pt>
                <c:pt idx="40">
                  <c:v>42180</c:v>
                </c:pt>
                <c:pt idx="41">
                  <c:v>42181</c:v>
                </c:pt>
                <c:pt idx="42">
                  <c:v>42184</c:v>
                </c:pt>
                <c:pt idx="43">
                  <c:v>42185</c:v>
                </c:pt>
                <c:pt idx="44">
                  <c:v>42186</c:v>
                </c:pt>
                <c:pt idx="45">
                  <c:v>42187</c:v>
                </c:pt>
                <c:pt idx="46">
                  <c:v>42188</c:v>
                </c:pt>
                <c:pt idx="47">
                  <c:v>42191</c:v>
                </c:pt>
                <c:pt idx="48">
                  <c:v>42192</c:v>
                </c:pt>
                <c:pt idx="49">
                  <c:v>42193</c:v>
                </c:pt>
                <c:pt idx="50">
                  <c:v>42194</c:v>
                </c:pt>
                <c:pt idx="51">
                  <c:v>42195</c:v>
                </c:pt>
                <c:pt idx="52">
                  <c:v>42198</c:v>
                </c:pt>
                <c:pt idx="53">
                  <c:v>42199</c:v>
                </c:pt>
                <c:pt idx="54">
                  <c:v>42200</c:v>
                </c:pt>
                <c:pt idx="55">
                  <c:v>42201</c:v>
                </c:pt>
                <c:pt idx="56">
                  <c:v>42202</c:v>
                </c:pt>
                <c:pt idx="57">
                  <c:v>42205</c:v>
                </c:pt>
                <c:pt idx="58">
                  <c:v>42206</c:v>
                </c:pt>
                <c:pt idx="59">
                  <c:v>42207</c:v>
                </c:pt>
                <c:pt idx="60">
                  <c:v>42208</c:v>
                </c:pt>
                <c:pt idx="61">
                  <c:v>42209</c:v>
                </c:pt>
              </c:numCache>
            </c:numRef>
          </c:cat>
          <c:val>
            <c:numRef>
              <c:f>Sheet3!$O$2:$O$63</c:f>
              <c:numCache>
                <c:formatCode>General</c:formatCode>
                <c:ptCount val="62"/>
                <c:pt idx="0">
                  <c:v>100</c:v>
                </c:pt>
                <c:pt idx="1">
                  <c:v>100.00000000000001</c:v>
                </c:pt>
                <c:pt idx="2">
                  <c:v>100.20279757183495</c:v>
                </c:pt>
                <c:pt idx="3">
                  <c:v>98.663224624589077</c:v>
                </c:pt>
                <c:pt idx="4">
                  <c:v>98.208305932771736</c:v>
                </c:pt>
                <c:pt idx="5">
                  <c:v>98.457245832990253</c:v>
                </c:pt>
                <c:pt idx="6">
                  <c:v>101.37064728838597</c:v>
                </c:pt>
                <c:pt idx="7">
                  <c:v>101.93921639170242</c:v>
                </c:pt>
                <c:pt idx="8">
                  <c:v>100.68350661723792</c:v>
                </c:pt>
                <c:pt idx="9">
                  <c:v>100.40313215446679</c:v>
                </c:pt>
                <c:pt idx="10">
                  <c:v>100.40313215446679</c:v>
                </c:pt>
                <c:pt idx="11">
                  <c:v>100.91534985711741</c:v>
                </c:pt>
                <c:pt idx="12">
                  <c:v>101.60940086540241</c:v>
                </c:pt>
                <c:pt idx="13">
                  <c:v>103.43022402321449</c:v>
                </c:pt>
                <c:pt idx="14">
                  <c:v>103.65459712430544</c:v>
                </c:pt>
                <c:pt idx="15">
                  <c:v>104.09264161456578</c:v>
                </c:pt>
                <c:pt idx="16">
                  <c:v>103.90289643553284</c:v>
                </c:pt>
                <c:pt idx="17">
                  <c:v>103.90289643553282</c:v>
                </c:pt>
                <c:pt idx="18">
                  <c:v>103.27333520178703</c:v>
                </c:pt>
                <c:pt idx="19">
                  <c:v>104.49535868039392</c:v>
                </c:pt>
                <c:pt idx="20">
                  <c:v>104.03396102447255</c:v>
                </c:pt>
                <c:pt idx="21">
                  <c:v>102.27650739538571</c:v>
                </c:pt>
                <c:pt idx="22">
                  <c:v>102.53520503896196</c:v>
                </c:pt>
                <c:pt idx="23">
                  <c:v>101.17998411733892</c:v>
                </c:pt>
                <c:pt idx="24">
                  <c:v>101.07778493294535</c:v>
                </c:pt>
                <c:pt idx="25">
                  <c:v>100.33167563202996</c:v>
                </c:pt>
                <c:pt idx="26">
                  <c:v>99.413747896497952</c:v>
                </c:pt>
                <c:pt idx="27">
                  <c:v>98.633401232410733</c:v>
                </c:pt>
                <c:pt idx="28">
                  <c:v>98.321752054292816</c:v>
                </c:pt>
                <c:pt idx="29">
                  <c:v>99.877139033912002</c:v>
                </c:pt>
                <c:pt idx="30">
                  <c:v>100.49459350869641</c:v>
                </c:pt>
                <c:pt idx="31">
                  <c:v>99.697797800729873</c:v>
                </c:pt>
                <c:pt idx="32">
                  <c:v>98.279264286372566</c:v>
                </c:pt>
                <c:pt idx="33">
                  <c:v>99.049133085855573</c:v>
                </c:pt>
                <c:pt idx="34">
                  <c:v>98.610747485782326</c:v>
                </c:pt>
                <c:pt idx="35">
                  <c:v>98.809803680629088</c:v>
                </c:pt>
                <c:pt idx="36">
                  <c:v>99.160180084443979</c:v>
                </c:pt>
                <c:pt idx="37">
                  <c:v>100.946841399931</c:v>
                </c:pt>
                <c:pt idx="38">
                  <c:v>100.946841399931</c:v>
                </c:pt>
                <c:pt idx="39">
                  <c:v>101.60809513191637</c:v>
                </c:pt>
                <c:pt idx="40">
                  <c:v>101.41702602863701</c:v>
                </c:pt>
                <c:pt idx="41">
                  <c:v>101.52522228932703</c:v>
                </c:pt>
                <c:pt idx="42">
                  <c:v>99.412856848331899</c:v>
                </c:pt>
                <c:pt idx="43">
                  <c:v>98.060523273649309</c:v>
                </c:pt>
                <c:pt idx="44">
                  <c:v>99.53488377180868</c:v>
                </c:pt>
                <c:pt idx="45">
                  <c:v>99.016544170294694</c:v>
                </c:pt>
                <c:pt idx="46">
                  <c:v>98.520586654927101</c:v>
                </c:pt>
                <c:pt idx="47">
                  <c:v>97.80545021834601</c:v>
                </c:pt>
                <c:pt idx="48">
                  <c:v>96.687254238377463</c:v>
                </c:pt>
                <c:pt idx="49">
                  <c:v>96.614654393380022</c:v>
                </c:pt>
                <c:pt idx="50">
                  <c:v>98.640542471952259</c:v>
                </c:pt>
                <c:pt idx="51">
                  <c:v>100.60773856299862</c:v>
                </c:pt>
                <c:pt idx="52">
                  <c:v>102.59599450305483</c:v>
                </c:pt>
                <c:pt idx="53">
                  <c:v>103.13300149538404</c:v>
                </c:pt>
                <c:pt idx="54">
                  <c:v>103.67541911210434</c:v>
                </c:pt>
                <c:pt idx="55">
                  <c:v>104.99231628870218</c:v>
                </c:pt>
                <c:pt idx="56">
                  <c:v>105.17344219431097</c:v>
                </c:pt>
                <c:pt idx="57">
                  <c:v>105.42880418636084</c:v>
                </c:pt>
                <c:pt idx="58">
                  <c:v>104.37349951561129</c:v>
                </c:pt>
                <c:pt idx="59">
                  <c:v>103.89059272323784</c:v>
                </c:pt>
                <c:pt idx="60">
                  <c:v>103.24639662332217</c:v>
                </c:pt>
                <c:pt idx="61">
                  <c:v>102.68578314645212</c:v>
                </c:pt>
              </c:numCache>
            </c:numRef>
          </c:val>
          <c:smooth val="0"/>
          <c:extLst xmlns:c16r2="http://schemas.microsoft.com/office/drawing/2015/06/chart">
            <c:ext xmlns:c16="http://schemas.microsoft.com/office/drawing/2014/chart" uri="{C3380CC4-5D6E-409C-BE32-E72D297353CC}">
              <c16:uniqueId val="{00000000-94A6-42B5-AFD2-B898C3493AB8}"/>
            </c:ext>
          </c:extLst>
        </c:ser>
        <c:ser>
          <c:idx val="1"/>
          <c:order val="1"/>
          <c:tx>
            <c:strRef>
              <c:f>Sheet3!$P$1</c:f>
              <c:strCache>
                <c:ptCount val="1"/>
                <c:pt idx="0">
                  <c:v>MSCI Europe </c:v>
                </c:pt>
              </c:strCache>
            </c:strRef>
          </c:tx>
          <c:spPr>
            <a:ln w="28575">
              <a:solidFill>
                <a:srgbClr val="009EE0"/>
              </a:solidFill>
              <a:prstDash val="solid"/>
            </a:ln>
          </c:spPr>
          <c:marker>
            <c:symbol val="none"/>
          </c:marker>
          <c:cat>
            <c:numRef>
              <c:f>Sheet3!$N$2:$N$63</c:f>
              <c:numCache>
                <c:formatCode>m/d/yyyy</c:formatCode>
                <c:ptCount val="62"/>
                <c:pt idx="0">
                  <c:v>42124</c:v>
                </c:pt>
                <c:pt idx="1">
                  <c:v>42125</c:v>
                </c:pt>
                <c:pt idx="2">
                  <c:v>42128</c:v>
                </c:pt>
                <c:pt idx="3">
                  <c:v>42129</c:v>
                </c:pt>
                <c:pt idx="4">
                  <c:v>42130</c:v>
                </c:pt>
                <c:pt idx="5">
                  <c:v>42131</c:v>
                </c:pt>
                <c:pt idx="6">
                  <c:v>42132</c:v>
                </c:pt>
                <c:pt idx="7">
                  <c:v>42135</c:v>
                </c:pt>
                <c:pt idx="8">
                  <c:v>42136</c:v>
                </c:pt>
                <c:pt idx="9">
                  <c:v>42137</c:v>
                </c:pt>
                <c:pt idx="10">
                  <c:v>42138</c:v>
                </c:pt>
                <c:pt idx="11">
                  <c:v>42139</c:v>
                </c:pt>
                <c:pt idx="12">
                  <c:v>42142</c:v>
                </c:pt>
                <c:pt idx="13">
                  <c:v>42143</c:v>
                </c:pt>
                <c:pt idx="14">
                  <c:v>42144</c:v>
                </c:pt>
                <c:pt idx="15">
                  <c:v>42145</c:v>
                </c:pt>
                <c:pt idx="16">
                  <c:v>42146</c:v>
                </c:pt>
                <c:pt idx="17">
                  <c:v>42149</c:v>
                </c:pt>
                <c:pt idx="18">
                  <c:v>42150</c:v>
                </c:pt>
                <c:pt idx="19">
                  <c:v>42151</c:v>
                </c:pt>
                <c:pt idx="20">
                  <c:v>42152</c:v>
                </c:pt>
                <c:pt idx="21">
                  <c:v>42153</c:v>
                </c:pt>
                <c:pt idx="22">
                  <c:v>42156</c:v>
                </c:pt>
                <c:pt idx="23">
                  <c:v>42157</c:v>
                </c:pt>
                <c:pt idx="24">
                  <c:v>42158</c:v>
                </c:pt>
                <c:pt idx="25">
                  <c:v>42159</c:v>
                </c:pt>
                <c:pt idx="26">
                  <c:v>42160</c:v>
                </c:pt>
                <c:pt idx="27">
                  <c:v>42163</c:v>
                </c:pt>
                <c:pt idx="28">
                  <c:v>42164</c:v>
                </c:pt>
                <c:pt idx="29">
                  <c:v>42165</c:v>
                </c:pt>
                <c:pt idx="30">
                  <c:v>42166</c:v>
                </c:pt>
                <c:pt idx="31">
                  <c:v>42167</c:v>
                </c:pt>
                <c:pt idx="32">
                  <c:v>42170</c:v>
                </c:pt>
                <c:pt idx="33">
                  <c:v>42171</c:v>
                </c:pt>
                <c:pt idx="34">
                  <c:v>42172</c:v>
                </c:pt>
                <c:pt idx="35">
                  <c:v>42173</c:v>
                </c:pt>
                <c:pt idx="36">
                  <c:v>42174</c:v>
                </c:pt>
                <c:pt idx="37">
                  <c:v>42177</c:v>
                </c:pt>
                <c:pt idx="38">
                  <c:v>42178</c:v>
                </c:pt>
                <c:pt idx="39">
                  <c:v>42179</c:v>
                </c:pt>
                <c:pt idx="40">
                  <c:v>42180</c:v>
                </c:pt>
                <c:pt idx="41">
                  <c:v>42181</c:v>
                </c:pt>
                <c:pt idx="42">
                  <c:v>42184</c:v>
                </c:pt>
                <c:pt idx="43">
                  <c:v>42185</c:v>
                </c:pt>
                <c:pt idx="44">
                  <c:v>42186</c:v>
                </c:pt>
                <c:pt idx="45">
                  <c:v>42187</c:v>
                </c:pt>
                <c:pt idx="46">
                  <c:v>42188</c:v>
                </c:pt>
                <c:pt idx="47">
                  <c:v>42191</c:v>
                </c:pt>
                <c:pt idx="48">
                  <c:v>42192</c:v>
                </c:pt>
                <c:pt idx="49">
                  <c:v>42193</c:v>
                </c:pt>
                <c:pt idx="50">
                  <c:v>42194</c:v>
                </c:pt>
                <c:pt idx="51">
                  <c:v>42195</c:v>
                </c:pt>
                <c:pt idx="52">
                  <c:v>42198</c:v>
                </c:pt>
                <c:pt idx="53">
                  <c:v>42199</c:v>
                </c:pt>
                <c:pt idx="54">
                  <c:v>42200</c:v>
                </c:pt>
                <c:pt idx="55">
                  <c:v>42201</c:v>
                </c:pt>
                <c:pt idx="56">
                  <c:v>42202</c:v>
                </c:pt>
                <c:pt idx="57">
                  <c:v>42205</c:v>
                </c:pt>
                <c:pt idx="58">
                  <c:v>42206</c:v>
                </c:pt>
                <c:pt idx="59">
                  <c:v>42207</c:v>
                </c:pt>
                <c:pt idx="60">
                  <c:v>42208</c:v>
                </c:pt>
                <c:pt idx="61">
                  <c:v>42209</c:v>
                </c:pt>
              </c:numCache>
            </c:numRef>
          </c:cat>
          <c:val>
            <c:numRef>
              <c:f>Sheet3!$P$2:$P$63</c:f>
              <c:numCache>
                <c:formatCode>General</c:formatCode>
                <c:ptCount val="62"/>
                <c:pt idx="0">
                  <c:v>100</c:v>
                </c:pt>
                <c:pt idx="1">
                  <c:v>100.00000000000001</c:v>
                </c:pt>
                <c:pt idx="2">
                  <c:v>100.31089172060469</c:v>
                </c:pt>
                <c:pt idx="3">
                  <c:v>98.918597244192682</c:v>
                </c:pt>
                <c:pt idx="4">
                  <c:v>98.356925343194916</c:v>
                </c:pt>
                <c:pt idx="5">
                  <c:v>98.415316086784415</c:v>
                </c:pt>
                <c:pt idx="6">
                  <c:v>101.23343828340442</c:v>
                </c:pt>
                <c:pt idx="7">
                  <c:v>101.61638612932184</c:v>
                </c:pt>
                <c:pt idx="8">
                  <c:v>100.3217271700431</c:v>
                </c:pt>
                <c:pt idx="9">
                  <c:v>100.13103427110548</c:v>
                </c:pt>
                <c:pt idx="10">
                  <c:v>100.13103427110546</c:v>
                </c:pt>
                <c:pt idx="11">
                  <c:v>100.37364872401601</c:v>
                </c:pt>
                <c:pt idx="12">
                  <c:v>100.86015737387149</c:v>
                </c:pt>
                <c:pt idx="13">
                  <c:v>102.52397187865334</c:v>
                </c:pt>
                <c:pt idx="14">
                  <c:v>102.9797049116887</c:v>
                </c:pt>
                <c:pt idx="15">
                  <c:v>103.41011485818147</c:v>
                </c:pt>
                <c:pt idx="16">
                  <c:v>103.40241150519894</c:v>
                </c:pt>
                <c:pt idx="17">
                  <c:v>103.40241150519894</c:v>
                </c:pt>
                <c:pt idx="18">
                  <c:v>102.32396492792643</c:v>
                </c:pt>
                <c:pt idx="19">
                  <c:v>103.68527084679874</c:v>
                </c:pt>
                <c:pt idx="20">
                  <c:v>103.19982461570363</c:v>
                </c:pt>
                <c:pt idx="21">
                  <c:v>101.41963120443043</c:v>
                </c:pt>
                <c:pt idx="22">
                  <c:v>101.55860186138713</c:v>
                </c:pt>
                <c:pt idx="23">
                  <c:v>100.52455341078814</c:v>
                </c:pt>
                <c:pt idx="24">
                  <c:v>100.39871664938153</c:v>
                </c:pt>
                <c:pt idx="25">
                  <c:v>99.580387715927131</c:v>
                </c:pt>
                <c:pt idx="26">
                  <c:v>98.684837600889168</c:v>
                </c:pt>
                <c:pt idx="27">
                  <c:v>97.788564838020662</c:v>
                </c:pt>
                <c:pt idx="28">
                  <c:v>97.384536315810891</c:v>
                </c:pt>
                <c:pt idx="29">
                  <c:v>99.168330140207985</c:v>
                </c:pt>
                <c:pt idx="30">
                  <c:v>99.744776567686344</c:v>
                </c:pt>
                <c:pt idx="31">
                  <c:v>98.821329457738329</c:v>
                </c:pt>
                <c:pt idx="32">
                  <c:v>97.227540899350004</c:v>
                </c:pt>
                <c:pt idx="33">
                  <c:v>97.846285003800972</c:v>
                </c:pt>
                <c:pt idx="34">
                  <c:v>97.408214479996076</c:v>
                </c:pt>
                <c:pt idx="35">
                  <c:v>97.558072642803495</c:v>
                </c:pt>
                <c:pt idx="36">
                  <c:v>97.891450988428531</c:v>
                </c:pt>
                <c:pt idx="37">
                  <c:v>100.136467748762</c:v>
                </c:pt>
                <c:pt idx="38">
                  <c:v>100.13646774876202</c:v>
                </c:pt>
                <c:pt idx="39">
                  <c:v>100.92064300834663</c:v>
                </c:pt>
                <c:pt idx="40">
                  <c:v>100.64527287735039</c:v>
                </c:pt>
                <c:pt idx="41">
                  <c:v>100.761764665467</c:v>
                </c:pt>
                <c:pt idx="42">
                  <c:v>98.037339599206319</c:v>
                </c:pt>
                <c:pt idx="43">
                  <c:v>96.728696622190881</c:v>
                </c:pt>
                <c:pt idx="44">
                  <c:v>98.174223694014827</c:v>
                </c:pt>
                <c:pt idx="45">
                  <c:v>97.806779569033168</c:v>
                </c:pt>
                <c:pt idx="46">
                  <c:v>97.287985209482116</c:v>
                </c:pt>
                <c:pt idx="47">
                  <c:v>96.080006740775715</c:v>
                </c:pt>
                <c:pt idx="48">
                  <c:v>94.559757038934976</c:v>
                </c:pt>
                <c:pt idx="49">
                  <c:v>94.677208471905615</c:v>
                </c:pt>
                <c:pt idx="50">
                  <c:v>96.758094320905997</c:v>
                </c:pt>
                <c:pt idx="51">
                  <c:v>98.728603593020793</c:v>
                </c:pt>
                <c:pt idx="52">
                  <c:v>100.64422387624414</c:v>
                </c:pt>
                <c:pt idx="53">
                  <c:v>101.15037879389371</c:v>
                </c:pt>
                <c:pt idx="54">
                  <c:v>101.54968755572514</c:v>
                </c:pt>
                <c:pt idx="55">
                  <c:v>102.93422297542087</c:v>
                </c:pt>
                <c:pt idx="56">
                  <c:v>102.96490867710307</c:v>
                </c:pt>
                <c:pt idx="57">
                  <c:v>103.24676882218166</c:v>
                </c:pt>
                <c:pt idx="58">
                  <c:v>102.20923842695404</c:v>
                </c:pt>
                <c:pt idx="59">
                  <c:v>101.56162666143886</c:v>
                </c:pt>
                <c:pt idx="60">
                  <c:v>101.02795867831438</c:v>
                </c:pt>
                <c:pt idx="61">
                  <c:v>100.12268954094627</c:v>
                </c:pt>
              </c:numCache>
            </c:numRef>
          </c:val>
          <c:smooth val="0"/>
          <c:extLst xmlns:c16r2="http://schemas.microsoft.com/office/drawing/2015/06/chart">
            <c:ext xmlns:c16="http://schemas.microsoft.com/office/drawing/2014/chart" uri="{C3380CC4-5D6E-409C-BE32-E72D297353CC}">
              <c16:uniqueId val="{00000001-94A6-42B5-AFD2-B898C3493AB8}"/>
            </c:ext>
          </c:extLst>
        </c:ser>
        <c:dLbls>
          <c:showLegendKey val="0"/>
          <c:showVal val="0"/>
          <c:showCatName val="0"/>
          <c:showSerName val="0"/>
          <c:showPercent val="0"/>
          <c:showBubbleSize val="0"/>
        </c:dLbls>
        <c:marker val="1"/>
        <c:smooth val="0"/>
        <c:axId val="216694784"/>
        <c:axId val="216696320"/>
      </c:lineChart>
      <c:dateAx>
        <c:axId val="216694784"/>
        <c:scaling>
          <c:orientation val="minMax"/>
        </c:scaling>
        <c:delete val="0"/>
        <c:axPos val="b"/>
        <c:numFmt formatCode="[$-409]mmm\-yy;@" sourceLinked="0"/>
        <c:majorTickMark val="out"/>
        <c:minorTickMark val="none"/>
        <c:tickLblPos val="low"/>
        <c:spPr>
          <a:ln w="15875">
            <a:solidFill>
              <a:srgbClr val="003C64"/>
            </a:solidFill>
            <a:prstDash val="solid"/>
          </a:ln>
        </c:spPr>
        <c:txPr>
          <a:bodyPr rot="0" vert="horz"/>
          <a:lstStyle/>
          <a:p>
            <a:pPr>
              <a:defRPr sz="900" b="0" i="0" u="none" strike="noStrike" baseline="0">
                <a:solidFill>
                  <a:schemeClr val="tx1"/>
                </a:solidFill>
                <a:latin typeface="Arial"/>
                <a:ea typeface="Arial"/>
                <a:cs typeface="Arial"/>
              </a:defRPr>
            </a:pPr>
            <a:endParaRPr lang="en-US"/>
          </a:p>
        </c:txPr>
        <c:crossAx val="216696320"/>
        <c:crosses val="autoZero"/>
        <c:auto val="1"/>
        <c:lblOffset val="100"/>
        <c:baseTimeUnit val="days"/>
      </c:dateAx>
      <c:valAx>
        <c:axId val="216696320"/>
        <c:scaling>
          <c:orientation val="minMax"/>
          <c:min val="80"/>
        </c:scaling>
        <c:delete val="0"/>
        <c:axPos val="l"/>
        <c:majorGridlines>
          <c:spPr>
            <a:ln>
              <a:solidFill>
                <a:srgbClr val="F0EDE8"/>
              </a:solidFill>
            </a:ln>
          </c:spPr>
        </c:majorGridlines>
        <c:numFmt formatCode="0" sourceLinked="0"/>
        <c:majorTickMark val="out"/>
        <c:minorTickMark val="none"/>
        <c:tickLblPos val="nextTo"/>
        <c:spPr>
          <a:ln w="15875">
            <a:solidFill>
              <a:srgbClr val="003C64"/>
            </a:solidFill>
            <a:prstDash val="solid"/>
          </a:ln>
        </c:spPr>
        <c:txPr>
          <a:bodyPr rot="0" vert="horz"/>
          <a:lstStyle/>
          <a:p>
            <a:pPr>
              <a:defRPr sz="900" b="0" i="0" u="none" strike="noStrike" baseline="0">
                <a:solidFill>
                  <a:srgbClr val="000000"/>
                </a:solidFill>
                <a:latin typeface="Arial"/>
                <a:ea typeface="Arial"/>
                <a:cs typeface="Arial"/>
              </a:defRPr>
            </a:pPr>
            <a:endParaRPr lang="en-US"/>
          </a:p>
        </c:txPr>
        <c:crossAx val="216694784"/>
        <c:crosses val="autoZero"/>
        <c:crossBetween val="midCat"/>
      </c:valAx>
      <c:spPr>
        <a:solidFill>
          <a:srgbClr val="FFFFFF"/>
        </a:solidFill>
        <a:ln w="25400">
          <a:noFill/>
        </a:ln>
      </c:spPr>
    </c:plotArea>
    <c:plotVisOnly val="1"/>
    <c:dispBlanksAs val="gap"/>
    <c:showDLblsOverMax val="0"/>
  </c:chart>
  <c:spPr>
    <a:noFill/>
    <a:ln w="25400">
      <a:noFill/>
    </a:ln>
  </c:spPr>
  <c:txPr>
    <a:bodyPr/>
    <a:lstStyle/>
    <a:p>
      <a:pPr>
        <a:defRPr sz="1500" b="0" i="0" u="none" strike="noStrike" baseline="0">
          <a:solidFill>
            <a:srgbClr val="000000"/>
          </a:solidFill>
          <a:latin typeface="Arial"/>
          <a:ea typeface="Arial"/>
          <a:cs typeface="Arial"/>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6.3392446789964979E-3"/>
          <c:y val="0.11759384893713253"/>
          <c:w val="0.95088670184947466"/>
          <c:h val="0.79903512739333638"/>
        </c:manualLayout>
      </c:layout>
      <c:barChart>
        <c:barDir val="col"/>
        <c:grouping val="clustered"/>
        <c:varyColors val="0"/>
        <c:ser>
          <c:idx val="0"/>
          <c:order val="0"/>
          <c:tx>
            <c:strRef>
              <c:f>'AFE Euro RP Brut'!$CB$5</c:f>
              <c:strCache>
                <c:ptCount val="1"/>
                <c:pt idx="0">
                  <c:v>AF Equity Euro Risk Parity</c:v>
                </c:pt>
              </c:strCache>
            </c:strRef>
          </c:tx>
          <c:spPr>
            <a:solidFill>
              <a:srgbClr val="001C4B"/>
            </a:solidFill>
            <a:ln>
              <a:noFill/>
              <a:round/>
            </a:ln>
            <a:effectLst/>
            <a:extLst>
              <a:ext uri="{91240B29-F687-4F45-9708-019B960494DF}">
                <a14:hiddenLine xmlns:a14="http://schemas.microsoft.com/office/drawing/2010/main">
                  <a:noFill/>
                  <a:round/>
                </a14:hiddenLine>
              </a:ext>
            </a:extLst>
          </c:spPr>
          <c:invertIfNegative val="0"/>
          <c:cat>
            <c:strRef>
              <c:f>'AFE Euro RP Brut'!$CA$7:$CA$36</c:f>
              <c:strCache>
                <c:ptCount val="30"/>
                <c:pt idx="0">
                  <c:v>Q3 2010</c:v>
                </c:pt>
                <c:pt idx="1">
                  <c:v>Q4 2010</c:v>
                </c:pt>
                <c:pt idx="2">
                  <c:v>Q1 2011</c:v>
                </c:pt>
                <c:pt idx="3">
                  <c:v>Q2 2011</c:v>
                </c:pt>
                <c:pt idx="4">
                  <c:v>Q3 2011</c:v>
                </c:pt>
                <c:pt idx="5">
                  <c:v>Q4 2011</c:v>
                </c:pt>
                <c:pt idx="6">
                  <c:v>Q1 2012</c:v>
                </c:pt>
                <c:pt idx="7">
                  <c:v>Q2 2012</c:v>
                </c:pt>
                <c:pt idx="8">
                  <c:v>Q3 2012</c:v>
                </c:pt>
                <c:pt idx="9">
                  <c:v>Q4 2012</c:v>
                </c:pt>
                <c:pt idx="10">
                  <c:v>Q1 2013</c:v>
                </c:pt>
                <c:pt idx="11">
                  <c:v>Q2 2013</c:v>
                </c:pt>
                <c:pt idx="12">
                  <c:v>Q3 2013</c:v>
                </c:pt>
                <c:pt idx="13">
                  <c:v>Q4 2013</c:v>
                </c:pt>
                <c:pt idx="14">
                  <c:v>Q1 2014</c:v>
                </c:pt>
                <c:pt idx="15">
                  <c:v>Q2 2014</c:v>
                </c:pt>
                <c:pt idx="16">
                  <c:v>Q3 2014</c:v>
                </c:pt>
                <c:pt idx="17">
                  <c:v>Q4 2014</c:v>
                </c:pt>
                <c:pt idx="18">
                  <c:v>Q1 2015</c:v>
                </c:pt>
                <c:pt idx="19">
                  <c:v>Q2 2015</c:v>
                </c:pt>
                <c:pt idx="20">
                  <c:v>Q3 2015</c:v>
                </c:pt>
                <c:pt idx="21">
                  <c:v>Q4 2015</c:v>
                </c:pt>
                <c:pt idx="22">
                  <c:v>Q1 2016</c:v>
                </c:pt>
                <c:pt idx="23">
                  <c:v>Q2 2016</c:v>
                </c:pt>
                <c:pt idx="24">
                  <c:v>Q3 2016</c:v>
                </c:pt>
                <c:pt idx="25">
                  <c:v>Q4 2016</c:v>
                </c:pt>
                <c:pt idx="26">
                  <c:v>Q1 2017</c:v>
                </c:pt>
                <c:pt idx="27">
                  <c:v>Q2 2017</c:v>
                </c:pt>
                <c:pt idx="28">
                  <c:v>Q3 2017</c:v>
                </c:pt>
                <c:pt idx="29">
                  <c:v>Q4 2017</c:v>
                </c:pt>
              </c:strCache>
            </c:strRef>
          </c:cat>
          <c:val>
            <c:numRef>
              <c:f>'AFE Euro RP Brut'!$CB$7:$CB$36</c:f>
              <c:numCache>
                <c:formatCode>0.00%</c:formatCode>
                <c:ptCount val="30"/>
                <c:pt idx="0">
                  <c:v>-5.8907104243441637E-2</c:v>
                </c:pt>
                <c:pt idx="1">
                  <c:v>-4.4797365787863842E-2</c:v>
                </c:pt>
                <c:pt idx="2">
                  <c:v>-7.0371475103705394E-2</c:v>
                </c:pt>
                <c:pt idx="3">
                  <c:v>-6.4790759570993423E-2</c:v>
                </c:pt>
                <c:pt idx="4">
                  <c:v>-0.22901161253626867</c:v>
                </c:pt>
                <c:pt idx="5">
                  <c:v>-0.1322544145542478</c:v>
                </c:pt>
                <c:pt idx="6">
                  <c:v>-3.4409988211450311E-2</c:v>
                </c:pt>
                <c:pt idx="7">
                  <c:v>-0.13478830282541693</c:v>
                </c:pt>
                <c:pt idx="8">
                  <c:v>-5.701803269873941E-2</c:v>
                </c:pt>
                <c:pt idx="9">
                  <c:v>-5.6082370795726033E-2</c:v>
                </c:pt>
                <c:pt idx="10">
                  <c:v>-3.0762663550121926E-2</c:v>
                </c:pt>
                <c:pt idx="11">
                  <c:v>-9.531472913700452E-2</c:v>
                </c:pt>
                <c:pt idx="12">
                  <c:v>-3.576193048871109E-2</c:v>
                </c:pt>
                <c:pt idx="13">
                  <c:v>-4.2015018243616115E-2</c:v>
                </c:pt>
                <c:pt idx="14">
                  <c:v>-4.7185861412706691E-2</c:v>
                </c:pt>
                <c:pt idx="15">
                  <c:v>-3.7321236032254061E-2</c:v>
                </c:pt>
                <c:pt idx="16">
                  <c:v>-8.1932077046870944E-2</c:v>
                </c:pt>
                <c:pt idx="17">
                  <c:v>-8.893234018767554E-2</c:v>
                </c:pt>
                <c:pt idx="18">
                  <c:v>-3.1887416950774489E-2</c:v>
                </c:pt>
                <c:pt idx="19">
                  <c:v>-7.184902260941621E-2</c:v>
                </c:pt>
                <c:pt idx="20">
                  <c:v>-0.15089607308821776</c:v>
                </c:pt>
                <c:pt idx="21">
                  <c:v>-8.6860833631401485E-2</c:v>
                </c:pt>
                <c:pt idx="22">
                  <c:v>-0.16064633848454371</c:v>
                </c:pt>
                <c:pt idx="23">
                  <c:v>-0.10036818401222994</c:v>
                </c:pt>
                <c:pt idx="24">
                  <c:v>-4.0381654864173035E-2</c:v>
                </c:pt>
                <c:pt idx="25">
                  <c:v>-4.3684561371774358E-2</c:v>
                </c:pt>
                <c:pt idx="26">
                  <c:v>-1.9916937718661841E-2</c:v>
                </c:pt>
                <c:pt idx="27">
                  <c:v>-4.182982552430977E-2</c:v>
                </c:pt>
                <c:pt idx="28">
                  <c:v>-3.6512850735256369E-2</c:v>
                </c:pt>
                <c:pt idx="29">
                  <c:v>-3.3644841829929398E-2</c:v>
                </c:pt>
              </c:numCache>
            </c:numRef>
          </c:val>
          <c:extLst xmlns:c16r2="http://schemas.microsoft.com/office/drawing/2015/06/chart">
            <c:ext xmlns:c16="http://schemas.microsoft.com/office/drawing/2014/chart" uri="{C3380CC4-5D6E-409C-BE32-E72D297353CC}">
              <c16:uniqueId val="{00000000-34A3-41F1-AB31-16FD92B26243}"/>
            </c:ext>
          </c:extLst>
        </c:ser>
        <c:ser>
          <c:idx val="1"/>
          <c:order val="1"/>
          <c:tx>
            <c:strRef>
              <c:f>'AFE Euro RP Brut'!$CC$5</c:f>
              <c:strCache>
                <c:ptCount val="1"/>
                <c:pt idx="0">
                  <c:v>MSCI EMU</c:v>
                </c:pt>
              </c:strCache>
            </c:strRef>
          </c:tx>
          <c:spPr>
            <a:solidFill>
              <a:srgbClr val="009EE0"/>
            </a:solidFill>
            <a:ln>
              <a:noFill/>
              <a:round/>
            </a:ln>
            <a:effectLst/>
            <a:extLst>
              <a:ext uri="{91240B29-F687-4F45-9708-019B960494DF}">
                <a14:hiddenLine xmlns:a14="http://schemas.microsoft.com/office/drawing/2010/main">
                  <a:noFill/>
                  <a:round/>
                </a14:hiddenLine>
              </a:ext>
            </a:extLst>
          </c:spPr>
          <c:invertIfNegative val="0"/>
          <c:cat>
            <c:strRef>
              <c:f>'AFE Euro RP Brut'!$CA$7:$CA$36</c:f>
              <c:strCache>
                <c:ptCount val="30"/>
                <c:pt idx="0">
                  <c:v>Q3 2010</c:v>
                </c:pt>
                <c:pt idx="1">
                  <c:v>Q4 2010</c:v>
                </c:pt>
                <c:pt idx="2">
                  <c:v>Q1 2011</c:v>
                </c:pt>
                <c:pt idx="3">
                  <c:v>Q2 2011</c:v>
                </c:pt>
                <c:pt idx="4">
                  <c:v>Q3 2011</c:v>
                </c:pt>
                <c:pt idx="5">
                  <c:v>Q4 2011</c:v>
                </c:pt>
                <c:pt idx="6">
                  <c:v>Q1 2012</c:v>
                </c:pt>
                <c:pt idx="7">
                  <c:v>Q2 2012</c:v>
                </c:pt>
                <c:pt idx="8">
                  <c:v>Q3 2012</c:v>
                </c:pt>
                <c:pt idx="9">
                  <c:v>Q4 2012</c:v>
                </c:pt>
                <c:pt idx="10">
                  <c:v>Q1 2013</c:v>
                </c:pt>
                <c:pt idx="11">
                  <c:v>Q2 2013</c:v>
                </c:pt>
                <c:pt idx="12">
                  <c:v>Q3 2013</c:v>
                </c:pt>
                <c:pt idx="13">
                  <c:v>Q4 2013</c:v>
                </c:pt>
                <c:pt idx="14">
                  <c:v>Q1 2014</c:v>
                </c:pt>
                <c:pt idx="15">
                  <c:v>Q2 2014</c:v>
                </c:pt>
                <c:pt idx="16">
                  <c:v>Q3 2014</c:v>
                </c:pt>
                <c:pt idx="17">
                  <c:v>Q4 2014</c:v>
                </c:pt>
                <c:pt idx="18">
                  <c:v>Q1 2015</c:v>
                </c:pt>
                <c:pt idx="19">
                  <c:v>Q2 2015</c:v>
                </c:pt>
                <c:pt idx="20">
                  <c:v>Q3 2015</c:v>
                </c:pt>
                <c:pt idx="21">
                  <c:v>Q4 2015</c:v>
                </c:pt>
                <c:pt idx="22">
                  <c:v>Q1 2016</c:v>
                </c:pt>
                <c:pt idx="23">
                  <c:v>Q2 2016</c:v>
                </c:pt>
                <c:pt idx="24">
                  <c:v>Q3 2016</c:v>
                </c:pt>
                <c:pt idx="25">
                  <c:v>Q4 2016</c:v>
                </c:pt>
                <c:pt idx="26">
                  <c:v>Q1 2017</c:v>
                </c:pt>
                <c:pt idx="27">
                  <c:v>Q2 2017</c:v>
                </c:pt>
                <c:pt idx="28">
                  <c:v>Q3 2017</c:v>
                </c:pt>
                <c:pt idx="29">
                  <c:v>Q4 2017</c:v>
                </c:pt>
              </c:strCache>
            </c:strRef>
          </c:cat>
          <c:val>
            <c:numRef>
              <c:f>'AFE Euro RP Brut'!$CC$7:$CC$36</c:f>
              <c:numCache>
                <c:formatCode>0.00%</c:formatCode>
                <c:ptCount val="30"/>
                <c:pt idx="0">
                  <c:v>-7.846454375654556E-2</c:v>
                </c:pt>
                <c:pt idx="1">
                  <c:v>-6.4803466797223527E-2</c:v>
                </c:pt>
                <c:pt idx="2">
                  <c:v>-0.10282856822320306</c:v>
                </c:pt>
                <c:pt idx="3">
                  <c:v>-7.5068504834806968E-2</c:v>
                </c:pt>
                <c:pt idx="4">
                  <c:v>-0.28413037425842019</c:v>
                </c:pt>
                <c:pt idx="5">
                  <c:v>-0.15035282055915428</c:v>
                </c:pt>
                <c:pt idx="6">
                  <c:v>-4.9673987658548462E-2</c:v>
                </c:pt>
                <c:pt idx="7">
                  <c:v>-0.14777855624733099</c:v>
                </c:pt>
                <c:pt idx="8">
                  <c:v>-6.0688821041408526E-2</c:v>
                </c:pt>
                <c:pt idx="9">
                  <c:v>-5.5329545997026976E-2</c:v>
                </c:pt>
                <c:pt idx="10">
                  <c:v>-4.512015382448685E-2</c:v>
                </c:pt>
                <c:pt idx="11">
                  <c:v>-0.10682236127268435</c:v>
                </c:pt>
                <c:pt idx="12">
                  <c:v>-4.3188729929821819E-2</c:v>
                </c:pt>
                <c:pt idx="13">
                  <c:v>-5.0023536416597569E-2</c:v>
                </c:pt>
                <c:pt idx="14">
                  <c:v>-5.835657221150075E-2</c:v>
                </c:pt>
                <c:pt idx="15">
                  <c:v>-4.3403156821685142E-2</c:v>
                </c:pt>
                <c:pt idx="16">
                  <c:v>-8.7946411405751504E-2</c:v>
                </c:pt>
                <c:pt idx="17">
                  <c:v>-9.4096766549284491E-2</c:v>
                </c:pt>
                <c:pt idx="18">
                  <c:v>-3.7723564483247547E-2</c:v>
                </c:pt>
                <c:pt idx="19">
                  <c:v>-8.4809272400959604E-2</c:v>
                </c:pt>
                <c:pt idx="20">
                  <c:v>-0.16992261702871236</c:v>
                </c:pt>
                <c:pt idx="21">
                  <c:v>-9.638816972433073E-2</c:v>
                </c:pt>
                <c:pt idx="22">
                  <c:v>-0.17292509673775133</c:v>
                </c:pt>
                <c:pt idx="23">
                  <c:v>-0.11933310043636679</c:v>
                </c:pt>
                <c:pt idx="24">
                  <c:v>-4.4338374691243514E-2</c:v>
                </c:pt>
                <c:pt idx="25">
                  <c:v>-4.3881603177994756E-2</c:v>
                </c:pt>
                <c:pt idx="26">
                  <c:v>-2.5344149843702219E-2</c:v>
                </c:pt>
                <c:pt idx="27">
                  <c:v>-4.0956434908782535E-2</c:v>
                </c:pt>
                <c:pt idx="28">
                  <c:v>-3.7656035842372877E-2</c:v>
                </c:pt>
                <c:pt idx="29">
                  <c:v>-3.7087297547126107E-2</c:v>
                </c:pt>
              </c:numCache>
            </c:numRef>
          </c:val>
          <c:extLst xmlns:c16r2="http://schemas.microsoft.com/office/drawing/2015/06/chart">
            <c:ext xmlns:c16="http://schemas.microsoft.com/office/drawing/2014/chart" uri="{C3380CC4-5D6E-409C-BE32-E72D297353CC}">
              <c16:uniqueId val="{00000001-34A3-41F1-AB31-16FD92B26243}"/>
            </c:ext>
          </c:extLst>
        </c:ser>
        <c:dLbls>
          <c:showLegendKey val="0"/>
          <c:showVal val="0"/>
          <c:showCatName val="0"/>
          <c:showSerName val="0"/>
          <c:showPercent val="0"/>
          <c:showBubbleSize val="0"/>
        </c:dLbls>
        <c:gapWidth val="150"/>
        <c:axId val="218445696"/>
        <c:axId val="218447232"/>
      </c:barChart>
      <c:catAx>
        <c:axId val="218445696"/>
        <c:scaling>
          <c:orientation val="minMax"/>
        </c:scaling>
        <c:delete val="0"/>
        <c:axPos val="b"/>
        <c:numFmt formatCode="General" sourceLinked="1"/>
        <c:majorTickMark val="out"/>
        <c:minorTickMark val="none"/>
        <c:tickLblPos val="high"/>
        <c:spPr>
          <a:ln>
            <a:solidFill>
              <a:srgbClr val="767A7E"/>
            </a:solidFill>
          </a:ln>
        </c:spPr>
        <c:txPr>
          <a:bodyPr/>
          <a:lstStyle/>
          <a:p>
            <a:pPr>
              <a:defRPr sz="900" b="0" i="0" u="none">
                <a:solidFill>
                  <a:srgbClr val="003C64"/>
                </a:solidFill>
                <a:latin typeface="Arial"/>
                <a:ea typeface="Arial"/>
                <a:cs typeface="Arial"/>
              </a:defRPr>
            </a:pPr>
            <a:endParaRPr lang="en-US"/>
          </a:p>
        </c:txPr>
        <c:crossAx val="218447232"/>
        <c:crosses val="autoZero"/>
        <c:auto val="1"/>
        <c:lblAlgn val="ctr"/>
        <c:lblOffset val="100"/>
        <c:noMultiLvlLbl val="1"/>
      </c:catAx>
      <c:valAx>
        <c:axId val="218447232"/>
        <c:scaling>
          <c:orientation val="minMax"/>
        </c:scaling>
        <c:delete val="0"/>
        <c:axPos val="l"/>
        <c:numFmt formatCode="0%" sourceLinked="0"/>
        <c:majorTickMark val="out"/>
        <c:minorTickMark val="none"/>
        <c:tickLblPos val="nextTo"/>
        <c:spPr>
          <a:ln>
            <a:solidFill>
              <a:srgbClr val="767A7E"/>
            </a:solidFill>
          </a:ln>
        </c:spPr>
        <c:txPr>
          <a:bodyPr/>
          <a:lstStyle/>
          <a:p>
            <a:pPr>
              <a:defRPr sz="900" b="0" i="0" u="none">
                <a:solidFill>
                  <a:srgbClr val="003C64"/>
                </a:solidFill>
                <a:latin typeface="Arial"/>
                <a:ea typeface="Arial"/>
                <a:cs typeface="Arial"/>
              </a:defRPr>
            </a:pPr>
            <a:endParaRPr lang="en-US"/>
          </a:p>
        </c:txPr>
        <c:crossAx val="218445696"/>
        <c:crosses val="autoZero"/>
        <c:crossBetween val="between"/>
      </c:valAx>
    </c:plotArea>
    <c:plotVisOnly val="1"/>
    <c:dispBlanksAs val="gap"/>
    <c:showDLblsOverMax val="0"/>
  </c:chart>
  <c:spPr>
    <a:ln w="9525">
      <a:noFill/>
    </a:ln>
  </c:sp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 AMUNDI FDS EQ EURO RISK PARIT'!$G$3</c:f>
              <c:strCache>
                <c:ptCount val="1"/>
                <c:pt idx="0">
                  <c:v>Weight Risk Parity</c:v>
                </c:pt>
              </c:strCache>
            </c:strRef>
          </c:tx>
          <c:spPr>
            <a:solidFill>
              <a:srgbClr val="001C4B"/>
            </a:solidFill>
            <a:ln>
              <a:noFill/>
              <a:round/>
            </a:ln>
            <a:effectLst/>
            <a:extLst>
              <a:ext uri="{91240B29-F687-4F45-9708-019B960494DF}">
                <a14:hiddenLine xmlns:a14="http://schemas.microsoft.com/office/drawing/2010/main">
                  <a:noFill/>
                  <a:round/>
                </a14:hiddenLine>
              </a:ext>
            </a:extLst>
          </c:spPr>
          <c:invertIfNegative val="0"/>
          <c:val>
            <c:numRef>
              <c:f>'- AMUNDI FDS EQ EURO RISK PARIT'!$G$4:$G$239</c:f>
              <c:numCache>
                <c:formatCode>0.00%</c:formatCode>
                <c:ptCount val="236"/>
                <c:pt idx="0">
                  <c:v>1.6050167988207621E-2</c:v>
                </c:pt>
                <c:pt idx="1">
                  <c:v>1.5374638609588062E-2</c:v>
                </c:pt>
                <c:pt idx="2">
                  <c:v>1.4209914898664175E-2</c:v>
                </c:pt>
                <c:pt idx="3">
                  <c:v>1.3507420722311239E-2</c:v>
                </c:pt>
                <c:pt idx="4">
                  <c:v>1.2894022864339584E-2</c:v>
                </c:pt>
                <c:pt idx="5">
                  <c:v>1.2281356181833613E-2</c:v>
                </c:pt>
                <c:pt idx="6">
                  <c:v>1.199597803201439E-2</c:v>
                </c:pt>
                <c:pt idx="7">
                  <c:v>1.1795583286890387E-2</c:v>
                </c:pt>
                <c:pt idx="8">
                  <c:v>1.1700081793354744E-2</c:v>
                </c:pt>
                <c:pt idx="9">
                  <c:v>1.1521911685854543E-2</c:v>
                </c:pt>
                <c:pt idx="10">
                  <c:v>1.1456702572028174E-2</c:v>
                </c:pt>
                <c:pt idx="11">
                  <c:v>1.1428228032514183E-2</c:v>
                </c:pt>
                <c:pt idx="12">
                  <c:v>1.1382256592963175E-2</c:v>
                </c:pt>
                <c:pt idx="13">
                  <c:v>1.129281260935696E-2</c:v>
                </c:pt>
                <c:pt idx="14">
                  <c:v>1.0888344117031065E-2</c:v>
                </c:pt>
                <c:pt idx="15">
                  <c:v>1.0745151661979402E-2</c:v>
                </c:pt>
                <c:pt idx="16">
                  <c:v>1.0584189239659484E-2</c:v>
                </c:pt>
                <c:pt idx="17">
                  <c:v>1.0297213705589966E-2</c:v>
                </c:pt>
                <c:pt idx="18">
                  <c:v>1.0087223314242992E-2</c:v>
                </c:pt>
                <c:pt idx="19">
                  <c:v>9.9086937971887279E-3</c:v>
                </c:pt>
                <c:pt idx="20">
                  <c:v>9.8587415593837449E-3</c:v>
                </c:pt>
                <c:pt idx="21">
                  <c:v>9.8553116859552356E-3</c:v>
                </c:pt>
                <c:pt idx="22">
                  <c:v>9.5538314240552376E-3</c:v>
                </c:pt>
                <c:pt idx="23">
                  <c:v>9.3923555909437104E-3</c:v>
                </c:pt>
                <c:pt idx="24">
                  <c:v>9.386764512835228E-3</c:v>
                </c:pt>
                <c:pt idx="25">
                  <c:v>9.1473732521492775E-3</c:v>
                </c:pt>
                <c:pt idx="26">
                  <c:v>8.8815748425973753E-3</c:v>
                </c:pt>
                <c:pt idx="27">
                  <c:v>8.8765717997402842E-3</c:v>
                </c:pt>
                <c:pt idx="28">
                  <c:v>8.73083352480848E-3</c:v>
                </c:pt>
                <c:pt idx="29">
                  <c:v>8.5502321592235003E-3</c:v>
                </c:pt>
                <c:pt idx="30">
                  <c:v>8.5182623998412265E-3</c:v>
                </c:pt>
                <c:pt idx="31">
                  <c:v>8.5075803204669748E-3</c:v>
                </c:pt>
                <c:pt idx="32">
                  <c:v>8.3607065260505077E-3</c:v>
                </c:pt>
                <c:pt idx="33">
                  <c:v>8.3223275637052171E-3</c:v>
                </c:pt>
                <c:pt idx="34">
                  <c:v>8.2699820797427007E-3</c:v>
                </c:pt>
                <c:pt idx="35">
                  <c:v>8.1512601866152619E-3</c:v>
                </c:pt>
                <c:pt idx="36">
                  <c:v>8.1362810639778581E-3</c:v>
                </c:pt>
                <c:pt idx="37">
                  <c:v>8.0907421134824749E-3</c:v>
                </c:pt>
                <c:pt idx="38">
                  <c:v>7.9947164358009064E-3</c:v>
                </c:pt>
                <c:pt idx="39">
                  <c:v>7.9040332501333615E-3</c:v>
                </c:pt>
                <c:pt idx="40">
                  <c:v>7.8958282648101241E-3</c:v>
                </c:pt>
                <c:pt idx="41">
                  <c:v>7.7802828074509146E-3</c:v>
                </c:pt>
                <c:pt idx="42">
                  <c:v>7.7453022073411797E-3</c:v>
                </c:pt>
                <c:pt idx="43">
                  <c:v>7.7449460895075324E-3</c:v>
                </c:pt>
                <c:pt idx="44">
                  <c:v>7.6602750674259219E-3</c:v>
                </c:pt>
                <c:pt idx="45">
                  <c:v>7.6598410482992488E-3</c:v>
                </c:pt>
                <c:pt idx="46">
                  <c:v>7.6312358076350605E-3</c:v>
                </c:pt>
                <c:pt idx="47">
                  <c:v>7.6295439625876614E-3</c:v>
                </c:pt>
                <c:pt idx="48">
                  <c:v>7.6284021656763722E-3</c:v>
                </c:pt>
                <c:pt idx="49">
                  <c:v>7.5897274778152675E-3</c:v>
                </c:pt>
                <c:pt idx="50">
                  <c:v>7.5323784712977094E-3</c:v>
                </c:pt>
                <c:pt idx="51">
                  <c:v>7.4459240893786664E-3</c:v>
                </c:pt>
                <c:pt idx="52">
                  <c:v>7.3575429013936914E-3</c:v>
                </c:pt>
                <c:pt idx="53">
                  <c:v>7.2658455118531588E-3</c:v>
                </c:pt>
                <c:pt idx="54">
                  <c:v>7.1773855309986232E-3</c:v>
                </c:pt>
                <c:pt idx="55">
                  <c:v>7.1621735414723556E-3</c:v>
                </c:pt>
                <c:pt idx="56">
                  <c:v>6.8830074437208977E-3</c:v>
                </c:pt>
                <c:pt idx="57">
                  <c:v>6.6871016789348181E-3</c:v>
                </c:pt>
                <c:pt idx="58">
                  <c:v>6.626702645329636E-3</c:v>
                </c:pt>
                <c:pt idx="59">
                  <c:v>6.6003873420798897E-3</c:v>
                </c:pt>
                <c:pt idx="60">
                  <c:v>6.5475275971025012E-3</c:v>
                </c:pt>
                <c:pt idx="61">
                  <c:v>6.4752658482190983E-3</c:v>
                </c:pt>
                <c:pt idx="62">
                  <c:v>6.1232523846721666E-3</c:v>
                </c:pt>
                <c:pt idx="63">
                  <c:v>5.9840880227841351E-3</c:v>
                </c:pt>
                <c:pt idx="64">
                  <c:v>5.9813026318227425E-3</c:v>
                </c:pt>
                <c:pt idx="65">
                  <c:v>5.9301280317045416E-3</c:v>
                </c:pt>
                <c:pt idx="66">
                  <c:v>5.8979973511594039E-3</c:v>
                </c:pt>
                <c:pt idx="67">
                  <c:v>5.8940555291909702E-3</c:v>
                </c:pt>
                <c:pt idx="68">
                  <c:v>5.6857047652882891E-3</c:v>
                </c:pt>
                <c:pt idx="69">
                  <c:v>5.6465660937199151E-3</c:v>
                </c:pt>
                <c:pt idx="70">
                  <c:v>5.4263580367799828E-3</c:v>
                </c:pt>
                <c:pt idx="71">
                  <c:v>5.3919053359940908E-3</c:v>
                </c:pt>
                <c:pt idx="72">
                  <c:v>5.0340818502692935E-3</c:v>
                </c:pt>
                <c:pt idx="73">
                  <c:v>4.7829774193141163E-3</c:v>
                </c:pt>
                <c:pt idx="74">
                  <c:v>4.7035647800003728E-3</c:v>
                </c:pt>
                <c:pt idx="75">
                  <c:v>4.6260494188625143E-3</c:v>
                </c:pt>
                <c:pt idx="76">
                  <c:v>4.5931437373503787E-3</c:v>
                </c:pt>
                <c:pt idx="77">
                  <c:v>4.5345518913377202E-3</c:v>
                </c:pt>
                <c:pt idx="78">
                  <c:v>4.4831815671432839E-3</c:v>
                </c:pt>
                <c:pt idx="79">
                  <c:v>4.4721769322506088E-3</c:v>
                </c:pt>
                <c:pt idx="80">
                  <c:v>4.4183555665662597E-3</c:v>
                </c:pt>
                <c:pt idx="81">
                  <c:v>4.2372604925423885E-3</c:v>
                </c:pt>
                <c:pt idx="82">
                  <c:v>4.2237139878340754E-3</c:v>
                </c:pt>
                <c:pt idx="83">
                  <c:v>4.1986017670441189E-3</c:v>
                </c:pt>
                <c:pt idx="84">
                  <c:v>4.1973491185529985E-3</c:v>
                </c:pt>
                <c:pt idx="85">
                  <c:v>4.1890500628075419E-3</c:v>
                </c:pt>
                <c:pt idx="86">
                  <c:v>4.1511844351638386E-3</c:v>
                </c:pt>
                <c:pt idx="87">
                  <c:v>4.1223767867765125E-3</c:v>
                </c:pt>
                <c:pt idx="88">
                  <c:v>4.0380680358953619E-3</c:v>
                </c:pt>
                <c:pt idx="89">
                  <c:v>4.015197634680087E-3</c:v>
                </c:pt>
                <c:pt idx="90">
                  <c:v>3.9466437764430458E-3</c:v>
                </c:pt>
                <c:pt idx="91">
                  <c:v>3.9229923186188268E-3</c:v>
                </c:pt>
                <c:pt idx="92">
                  <c:v>3.9208351864090385E-3</c:v>
                </c:pt>
                <c:pt idx="93">
                  <c:v>3.8047971586529727E-3</c:v>
                </c:pt>
                <c:pt idx="94">
                  <c:v>3.6978492118709566E-3</c:v>
                </c:pt>
                <c:pt idx="95">
                  <c:v>3.691453332932046E-3</c:v>
                </c:pt>
                <c:pt idx="96">
                  <c:v>3.4470287505235448E-3</c:v>
                </c:pt>
                <c:pt idx="97">
                  <c:v>3.3287952560749246E-3</c:v>
                </c:pt>
                <c:pt idx="98">
                  <c:v>3.2771883828963239E-3</c:v>
                </c:pt>
                <c:pt idx="99">
                  <c:v>3.2448288110347094E-3</c:v>
                </c:pt>
                <c:pt idx="100">
                  <c:v>3.2077515669726104E-3</c:v>
                </c:pt>
                <c:pt idx="101">
                  <c:v>3.2044542638621724E-3</c:v>
                </c:pt>
                <c:pt idx="102">
                  <c:v>3.1626297882810543E-3</c:v>
                </c:pt>
                <c:pt idx="103">
                  <c:v>2.9745911112360286E-3</c:v>
                </c:pt>
                <c:pt idx="104">
                  <c:v>2.9505478394341238E-3</c:v>
                </c:pt>
                <c:pt idx="105">
                  <c:v>2.9196946266555049E-3</c:v>
                </c:pt>
                <c:pt idx="106">
                  <c:v>2.908622056608258E-3</c:v>
                </c:pt>
                <c:pt idx="107">
                  <c:v>2.8167169909377883E-3</c:v>
                </c:pt>
                <c:pt idx="108">
                  <c:v>2.791442599157954E-3</c:v>
                </c:pt>
                <c:pt idx="109">
                  <c:v>2.7871336544232368E-3</c:v>
                </c:pt>
                <c:pt idx="110">
                  <c:v>2.7663631632417157E-3</c:v>
                </c:pt>
                <c:pt idx="111">
                  <c:v>2.7310845218329579E-3</c:v>
                </c:pt>
                <c:pt idx="112">
                  <c:v>2.7197030263056052E-3</c:v>
                </c:pt>
                <c:pt idx="113">
                  <c:v>2.6761984748181846E-3</c:v>
                </c:pt>
                <c:pt idx="114">
                  <c:v>2.6486548139890505E-3</c:v>
                </c:pt>
                <c:pt idx="115">
                  <c:v>2.6425203042679136E-3</c:v>
                </c:pt>
                <c:pt idx="116">
                  <c:v>2.571723205557778E-3</c:v>
                </c:pt>
                <c:pt idx="117">
                  <c:v>2.5416542658455682E-3</c:v>
                </c:pt>
                <c:pt idx="118">
                  <c:v>2.5077951830027338E-3</c:v>
                </c:pt>
                <c:pt idx="119">
                  <c:v>2.4936804016361942E-3</c:v>
                </c:pt>
                <c:pt idx="120">
                  <c:v>2.4720702570869479E-3</c:v>
                </c:pt>
                <c:pt idx="121">
                  <c:v>2.4693057412570551E-3</c:v>
                </c:pt>
                <c:pt idx="122">
                  <c:v>2.4675032348548754E-3</c:v>
                </c:pt>
                <c:pt idx="123">
                  <c:v>2.4583560565916724E-3</c:v>
                </c:pt>
                <c:pt idx="124">
                  <c:v>2.3990008126441062E-3</c:v>
                </c:pt>
                <c:pt idx="125">
                  <c:v>2.3631804268361761E-3</c:v>
                </c:pt>
                <c:pt idx="126">
                  <c:v>2.3141187400055954E-3</c:v>
                </c:pt>
                <c:pt idx="127">
                  <c:v>2.3052916360645193E-3</c:v>
                </c:pt>
                <c:pt idx="128">
                  <c:v>2.2887055335636787E-3</c:v>
                </c:pt>
                <c:pt idx="129">
                  <c:v>2.2790907076933433E-3</c:v>
                </c:pt>
                <c:pt idx="130">
                  <c:v>2.2711671810072206E-3</c:v>
                </c:pt>
                <c:pt idx="131">
                  <c:v>2.2654035522376892E-3</c:v>
                </c:pt>
                <c:pt idx="132">
                  <c:v>2.260056202041318E-3</c:v>
                </c:pt>
                <c:pt idx="133">
                  <c:v>2.2404102551861786E-3</c:v>
                </c:pt>
                <c:pt idx="134">
                  <c:v>2.222916167171633E-3</c:v>
                </c:pt>
                <c:pt idx="135">
                  <c:v>2.2135298015855381E-3</c:v>
                </c:pt>
                <c:pt idx="136">
                  <c:v>2.1855406088789192E-3</c:v>
                </c:pt>
                <c:pt idx="137">
                  <c:v>2.1778658138507712E-3</c:v>
                </c:pt>
                <c:pt idx="138">
                  <c:v>2.1726549873452364E-3</c:v>
                </c:pt>
                <c:pt idx="139">
                  <c:v>2.1721255827623072E-3</c:v>
                </c:pt>
                <c:pt idx="140">
                  <c:v>2.1689137568642511E-3</c:v>
                </c:pt>
                <c:pt idx="141">
                  <c:v>2.1619206208943823E-3</c:v>
                </c:pt>
                <c:pt idx="142">
                  <c:v>2.1579910345319469E-3</c:v>
                </c:pt>
                <c:pt idx="143">
                  <c:v>2.1578051102228665E-3</c:v>
                </c:pt>
                <c:pt idx="144">
                  <c:v>2.153508108312985E-3</c:v>
                </c:pt>
                <c:pt idx="145">
                  <c:v>2.1533513628723406E-3</c:v>
                </c:pt>
                <c:pt idx="146">
                  <c:v>2.1374609547301568E-3</c:v>
                </c:pt>
                <c:pt idx="147">
                  <c:v>2.1089814693648814E-3</c:v>
                </c:pt>
                <c:pt idx="148">
                  <c:v>2.1011921009624593E-3</c:v>
                </c:pt>
                <c:pt idx="149">
                  <c:v>2.0912779518416822E-3</c:v>
                </c:pt>
                <c:pt idx="150">
                  <c:v>2.0869716702576553E-3</c:v>
                </c:pt>
                <c:pt idx="151">
                  <c:v>2.0847277921171134E-3</c:v>
                </c:pt>
                <c:pt idx="152">
                  <c:v>2.0784279685574581E-3</c:v>
                </c:pt>
                <c:pt idx="153">
                  <c:v>2.0663422102735738E-3</c:v>
                </c:pt>
                <c:pt idx="154">
                  <c:v>2.0533283191620649E-3</c:v>
                </c:pt>
                <c:pt idx="155">
                  <c:v>2.0357934733630377E-3</c:v>
                </c:pt>
                <c:pt idx="156">
                  <c:v>2.0188471011600823E-3</c:v>
                </c:pt>
                <c:pt idx="157">
                  <c:v>2.0173583337588217E-3</c:v>
                </c:pt>
                <c:pt idx="158">
                  <c:v>2.0035800522338865E-3</c:v>
                </c:pt>
                <c:pt idx="159">
                  <c:v>1.996023171924358E-3</c:v>
                </c:pt>
                <c:pt idx="160">
                  <c:v>1.9887952320783858E-3</c:v>
                </c:pt>
                <c:pt idx="161">
                  <c:v>1.9698730171000432E-3</c:v>
                </c:pt>
                <c:pt idx="162">
                  <c:v>1.9415869161740435E-3</c:v>
                </c:pt>
                <c:pt idx="163">
                  <c:v>1.9394814060802502E-3</c:v>
                </c:pt>
                <c:pt idx="164">
                  <c:v>1.9390525974657979E-3</c:v>
                </c:pt>
                <c:pt idx="165">
                  <c:v>1.9365158141025653E-3</c:v>
                </c:pt>
                <c:pt idx="166">
                  <c:v>1.9153638472612566E-3</c:v>
                </c:pt>
                <c:pt idx="167">
                  <c:v>1.9117395390203726E-3</c:v>
                </c:pt>
                <c:pt idx="168">
                  <c:v>1.9093097613827135E-3</c:v>
                </c:pt>
                <c:pt idx="169">
                  <c:v>1.9015087875981515E-3</c:v>
                </c:pt>
                <c:pt idx="170">
                  <c:v>1.8765389312351099E-3</c:v>
                </c:pt>
                <c:pt idx="171">
                  <c:v>1.8685985737674491E-3</c:v>
                </c:pt>
                <c:pt idx="172">
                  <c:v>1.8571821760788717E-3</c:v>
                </c:pt>
                <c:pt idx="173">
                  <c:v>1.8532280093318024E-3</c:v>
                </c:pt>
                <c:pt idx="174">
                  <c:v>1.8504307086281905E-3</c:v>
                </c:pt>
                <c:pt idx="175">
                  <c:v>1.8496423663998572E-3</c:v>
                </c:pt>
                <c:pt idx="176">
                  <c:v>1.8386164097603491E-3</c:v>
                </c:pt>
                <c:pt idx="177">
                  <c:v>1.8267463335997841E-3</c:v>
                </c:pt>
                <c:pt idx="178">
                  <c:v>1.8252401812831455E-3</c:v>
                </c:pt>
                <c:pt idx="179">
                  <c:v>1.8150624215972743E-3</c:v>
                </c:pt>
                <c:pt idx="180">
                  <c:v>1.8011005563584304E-3</c:v>
                </c:pt>
                <c:pt idx="181">
                  <c:v>1.7965185146181153E-3</c:v>
                </c:pt>
                <c:pt idx="182">
                  <c:v>1.7815485641363492E-3</c:v>
                </c:pt>
                <c:pt idx="183">
                  <c:v>1.759311669402845E-3</c:v>
                </c:pt>
                <c:pt idx="184">
                  <c:v>1.7453178050024427E-3</c:v>
                </c:pt>
                <c:pt idx="185">
                  <c:v>1.7430053052430198E-3</c:v>
                </c:pt>
                <c:pt idx="186">
                  <c:v>1.7290788003596494E-3</c:v>
                </c:pt>
                <c:pt idx="187">
                  <c:v>1.7112437281547287E-3</c:v>
                </c:pt>
                <c:pt idx="188">
                  <c:v>1.6937509369787803E-3</c:v>
                </c:pt>
                <c:pt idx="189">
                  <c:v>1.6846463856679348E-3</c:v>
                </c:pt>
                <c:pt idx="190">
                  <c:v>1.6264895264485059E-3</c:v>
                </c:pt>
                <c:pt idx="191">
                  <c:v>1.6257611960879077E-3</c:v>
                </c:pt>
                <c:pt idx="192">
                  <c:v>1.6148533526627227E-3</c:v>
                </c:pt>
                <c:pt idx="193">
                  <c:v>1.6147727716776972E-3</c:v>
                </c:pt>
                <c:pt idx="194">
                  <c:v>1.5660412493675121E-3</c:v>
                </c:pt>
                <c:pt idx="195">
                  <c:v>1.5602493184189027E-3</c:v>
                </c:pt>
                <c:pt idx="196">
                  <c:v>1.5590042458471375E-3</c:v>
                </c:pt>
                <c:pt idx="197">
                  <c:v>1.5544642769253407E-3</c:v>
                </c:pt>
                <c:pt idx="198">
                  <c:v>1.4794076837226584E-3</c:v>
                </c:pt>
                <c:pt idx="199">
                  <c:v>1.4526026750307116E-3</c:v>
                </c:pt>
                <c:pt idx="200">
                  <c:v>1.406569139407081E-3</c:v>
                </c:pt>
                <c:pt idx="201">
                  <c:v>1.3929664604146366E-3</c:v>
                </c:pt>
                <c:pt idx="202">
                  <c:v>1.3862975638684093E-3</c:v>
                </c:pt>
                <c:pt idx="203">
                  <c:v>1.3855639518679636E-3</c:v>
                </c:pt>
                <c:pt idx="204">
                  <c:v>1.3817572839700102E-3</c:v>
                </c:pt>
                <c:pt idx="205">
                  <c:v>1.3791223444813252E-3</c:v>
                </c:pt>
                <c:pt idx="206">
                  <c:v>1.3594133504283158E-3</c:v>
                </c:pt>
                <c:pt idx="207">
                  <c:v>1.3549451310868631E-3</c:v>
                </c:pt>
                <c:pt idx="208">
                  <c:v>1.3325873309661381E-3</c:v>
                </c:pt>
                <c:pt idx="209">
                  <c:v>1.3109777769416101E-3</c:v>
                </c:pt>
                <c:pt idx="210">
                  <c:v>1.3075589365659612E-3</c:v>
                </c:pt>
                <c:pt idx="211">
                  <c:v>1.28943901832474E-3</c:v>
                </c:pt>
                <c:pt idx="212">
                  <c:v>1.2845301597640753E-3</c:v>
                </c:pt>
                <c:pt idx="213">
                  <c:v>1.2705001840327876E-3</c:v>
                </c:pt>
                <c:pt idx="214">
                  <c:v>1.2633548614069342E-3</c:v>
                </c:pt>
                <c:pt idx="215">
                  <c:v>1.2560683405164242E-3</c:v>
                </c:pt>
                <c:pt idx="216">
                  <c:v>1.25241710467921E-3</c:v>
                </c:pt>
                <c:pt idx="217">
                  <c:v>1.2401106423307053E-3</c:v>
                </c:pt>
                <c:pt idx="218">
                  <c:v>1.232083426451391E-3</c:v>
                </c:pt>
                <c:pt idx="219">
                  <c:v>1.2005386711825836E-3</c:v>
                </c:pt>
                <c:pt idx="220">
                  <c:v>1.167829052147592E-3</c:v>
                </c:pt>
                <c:pt idx="221">
                  <c:v>1.1669301378875434E-3</c:v>
                </c:pt>
                <c:pt idx="222">
                  <c:v>1.1655618623407878E-3</c:v>
                </c:pt>
                <c:pt idx="223">
                  <c:v>1.1234238181342298E-3</c:v>
                </c:pt>
                <c:pt idx="224">
                  <c:v>1.108553079113407E-3</c:v>
                </c:pt>
                <c:pt idx="225">
                  <c:v>1.0725940705225753E-3</c:v>
                </c:pt>
                <c:pt idx="226">
                  <c:v>1.0587959129611814E-3</c:v>
                </c:pt>
                <c:pt idx="227">
                  <c:v>1.0518626366790083E-3</c:v>
                </c:pt>
                <c:pt idx="228">
                  <c:v>9.8507960741104077E-4</c:v>
                </c:pt>
                <c:pt idx="229">
                  <c:v>9.3394538062304235E-4</c:v>
                </c:pt>
                <c:pt idx="230">
                  <c:v>9.1760373550602513E-4</c:v>
                </c:pt>
                <c:pt idx="231">
                  <c:v>8.9754836148776297E-4</c:v>
                </c:pt>
                <c:pt idx="232">
                  <c:v>8.6165076912176979E-4</c:v>
                </c:pt>
                <c:pt idx="233">
                  <c:v>8.2237719821906779E-4</c:v>
                </c:pt>
                <c:pt idx="234">
                  <c:v>7.8642881245664269E-4</c:v>
                </c:pt>
                <c:pt idx="235">
                  <c:v>0</c:v>
                </c:pt>
              </c:numCache>
            </c:numRef>
          </c:val>
          <c:extLst xmlns:c16r2="http://schemas.microsoft.com/office/drawing/2015/06/chart">
            <c:ext xmlns:c16="http://schemas.microsoft.com/office/drawing/2014/chart" uri="{C3380CC4-5D6E-409C-BE32-E72D297353CC}">
              <c16:uniqueId val="{00000000-9586-4BF9-93D7-146AEF9681E9}"/>
            </c:ext>
          </c:extLst>
        </c:ser>
        <c:ser>
          <c:idx val="1"/>
          <c:order val="1"/>
          <c:tx>
            <c:strRef>
              <c:f>'- AMUNDI FDS EQ EURO RISK PARIT'!$H$3</c:f>
              <c:strCache>
                <c:ptCount val="1"/>
                <c:pt idx="0">
                  <c:v>Weight Cap Weighted</c:v>
                </c:pt>
              </c:strCache>
            </c:strRef>
          </c:tx>
          <c:spPr>
            <a:solidFill>
              <a:srgbClr val="009EE0"/>
            </a:solidFill>
            <a:ln>
              <a:noFill/>
              <a:round/>
            </a:ln>
            <a:effectLst/>
            <a:extLst>
              <a:ext uri="{91240B29-F687-4F45-9708-019B960494DF}">
                <a14:hiddenLine xmlns:a14="http://schemas.microsoft.com/office/drawing/2010/main">
                  <a:noFill/>
                  <a:round/>
                </a14:hiddenLine>
              </a:ext>
            </a:extLst>
          </c:spPr>
          <c:invertIfNegative val="0"/>
          <c:val>
            <c:numRef>
              <c:f>'- AMUNDI FDS EQ EURO RISK PARIT'!$H$4:$H$239</c:f>
              <c:numCache>
                <c:formatCode>0.00%</c:formatCode>
                <c:ptCount val="236"/>
                <c:pt idx="0">
                  <c:v>2.8825143725889919E-2</c:v>
                </c:pt>
                <c:pt idx="1">
                  <c:v>2.8402936452942302E-2</c:v>
                </c:pt>
                <c:pt idx="2">
                  <c:v>2.4027711921652723E-2</c:v>
                </c:pt>
                <c:pt idx="3">
                  <c:v>2.3917099999181395E-2</c:v>
                </c:pt>
                <c:pt idx="4">
                  <c:v>2.385745429682385E-2</c:v>
                </c:pt>
                <c:pt idx="5">
                  <c:v>2.2110360274341746E-2</c:v>
                </c:pt>
                <c:pt idx="6">
                  <c:v>2.0680712319469406E-2</c:v>
                </c:pt>
                <c:pt idx="7">
                  <c:v>2.0233519740986562E-2</c:v>
                </c:pt>
                <c:pt idx="8">
                  <c:v>1.8169289718917916E-2</c:v>
                </c:pt>
                <c:pt idx="9">
                  <c:v>1.8105433571381765E-2</c:v>
                </c:pt>
                <c:pt idx="10">
                  <c:v>1.7251452942488869E-2</c:v>
                </c:pt>
                <c:pt idx="11">
                  <c:v>1.4597606772607083E-2</c:v>
                </c:pt>
                <c:pt idx="12">
                  <c:v>1.4565717911543114E-2</c:v>
                </c:pt>
                <c:pt idx="13">
                  <c:v>1.2860819181088246E-2</c:v>
                </c:pt>
                <c:pt idx="14">
                  <c:v>1.2744009228961335E-2</c:v>
                </c:pt>
                <c:pt idx="15">
                  <c:v>1.2738162448238308E-2</c:v>
                </c:pt>
                <c:pt idx="16">
                  <c:v>1.2727280998548387E-2</c:v>
                </c:pt>
                <c:pt idx="17">
                  <c:v>1.1768515243054133E-2</c:v>
                </c:pt>
                <c:pt idx="18">
                  <c:v>1.1185564649337832E-2</c:v>
                </c:pt>
                <c:pt idx="19">
                  <c:v>1.1011247374130707E-2</c:v>
                </c:pt>
                <c:pt idx="20">
                  <c:v>1.0941302205228386E-2</c:v>
                </c:pt>
                <c:pt idx="21">
                  <c:v>1.0777278643350761E-2</c:v>
                </c:pt>
                <c:pt idx="22">
                  <c:v>1.0500040586092056E-2</c:v>
                </c:pt>
                <c:pt idx="23">
                  <c:v>1.0471269664906125E-2</c:v>
                </c:pt>
                <c:pt idx="24">
                  <c:v>1.036344684063977E-2</c:v>
                </c:pt>
                <c:pt idx="25">
                  <c:v>9.9588286607906681E-3</c:v>
                </c:pt>
                <c:pt idx="26">
                  <c:v>9.9523272247295496E-3</c:v>
                </c:pt>
                <c:pt idx="27">
                  <c:v>9.75683145569416E-3</c:v>
                </c:pt>
                <c:pt idx="28">
                  <c:v>9.4362841022505757E-3</c:v>
                </c:pt>
                <c:pt idx="29">
                  <c:v>9.1754063724280455E-3</c:v>
                </c:pt>
                <c:pt idx="30">
                  <c:v>9.0554130754494505E-3</c:v>
                </c:pt>
                <c:pt idx="31">
                  <c:v>8.7576187800145495E-3</c:v>
                </c:pt>
                <c:pt idx="32">
                  <c:v>8.6927994231211034E-3</c:v>
                </c:pt>
                <c:pt idx="33">
                  <c:v>8.4564544327522632E-3</c:v>
                </c:pt>
                <c:pt idx="34">
                  <c:v>8.3918105792047757E-3</c:v>
                </c:pt>
                <c:pt idx="35">
                  <c:v>8.3235429267562097E-3</c:v>
                </c:pt>
                <c:pt idx="36">
                  <c:v>8.0979969031382982E-3</c:v>
                </c:pt>
                <c:pt idx="37">
                  <c:v>8.0270894332810996E-3</c:v>
                </c:pt>
                <c:pt idx="38">
                  <c:v>7.9971609046217557E-3</c:v>
                </c:pt>
                <c:pt idx="39">
                  <c:v>7.802208057427807E-3</c:v>
                </c:pt>
                <c:pt idx="40">
                  <c:v>7.7367151807061895E-3</c:v>
                </c:pt>
                <c:pt idx="41">
                  <c:v>7.6227019264633834E-3</c:v>
                </c:pt>
                <c:pt idx="42">
                  <c:v>7.4489109802346899E-3</c:v>
                </c:pt>
                <c:pt idx="43">
                  <c:v>7.4250748037503573E-3</c:v>
                </c:pt>
                <c:pt idx="44">
                  <c:v>7.2045416474414582E-3</c:v>
                </c:pt>
                <c:pt idx="45">
                  <c:v>7.1592320491458373E-3</c:v>
                </c:pt>
                <c:pt idx="46">
                  <c:v>7.1332814146476825E-3</c:v>
                </c:pt>
                <c:pt idx="47">
                  <c:v>6.7574989553565524E-3</c:v>
                </c:pt>
                <c:pt idx="48">
                  <c:v>6.3141991840089872E-3</c:v>
                </c:pt>
                <c:pt idx="49">
                  <c:v>6.1938246608182479E-3</c:v>
                </c:pt>
                <c:pt idx="50">
                  <c:v>6.1455439810344948E-3</c:v>
                </c:pt>
                <c:pt idx="51">
                  <c:v>6.0366665015680609E-3</c:v>
                </c:pt>
                <c:pt idx="52">
                  <c:v>5.8930417214485883E-3</c:v>
                </c:pt>
                <c:pt idx="53">
                  <c:v>5.7544631167265577E-3</c:v>
                </c:pt>
                <c:pt idx="54">
                  <c:v>5.4228820047886751E-3</c:v>
                </c:pt>
                <c:pt idx="55">
                  <c:v>5.4058240243002502E-3</c:v>
                </c:pt>
                <c:pt idx="56">
                  <c:v>5.3698924697030527E-3</c:v>
                </c:pt>
                <c:pt idx="57">
                  <c:v>5.2133293140325812E-3</c:v>
                </c:pt>
                <c:pt idx="58">
                  <c:v>5.1135213242453695E-3</c:v>
                </c:pt>
                <c:pt idx="59">
                  <c:v>4.8198136284602682E-3</c:v>
                </c:pt>
                <c:pt idx="60">
                  <c:v>4.7623060025792502E-3</c:v>
                </c:pt>
                <c:pt idx="61">
                  <c:v>4.5861870625887599E-3</c:v>
                </c:pt>
                <c:pt idx="62">
                  <c:v>4.5706512617416754E-3</c:v>
                </c:pt>
                <c:pt idx="63">
                  <c:v>4.5418894245798629E-3</c:v>
                </c:pt>
                <c:pt idx="64">
                  <c:v>4.3328723884459167E-3</c:v>
                </c:pt>
                <c:pt idx="65">
                  <c:v>4.2597575007280878E-3</c:v>
                </c:pt>
                <c:pt idx="66">
                  <c:v>4.2217457046079127E-3</c:v>
                </c:pt>
                <c:pt idx="67">
                  <c:v>4.2040906009341425E-3</c:v>
                </c:pt>
                <c:pt idx="68">
                  <c:v>4.0699973845206849E-3</c:v>
                </c:pt>
                <c:pt idx="69">
                  <c:v>4.0651677116980492E-3</c:v>
                </c:pt>
                <c:pt idx="70">
                  <c:v>3.8883032761282904E-3</c:v>
                </c:pt>
                <c:pt idx="71">
                  <c:v>3.8825851857469322E-3</c:v>
                </c:pt>
                <c:pt idx="72">
                  <c:v>3.8664885978109752E-3</c:v>
                </c:pt>
                <c:pt idx="73">
                  <c:v>3.8607514309789695E-3</c:v>
                </c:pt>
                <c:pt idx="74">
                  <c:v>3.8396162376656668E-3</c:v>
                </c:pt>
                <c:pt idx="75">
                  <c:v>3.75223125646117E-3</c:v>
                </c:pt>
                <c:pt idx="76">
                  <c:v>3.6892105363430521E-3</c:v>
                </c:pt>
                <c:pt idx="77">
                  <c:v>3.6857134898584986E-3</c:v>
                </c:pt>
                <c:pt idx="78">
                  <c:v>3.5685625840263663E-3</c:v>
                </c:pt>
                <c:pt idx="79">
                  <c:v>3.5037680567988447E-3</c:v>
                </c:pt>
                <c:pt idx="80">
                  <c:v>3.4783246136472681E-3</c:v>
                </c:pt>
                <c:pt idx="81">
                  <c:v>3.3834164556289623E-3</c:v>
                </c:pt>
                <c:pt idx="82">
                  <c:v>3.303363583930994E-3</c:v>
                </c:pt>
                <c:pt idx="83">
                  <c:v>3.2906447389628437E-3</c:v>
                </c:pt>
                <c:pt idx="84">
                  <c:v>3.2373439246507845E-3</c:v>
                </c:pt>
                <c:pt idx="85">
                  <c:v>3.0912379947439332E-3</c:v>
                </c:pt>
                <c:pt idx="86">
                  <c:v>3.0867368607935585E-3</c:v>
                </c:pt>
                <c:pt idx="87">
                  <c:v>3.0189318879733939E-3</c:v>
                </c:pt>
                <c:pt idx="88">
                  <c:v>3.0157470291176892E-3</c:v>
                </c:pt>
                <c:pt idx="89">
                  <c:v>2.9983659601714742E-3</c:v>
                </c:pt>
                <c:pt idx="90">
                  <c:v>2.8753870472661572E-3</c:v>
                </c:pt>
                <c:pt idx="91">
                  <c:v>2.795585106594404E-3</c:v>
                </c:pt>
                <c:pt idx="92">
                  <c:v>2.7880359797516998E-3</c:v>
                </c:pt>
                <c:pt idx="93">
                  <c:v>2.7795839009116842E-3</c:v>
                </c:pt>
                <c:pt idx="94">
                  <c:v>2.7384674881488448E-3</c:v>
                </c:pt>
                <c:pt idx="95">
                  <c:v>2.7321235085057695E-3</c:v>
                </c:pt>
                <c:pt idx="96">
                  <c:v>2.7075542512751301E-3</c:v>
                </c:pt>
                <c:pt idx="97">
                  <c:v>2.6948893048500781E-3</c:v>
                </c:pt>
                <c:pt idx="98">
                  <c:v>2.6831751529493571E-3</c:v>
                </c:pt>
                <c:pt idx="99">
                  <c:v>2.6361471600914498E-3</c:v>
                </c:pt>
                <c:pt idx="100">
                  <c:v>2.6256735830844182E-3</c:v>
                </c:pt>
                <c:pt idx="101">
                  <c:v>2.6172009137897358E-3</c:v>
                </c:pt>
                <c:pt idx="102">
                  <c:v>2.6165383856307433E-3</c:v>
                </c:pt>
                <c:pt idx="103">
                  <c:v>2.5501399225448204E-3</c:v>
                </c:pt>
                <c:pt idx="104">
                  <c:v>2.5417853455636697E-3</c:v>
                </c:pt>
                <c:pt idx="105">
                  <c:v>2.5295002021869829E-3</c:v>
                </c:pt>
                <c:pt idx="106">
                  <c:v>2.5126419793889089E-3</c:v>
                </c:pt>
                <c:pt idx="107">
                  <c:v>2.4268556047486634E-3</c:v>
                </c:pt>
                <c:pt idx="108">
                  <c:v>2.4191806944520076E-3</c:v>
                </c:pt>
                <c:pt idx="109">
                  <c:v>2.414040348004542E-3</c:v>
                </c:pt>
                <c:pt idx="110">
                  <c:v>2.3872924389896481E-3</c:v>
                </c:pt>
                <c:pt idx="111">
                  <c:v>2.3686700987078945E-3</c:v>
                </c:pt>
                <c:pt idx="112">
                  <c:v>2.3531483175380317E-3</c:v>
                </c:pt>
                <c:pt idx="113">
                  <c:v>2.3126094973086831E-3</c:v>
                </c:pt>
                <c:pt idx="114">
                  <c:v>2.3094579465414108E-3</c:v>
                </c:pt>
                <c:pt idx="115">
                  <c:v>2.2841664791133248E-3</c:v>
                </c:pt>
                <c:pt idx="116">
                  <c:v>2.2746515694515258E-3</c:v>
                </c:pt>
                <c:pt idx="117">
                  <c:v>2.2096062020380311E-3</c:v>
                </c:pt>
                <c:pt idx="118">
                  <c:v>2.1811965222111851E-3</c:v>
                </c:pt>
                <c:pt idx="119">
                  <c:v>2.1761642756507223E-3</c:v>
                </c:pt>
                <c:pt idx="120">
                  <c:v>2.0979379286821228E-3</c:v>
                </c:pt>
                <c:pt idx="121">
                  <c:v>2.0945668473320031E-3</c:v>
                </c:pt>
                <c:pt idx="122">
                  <c:v>2.07767710297024E-3</c:v>
                </c:pt>
                <c:pt idx="123">
                  <c:v>1.9752001360569737E-3</c:v>
                </c:pt>
                <c:pt idx="124">
                  <c:v>1.9700224542703844E-3</c:v>
                </c:pt>
                <c:pt idx="125">
                  <c:v>1.9381324122832817E-3</c:v>
                </c:pt>
                <c:pt idx="126">
                  <c:v>1.9375944866551053E-3</c:v>
                </c:pt>
                <c:pt idx="127">
                  <c:v>1.9218851809473709E-3</c:v>
                </c:pt>
                <c:pt idx="128">
                  <c:v>1.9098851850877427E-3</c:v>
                </c:pt>
                <c:pt idx="129">
                  <c:v>1.8943327301964427E-3</c:v>
                </c:pt>
                <c:pt idx="130">
                  <c:v>1.8721080595906104E-3</c:v>
                </c:pt>
                <c:pt idx="131">
                  <c:v>1.8529316846779115E-3</c:v>
                </c:pt>
                <c:pt idx="132">
                  <c:v>1.8316965670993129E-3</c:v>
                </c:pt>
                <c:pt idx="133">
                  <c:v>1.8267411108227256E-3</c:v>
                </c:pt>
                <c:pt idx="134">
                  <c:v>1.8266210200238876E-3</c:v>
                </c:pt>
                <c:pt idx="135">
                  <c:v>1.8065263713932E-3</c:v>
                </c:pt>
                <c:pt idx="136">
                  <c:v>1.7965409395621788E-3</c:v>
                </c:pt>
                <c:pt idx="137">
                  <c:v>1.7887677098444876E-3</c:v>
                </c:pt>
                <c:pt idx="138">
                  <c:v>1.7346476982374839E-3</c:v>
                </c:pt>
                <c:pt idx="139">
                  <c:v>1.7305362689217629E-3</c:v>
                </c:pt>
                <c:pt idx="140">
                  <c:v>1.7294422496171745E-3</c:v>
                </c:pt>
                <c:pt idx="141">
                  <c:v>1.7245527736357627E-3</c:v>
                </c:pt>
                <c:pt idx="142">
                  <c:v>1.7079011821062879E-3</c:v>
                </c:pt>
                <c:pt idx="143">
                  <c:v>1.6945304372873624E-3</c:v>
                </c:pt>
                <c:pt idx="144">
                  <c:v>1.6925841752077856E-3</c:v>
                </c:pt>
                <c:pt idx="145">
                  <c:v>1.6918729968719379E-3</c:v>
                </c:pt>
                <c:pt idx="146">
                  <c:v>1.6140033795304452E-3</c:v>
                </c:pt>
                <c:pt idx="147">
                  <c:v>1.6066280603491947E-3</c:v>
                </c:pt>
                <c:pt idx="148">
                  <c:v>1.5788863590958117E-3</c:v>
                </c:pt>
                <c:pt idx="149">
                  <c:v>1.5311552627711863E-3</c:v>
                </c:pt>
                <c:pt idx="150">
                  <c:v>1.5269572324255417E-3</c:v>
                </c:pt>
                <c:pt idx="151">
                  <c:v>1.516348121778672E-3</c:v>
                </c:pt>
                <c:pt idx="152">
                  <c:v>1.4808634708879907E-3</c:v>
                </c:pt>
                <c:pt idx="153">
                  <c:v>1.4787440772210645E-3</c:v>
                </c:pt>
                <c:pt idx="154">
                  <c:v>1.4751456833074369E-3</c:v>
                </c:pt>
                <c:pt idx="155">
                  <c:v>1.4743537683649262E-3</c:v>
                </c:pt>
                <c:pt idx="156">
                  <c:v>1.4727570997258193E-3</c:v>
                </c:pt>
                <c:pt idx="157">
                  <c:v>1.4665021435190985E-3</c:v>
                </c:pt>
                <c:pt idx="158">
                  <c:v>1.4643193433638295E-3</c:v>
                </c:pt>
                <c:pt idx="159">
                  <c:v>1.4295900290785442E-3</c:v>
                </c:pt>
                <c:pt idx="160">
                  <c:v>1.4018899023755407E-3</c:v>
                </c:pt>
                <c:pt idx="161">
                  <c:v>1.3807528922574143E-3</c:v>
                </c:pt>
                <c:pt idx="162">
                  <c:v>1.3696233275887549E-3</c:v>
                </c:pt>
                <c:pt idx="163">
                  <c:v>1.3668973330713213E-3</c:v>
                </c:pt>
                <c:pt idx="164">
                  <c:v>1.3652552443116251E-3</c:v>
                </c:pt>
                <c:pt idx="165">
                  <c:v>1.3634185454752448E-3</c:v>
                </c:pt>
                <c:pt idx="166">
                  <c:v>1.3490893149915688E-3</c:v>
                </c:pt>
                <c:pt idx="167">
                  <c:v>1.3211710808694968E-3</c:v>
                </c:pt>
                <c:pt idx="168">
                  <c:v>1.3186603777236552E-3</c:v>
                </c:pt>
                <c:pt idx="169">
                  <c:v>1.3180627397769446E-3</c:v>
                </c:pt>
                <c:pt idx="170">
                  <c:v>1.3004159025651221E-3</c:v>
                </c:pt>
                <c:pt idx="171">
                  <c:v>1.2972848514122754E-3</c:v>
                </c:pt>
                <c:pt idx="172">
                  <c:v>1.2699116587372721E-3</c:v>
                </c:pt>
                <c:pt idx="173">
                  <c:v>1.2472893198356425E-3</c:v>
                </c:pt>
                <c:pt idx="174">
                  <c:v>1.2463801301417711E-3</c:v>
                </c:pt>
                <c:pt idx="175">
                  <c:v>1.2347224203109021E-3</c:v>
                </c:pt>
                <c:pt idx="176">
                  <c:v>1.2340289459097484E-3</c:v>
                </c:pt>
                <c:pt idx="177">
                  <c:v>1.1997968911046722E-3</c:v>
                </c:pt>
                <c:pt idx="178">
                  <c:v>1.1711233506572843E-3</c:v>
                </c:pt>
                <c:pt idx="179">
                  <c:v>1.1656963124086609E-3</c:v>
                </c:pt>
                <c:pt idx="180">
                  <c:v>1.1430164110742048E-3</c:v>
                </c:pt>
                <c:pt idx="181">
                  <c:v>1.1380465414793505E-3</c:v>
                </c:pt>
                <c:pt idx="182">
                  <c:v>1.1184110297076571E-3</c:v>
                </c:pt>
                <c:pt idx="183">
                  <c:v>1.1131540443905191E-3</c:v>
                </c:pt>
                <c:pt idx="184">
                  <c:v>1.1010315656057024E-3</c:v>
                </c:pt>
                <c:pt idx="185">
                  <c:v>1.0988035572904074E-3</c:v>
                </c:pt>
                <c:pt idx="186">
                  <c:v>1.0875387012225532E-3</c:v>
                </c:pt>
                <c:pt idx="187">
                  <c:v>1.0843150838639461E-3</c:v>
                </c:pt>
                <c:pt idx="188">
                  <c:v>1.0817310423633934E-3</c:v>
                </c:pt>
                <c:pt idx="189">
                  <c:v>1.0802612472611318E-3</c:v>
                </c:pt>
                <c:pt idx="190">
                  <c:v>1.0360764025516974E-3</c:v>
                </c:pt>
                <c:pt idx="191">
                  <c:v>1.0249994949428408E-3</c:v>
                </c:pt>
                <c:pt idx="192">
                  <c:v>9.9859662744402147E-4</c:v>
                </c:pt>
                <c:pt idx="193">
                  <c:v>9.9601752159657309E-4</c:v>
                </c:pt>
                <c:pt idx="194">
                  <c:v>9.9386351779775757E-4</c:v>
                </c:pt>
                <c:pt idx="195">
                  <c:v>9.8583414888002451E-4</c:v>
                </c:pt>
                <c:pt idx="196">
                  <c:v>9.8574912241428201E-4</c:v>
                </c:pt>
                <c:pt idx="197">
                  <c:v>9.5867055492149949E-4</c:v>
                </c:pt>
                <c:pt idx="198">
                  <c:v>9.5814661869046442E-4</c:v>
                </c:pt>
                <c:pt idx="199">
                  <c:v>9.5685477962067058E-4</c:v>
                </c:pt>
                <c:pt idx="200">
                  <c:v>9.5570995034118314E-4</c:v>
                </c:pt>
                <c:pt idx="201">
                  <c:v>9.1145888309593023E-4</c:v>
                </c:pt>
                <c:pt idx="202">
                  <c:v>8.860414808134913E-4</c:v>
                </c:pt>
                <c:pt idx="203">
                  <c:v>8.8146658458727943E-4</c:v>
                </c:pt>
                <c:pt idx="204">
                  <c:v>8.6744272871436376E-4</c:v>
                </c:pt>
                <c:pt idx="205">
                  <c:v>8.4925708775203379E-4</c:v>
                </c:pt>
                <c:pt idx="206">
                  <c:v>8.442939100549462E-4</c:v>
                </c:pt>
                <c:pt idx="207">
                  <c:v>8.2932855564238014E-4</c:v>
                </c:pt>
                <c:pt idx="208">
                  <c:v>8.2084828604751944E-4</c:v>
                </c:pt>
                <c:pt idx="209">
                  <c:v>8.1494697089970513E-4</c:v>
                </c:pt>
                <c:pt idx="210">
                  <c:v>8.0950203712356944E-4</c:v>
                </c:pt>
                <c:pt idx="211">
                  <c:v>8.0746706432077806E-4</c:v>
                </c:pt>
                <c:pt idx="212">
                  <c:v>7.9471566826620483E-4</c:v>
                </c:pt>
                <c:pt idx="213">
                  <c:v>7.9396187594490898E-4</c:v>
                </c:pt>
                <c:pt idx="214">
                  <c:v>7.9078834183927136E-4</c:v>
                </c:pt>
                <c:pt idx="215">
                  <c:v>7.7679861161695824E-4</c:v>
                </c:pt>
                <c:pt idx="216">
                  <c:v>7.7342653102418569E-4</c:v>
                </c:pt>
                <c:pt idx="217">
                  <c:v>7.3566590817086732E-4</c:v>
                </c:pt>
                <c:pt idx="218">
                  <c:v>7.3154303298475748E-4</c:v>
                </c:pt>
                <c:pt idx="219">
                  <c:v>6.9792860097945132E-4</c:v>
                </c:pt>
                <c:pt idx="220">
                  <c:v>6.9598495289912405E-4</c:v>
                </c:pt>
                <c:pt idx="221">
                  <c:v>6.9008297158954109E-4</c:v>
                </c:pt>
                <c:pt idx="222">
                  <c:v>6.7316131202304372E-4</c:v>
                </c:pt>
                <c:pt idx="223">
                  <c:v>6.4833785351750767E-4</c:v>
                </c:pt>
                <c:pt idx="224">
                  <c:v>6.3414573123784981E-4</c:v>
                </c:pt>
                <c:pt idx="225">
                  <c:v>6.1319476193365632E-4</c:v>
                </c:pt>
                <c:pt idx="226">
                  <c:v>6.1268378557702936E-4</c:v>
                </c:pt>
                <c:pt idx="227">
                  <c:v>5.9402026438594175E-4</c:v>
                </c:pt>
                <c:pt idx="228">
                  <c:v>5.4473501265508018E-4</c:v>
                </c:pt>
                <c:pt idx="229">
                  <c:v>5.0515428444943694E-4</c:v>
                </c:pt>
                <c:pt idx="230">
                  <c:v>4.8702790160443554E-4</c:v>
                </c:pt>
                <c:pt idx="231">
                  <c:v>4.8663298879595383E-4</c:v>
                </c:pt>
                <c:pt idx="232">
                  <c:v>4.8118629877515564E-4</c:v>
                </c:pt>
                <c:pt idx="233">
                  <c:v>3.7339557139401538E-4</c:v>
                </c:pt>
              </c:numCache>
            </c:numRef>
          </c:val>
          <c:extLst xmlns:c16r2="http://schemas.microsoft.com/office/drawing/2015/06/chart">
            <c:ext xmlns:c16="http://schemas.microsoft.com/office/drawing/2014/chart" uri="{C3380CC4-5D6E-409C-BE32-E72D297353CC}">
              <c16:uniqueId val="{00000001-9586-4BF9-93D7-146AEF9681E9}"/>
            </c:ext>
          </c:extLst>
        </c:ser>
        <c:dLbls>
          <c:showLegendKey val="0"/>
          <c:showVal val="0"/>
          <c:showCatName val="0"/>
          <c:showSerName val="0"/>
          <c:showPercent val="0"/>
          <c:showBubbleSize val="0"/>
        </c:dLbls>
        <c:gapWidth val="0"/>
        <c:axId val="218591232"/>
        <c:axId val="218592768"/>
      </c:barChart>
      <c:catAx>
        <c:axId val="218591232"/>
        <c:scaling>
          <c:orientation val="minMax"/>
        </c:scaling>
        <c:delete val="1"/>
        <c:axPos val="b"/>
        <c:majorTickMark val="out"/>
        <c:minorTickMark val="none"/>
        <c:tickLblPos val="low"/>
        <c:crossAx val="218592768"/>
        <c:crossesAt val="0"/>
        <c:auto val="1"/>
        <c:lblAlgn val="ctr"/>
        <c:lblOffset val="100"/>
        <c:noMultiLvlLbl val="0"/>
      </c:catAx>
      <c:valAx>
        <c:axId val="218592768"/>
        <c:scaling>
          <c:orientation val="minMax"/>
        </c:scaling>
        <c:delete val="0"/>
        <c:axPos val="l"/>
        <c:majorGridlines>
          <c:spPr>
            <a:ln>
              <a:solidFill>
                <a:srgbClr val="F2F2F2"/>
              </a:solidFill>
            </a:ln>
          </c:spPr>
        </c:majorGridlines>
        <c:numFmt formatCode="0.0%" sourceLinked="0"/>
        <c:majorTickMark val="out"/>
        <c:minorTickMark val="none"/>
        <c:tickLblPos val="nextTo"/>
        <c:spPr>
          <a:ln w="15875">
            <a:solidFill>
              <a:schemeClr val="tx1"/>
            </a:solidFill>
          </a:ln>
        </c:spPr>
        <c:txPr>
          <a:bodyPr/>
          <a:lstStyle/>
          <a:p>
            <a:pPr>
              <a:defRPr sz="900" b="0" i="0" u="none">
                <a:solidFill>
                  <a:schemeClr val="bg1"/>
                </a:solidFill>
                <a:latin typeface="Arial"/>
                <a:ea typeface="Arial"/>
                <a:cs typeface="Arial"/>
              </a:defRPr>
            </a:pPr>
            <a:endParaRPr lang="en-US"/>
          </a:p>
        </c:txPr>
        <c:crossAx val="218591232"/>
        <c:crosses val="autoZero"/>
        <c:crossBetween val="between"/>
      </c:valAx>
    </c:plotArea>
    <c:plotVisOnly val="1"/>
    <c:dispBlanksAs val="gap"/>
    <c:showDLblsOverMax val="0"/>
  </c:chart>
  <c:spPr>
    <a:ln w="9525">
      <a:noFill/>
    </a:ln>
  </c:sp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7867867867867863E-2"/>
          <c:y val="4.4404512442219844E-2"/>
          <c:w val="0.91213213213213218"/>
          <c:h val="0.83679119784341305"/>
        </c:manualLayout>
      </c:layout>
      <c:barChart>
        <c:barDir val="col"/>
        <c:grouping val="clustered"/>
        <c:varyColors val="0"/>
        <c:ser>
          <c:idx val="0"/>
          <c:order val="0"/>
          <c:tx>
            <c:strRef>
              <c:f>'AFE Euro RP Brut'!$AR$6</c:f>
              <c:strCache>
                <c:ptCount val="1"/>
                <c:pt idx="0">
                  <c:v>Participation</c:v>
                </c:pt>
              </c:strCache>
            </c:strRef>
          </c:tx>
          <c:spPr>
            <a:solidFill>
              <a:srgbClr val="003C64"/>
            </a:solidFill>
            <a:ln>
              <a:noFill/>
              <a:round/>
            </a:ln>
            <a:effectLst/>
            <a:extLst>
              <a:ext uri="{91240B29-F687-4F45-9708-019B960494DF}">
                <a14:hiddenLine xmlns:a14="http://schemas.microsoft.com/office/drawing/2010/main">
                  <a:noFill/>
                  <a:round/>
                </a14:hiddenLine>
              </a:ext>
            </a:extLst>
          </c:spPr>
          <c:invertIfNegative val="0"/>
          <c:dLbls>
            <c:numFmt formatCode="0.0%" sourceLinked="0"/>
            <c:spPr>
              <a:noFill/>
              <a:ln>
                <a:noFill/>
              </a:ln>
              <a:effectLst/>
            </c:spPr>
            <c:txPr>
              <a:bodyPr/>
              <a:lstStyle/>
              <a:p>
                <a:pPr>
                  <a:defRPr sz="900" b="0" i="0">
                    <a:solidFill>
                      <a:srgbClr val="001C4B"/>
                    </a:solidFill>
                    <a:latin typeface="Arial"/>
                    <a:ea typeface="Arial"/>
                    <a:cs typeface="Arial"/>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FE Euro RP Brut'!$AK$7:$AK$8</c:f>
              <c:strCache>
                <c:ptCount val="2"/>
                <c:pt idx="0">
                  <c:v>Bear participation</c:v>
                </c:pt>
                <c:pt idx="1">
                  <c:v>Bull participation</c:v>
                </c:pt>
              </c:strCache>
            </c:strRef>
          </c:cat>
          <c:val>
            <c:numRef>
              <c:f>'AFE Euro RP Brut'!$AR$7:$AR$8</c:f>
              <c:numCache>
                <c:formatCode>0.00%</c:formatCode>
                <c:ptCount val="2"/>
                <c:pt idx="0">
                  <c:v>0.75436910933992152</c:v>
                </c:pt>
                <c:pt idx="1">
                  <c:v>0.88697562960004117</c:v>
                </c:pt>
              </c:numCache>
            </c:numRef>
          </c:val>
          <c:extLst xmlns:c16r2="http://schemas.microsoft.com/office/drawing/2015/06/chart">
            <c:ext xmlns:c16="http://schemas.microsoft.com/office/drawing/2014/chart" uri="{C3380CC4-5D6E-409C-BE32-E72D297353CC}">
              <c16:uniqueId val="{00000000-0ADC-48B1-9F17-C98A7FDF1CA1}"/>
            </c:ext>
          </c:extLst>
        </c:ser>
        <c:dLbls>
          <c:showLegendKey val="0"/>
          <c:showVal val="0"/>
          <c:showCatName val="0"/>
          <c:showSerName val="0"/>
          <c:showPercent val="0"/>
          <c:showBubbleSize val="0"/>
        </c:dLbls>
        <c:gapWidth val="280"/>
        <c:axId val="218547712"/>
        <c:axId val="218549248"/>
      </c:barChart>
      <c:catAx>
        <c:axId val="218547712"/>
        <c:scaling>
          <c:orientation val="minMax"/>
        </c:scaling>
        <c:delete val="0"/>
        <c:axPos val="b"/>
        <c:numFmt formatCode="General" sourceLinked="1"/>
        <c:majorTickMark val="out"/>
        <c:minorTickMark val="none"/>
        <c:tickLblPos val="low"/>
        <c:spPr>
          <a:ln>
            <a:solidFill>
              <a:srgbClr val="767A7E"/>
            </a:solidFill>
          </a:ln>
        </c:spPr>
        <c:txPr>
          <a:bodyPr/>
          <a:lstStyle/>
          <a:p>
            <a:pPr>
              <a:defRPr sz="900" b="0" i="0" u="none">
                <a:solidFill>
                  <a:srgbClr val="003C64"/>
                </a:solidFill>
                <a:latin typeface="Arial"/>
                <a:ea typeface="Arial"/>
                <a:cs typeface="Arial"/>
              </a:defRPr>
            </a:pPr>
            <a:endParaRPr lang="en-US"/>
          </a:p>
        </c:txPr>
        <c:crossAx val="218549248"/>
        <c:crosses val="autoZero"/>
        <c:auto val="1"/>
        <c:lblAlgn val="ctr"/>
        <c:lblOffset val="100"/>
        <c:noMultiLvlLbl val="0"/>
      </c:catAx>
      <c:valAx>
        <c:axId val="218549248"/>
        <c:scaling>
          <c:orientation val="minMax"/>
          <c:max val="1"/>
        </c:scaling>
        <c:delete val="0"/>
        <c:axPos val="l"/>
        <c:numFmt formatCode="0%" sourceLinked="0"/>
        <c:majorTickMark val="out"/>
        <c:minorTickMark val="none"/>
        <c:tickLblPos val="nextTo"/>
        <c:spPr>
          <a:ln>
            <a:solidFill>
              <a:srgbClr val="767A7E"/>
            </a:solidFill>
          </a:ln>
        </c:spPr>
        <c:txPr>
          <a:bodyPr/>
          <a:lstStyle/>
          <a:p>
            <a:pPr>
              <a:defRPr sz="900" b="0" i="0" u="none">
                <a:solidFill>
                  <a:srgbClr val="003C64"/>
                </a:solidFill>
                <a:latin typeface="Arial"/>
                <a:ea typeface="Arial"/>
                <a:cs typeface="Arial"/>
              </a:defRPr>
            </a:pPr>
            <a:endParaRPr lang="en-US"/>
          </a:p>
        </c:txPr>
        <c:crossAx val="218547712"/>
        <c:crosses val="autoZero"/>
        <c:crossBetween val="between"/>
        <c:majorUnit val="0.2"/>
      </c:valAx>
    </c:plotArea>
    <c:plotVisOnly val="1"/>
    <c:dispBlanksAs val="gap"/>
    <c:showDLblsOverMax val="0"/>
  </c:chart>
  <c:spPr>
    <a:ln w="25400">
      <a:noFill/>
    </a:ln>
  </c:spPr>
  <c:txPr>
    <a:bodyPr/>
    <a:lstStyle/>
    <a:p>
      <a:pPr>
        <a:defRPr>
          <a:latin typeface="Arial" panose="020B0604020202020204" pitchFamily="34" charset="0"/>
          <a:cs typeface="Arial" panose="020B0604020202020204" pitchFamily="34" charset="0"/>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2"/>
          <c:order val="2"/>
          <c:tx>
            <c:strRef>
              <c:f>'AFE Euro RP Brut'!$M$4</c:f>
              <c:strCache>
                <c:ptCount val="1"/>
                <c:pt idx="0">
                  <c:v>Excess return</c:v>
                </c:pt>
              </c:strCache>
            </c:strRef>
          </c:tx>
          <c:spPr>
            <a:solidFill>
              <a:schemeClr val="bg1">
                <a:lumMod val="95000"/>
              </a:schemeClr>
            </a:solidFill>
            <a:ln>
              <a:noFill/>
            </a:ln>
          </c:spPr>
          <c:cat>
            <c:numRef>
              <c:f>'AFE Euro RP Brut'!$C$5:$C$1989</c:f>
              <c:numCache>
                <c:formatCode>m/d/yyyy</c:formatCode>
                <c:ptCount val="1985"/>
                <c:pt idx="0">
                  <c:v>40353</c:v>
                </c:pt>
                <c:pt idx="1">
                  <c:v>40354</c:v>
                </c:pt>
                <c:pt idx="2">
                  <c:v>40357</c:v>
                </c:pt>
                <c:pt idx="3">
                  <c:v>40358</c:v>
                </c:pt>
                <c:pt idx="4">
                  <c:v>40359</c:v>
                </c:pt>
                <c:pt idx="5">
                  <c:v>40360</c:v>
                </c:pt>
                <c:pt idx="6">
                  <c:v>40361</c:v>
                </c:pt>
                <c:pt idx="7">
                  <c:v>40364</c:v>
                </c:pt>
                <c:pt idx="8">
                  <c:v>40365</c:v>
                </c:pt>
                <c:pt idx="9">
                  <c:v>40366</c:v>
                </c:pt>
                <c:pt idx="10">
                  <c:v>40367</c:v>
                </c:pt>
                <c:pt idx="11">
                  <c:v>40368</c:v>
                </c:pt>
                <c:pt idx="12">
                  <c:v>40371</c:v>
                </c:pt>
                <c:pt idx="13">
                  <c:v>40372</c:v>
                </c:pt>
                <c:pt idx="14">
                  <c:v>40373</c:v>
                </c:pt>
                <c:pt idx="15">
                  <c:v>40374</c:v>
                </c:pt>
                <c:pt idx="16">
                  <c:v>40375</c:v>
                </c:pt>
                <c:pt idx="17">
                  <c:v>40378</c:v>
                </c:pt>
                <c:pt idx="18">
                  <c:v>40379</c:v>
                </c:pt>
                <c:pt idx="19">
                  <c:v>40380</c:v>
                </c:pt>
                <c:pt idx="20">
                  <c:v>40381</c:v>
                </c:pt>
                <c:pt idx="21">
                  <c:v>40382</c:v>
                </c:pt>
                <c:pt idx="22">
                  <c:v>40385</c:v>
                </c:pt>
                <c:pt idx="23">
                  <c:v>40386</c:v>
                </c:pt>
                <c:pt idx="24">
                  <c:v>40387</c:v>
                </c:pt>
                <c:pt idx="25">
                  <c:v>40388</c:v>
                </c:pt>
                <c:pt idx="26">
                  <c:v>40389</c:v>
                </c:pt>
                <c:pt idx="27">
                  <c:v>40392</c:v>
                </c:pt>
                <c:pt idx="28">
                  <c:v>40393</c:v>
                </c:pt>
                <c:pt idx="29">
                  <c:v>40394</c:v>
                </c:pt>
                <c:pt idx="30">
                  <c:v>40395</c:v>
                </c:pt>
                <c:pt idx="31">
                  <c:v>40396</c:v>
                </c:pt>
                <c:pt idx="32">
                  <c:v>40399</c:v>
                </c:pt>
                <c:pt idx="33">
                  <c:v>40400</c:v>
                </c:pt>
                <c:pt idx="34">
                  <c:v>40401</c:v>
                </c:pt>
                <c:pt idx="35">
                  <c:v>40402</c:v>
                </c:pt>
                <c:pt idx="36">
                  <c:v>40403</c:v>
                </c:pt>
                <c:pt idx="37">
                  <c:v>40406</c:v>
                </c:pt>
                <c:pt idx="38">
                  <c:v>40407</c:v>
                </c:pt>
                <c:pt idx="39">
                  <c:v>40408</c:v>
                </c:pt>
                <c:pt idx="40">
                  <c:v>40409</c:v>
                </c:pt>
                <c:pt idx="41">
                  <c:v>40410</c:v>
                </c:pt>
                <c:pt idx="42">
                  <c:v>40413</c:v>
                </c:pt>
                <c:pt idx="43">
                  <c:v>40414</c:v>
                </c:pt>
                <c:pt idx="44">
                  <c:v>40415</c:v>
                </c:pt>
                <c:pt idx="45">
                  <c:v>40416</c:v>
                </c:pt>
                <c:pt idx="46">
                  <c:v>40417</c:v>
                </c:pt>
                <c:pt idx="47">
                  <c:v>40420</c:v>
                </c:pt>
                <c:pt idx="48">
                  <c:v>40421</c:v>
                </c:pt>
                <c:pt idx="49">
                  <c:v>40422</c:v>
                </c:pt>
                <c:pt idx="50">
                  <c:v>40423</c:v>
                </c:pt>
                <c:pt idx="51">
                  <c:v>40424</c:v>
                </c:pt>
                <c:pt idx="52">
                  <c:v>40427</c:v>
                </c:pt>
                <c:pt idx="53">
                  <c:v>40428</c:v>
                </c:pt>
                <c:pt idx="54">
                  <c:v>40429</c:v>
                </c:pt>
                <c:pt idx="55">
                  <c:v>40430</c:v>
                </c:pt>
                <c:pt idx="56">
                  <c:v>40431</c:v>
                </c:pt>
                <c:pt idx="57">
                  <c:v>40434</c:v>
                </c:pt>
                <c:pt idx="58">
                  <c:v>40435</c:v>
                </c:pt>
                <c:pt idx="59">
                  <c:v>40436</c:v>
                </c:pt>
                <c:pt idx="60">
                  <c:v>40437</c:v>
                </c:pt>
                <c:pt idx="61">
                  <c:v>40438</c:v>
                </c:pt>
                <c:pt idx="62">
                  <c:v>40441</c:v>
                </c:pt>
                <c:pt idx="63">
                  <c:v>40442</c:v>
                </c:pt>
                <c:pt idx="64">
                  <c:v>40443</c:v>
                </c:pt>
                <c:pt idx="65">
                  <c:v>40444</c:v>
                </c:pt>
                <c:pt idx="66">
                  <c:v>40445</c:v>
                </c:pt>
                <c:pt idx="67">
                  <c:v>40448</c:v>
                </c:pt>
                <c:pt idx="68">
                  <c:v>40449</c:v>
                </c:pt>
                <c:pt idx="69">
                  <c:v>40450</c:v>
                </c:pt>
                <c:pt idx="70">
                  <c:v>40451</c:v>
                </c:pt>
                <c:pt idx="71">
                  <c:v>40452</c:v>
                </c:pt>
                <c:pt idx="72">
                  <c:v>40455</c:v>
                </c:pt>
                <c:pt idx="73">
                  <c:v>40456</c:v>
                </c:pt>
                <c:pt idx="74">
                  <c:v>40457</c:v>
                </c:pt>
                <c:pt idx="75">
                  <c:v>40458</c:v>
                </c:pt>
                <c:pt idx="76">
                  <c:v>40459</c:v>
                </c:pt>
                <c:pt idx="77">
                  <c:v>40462</c:v>
                </c:pt>
                <c:pt idx="78">
                  <c:v>40463</c:v>
                </c:pt>
                <c:pt idx="79">
                  <c:v>40464</c:v>
                </c:pt>
                <c:pt idx="80">
                  <c:v>40465</c:v>
                </c:pt>
                <c:pt idx="81">
                  <c:v>40466</c:v>
                </c:pt>
                <c:pt idx="82">
                  <c:v>40469</c:v>
                </c:pt>
                <c:pt idx="83">
                  <c:v>40470</c:v>
                </c:pt>
                <c:pt idx="84">
                  <c:v>40471</c:v>
                </c:pt>
                <c:pt idx="85">
                  <c:v>40472</c:v>
                </c:pt>
                <c:pt idx="86">
                  <c:v>40473</c:v>
                </c:pt>
                <c:pt idx="87">
                  <c:v>40476</c:v>
                </c:pt>
                <c:pt idx="88">
                  <c:v>40477</c:v>
                </c:pt>
                <c:pt idx="89">
                  <c:v>40478</c:v>
                </c:pt>
                <c:pt idx="90">
                  <c:v>40479</c:v>
                </c:pt>
                <c:pt idx="91">
                  <c:v>40480</c:v>
                </c:pt>
                <c:pt idx="92">
                  <c:v>40483</c:v>
                </c:pt>
                <c:pt idx="93">
                  <c:v>40484</c:v>
                </c:pt>
                <c:pt idx="94">
                  <c:v>40485</c:v>
                </c:pt>
                <c:pt idx="95">
                  <c:v>40486</c:v>
                </c:pt>
                <c:pt idx="96">
                  <c:v>40487</c:v>
                </c:pt>
                <c:pt idx="97">
                  <c:v>40490</c:v>
                </c:pt>
                <c:pt idx="98">
                  <c:v>40491</c:v>
                </c:pt>
                <c:pt idx="99">
                  <c:v>40492</c:v>
                </c:pt>
                <c:pt idx="100">
                  <c:v>40493</c:v>
                </c:pt>
                <c:pt idx="101">
                  <c:v>40494</c:v>
                </c:pt>
                <c:pt idx="102">
                  <c:v>40497</c:v>
                </c:pt>
                <c:pt idx="103">
                  <c:v>40498</c:v>
                </c:pt>
                <c:pt idx="104">
                  <c:v>40499</c:v>
                </c:pt>
                <c:pt idx="105">
                  <c:v>40500</c:v>
                </c:pt>
                <c:pt idx="106">
                  <c:v>40501</c:v>
                </c:pt>
                <c:pt idx="107">
                  <c:v>40504</c:v>
                </c:pt>
                <c:pt idx="108">
                  <c:v>40505</c:v>
                </c:pt>
                <c:pt idx="109">
                  <c:v>40506</c:v>
                </c:pt>
                <c:pt idx="110">
                  <c:v>40507</c:v>
                </c:pt>
                <c:pt idx="111">
                  <c:v>40508</c:v>
                </c:pt>
                <c:pt idx="112">
                  <c:v>40511</c:v>
                </c:pt>
                <c:pt idx="113">
                  <c:v>40512</c:v>
                </c:pt>
                <c:pt idx="114">
                  <c:v>40513</c:v>
                </c:pt>
                <c:pt idx="115">
                  <c:v>40514</c:v>
                </c:pt>
                <c:pt idx="116">
                  <c:v>40515</c:v>
                </c:pt>
                <c:pt idx="117">
                  <c:v>40518</c:v>
                </c:pt>
                <c:pt idx="118">
                  <c:v>40519</c:v>
                </c:pt>
                <c:pt idx="119">
                  <c:v>40520</c:v>
                </c:pt>
                <c:pt idx="120">
                  <c:v>40521</c:v>
                </c:pt>
                <c:pt idx="121">
                  <c:v>40522</c:v>
                </c:pt>
                <c:pt idx="122">
                  <c:v>40525</c:v>
                </c:pt>
                <c:pt idx="123">
                  <c:v>40526</c:v>
                </c:pt>
                <c:pt idx="124">
                  <c:v>40527</c:v>
                </c:pt>
                <c:pt idx="125">
                  <c:v>40528</c:v>
                </c:pt>
                <c:pt idx="126">
                  <c:v>40529</c:v>
                </c:pt>
                <c:pt idx="127">
                  <c:v>40532</c:v>
                </c:pt>
                <c:pt idx="128">
                  <c:v>40533</c:v>
                </c:pt>
                <c:pt idx="129">
                  <c:v>40534</c:v>
                </c:pt>
                <c:pt idx="130">
                  <c:v>40535</c:v>
                </c:pt>
                <c:pt idx="131">
                  <c:v>40536</c:v>
                </c:pt>
                <c:pt idx="132">
                  <c:v>40539</c:v>
                </c:pt>
                <c:pt idx="133">
                  <c:v>40540</c:v>
                </c:pt>
                <c:pt idx="134">
                  <c:v>40541</c:v>
                </c:pt>
                <c:pt idx="135">
                  <c:v>40542</c:v>
                </c:pt>
                <c:pt idx="136">
                  <c:v>40543</c:v>
                </c:pt>
                <c:pt idx="137">
                  <c:v>40546</c:v>
                </c:pt>
                <c:pt idx="138">
                  <c:v>40547</c:v>
                </c:pt>
                <c:pt idx="139">
                  <c:v>40548</c:v>
                </c:pt>
                <c:pt idx="140">
                  <c:v>40549</c:v>
                </c:pt>
                <c:pt idx="141">
                  <c:v>40550</c:v>
                </c:pt>
                <c:pt idx="142">
                  <c:v>40553</c:v>
                </c:pt>
                <c:pt idx="143">
                  <c:v>40554</c:v>
                </c:pt>
                <c:pt idx="144">
                  <c:v>40555</c:v>
                </c:pt>
                <c:pt idx="145">
                  <c:v>40556</c:v>
                </c:pt>
                <c:pt idx="146">
                  <c:v>40557</c:v>
                </c:pt>
                <c:pt idx="147">
                  <c:v>40560</c:v>
                </c:pt>
                <c:pt idx="148">
                  <c:v>40561</c:v>
                </c:pt>
                <c:pt idx="149">
                  <c:v>40562</c:v>
                </c:pt>
                <c:pt idx="150">
                  <c:v>40563</c:v>
                </c:pt>
                <c:pt idx="151">
                  <c:v>40564</c:v>
                </c:pt>
                <c:pt idx="152">
                  <c:v>40567</c:v>
                </c:pt>
                <c:pt idx="153">
                  <c:v>40568</c:v>
                </c:pt>
                <c:pt idx="154">
                  <c:v>40569</c:v>
                </c:pt>
                <c:pt idx="155">
                  <c:v>40570</c:v>
                </c:pt>
                <c:pt idx="156">
                  <c:v>40571</c:v>
                </c:pt>
                <c:pt idx="157">
                  <c:v>40574</c:v>
                </c:pt>
                <c:pt idx="158">
                  <c:v>40575</c:v>
                </c:pt>
                <c:pt idx="159">
                  <c:v>40576</c:v>
                </c:pt>
                <c:pt idx="160">
                  <c:v>40577</c:v>
                </c:pt>
                <c:pt idx="161">
                  <c:v>40578</c:v>
                </c:pt>
                <c:pt idx="162">
                  <c:v>40581</c:v>
                </c:pt>
                <c:pt idx="163">
                  <c:v>40582</c:v>
                </c:pt>
                <c:pt idx="164">
                  <c:v>40583</c:v>
                </c:pt>
                <c:pt idx="165">
                  <c:v>40584</c:v>
                </c:pt>
                <c:pt idx="166">
                  <c:v>40585</c:v>
                </c:pt>
                <c:pt idx="167">
                  <c:v>40588</c:v>
                </c:pt>
                <c:pt idx="168">
                  <c:v>40589</c:v>
                </c:pt>
                <c:pt idx="169">
                  <c:v>40590</c:v>
                </c:pt>
                <c:pt idx="170">
                  <c:v>40591</c:v>
                </c:pt>
                <c:pt idx="171">
                  <c:v>40592</c:v>
                </c:pt>
                <c:pt idx="172">
                  <c:v>40595</c:v>
                </c:pt>
                <c:pt idx="173">
                  <c:v>40596</c:v>
                </c:pt>
                <c:pt idx="174">
                  <c:v>40597</c:v>
                </c:pt>
                <c:pt idx="175">
                  <c:v>40598</c:v>
                </c:pt>
                <c:pt idx="176">
                  <c:v>40599</c:v>
                </c:pt>
                <c:pt idx="177">
                  <c:v>40602</c:v>
                </c:pt>
                <c:pt idx="178">
                  <c:v>40603</c:v>
                </c:pt>
                <c:pt idx="179">
                  <c:v>40604</c:v>
                </c:pt>
                <c:pt idx="180">
                  <c:v>40605</c:v>
                </c:pt>
                <c:pt idx="181">
                  <c:v>40606</c:v>
                </c:pt>
                <c:pt idx="182">
                  <c:v>40609</c:v>
                </c:pt>
                <c:pt idx="183">
                  <c:v>40610</c:v>
                </c:pt>
                <c:pt idx="184">
                  <c:v>40611</c:v>
                </c:pt>
                <c:pt idx="185">
                  <c:v>40612</c:v>
                </c:pt>
                <c:pt idx="186">
                  <c:v>40613</c:v>
                </c:pt>
                <c:pt idx="187">
                  <c:v>40616</c:v>
                </c:pt>
                <c:pt idx="188">
                  <c:v>40617</c:v>
                </c:pt>
                <c:pt idx="189">
                  <c:v>40618</c:v>
                </c:pt>
                <c:pt idx="190">
                  <c:v>40619</c:v>
                </c:pt>
                <c:pt idx="191">
                  <c:v>40620</c:v>
                </c:pt>
                <c:pt idx="192">
                  <c:v>40623</c:v>
                </c:pt>
                <c:pt idx="193">
                  <c:v>40624</c:v>
                </c:pt>
                <c:pt idx="194">
                  <c:v>40625</c:v>
                </c:pt>
                <c:pt idx="195">
                  <c:v>40626</c:v>
                </c:pt>
                <c:pt idx="196">
                  <c:v>40627</c:v>
                </c:pt>
                <c:pt idx="197">
                  <c:v>40630</c:v>
                </c:pt>
                <c:pt idx="198">
                  <c:v>40631</c:v>
                </c:pt>
                <c:pt idx="199">
                  <c:v>40632</c:v>
                </c:pt>
                <c:pt idx="200">
                  <c:v>40633</c:v>
                </c:pt>
                <c:pt idx="201">
                  <c:v>40634</c:v>
                </c:pt>
                <c:pt idx="202">
                  <c:v>40637</c:v>
                </c:pt>
                <c:pt idx="203">
                  <c:v>40638</c:v>
                </c:pt>
                <c:pt idx="204">
                  <c:v>40639</c:v>
                </c:pt>
                <c:pt idx="205">
                  <c:v>40640</c:v>
                </c:pt>
                <c:pt idx="206">
                  <c:v>40641</c:v>
                </c:pt>
                <c:pt idx="207">
                  <c:v>40644</c:v>
                </c:pt>
                <c:pt idx="208">
                  <c:v>40645</c:v>
                </c:pt>
                <c:pt idx="209">
                  <c:v>40646</c:v>
                </c:pt>
                <c:pt idx="210">
                  <c:v>40647</c:v>
                </c:pt>
                <c:pt idx="211">
                  <c:v>40648</c:v>
                </c:pt>
                <c:pt idx="212">
                  <c:v>40651</c:v>
                </c:pt>
                <c:pt idx="213">
                  <c:v>40652</c:v>
                </c:pt>
                <c:pt idx="214">
                  <c:v>40653</c:v>
                </c:pt>
                <c:pt idx="215">
                  <c:v>40654</c:v>
                </c:pt>
                <c:pt idx="216">
                  <c:v>40655</c:v>
                </c:pt>
                <c:pt idx="217">
                  <c:v>40658</c:v>
                </c:pt>
                <c:pt idx="218">
                  <c:v>40659</c:v>
                </c:pt>
                <c:pt idx="219">
                  <c:v>40660</c:v>
                </c:pt>
                <c:pt idx="220">
                  <c:v>40661</c:v>
                </c:pt>
                <c:pt idx="221">
                  <c:v>40662</c:v>
                </c:pt>
                <c:pt idx="222">
                  <c:v>40665</c:v>
                </c:pt>
                <c:pt idx="223">
                  <c:v>40666</c:v>
                </c:pt>
                <c:pt idx="224">
                  <c:v>40667</c:v>
                </c:pt>
                <c:pt idx="225">
                  <c:v>40668</c:v>
                </c:pt>
                <c:pt idx="226">
                  <c:v>40669</c:v>
                </c:pt>
                <c:pt idx="227">
                  <c:v>40672</c:v>
                </c:pt>
                <c:pt idx="228">
                  <c:v>40673</c:v>
                </c:pt>
                <c:pt idx="229">
                  <c:v>40674</c:v>
                </c:pt>
                <c:pt idx="230">
                  <c:v>40675</c:v>
                </c:pt>
                <c:pt idx="231">
                  <c:v>40676</c:v>
                </c:pt>
                <c:pt idx="232">
                  <c:v>40679</c:v>
                </c:pt>
                <c:pt idx="233">
                  <c:v>40680</c:v>
                </c:pt>
                <c:pt idx="234">
                  <c:v>40681</c:v>
                </c:pt>
                <c:pt idx="235">
                  <c:v>40682</c:v>
                </c:pt>
                <c:pt idx="236">
                  <c:v>40683</c:v>
                </c:pt>
                <c:pt idx="237">
                  <c:v>40686</c:v>
                </c:pt>
                <c:pt idx="238">
                  <c:v>40687</c:v>
                </c:pt>
                <c:pt idx="239">
                  <c:v>40688</c:v>
                </c:pt>
                <c:pt idx="240">
                  <c:v>40689</c:v>
                </c:pt>
                <c:pt idx="241">
                  <c:v>40690</c:v>
                </c:pt>
                <c:pt idx="242">
                  <c:v>40693</c:v>
                </c:pt>
                <c:pt idx="243">
                  <c:v>40694</c:v>
                </c:pt>
                <c:pt idx="244">
                  <c:v>40695</c:v>
                </c:pt>
                <c:pt idx="245">
                  <c:v>40696</c:v>
                </c:pt>
                <c:pt idx="246">
                  <c:v>40697</c:v>
                </c:pt>
                <c:pt idx="247">
                  <c:v>40700</c:v>
                </c:pt>
                <c:pt idx="248">
                  <c:v>40701</c:v>
                </c:pt>
                <c:pt idx="249">
                  <c:v>40702</c:v>
                </c:pt>
                <c:pt idx="250">
                  <c:v>40703</c:v>
                </c:pt>
                <c:pt idx="251">
                  <c:v>40704</c:v>
                </c:pt>
                <c:pt idx="252">
                  <c:v>40707</c:v>
                </c:pt>
                <c:pt idx="253">
                  <c:v>40708</c:v>
                </c:pt>
                <c:pt idx="254">
                  <c:v>40709</c:v>
                </c:pt>
                <c:pt idx="255">
                  <c:v>40710</c:v>
                </c:pt>
                <c:pt idx="256">
                  <c:v>40711</c:v>
                </c:pt>
                <c:pt idx="257">
                  <c:v>40714</c:v>
                </c:pt>
                <c:pt idx="258">
                  <c:v>40715</c:v>
                </c:pt>
                <c:pt idx="259">
                  <c:v>40716</c:v>
                </c:pt>
                <c:pt idx="260">
                  <c:v>40717</c:v>
                </c:pt>
                <c:pt idx="261">
                  <c:v>40718</c:v>
                </c:pt>
                <c:pt idx="262">
                  <c:v>40721</c:v>
                </c:pt>
                <c:pt idx="263">
                  <c:v>40722</c:v>
                </c:pt>
                <c:pt idx="264">
                  <c:v>40723</c:v>
                </c:pt>
                <c:pt idx="265">
                  <c:v>40724</c:v>
                </c:pt>
                <c:pt idx="266">
                  <c:v>40725</c:v>
                </c:pt>
                <c:pt idx="267">
                  <c:v>40728</c:v>
                </c:pt>
                <c:pt idx="268">
                  <c:v>40729</c:v>
                </c:pt>
                <c:pt idx="269">
                  <c:v>40730</c:v>
                </c:pt>
                <c:pt idx="270">
                  <c:v>40731</c:v>
                </c:pt>
                <c:pt idx="271">
                  <c:v>40732</c:v>
                </c:pt>
                <c:pt idx="272">
                  <c:v>40735</c:v>
                </c:pt>
                <c:pt idx="273">
                  <c:v>40736</c:v>
                </c:pt>
                <c:pt idx="274">
                  <c:v>40737</c:v>
                </c:pt>
                <c:pt idx="275">
                  <c:v>40738</c:v>
                </c:pt>
                <c:pt idx="276">
                  <c:v>40739</c:v>
                </c:pt>
                <c:pt idx="277">
                  <c:v>40742</c:v>
                </c:pt>
                <c:pt idx="278">
                  <c:v>40743</c:v>
                </c:pt>
                <c:pt idx="279">
                  <c:v>40744</c:v>
                </c:pt>
                <c:pt idx="280">
                  <c:v>40745</c:v>
                </c:pt>
                <c:pt idx="281">
                  <c:v>40746</c:v>
                </c:pt>
                <c:pt idx="282">
                  <c:v>40749</c:v>
                </c:pt>
                <c:pt idx="283">
                  <c:v>40750</c:v>
                </c:pt>
                <c:pt idx="284">
                  <c:v>40751</c:v>
                </c:pt>
                <c:pt idx="285">
                  <c:v>40752</c:v>
                </c:pt>
                <c:pt idx="286">
                  <c:v>40753</c:v>
                </c:pt>
                <c:pt idx="287">
                  <c:v>40756</c:v>
                </c:pt>
                <c:pt idx="288">
                  <c:v>40757</c:v>
                </c:pt>
                <c:pt idx="289">
                  <c:v>40758</c:v>
                </c:pt>
                <c:pt idx="290">
                  <c:v>40759</c:v>
                </c:pt>
                <c:pt idx="291">
                  <c:v>40760</c:v>
                </c:pt>
                <c:pt idx="292">
                  <c:v>40763</c:v>
                </c:pt>
                <c:pt idx="293">
                  <c:v>40764</c:v>
                </c:pt>
                <c:pt idx="294">
                  <c:v>40765</c:v>
                </c:pt>
                <c:pt idx="295">
                  <c:v>40766</c:v>
                </c:pt>
                <c:pt idx="296">
                  <c:v>40767</c:v>
                </c:pt>
                <c:pt idx="297">
                  <c:v>40770</c:v>
                </c:pt>
                <c:pt idx="298">
                  <c:v>40771</c:v>
                </c:pt>
                <c:pt idx="299">
                  <c:v>40772</c:v>
                </c:pt>
                <c:pt idx="300">
                  <c:v>40773</c:v>
                </c:pt>
                <c:pt idx="301">
                  <c:v>40774</c:v>
                </c:pt>
                <c:pt idx="302">
                  <c:v>40777</c:v>
                </c:pt>
                <c:pt idx="303">
                  <c:v>40778</c:v>
                </c:pt>
                <c:pt idx="304">
                  <c:v>40779</c:v>
                </c:pt>
                <c:pt idx="305">
                  <c:v>40780</c:v>
                </c:pt>
                <c:pt idx="306">
                  <c:v>40781</c:v>
                </c:pt>
                <c:pt idx="307">
                  <c:v>40784</c:v>
                </c:pt>
                <c:pt idx="308">
                  <c:v>40785</c:v>
                </c:pt>
                <c:pt idx="309">
                  <c:v>40786</c:v>
                </c:pt>
                <c:pt idx="310">
                  <c:v>40787</c:v>
                </c:pt>
                <c:pt idx="311">
                  <c:v>40788</c:v>
                </c:pt>
                <c:pt idx="312">
                  <c:v>40791</c:v>
                </c:pt>
                <c:pt idx="313">
                  <c:v>40792</c:v>
                </c:pt>
                <c:pt idx="314">
                  <c:v>40793</c:v>
                </c:pt>
                <c:pt idx="315">
                  <c:v>40794</c:v>
                </c:pt>
                <c:pt idx="316">
                  <c:v>40795</c:v>
                </c:pt>
                <c:pt idx="317">
                  <c:v>40798</c:v>
                </c:pt>
                <c:pt idx="318">
                  <c:v>40799</c:v>
                </c:pt>
                <c:pt idx="319">
                  <c:v>40800</c:v>
                </c:pt>
                <c:pt idx="320">
                  <c:v>40801</c:v>
                </c:pt>
                <c:pt idx="321">
                  <c:v>40802</c:v>
                </c:pt>
                <c:pt idx="322">
                  <c:v>40805</c:v>
                </c:pt>
                <c:pt idx="323">
                  <c:v>40806</c:v>
                </c:pt>
                <c:pt idx="324">
                  <c:v>40807</c:v>
                </c:pt>
                <c:pt idx="325">
                  <c:v>40808</c:v>
                </c:pt>
                <c:pt idx="326">
                  <c:v>40809</c:v>
                </c:pt>
                <c:pt idx="327">
                  <c:v>40812</c:v>
                </c:pt>
                <c:pt idx="328">
                  <c:v>40813</c:v>
                </c:pt>
                <c:pt idx="329">
                  <c:v>40814</c:v>
                </c:pt>
                <c:pt idx="330">
                  <c:v>40815</c:v>
                </c:pt>
                <c:pt idx="331">
                  <c:v>40816</c:v>
                </c:pt>
                <c:pt idx="332">
                  <c:v>40819</c:v>
                </c:pt>
                <c:pt idx="333">
                  <c:v>40820</c:v>
                </c:pt>
                <c:pt idx="334">
                  <c:v>40821</c:v>
                </c:pt>
                <c:pt idx="335">
                  <c:v>40822</c:v>
                </c:pt>
                <c:pt idx="336">
                  <c:v>40823</c:v>
                </c:pt>
                <c:pt idx="337">
                  <c:v>40826</c:v>
                </c:pt>
                <c:pt idx="338">
                  <c:v>40827</c:v>
                </c:pt>
                <c:pt idx="339">
                  <c:v>40828</c:v>
                </c:pt>
                <c:pt idx="340">
                  <c:v>40829</c:v>
                </c:pt>
                <c:pt idx="341">
                  <c:v>40830</c:v>
                </c:pt>
                <c:pt idx="342">
                  <c:v>40833</c:v>
                </c:pt>
                <c:pt idx="343">
                  <c:v>40834</c:v>
                </c:pt>
                <c:pt idx="344">
                  <c:v>40835</c:v>
                </c:pt>
                <c:pt idx="345">
                  <c:v>40836</c:v>
                </c:pt>
                <c:pt idx="346">
                  <c:v>40837</c:v>
                </c:pt>
                <c:pt idx="347">
                  <c:v>40840</c:v>
                </c:pt>
                <c:pt idx="348">
                  <c:v>40841</c:v>
                </c:pt>
                <c:pt idx="349">
                  <c:v>40842</c:v>
                </c:pt>
                <c:pt idx="350">
                  <c:v>40843</c:v>
                </c:pt>
                <c:pt idx="351">
                  <c:v>40844</c:v>
                </c:pt>
                <c:pt idx="352">
                  <c:v>40847</c:v>
                </c:pt>
                <c:pt idx="353">
                  <c:v>40848</c:v>
                </c:pt>
                <c:pt idx="354">
                  <c:v>40849</c:v>
                </c:pt>
                <c:pt idx="355">
                  <c:v>40850</c:v>
                </c:pt>
                <c:pt idx="356">
                  <c:v>40851</c:v>
                </c:pt>
                <c:pt idx="357">
                  <c:v>40854</c:v>
                </c:pt>
                <c:pt idx="358">
                  <c:v>40855</c:v>
                </c:pt>
                <c:pt idx="359">
                  <c:v>40856</c:v>
                </c:pt>
                <c:pt idx="360">
                  <c:v>40857</c:v>
                </c:pt>
                <c:pt idx="361">
                  <c:v>40858</c:v>
                </c:pt>
                <c:pt idx="362">
                  <c:v>40861</c:v>
                </c:pt>
                <c:pt idx="363">
                  <c:v>40862</c:v>
                </c:pt>
                <c:pt idx="364">
                  <c:v>40863</c:v>
                </c:pt>
                <c:pt idx="365">
                  <c:v>40864</c:v>
                </c:pt>
                <c:pt idx="366">
                  <c:v>40865</c:v>
                </c:pt>
                <c:pt idx="367">
                  <c:v>40868</c:v>
                </c:pt>
                <c:pt idx="368">
                  <c:v>40869</c:v>
                </c:pt>
                <c:pt idx="369">
                  <c:v>40870</c:v>
                </c:pt>
                <c:pt idx="370">
                  <c:v>40871</c:v>
                </c:pt>
                <c:pt idx="371">
                  <c:v>40872</c:v>
                </c:pt>
                <c:pt idx="372">
                  <c:v>40875</c:v>
                </c:pt>
                <c:pt idx="373">
                  <c:v>40876</c:v>
                </c:pt>
                <c:pt idx="374">
                  <c:v>40877</c:v>
                </c:pt>
                <c:pt idx="375">
                  <c:v>40878</c:v>
                </c:pt>
                <c:pt idx="376">
                  <c:v>40879</c:v>
                </c:pt>
                <c:pt idx="377">
                  <c:v>40882</c:v>
                </c:pt>
                <c:pt idx="378">
                  <c:v>40883</c:v>
                </c:pt>
                <c:pt idx="379">
                  <c:v>40884</c:v>
                </c:pt>
                <c:pt idx="380">
                  <c:v>40885</c:v>
                </c:pt>
                <c:pt idx="381">
                  <c:v>40886</c:v>
                </c:pt>
                <c:pt idx="382">
                  <c:v>40889</c:v>
                </c:pt>
                <c:pt idx="383">
                  <c:v>40890</c:v>
                </c:pt>
                <c:pt idx="384">
                  <c:v>40891</c:v>
                </c:pt>
                <c:pt idx="385">
                  <c:v>40892</c:v>
                </c:pt>
                <c:pt idx="386">
                  <c:v>40893</c:v>
                </c:pt>
                <c:pt idx="387">
                  <c:v>40896</c:v>
                </c:pt>
                <c:pt idx="388">
                  <c:v>40897</c:v>
                </c:pt>
                <c:pt idx="389">
                  <c:v>40898</c:v>
                </c:pt>
                <c:pt idx="390">
                  <c:v>40899</c:v>
                </c:pt>
                <c:pt idx="391">
                  <c:v>40900</c:v>
                </c:pt>
                <c:pt idx="392">
                  <c:v>40903</c:v>
                </c:pt>
                <c:pt idx="393">
                  <c:v>40904</c:v>
                </c:pt>
                <c:pt idx="394">
                  <c:v>40905</c:v>
                </c:pt>
                <c:pt idx="395">
                  <c:v>40906</c:v>
                </c:pt>
                <c:pt idx="396">
                  <c:v>40907</c:v>
                </c:pt>
                <c:pt idx="397">
                  <c:v>40910</c:v>
                </c:pt>
                <c:pt idx="398">
                  <c:v>40911</c:v>
                </c:pt>
                <c:pt idx="399">
                  <c:v>40912</c:v>
                </c:pt>
                <c:pt idx="400">
                  <c:v>40913</c:v>
                </c:pt>
                <c:pt idx="401">
                  <c:v>40914</c:v>
                </c:pt>
                <c:pt idx="402">
                  <c:v>40917</c:v>
                </c:pt>
                <c:pt idx="403">
                  <c:v>40918</c:v>
                </c:pt>
                <c:pt idx="404">
                  <c:v>40919</c:v>
                </c:pt>
                <c:pt idx="405">
                  <c:v>40920</c:v>
                </c:pt>
                <c:pt idx="406">
                  <c:v>40921</c:v>
                </c:pt>
                <c:pt idx="407">
                  <c:v>40924</c:v>
                </c:pt>
                <c:pt idx="408">
                  <c:v>40925</c:v>
                </c:pt>
                <c:pt idx="409">
                  <c:v>40926</c:v>
                </c:pt>
                <c:pt idx="410">
                  <c:v>40927</c:v>
                </c:pt>
                <c:pt idx="411">
                  <c:v>40928</c:v>
                </c:pt>
                <c:pt idx="412">
                  <c:v>40931</c:v>
                </c:pt>
                <c:pt idx="413">
                  <c:v>40932</c:v>
                </c:pt>
                <c:pt idx="414">
                  <c:v>40933</c:v>
                </c:pt>
                <c:pt idx="415">
                  <c:v>40934</c:v>
                </c:pt>
                <c:pt idx="416">
                  <c:v>40935</c:v>
                </c:pt>
                <c:pt idx="417">
                  <c:v>40938</c:v>
                </c:pt>
                <c:pt idx="418">
                  <c:v>40939</c:v>
                </c:pt>
                <c:pt idx="419">
                  <c:v>40940</c:v>
                </c:pt>
                <c:pt idx="420">
                  <c:v>40941</c:v>
                </c:pt>
                <c:pt idx="421">
                  <c:v>40942</c:v>
                </c:pt>
                <c:pt idx="422">
                  <c:v>40945</c:v>
                </c:pt>
                <c:pt idx="423">
                  <c:v>40946</c:v>
                </c:pt>
                <c:pt idx="424">
                  <c:v>40947</c:v>
                </c:pt>
                <c:pt idx="425">
                  <c:v>40948</c:v>
                </c:pt>
                <c:pt idx="426">
                  <c:v>40949</c:v>
                </c:pt>
                <c:pt idx="427">
                  <c:v>40952</c:v>
                </c:pt>
                <c:pt idx="428">
                  <c:v>40953</c:v>
                </c:pt>
                <c:pt idx="429">
                  <c:v>40954</c:v>
                </c:pt>
                <c:pt idx="430">
                  <c:v>40955</c:v>
                </c:pt>
                <c:pt idx="431">
                  <c:v>40956</c:v>
                </c:pt>
                <c:pt idx="432">
                  <c:v>40959</c:v>
                </c:pt>
                <c:pt idx="433">
                  <c:v>40960</c:v>
                </c:pt>
                <c:pt idx="434">
                  <c:v>40961</c:v>
                </c:pt>
                <c:pt idx="435">
                  <c:v>40962</c:v>
                </c:pt>
                <c:pt idx="436">
                  <c:v>40963</c:v>
                </c:pt>
                <c:pt idx="437">
                  <c:v>40966</c:v>
                </c:pt>
                <c:pt idx="438">
                  <c:v>40967</c:v>
                </c:pt>
                <c:pt idx="439">
                  <c:v>40968</c:v>
                </c:pt>
                <c:pt idx="440">
                  <c:v>40969</c:v>
                </c:pt>
                <c:pt idx="441">
                  <c:v>40970</c:v>
                </c:pt>
                <c:pt idx="442">
                  <c:v>40973</c:v>
                </c:pt>
                <c:pt idx="443">
                  <c:v>40974</c:v>
                </c:pt>
                <c:pt idx="444">
                  <c:v>40975</c:v>
                </c:pt>
                <c:pt idx="445">
                  <c:v>40976</c:v>
                </c:pt>
                <c:pt idx="446">
                  <c:v>40977</c:v>
                </c:pt>
                <c:pt idx="447">
                  <c:v>40980</c:v>
                </c:pt>
                <c:pt idx="448">
                  <c:v>40981</c:v>
                </c:pt>
                <c:pt idx="449">
                  <c:v>40982</c:v>
                </c:pt>
                <c:pt idx="450">
                  <c:v>40983</c:v>
                </c:pt>
                <c:pt idx="451">
                  <c:v>40984</c:v>
                </c:pt>
                <c:pt idx="452">
                  <c:v>40987</c:v>
                </c:pt>
                <c:pt idx="453">
                  <c:v>40988</c:v>
                </c:pt>
                <c:pt idx="454">
                  <c:v>40989</c:v>
                </c:pt>
                <c:pt idx="455">
                  <c:v>40990</c:v>
                </c:pt>
                <c:pt idx="456">
                  <c:v>40991</c:v>
                </c:pt>
                <c:pt idx="457">
                  <c:v>40994</c:v>
                </c:pt>
                <c:pt idx="458">
                  <c:v>40995</c:v>
                </c:pt>
                <c:pt idx="459">
                  <c:v>40996</c:v>
                </c:pt>
                <c:pt idx="460">
                  <c:v>40997</c:v>
                </c:pt>
                <c:pt idx="461">
                  <c:v>40998</c:v>
                </c:pt>
                <c:pt idx="462">
                  <c:v>41001</c:v>
                </c:pt>
                <c:pt idx="463">
                  <c:v>41002</c:v>
                </c:pt>
                <c:pt idx="464">
                  <c:v>41003</c:v>
                </c:pt>
                <c:pt idx="465">
                  <c:v>41004</c:v>
                </c:pt>
                <c:pt idx="466">
                  <c:v>41005</c:v>
                </c:pt>
                <c:pt idx="467">
                  <c:v>41008</c:v>
                </c:pt>
                <c:pt idx="468">
                  <c:v>41009</c:v>
                </c:pt>
                <c:pt idx="469">
                  <c:v>41010</c:v>
                </c:pt>
                <c:pt idx="470">
                  <c:v>41011</c:v>
                </c:pt>
                <c:pt idx="471">
                  <c:v>41012</c:v>
                </c:pt>
                <c:pt idx="472">
                  <c:v>41015</c:v>
                </c:pt>
                <c:pt idx="473">
                  <c:v>41016</c:v>
                </c:pt>
                <c:pt idx="474">
                  <c:v>41017</c:v>
                </c:pt>
                <c:pt idx="475">
                  <c:v>41018</c:v>
                </c:pt>
                <c:pt idx="476">
                  <c:v>41019</c:v>
                </c:pt>
                <c:pt idx="477">
                  <c:v>41022</c:v>
                </c:pt>
                <c:pt idx="478">
                  <c:v>41023</c:v>
                </c:pt>
                <c:pt idx="479">
                  <c:v>41024</c:v>
                </c:pt>
                <c:pt idx="480">
                  <c:v>41025</c:v>
                </c:pt>
                <c:pt idx="481">
                  <c:v>41026</c:v>
                </c:pt>
                <c:pt idx="482">
                  <c:v>41029</c:v>
                </c:pt>
                <c:pt idx="483">
                  <c:v>41030</c:v>
                </c:pt>
                <c:pt idx="484">
                  <c:v>41031</c:v>
                </c:pt>
                <c:pt idx="485">
                  <c:v>41032</c:v>
                </c:pt>
                <c:pt idx="486">
                  <c:v>41033</c:v>
                </c:pt>
                <c:pt idx="487">
                  <c:v>41036</c:v>
                </c:pt>
                <c:pt idx="488">
                  <c:v>41037</c:v>
                </c:pt>
                <c:pt idx="489">
                  <c:v>41038</c:v>
                </c:pt>
                <c:pt idx="490">
                  <c:v>41039</c:v>
                </c:pt>
                <c:pt idx="491">
                  <c:v>41040</c:v>
                </c:pt>
                <c:pt idx="492">
                  <c:v>41043</c:v>
                </c:pt>
                <c:pt idx="493">
                  <c:v>41044</c:v>
                </c:pt>
                <c:pt idx="494">
                  <c:v>41045</c:v>
                </c:pt>
                <c:pt idx="495">
                  <c:v>41046</c:v>
                </c:pt>
                <c:pt idx="496">
                  <c:v>41047</c:v>
                </c:pt>
                <c:pt idx="497">
                  <c:v>41050</c:v>
                </c:pt>
                <c:pt idx="498">
                  <c:v>41051</c:v>
                </c:pt>
                <c:pt idx="499">
                  <c:v>41052</c:v>
                </c:pt>
                <c:pt idx="500">
                  <c:v>41053</c:v>
                </c:pt>
                <c:pt idx="501">
                  <c:v>41054</c:v>
                </c:pt>
                <c:pt idx="502">
                  <c:v>41057</c:v>
                </c:pt>
                <c:pt idx="503">
                  <c:v>41058</c:v>
                </c:pt>
                <c:pt idx="504">
                  <c:v>41059</c:v>
                </c:pt>
                <c:pt idx="505">
                  <c:v>41060</c:v>
                </c:pt>
                <c:pt idx="506">
                  <c:v>41061</c:v>
                </c:pt>
                <c:pt idx="507">
                  <c:v>41064</c:v>
                </c:pt>
                <c:pt idx="508">
                  <c:v>41065</c:v>
                </c:pt>
                <c:pt idx="509">
                  <c:v>41066</c:v>
                </c:pt>
                <c:pt idx="510">
                  <c:v>41067</c:v>
                </c:pt>
                <c:pt idx="511">
                  <c:v>41068</c:v>
                </c:pt>
                <c:pt idx="512">
                  <c:v>41071</c:v>
                </c:pt>
                <c:pt idx="513">
                  <c:v>41072</c:v>
                </c:pt>
                <c:pt idx="514">
                  <c:v>41073</c:v>
                </c:pt>
                <c:pt idx="515">
                  <c:v>41074</c:v>
                </c:pt>
                <c:pt idx="516">
                  <c:v>41075</c:v>
                </c:pt>
                <c:pt idx="517">
                  <c:v>41078</c:v>
                </c:pt>
                <c:pt idx="518">
                  <c:v>41079</c:v>
                </c:pt>
                <c:pt idx="519">
                  <c:v>41080</c:v>
                </c:pt>
                <c:pt idx="520">
                  <c:v>41081</c:v>
                </c:pt>
                <c:pt idx="521">
                  <c:v>41082</c:v>
                </c:pt>
                <c:pt idx="522">
                  <c:v>41085</c:v>
                </c:pt>
                <c:pt idx="523">
                  <c:v>41086</c:v>
                </c:pt>
                <c:pt idx="524">
                  <c:v>41087</c:v>
                </c:pt>
                <c:pt idx="525">
                  <c:v>41088</c:v>
                </c:pt>
                <c:pt idx="526">
                  <c:v>41089</c:v>
                </c:pt>
                <c:pt idx="527">
                  <c:v>41092</c:v>
                </c:pt>
                <c:pt idx="528">
                  <c:v>41093</c:v>
                </c:pt>
                <c:pt idx="529">
                  <c:v>41094</c:v>
                </c:pt>
                <c:pt idx="530">
                  <c:v>41095</c:v>
                </c:pt>
                <c:pt idx="531">
                  <c:v>41096</c:v>
                </c:pt>
                <c:pt idx="532">
                  <c:v>41099</c:v>
                </c:pt>
                <c:pt idx="533">
                  <c:v>41100</c:v>
                </c:pt>
                <c:pt idx="534">
                  <c:v>41101</c:v>
                </c:pt>
                <c:pt idx="535">
                  <c:v>41102</c:v>
                </c:pt>
                <c:pt idx="536">
                  <c:v>41103</c:v>
                </c:pt>
                <c:pt idx="537">
                  <c:v>41106</c:v>
                </c:pt>
                <c:pt idx="538">
                  <c:v>41107</c:v>
                </c:pt>
                <c:pt idx="539">
                  <c:v>41108</c:v>
                </c:pt>
                <c:pt idx="540">
                  <c:v>41109</c:v>
                </c:pt>
                <c:pt idx="541">
                  <c:v>41110</c:v>
                </c:pt>
                <c:pt idx="542">
                  <c:v>41113</c:v>
                </c:pt>
                <c:pt idx="543">
                  <c:v>41114</c:v>
                </c:pt>
                <c:pt idx="544">
                  <c:v>41115</c:v>
                </c:pt>
                <c:pt idx="545">
                  <c:v>41116</c:v>
                </c:pt>
                <c:pt idx="546">
                  <c:v>41117</c:v>
                </c:pt>
                <c:pt idx="547">
                  <c:v>41120</c:v>
                </c:pt>
                <c:pt idx="548">
                  <c:v>41121</c:v>
                </c:pt>
                <c:pt idx="549">
                  <c:v>41122</c:v>
                </c:pt>
                <c:pt idx="550">
                  <c:v>41123</c:v>
                </c:pt>
                <c:pt idx="551">
                  <c:v>41124</c:v>
                </c:pt>
                <c:pt idx="552">
                  <c:v>41127</c:v>
                </c:pt>
                <c:pt idx="553">
                  <c:v>41128</c:v>
                </c:pt>
                <c:pt idx="554">
                  <c:v>41129</c:v>
                </c:pt>
                <c:pt idx="555">
                  <c:v>41130</c:v>
                </c:pt>
                <c:pt idx="556">
                  <c:v>41131</c:v>
                </c:pt>
                <c:pt idx="557">
                  <c:v>41134</c:v>
                </c:pt>
                <c:pt idx="558">
                  <c:v>41135</c:v>
                </c:pt>
                <c:pt idx="559">
                  <c:v>41136</c:v>
                </c:pt>
                <c:pt idx="560">
                  <c:v>41137</c:v>
                </c:pt>
                <c:pt idx="561">
                  <c:v>41138</c:v>
                </c:pt>
                <c:pt idx="562">
                  <c:v>41141</c:v>
                </c:pt>
                <c:pt idx="563">
                  <c:v>41142</c:v>
                </c:pt>
                <c:pt idx="564">
                  <c:v>41143</c:v>
                </c:pt>
                <c:pt idx="565">
                  <c:v>41144</c:v>
                </c:pt>
                <c:pt idx="566">
                  <c:v>41145</c:v>
                </c:pt>
                <c:pt idx="567">
                  <c:v>41148</c:v>
                </c:pt>
                <c:pt idx="568">
                  <c:v>41149</c:v>
                </c:pt>
                <c:pt idx="569">
                  <c:v>41150</c:v>
                </c:pt>
                <c:pt idx="570">
                  <c:v>41151</c:v>
                </c:pt>
                <c:pt idx="571">
                  <c:v>41152</c:v>
                </c:pt>
                <c:pt idx="572">
                  <c:v>41155</c:v>
                </c:pt>
                <c:pt idx="573">
                  <c:v>41156</c:v>
                </c:pt>
                <c:pt idx="574">
                  <c:v>41157</c:v>
                </c:pt>
                <c:pt idx="575">
                  <c:v>41158</c:v>
                </c:pt>
                <c:pt idx="576">
                  <c:v>41159</c:v>
                </c:pt>
                <c:pt idx="577">
                  <c:v>41162</c:v>
                </c:pt>
                <c:pt idx="578">
                  <c:v>41163</c:v>
                </c:pt>
                <c:pt idx="579">
                  <c:v>41164</c:v>
                </c:pt>
                <c:pt idx="580">
                  <c:v>41165</c:v>
                </c:pt>
                <c:pt idx="581">
                  <c:v>41166</c:v>
                </c:pt>
                <c:pt idx="582">
                  <c:v>41169</c:v>
                </c:pt>
                <c:pt idx="583">
                  <c:v>41170</c:v>
                </c:pt>
                <c:pt idx="584">
                  <c:v>41171</c:v>
                </c:pt>
                <c:pt idx="585">
                  <c:v>41172</c:v>
                </c:pt>
                <c:pt idx="586">
                  <c:v>41173</c:v>
                </c:pt>
                <c:pt idx="587">
                  <c:v>41176</c:v>
                </c:pt>
                <c:pt idx="588">
                  <c:v>41177</c:v>
                </c:pt>
                <c:pt idx="589">
                  <c:v>41178</c:v>
                </c:pt>
                <c:pt idx="590">
                  <c:v>41179</c:v>
                </c:pt>
                <c:pt idx="591">
                  <c:v>41180</c:v>
                </c:pt>
                <c:pt idx="592">
                  <c:v>41183</c:v>
                </c:pt>
                <c:pt idx="593">
                  <c:v>41184</c:v>
                </c:pt>
                <c:pt idx="594">
                  <c:v>41185</c:v>
                </c:pt>
                <c:pt idx="595">
                  <c:v>41186</c:v>
                </c:pt>
                <c:pt idx="596">
                  <c:v>41187</c:v>
                </c:pt>
                <c:pt idx="597">
                  <c:v>41190</c:v>
                </c:pt>
                <c:pt idx="598">
                  <c:v>41191</c:v>
                </c:pt>
                <c:pt idx="599">
                  <c:v>41192</c:v>
                </c:pt>
                <c:pt idx="600">
                  <c:v>41193</c:v>
                </c:pt>
                <c:pt idx="601">
                  <c:v>41194</c:v>
                </c:pt>
                <c:pt idx="602">
                  <c:v>41197</c:v>
                </c:pt>
                <c:pt idx="603">
                  <c:v>41198</c:v>
                </c:pt>
                <c:pt idx="604">
                  <c:v>41199</c:v>
                </c:pt>
                <c:pt idx="605">
                  <c:v>41200</c:v>
                </c:pt>
                <c:pt idx="606">
                  <c:v>41201</c:v>
                </c:pt>
                <c:pt idx="607">
                  <c:v>41204</c:v>
                </c:pt>
                <c:pt idx="608">
                  <c:v>41205</c:v>
                </c:pt>
                <c:pt idx="609">
                  <c:v>41206</c:v>
                </c:pt>
                <c:pt idx="610">
                  <c:v>41207</c:v>
                </c:pt>
                <c:pt idx="611">
                  <c:v>41208</c:v>
                </c:pt>
                <c:pt idx="612">
                  <c:v>41211</c:v>
                </c:pt>
                <c:pt idx="613">
                  <c:v>41212</c:v>
                </c:pt>
                <c:pt idx="614">
                  <c:v>41213</c:v>
                </c:pt>
                <c:pt idx="615">
                  <c:v>41214</c:v>
                </c:pt>
                <c:pt idx="616">
                  <c:v>41215</c:v>
                </c:pt>
                <c:pt idx="617">
                  <c:v>41218</c:v>
                </c:pt>
                <c:pt idx="618">
                  <c:v>41219</c:v>
                </c:pt>
                <c:pt idx="619">
                  <c:v>41220</c:v>
                </c:pt>
                <c:pt idx="620">
                  <c:v>41221</c:v>
                </c:pt>
                <c:pt idx="621">
                  <c:v>41222</c:v>
                </c:pt>
                <c:pt idx="622">
                  <c:v>41225</c:v>
                </c:pt>
                <c:pt idx="623">
                  <c:v>41226</c:v>
                </c:pt>
                <c:pt idx="624">
                  <c:v>41227</c:v>
                </c:pt>
                <c:pt idx="625">
                  <c:v>41228</c:v>
                </c:pt>
                <c:pt idx="626">
                  <c:v>41229</c:v>
                </c:pt>
                <c:pt idx="627">
                  <c:v>41232</c:v>
                </c:pt>
                <c:pt idx="628">
                  <c:v>41233</c:v>
                </c:pt>
                <c:pt idx="629">
                  <c:v>41234</c:v>
                </c:pt>
                <c:pt idx="630">
                  <c:v>41235</c:v>
                </c:pt>
                <c:pt idx="631">
                  <c:v>41236</c:v>
                </c:pt>
                <c:pt idx="632">
                  <c:v>41239</c:v>
                </c:pt>
                <c:pt idx="633">
                  <c:v>41240</c:v>
                </c:pt>
                <c:pt idx="634">
                  <c:v>41241</c:v>
                </c:pt>
                <c:pt idx="635">
                  <c:v>41242</c:v>
                </c:pt>
                <c:pt idx="636">
                  <c:v>41243</c:v>
                </c:pt>
                <c:pt idx="637">
                  <c:v>41246</c:v>
                </c:pt>
                <c:pt idx="638">
                  <c:v>41247</c:v>
                </c:pt>
                <c:pt idx="639">
                  <c:v>41248</c:v>
                </c:pt>
                <c:pt idx="640">
                  <c:v>41249</c:v>
                </c:pt>
                <c:pt idx="641">
                  <c:v>41250</c:v>
                </c:pt>
                <c:pt idx="642">
                  <c:v>41253</c:v>
                </c:pt>
                <c:pt idx="643">
                  <c:v>41254</c:v>
                </c:pt>
                <c:pt idx="644">
                  <c:v>41255</c:v>
                </c:pt>
                <c:pt idx="645">
                  <c:v>41256</c:v>
                </c:pt>
                <c:pt idx="646">
                  <c:v>41257</c:v>
                </c:pt>
                <c:pt idx="647">
                  <c:v>41260</c:v>
                </c:pt>
                <c:pt idx="648">
                  <c:v>41261</c:v>
                </c:pt>
                <c:pt idx="649">
                  <c:v>41262</c:v>
                </c:pt>
                <c:pt idx="650">
                  <c:v>41263</c:v>
                </c:pt>
                <c:pt idx="651">
                  <c:v>41264</c:v>
                </c:pt>
                <c:pt idx="652">
                  <c:v>41267</c:v>
                </c:pt>
                <c:pt idx="653">
                  <c:v>41268</c:v>
                </c:pt>
                <c:pt idx="654">
                  <c:v>41269</c:v>
                </c:pt>
                <c:pt idx="655">
                  <c:v>41270</c:v>
                </c:pt>
                <c:pt idx="656">
                  <c:v>41271</c:v>
                </c:pt>
                <c:pt idx="657">
                  <c:v>41274</c:v>
                </c:pt>
                <c:pt idx="658">
                  <c:v>41275</c:v>
                </c:pt>
                <c:pt idx="659">
                  <c:v>41276</c:v>
                </c:pt>
                <c:pt idx="660">
                  <c:v>41277</c:v>
                </c:pt>
                <c:pt idx="661">
                  <c:v>41278</c:v>
                </c:pt>
                <c:pt idx="662">
                  <c:v>41281</c:v>
                </c:pt>
                <c:pt idx="663">
                  <c:v>41282</c:v>
                </c:pt>
                <c:pt idx="664">
                  <c:v>41283</c:v>
                </c:pt>
                <c:pt idx="665">
                  <c:v>41284</c:v>
                </c:pt>
                <c:pt idx="666">
                  <c:v>41285</c:v>
                </c:pt>
                <c:pt idx="667">
                  <c:v>41288</c:v>
                </c:pt>
                <c:pt idx="668">
                  <c:v>41289</c:v>
                </c:pt>
                <c:pt idx="669">
                  <c:v>41290</c:v>
                </c:pt>
                <c:pt idx="670">
                  <c:v>41291</c:v>
                </c:pt>
                <c:pt idx="671">
                  <c:v>41292</c:v>
                </c:pt>
                <c:pt idx="672">
                  <c:v>41295</c:v>
                </c:pt>
                <c:pt idx="673">
                  <c:v>41296</c:v>
                </c:pt>
                <c:pt idx="674">
                  <c:v>41297</c:v>
                </c:pt>
                <c:pt idx="675">
                  <c:v>41298</c:v>
                </c:pt>
                <c:pt idx="676">
                  <c:v>41299</c:v>
                </c:pt>
                <c:pt idx="677">
                  <c:v>41302</c:v>
                </c:pt>
                <c:pt idx="678">
                  <c:v>41303</c:v>
                </c:pt>
                <c:pt idx="679">
                  <c:v>41304</c:v>
                </c:pt>
                <c:pt idx="680">
                  <c:v>41305</c:v>
                </c:pt>
                <c:pt idx="681">
                  <c:v>41306</c:v>
                </c:pt>
                <c:pt idx="682">
                  <c:v>41309</c:v>
                </c:pt>
                <c:pt idx="683">
                  <c:v>41310</c:v>
                </c:pt>
                <c:pt idx="684">
                  <c:v>41311</c:v>
                </c:pt>
                <c:pt idx="685">
                  <c:v>41312</c:v>
                </c:pt>
                <c:pt idx="686">
                  <c:v>41313</c:v>
                </c:pt>
                <c:pt idx="687">
                  <c:v>41316</c:v>
                </c:pt>
                <c:pt idx="688">
                  <c:v>41317</c:v>
                </c:pt>
                <c:pt idx="689">
                  <c:v>41318</c:v>
                </c:pt>
                <c:pt idx="690">
                  <c:v>41319</c:v>
                </c:pt>
                <c:pt idx="691">
                  <c:v>41320</c:v>
                </c:pt>
                <c:pt idx="692">
                  <c:v>41323</c:v>
                </c:pt>
                <c:pt idx="693">
                  <c:v>41324</c:v>
                </c:pt>
                <c:pt idx="694">
                  <c:v>41325</c:v>
                </c:pt>
                <c:pt idx="695">
                  <c:v>41326</c:v>
                </c:pt>
                <c:pt idx="696">
                  <c:v>41327</c:v>
                </c:pt>
                <c:pt idx="697">
                  <c:v>41330</c:v>
                </c:pt>
                <c:pt idx="698">
                  <c:v>41331</c:v>
                </c:pt>
                <c:pt idx="699">
                  <c:v>41332</c:v>
                </c:pt>
                <c:pt idx="700">
                  <c:v>41333</c:v>
                </c:pt>
                <c:pt idx="701">
                  <c:v>41334</c:v>
                </c:pt>
                <c:pt idx="702">
                  <c:v>41337</c:v>
                </c:pt>
                <c:pt idx="703">
                  <c:v>41338</c:v>
                </c:pt>
                <c:pt idx="704">
                  <c:v>41339</c:v>
                </c:pt>
                <c:pt idx="705">
                  <c:v>41340</c:v>
                </c:pt>
                <c:pt idx="706">
                  <c:v>41341</c:v>
                </c:pt>
                <c:pt idx="707">
                  <c:v>41344</c:v>
                </c:pt>
                <c:pt idx="708">
                  <c:v>41345</c:v>
                </c:pt>
                <c:pt idx="709">
                  <c:v>41346</c:v>
                </c:pt>
                <c:pt idx="710">
                  <c:v>41347</c:v>
                </c:pt>
                <c:pt idx="711">
                  <c:v>41348</c:v>
                </c:pt>
                <c:pt idx="712">
                  <c:v>41351</c:v>
                </c:pt>
                <c:pt idx="713">
                  <c:v>41352</c:v>
                </c:pt>
                <c:pt idx="714">
                  <c:v>41353</c:v>
                </c:pt>
                <c:pt idx="715">
                  <c:v>41354</c:v>
                </c:pt>
                <c:pt idx="716">
                  <c:v>41355</c:v>
                </c:pt>
                <c:pt idx="717">
                  <c:v>41358</c:v>
                </c:pt>
                <c:pt idx="718">
                  <c:v>41359</c:v>
                </c:pt>
                <c:pt idx="719">
                  <c:v>41360</c:v>
                </c:pt>
                <c:pt idx="720">
                  <c:v>41361</c:v>
                </c:pt>
                <c:pt idx="721">
                  <c:v>41362</c:v>
                </c:pt>
                <c:pt idx="722">
                  <c:v>41365</c:v>
                </c:pt>
                <c:pt idx="723">
                  <c:v>41366</c:v>
                </c:pt>
                <c:pt idx="724">
                  <c:v>41367</c:v>
                </c:pt>
                <c:pt idx="725">
                  <c:v>41368</c:v>
                </c:pt>
                <c:pt idx="726">
                  <c:v>41369</c:v>
                </c:pt>
                <c:pt idx="727">
                  <c:v>41372</c:v>
                </c:pt>
                <c:pt idx="728">
                  <c:v>41373</c:v>
                </c:pt>
                <c:pt idx="729">
                  <c:v>41374</c:v>
                </c:pt>
                <c:pt idx="730">
                  <c:v>41375</c:v>
                </c:pt>
                <c:pt idx="731">
                  <c:v>41376</c:v>
                </c:pt>
                <c:pt idx="732">
                  <c:v>41379</c:v>
                </c:pt>
                <c:pt idx="733">
                  <c:v>41380</c:v>
                </c:pt>
                <c:pt idx="734">
                  <c:v>41381</c:v>
                </c:pt>
                <c:pt idx="735">
                  <c:v>41382</c:v>
                </c:pt>
                <c:pt idx="736">
                  <c:v>41383</c:v>
                </c:pt>
                <c:pt idx="737">
                  <c:v>41386</c:v>
                </c:pt>
                <c:pt idx="738">
                  <c:v>41387</c:v>
                </c:pt>
                <c:pt idx="739">
                  <c:v>41388</c:v>
                </c:pt>
                <c:pt idx="740">
                  <c:v>41389</c:v>
                </c:pt>
                <c:pt idx="741">
                  <c:v>41390</c:v>
                </c:pt>
                <c:pt idx="742">
                  <c:v>41393</c:v>
                </c:pt>
                <c:pt idx="743">
                  <c:v>41394</c:v>
                </c:pt>
                <c:pt idx="744">
                  <c:v>41395</c:v>
                </c:pt>
                <c:pt idx="745">
                  <c:v>41396</c:v>
                </c:pt>
                <c:pt idx="746">
                  <c:v>41397</c:v>
                </c:pt>
                <c:pt idx="747">
                  <c:v>41400</c:v>
                </c:pt>
                <c:pt idx="748">
                  <c:v>41401</c:v>
                </c:pt>
                <c:pt idx="749">
                  <c:v>41402</c:v>
                </c:pt>
                <c:pt idx="750">
                  <c:v>41403</c:v>
                </c:pt>
                <c:pt idx="751">
                  <c:v>41404</c:v>
                </c:pt>
                <c:pt idx="752">
                  <c:v>41407</c:v>
                </c:pt>
                <c:pt idx="753">
                  <c:v>41408</c:v>
                </c:pt>
                <c:pt idx="754">
                  <c:v>41409</c:v>
                </c:pt>
                <c:pt idx="755">
                  <c:v>41410</c:v>
                </c:pt>
                <c:pt idx="756">
                  <c:v>41411</c:v>
                </c:pt>
                <c:pt idx="757">
                  <c:v>41414</c:v>
                </c:pt>
                <c:pt idx="758">
                  <c:v>41415</c:v>
                </c:pt>
                <c:pt idx="759">
                  <c:v>41416</c:v>
                </c:pt>
                <c:pt idx="760">
                  <c:v>41417</c:v>
                </c:pt>
                <c:pt idx="761">
                  <c:v>41418</c:v>
                </c:pt>
                <c:pt idx="762">
                  <c:v>41421</c:v>
                </c:pt>
                <c:pt idx="763">
                  <c:v>41422</c:v>
                </c:pt>
                <c:pt idx="764">
                  <c:v>41423</c:v>
                </c:pt>
                <c:pt idx="765">
                  <c:v>41424</c:v>
                </c:pt>
                <c:pt idx="766">
                  <c:v>41425</c:v>
                </c:pt>
                <c:pt idx="767">
                  <c:v>41428</c:v>
                </c:pt>
                <c:pt idx="768">
                  <c:v>41429</c:v>
                </c:pt>
                <c:pt idx="769">
                  <c:v>41430</c:v>
                </c:pt>
                <c:pt idx="770">
                  <c:v>41431</c:v>
                </c:pt>
                <c:pt idx="771">
                  <c:v>41432</c:v>
                </c:pt>
                <c:pt idx="772">
                  <c:v>41435</c:v>
                </c:pt>
                <c:pt idx="773">
                  <c:v>41436</c:v>
                </c:pt>
                <c:pt idx="774">
                  <c:v>41437</c:v>
                </c:pt>
                <c:pt idx="775">
                  <c:v>41438</c:v>
                </c:pt>
                <c:pt idx="776">
                  <c:v>41439</c:v>
                </c:pt>
                <c:pt idx="777">
                  <c:v>41442</c:v>
                </c:pt>
                <c:pt idx="778">
                  <c:v>41443</c:v>
                </c:pt>
                <c:pt idx="779">
                  <c:v>41444</c:v>
                </c:pt>
                <c:pt idx="780">
                  <c:v>41445</c:v>
                </c:pt>
                <c:pt idx="781">
                  <c:v>41446</c:v>
                </c:pt>
                <c:pt idx="782">
                  <c:v>41449</c:v>
                </c:pt>
                <c:pt idx="783">
                  <c:v>41450</c:v>
                </c:pt>
                <c:pt idx="784">
                  <c:v>41451</c:v>
                </c:pt>
                <c:pt idx="785">
                  <c:v>41452</c:v>
                </c:pt>
                <c:pt idx="786">
                  <c:v>41453</c:v>
                </c:pt>
                <c:pt idx="787">
                  <c:v>41456</c:v>
                </c:pt>
                <c:pt idx="788">
                  <c:v>41457</c:v>
                </c:pt>
                <c:pt idx="789">
                  <c:v>41458</c:v>
                </c:pt>
                <c:pt idx="790">
                  <c:v>41459</c:v>
                </c:pt>
                <c:pt idx="791">
                  <c:v>41460</c:v>
                </c:pt>
                <c:pt idx="792">
                  <c:v>41463</c:v>
                </c:pt>
                <c:pt idx="793">
                  <c:v>41464</c:v>
                </c:pt>
                <c:pt idx="794">
                  <c:v>41465</c:v>
                </c:pt>
                <c:pt idx="795">
                  <c:v>41466</c:v>
                </c:pt>
                <c:pt idx="796">
                  <c:v>41467</c:v>
                </c:pt>
                <c:pt idx="797">
                  <c:v>41470</c:v>
                </c:pt>
                <c:pt idx="798">
                  <c:v>41471</c:v>
                </c:pt>
                <c:pt idx="799">
                  <c:v>41472</c:v>
                </c:pt>
                <c:pt idx="800">
                  <c:v>41473</c:v>
                </c:pt>
                <c:pt idx="801">
                  <c:v>41474</c:v>
                </c:pt>
                <c:pt idx="802">
                  <c:v>41477</c:v>
                </c:pt>
                <c:pt idx="803">
                  <c:v>41478</c:v>
                </c:pt>
                <c:pt idx="804">
                  <c:v>41479</c:v>
                </c:pt>
                <c:pt idx="805">
                  <c:v>41480</c:v>
                </c:pt>
                <c:pt idx="806">
                  <c:v>41481</c:v>
                </c:pt>
                <c:pt idx="807">
                  <c:v>41484</c:v>
                </c:pt>
                <c:pt idx="808">
                  <c:v>41485</c:v>
                </c:pt>
                <c:pt idx="809">
                  <c:v>41486</c:v>
                </c:pt>
                <c:pt idx="810">
                  <c:v>41487</c:v>
                </c:pt>
                <c:pt idx="811">
                  <c:v>41488</c:v>
                </c:pt>
                <c:pt idx="812">
                  <c:v>41491</c:v>
                </c:pt>
                <c:pt idx="813">
                  <c:v>41492</c:v>
                </c:pt>
                <c:pt idx="814">
                  <c:v>41493</c:v>
                </c:pt>
                <c:pt idx="815">
                  <c:v>41494</c:v>
                </c:pt>
                <c:pt idx="816">
                  <c:v>41495</c:v>
                </c:pt>
                <c:pt idx="817">
                  <c:v>41498</c:v>
                </c:pt>
                <c:pt idx="818">
                  <c:v>41499</c:v>
                </c:pt>
                <c:pt idx="819">
                  <c:v>41500</c:v>
                </c:pt>
                <c:pt idx="820">
                  <c:v>41501</c:v>
                </c:pt>
                <c:pt idx="821">
                  <c:v>41502</c:v>
                </c:pt>
                <c:pt idx="822">
                  <c:v>41505</c:v>
                </c:pt>
                <c:pt idx="823">
                  <c:v>41506</c:v>
                </c:pt>
                <c:pt idx="824">
                  <c:v>41507</c:v>
                </c:pt>
                <c:pt idx="825">
                  <c:v>41508</c:v>
                </c:pt>
                <c:pt idx="826">
                  <c:v>41509</c:v>
                </c:pt>
                <c:pt idx="827">
                  <c:v>41512</c:v>
                </c:pt>
                <c:pt idx="828">
                  <c:v>41513</c:v>
                </c:pt>
                <c:pt idx="829">
                  <c:v>41514</c:v>
                </c:pt>
                <c:pt idx="830">
                  <c:v>41515</c:v>
                </c:pt>
                <c:pt idx="831">
                  <c:v>41516</c:v>
                </c:pt>
                <c:pt idx="832">
                  <c:v>41519</c:v>
                </c:pt>
                <c:pt idx="833">
                  <c:v>41520</c:v>
                </c:pt>
                <c:pt idx="834">
                  <c:v>41521</c:v>
                </c:pt>
                <c:pt idx="835">
                  <c:v>41522</c:v>
                </c:pt>
                <c:pt idx="836">
                  <c:v>41523</c:v>
                </c:pt>
                <c:pt idx="837">
                  <c:v>41526</c:v>
                </c:pt>
                <c:pt idx="838">
                  <c:v>41527</c:v>
                </c:pt>
                <c:pt idx="839">
                  <c:v>41528</c:v>
                </c:pt>
                <c:pt idx="840">
                  <c:v>41529</c:v>
                </c:pt>
                <c:pt idx="841">
                  <c:v>41530</c:v>
                </c:pt>
                <c:pt idx="842">
                  <c:v>41533</c:v>
                </c:pt>
                <c:pt idx="843">
                  <c:v>41534</c:v>
                </c:pt>
                <c:pt idx="844">
                  <c:v>41535</c:v>
                </c:pt>
                <c:pt idx="845">
                  <c:v>41536</c:v>
                </c:pt>
                <c:pt idx="846">
                  <c:v>41537</c:v>
                </c:pt>
                <c:pt idx="847">
                  <c:v>41540</c:v>
                </c:pt>
                <c:pt idx="848">
                  <c:v>41541</c:v>
                </c:pt>
                <c:pt idx="849">
                  <c:v>41542</c:v>
                </c:pt>
                <c:pt idx="850">
                  <c:v>41543</c:v>
                </c:pt>
                <c:pt idx="851">
                  <c:v>41544</c:v>
                </c:pt>
                <c:pt idx="852">
                  <c:v>41547</c:v>
                </c:pt>
                <c:pt idx="853">
                  <c:v>41548</c:v>
                </c:pt>
                <c:pt idx="854">
                  <c:v>41549</c:v>
                </c:pt>
                <c:pt idx="855">
                  <c:v>41550</c:v>
                </c:pt>
                <c:pt idx="856">
                  <c:v>41551</c:v>
                </c:pt>
                <c:pt idx="857">
                  <c:v>41554</c:v>
                </c:pt>
                <c:pt idx="858">
                  <c:v>41555</c:v>
                </c:pt>
                <c:pt idx="859">
                  <c:v>41556</c:v>
                </c:pt>
                <c:pt idx="860">
                  <c:v>41557</c:v>
                </c:pt>
                <c:pt idx="861">
                  <c:v>41558</c:v>
                </c:pt>
                <c:pt idx="862">
                  <c:v>41561</c:v>
                </c:pt>
                <c:pt idx="863">
                  <c:v>41562</c:v>
                </c:pt>
                <c:pt idx="864">
                  <c:v>41563</c:v>
                </c:pt>
                <c:pt idx="865">
                  <c:v>41564</c:v>
                </c:pt>
                <c:pt idx="866">
                  <c:v>41565</c:v>
                </c:pt>
                <c:pt idx="867">
                  <c:v>41568</c:v>
                </c:pt>
                <c:pt idx="868">
                  <c:v>41569</c:v>
                </c:pt>
                <c:pt idx="869">
                  <c:v>41570</c:v>
                </c:pt>
                <c:pt idx="870">
                  <c:v>41571</c:v>
                </c:pt>
                <c:pt idx="871">
                  <c:v>41572</c:v>
                </c:pt>
                <c:pt idx="872">
                  <c:v>41575</c:v>
                </c:pt>
                <c:pt idx="873">
                  <c:v>41576</c:v>
                </c:pt>
                <c:pt idx="874">
                  <c:v>41577</c:v>
                </c:pt>
                <c:pt idx="875">
                  <c:v>41578</c:v>
                </c:pt>
                <c:pt idx="876">
                  <c:v>41579</c:v>
                </c:pt>
                <c:pt idx="877">
                  <c:v>41582</c:v>
                </c:pt>
                <c:pt idx="878">
                  <c:v>41583</c:v>
                </c:pt>
                <c:pt idx="879">
                  <c:v>41584</c:v>
                </c:pt>
                <c:pt idx="880">
                  <c:v>41585</c:v>
                </c:pt>
                <c:pt idx="881">
                  <c:v>41586</c:v>
                </c:pt>
                <c:pt idx="882">
                  <c:v>41589</c:v>
                </c:pt>
                <c:pt idx="883">
                  <c:v>41590</c:v>
                </c:pt>
                <c:pt idx="884">
                  <c:v>41591</c:v>
                </c:pt>
                <c:pt idx="885">
                  <c:v>41592</c:v>
                </c:pt>
                <c:pt idx="886">
                  <c:v>41593</c:v>
                </c:pt>
                <c:pt idx="887">
                  <c:v>41596</c:v>
                </c:pt>
                <c:pt idx="888">
                  <c:v>41597</c:v>
                </c:pt>
                <c:pt idx="889">
                  <c:v>41598</c:v>
                </c:pt>
                <c:pt idx="890">
                  <c:v>41599</c:v>
                </c:pt>
                <c:pt idx="891">
                  <c:v>41600</c:v>
                </c:pt>
                <c:pt idx="892">
                  <c:v>41603</c:v>
                </c:pt>
                <c:pt idx="893">
                  <c:v>41604</c:v>
                </c:pt>
                <c:pt idx="894">
                  <c:v>41605</c:v>
                </c:pt>
                <c:pt idx="895">
                  <c:v>41606</c:v>
                </c:pt>
                <c:pt idx="896">
                  <c:v>41607</c:v>
                </c:pt>
                <c:pt idx="897">
                  <c:v>41610</c:v>
                </c:pt>
                <c:pt idx="898">
                  <c:v>41611</c:v>
                </c:pt>
                <c:pt idx="899">
                  <c:v>41612</c:v>
                </c:pt>
                <c:pt idx="900">
                  <c:v>41613</c:v>
                </c:pt>
                <c:pt idx="901">
                  <c:v>41614</c:v>
                </c:pt>
                <c:pt idx="902">
                  <c:v>41617</c:v>
                </c:pt>
                <c:pt idx="903">
                  <c:v>41618</c:v>
                </c:pt>
                <c:pt idx="904">
                  <c:v>41619</c:v>
                </c:pt>
                <c:pt idx="905">
                  <c:v>41620</c:v>
                </c:pt>
                <c:pt idx="906">
                  <c:v>41621</c:v>
                </c:pt>
                <c:pt idx="907">
                  <c:v>41624</c:v>
                </c:pt>
                <c:pt idx="908">
                  <c:v>41625</c:v>
                </c:pt>
                <c:pt idx="909">
                  <c:v>41626</c:v>
                </c:pt>
                <c:pt idx="910">
                  <c:v>41627</c:v>
                </c:pt>
                <c:pt idx="911">
                  <c:v>41628</c:v>
                </c:pt>
                <c:pt idx="912">
                  <c:v>41631</c:v>
                </c:pt>
                <c:pt idx="913">
                  <c:v>41632</c:v>
                </c:pt>
                <c:pt idx="914">
                  <c:v>41633</c:v>
                </c:pt>
                <c:pt idx="915">
                  <c:v>41634</c:v>
                </c:pt>
                <c:pt idx="916">
                  <c:v>41635</c:v>
                </c:pt>
                <c:pt idx="917">
                  <c:v>41638</c:v>
                </c:pt>
                <c:pt idx="918">
                  <c:v>41639</c:v>
                </c:pt>
                <c:pt idx="919">
                  <c:v>41640</c:v>
                </c:pt>
                <c:pt idx="920">
                  <c:v>41641</c:v>
                </c:pt>
                <c:pt idx="921">
                  <c:v>41642</c:v>
                </c:pt>
                <c:pt idx="922">
                  <c:v>41645</c:v>
                </c:pt>
                <c:pt idx="923">
                  <c:v>41646</c:v>
                </c:pt>
                <c:pt idx="924">
                  <c:v>41647</c:v>
                </c:pt>
                <c:pt idx="925">
                  <c:v>41648</c:v>
                </c:pt>
                <c:pt idx="926">
                  <c:v>41649</c:v>
                </c:pt>
                <c:pt idx="927">
                  <c:v>41652</c:v>
                </c:pt>
                <c:pt idx="928">
                  <c:v>41653</c:v>
                </c:pt>
                <c:pt idx="929">
                  <c:v>41654</c:v>
                </c:pt>
                <c:pt idx="930">
                  <c:v>41655</c:v>
                </c:pt>
                <c:pt idx="931">
                  <c:v>41656</c:v>
                </c:pt>
                <c:pt idx="932">
                  <c:v>41659</c:v>
                </c:pt>
                <c:pt idx="933">
                  <c:v>41660</c:v>
                </c:pt>
                <c:pt idx="934">
                  <c:v>41661</c:v>
                </c:pt>
                <c:pt idx="935">
                  <c:v>41662</c:v>
                </c:pt>
                <c:pt idx="936">
                  <c:v>41663</c:v>
                </c:pt>
                <c:pt idx="937">
                  <c:v>41666</c:v>
                </c:pt>
                <c:pt idx="938">
                  <c:v>41667</c:v>
                </c:pt>
                <c:pt idx="939">
                  <c:v>41668</c:v>
                </c:pt>
                <c:pt idx="940">
                  <c:v>41669</c:v>
                </c:pt>
                <c:pt idx="941">
                  <c:v>41670</c:v>
                </c:pt>
                <c:pt idx="942">
                  <c:v>41673</c:v>
                </c:pt>
                <c:pt idx="943">
                  <c:v>41674</c:v>
                </c:pt>
                <c:pt idx="944">
                  <c:v>41675</c:v>
                </c:pt>
                <c:pt idx="945">
                  <c:v>41676</c:v>
                </c:pt>
                <c:pt idx="946">
                  <c:v>41677</c:v>
                </c:pt>
                <c:pt idx="947">
                  <c:v>41680</c:v>
                </c:pt>
                <c:pt idx="948">
                  <c:v>41681</c:v>
                </c:pt>
                <c:pt idx="949">
                  <c:v>41682</c:v>
                </c:pt>
                <c:pt idx="950">
                  <c:v>41683</c:v>
                </c:pt>
                <c:pt idx="951">
                  <c:v>41684</c:v>
                </c:pt>
                <c:pt idx="952">
                  <c:v>41687</c:v>
                </c:pt>
                <c:pt idx="953">
                  <c:v>41688</c:v>
                </c:pt>
                <c:pt idx="954">
                  <c:v>41689</c:v>
                </c:pt>
                <c:pt idx="955">
                  <c:v>41690</c:v>
                </c:pt>
                <c:pt idx="956">
                  <c:v>41691</c:v>
                </c:pt>
                <c:pt idx="957">
                  <c:v>41694</c:v>
                </c:pt>
                <c:pt idx="958">
                  <c:v>41695</c:v>
                </c:pt>
                <c:pt idx="959">
                  <c:v>41696</c:v>
                </c:pt>
                <c:pt idx="960">
                  <c:v>41697</c:v>
                </c:pt>
                <c:pt idx="961">
                  <c:v>41698</c:v>
                </c:pt>
                <c:pt idx="962">
                  <c:v>41701</c:v>
                </c:pt>
                <c:pt idx="963">
                  <c:v>41702</c:v>
                </c:pt>
                <c:pt idx="964">
                  <c:v>41703</c:v>
                </c:pt>
                <c:pt idx="965">
                  <c:v>41704</c:v>
                </c:pt>
                <c:pt idx="966">
                  <c:v>41705</c:v>
                </c:pt>
                <c:pt idx="967">
                  <c:v>41708</c:v>
                </c:pt>
                <c:pt idx="968">
                  <c:v>41709</c:v>
                </c:pt>
                <c:pt idx="969">
                  <c:v>41710</c:v>
                </c:pt>
                <c:pt idx="970">
                  <c:v>41711</c:v>
                </c:pt>
                <c:pt idx="971">
                  <c:v>41712</c:v>
                </c:pt>
                <c:pt idx="972">
                  <c:v>41715</c:v>
                </c:pt>
                <c:pt idx="973">
                  <c:v>41716</c:v>
                </c:pt>
                <c:pt idx="974">
                  <c:v>41717</c:v>
                </c:pt>
                <c:pt idx="975">
                  <c:v>41718</c:v>
                </c:pt>
                <c:pt idx="976">
                  <c:v>41719</c:v>
                </c:pt>
                <c:pt idx="977">
                  <c:v>41722</c:v>
                </c:pt>
                <c:pt idx="978">
                  <c:v>41723</c:v>
                </c:pt>
                <c:pt idx="979">
                  <c:v>41724</c:v>
                </c:pt>
                <c:pt idx="980">
                  <c:v>41725</c:v>
                </c:pt>
                <c:pt idx="981">
                  <c:v>41726</c:v>
                </c:pt>
                <c:pt idx="982">
                  <c:v>41729</c:v>
                </c:pt>
                <c:pt idx="983">
                  <c:v>41730</c:v>
                </c:pt>
                <c:pt idx="984">
                  <c:v>41731</c:v>
                </c:pt>
                <c:pt idx="985">
                  <c:v>41732</c:v>
                </c:pt>
                <c:pt idx="986">
                  <c:v>41733</c:v>
                </c:pt>
                <c:pt idx="987">
                  <c:v>41736</c:v>
                </c:pt>
                <c:pt idx="988">
                  <c:v>41737</c:v>
                </c:pt>
                <c:pt idx="989">
                  <c:v>41738</c:v>
                </c:pt>
                <c:pt idx="990">
                  <c:v>41739</c:v>
                </c:pt>
                <c:pt idx="991">
                  <c:v>41740</c:v>
                </c:pt>
                <c:pt idx="992">
                  <c:v>41743</c:v>
                </c:pt>
                <c:pt idx="993">
                  <c:v>41744</c:v>
                </c:pt>
                <c:pt idx="994">
                  <c:v>41745</c:v>
                </c:pt>
                <c:pt idx="995">
                  <c:v>41746</c:v>
                </c:pt>
                <c:pt idx="996">
                  <c:v>41747</c:v>
                </c:pt>
                <c:pt idx="997">
                  <c:v>41750</c:v>
                </c:pt>
                <c:pt idx="998">
                  <c:v>41751</c:v>
                </c:pt>
                <c:pt idx="999">
                  <c:v>41752</c:v>
                </c:pt>
                <c:pt idx="1000">
                  <c:v>41753</c:v>
                </c:pt>
                <c:pt idx="1001">
                  <c:v>41754</c:v>
                </c:pt>
                <c:pt idx="1002">
                  <c:v>41757</c:v>
                </c:pt>
                <c:pt idx="1003">
                  <c:v>41758</c:v>
                </c:pt>
                <c:pt idx="1004">
                  <c:v>41759</c:v>
                </c:pt>
                <c:pt idx="1005">
                  <c:v>41760</c:v>
                </c:pt>
                <c:pt idx="1006">
                  <c:v>41761</c:v>
                </c:pt>
                <c:pt idx="1007">
                  <c:v>41764</c:v>
                </c:pt>
                <c:pt idx="1008">
                  <c:v>41765</c:v>
                </c:pt>
                <c:pt idx="1009">
                  <c:v>41766</c:v>
                </c:pt>
                <c:pt idx="1010">
                  <c:v>41767</c:v>
                </c:pt>
                <c:pt idx="1011">
                  <c:v>41768</c:v>
                </c:pt>
                <c:pt idx="1012">
                  <c:v>41771</c:v>
                </c:pt>
                <c:pt idx="1013">
                  <c:v>41772</c:v>
                </c:pt>
                <c:pt idx="1014">
                  <c:v>41773</c:v>
                </c:pt>
                <c:pt idx="1015">
                  <c:v>41774</c:v>
                </c:pt>
                <c:pt idx="1016">
                  <c:v>41775</c:v>
                </c:pt>
                <c:pt idx="1017">
                  <c:v>41778</c:v>
                </c:pt>
                <c:pt idx="1018">
                  <c:v>41779</c:v>
                </c:pt>
                <c:pt idx="1019">
                  <c:v>41780</c:v>
                </c:pt>
                <c:pt idx="1020">
                  <c:v>41781</c:v>
                </c:pt>
                <c:pt idx="1021">
                  <c:v>41782</c:v>
                </c:pt>
                <c:pt idx="1022">
                  <c:v>41785</c:v>
                </c:pt>
                <c:pt idx="1023">
                  <c:v>41786</c:v>
                </c:pt>
                <c:pt idx="1024">
                  <c:v>41787</c:v>
                </c:pt>
                <c:pt idx="1025">
                  <c:v>41788</c:v>
                </c:pt>
                <c:pt idx="1026">
                  <c:v>41789</c:v>
                </c:pt>
                <c:pt idx="1027">
                  <c:v>41792</c:v>
                </c:pt>
                <c:pt idx="1028">
                  <c:v>41793</c:v>
                </c:pt>
                <c:pt idx="1029">
                  <c:v>41794</c:v>
                </c:pt>
                <c:pt idx="1030">
                  <c:v>41795</c:v>
                </c:pt>
                <c:pt idx="1031">
                  <c:v>41796</c:v>
                </c:pt>
                <c:pt idx="1032">
                  <c:v>41799</c:v>
                </c:pt>
                <c:pt idx="1033">
                  <c:v>41800</c:v>
                </c:pt>
                <c:pt idx="1034">
                  <c:v>41801</c:v>
                </c:pt>
                <c:pt idx="1035">
                  <c:v>41802</c:v>
                </c:pt>
                <c:pt idx="1036">
                  <c:v>41803</c:v>
                </c:pt>
                <c:pt idx="1037">
                  <c:v>41806</c:v>
                </c:pt>
                <c:pt idx="1038">
                  <c:v>41807</c:v>
                </c:pt>
                <c:pt idx="1039">
                  <c:v>41808</c:v>
                </c:pt>
                <c:pt idx="1040">
                  <c:v>41809</c:v>
                </c:pt>
                <c:pt idx="1041">
                  <c:v>41810</c:v>
                </c:pt>
                <c:pt idx="1042">
                  <c:v>41813</c:v>
                </c:pt>
                <c:pt idx="1043">
                  <c:v>41814</c:v>
                </c:pt>
                <c:pt idx="1044">
                  <c:v>41815</c:v>
                </c:pt>
                <c:pt idx="1045">
                  <c:v>41816</c:v>
                </c:pt>
                <c:pt idx="1046">
                  <c:v>41817</c:v>
                </c:pt>
                <c:pt idx="1047">
                  <c:v>41820</c:v>
                </c:pt>
                <c:pt idx="1048">
                  <c:v>41821</c:v>
                </c:pt>
                <c:pt idx="1049">
                  <c:v>41822</c:v>
                </c:pt>
                <c:pt idx="1050">
                  <c:v>41823</c:v>
                </c:pt>
                <c:pt idx="1051">
                  <c:v>41824</c:v>
                </c:pt>
                <c:pt idx="1052">
                  <c:v>41827</c:v>
                </c:pt>
                <c:pt idx="1053">
                  <c:v>41828</c:v>
                </c:pt>
                <c:pt idx="1054">
                  <c:v>41829</c:v>
                </c:pt>
                <c:pt idx="1055">
                  <c:v>41830</c:v>
                </c:pt>
                <c:pt idx="1056">
                  <c:v>41831</c:v>
                </c:pt>
                <c:pt idx="1057">
                  <c:v>41834</c:v>
                </c:pt>
                <c:pt idx="1058">
                  <c:v>41835</c:v>
                </c:pt>
                <c:pt idx="1059">
                  <c:v>41836</c:v>
                </c:pt>
                <c:pt idx="1060">
                  <c:v>41837</c:v>
                </c:pt>
                <c:pt idx="1061">
                  <c:v>41838</c:v>
                </c:pt>
                <c:pt idx="1062">
                  <c:v>41841</c:v>
                </c:pt>
                <c:pt idx="1063">
                  <c:v>41842</c:v>
                </c:pt>
                <c:pt idx="1064">
                  <c:v>41843</c:v>
                </c:pt>
                <c:pt idx="1065">
                  <c:v>41844</c:v>
                </c:pt>
                <c:pt idx="1066">
                  <c:v>41845</c:v>
                </c:pt>
                <c:pt idx="1067">
                  <c:v>41848</c:v>
                </c:pt>
                <c:pt idx="1068">
                  <c:v>41849</c:v>
                </c:pt>
                <c:pt idx="1069">
                  <c:v>41850</c:v>
                </c:pt>
                <c:pt idx="1070">
                  <c:v>41851</c:v>
                </c:pt>
                <c:pt idx="1071">
                  <c:v>41852</c:v>
                </c:pt>
                <c:pt idx="1072">
                  <c:v>41855</c:v>
                </c:pt>
                <c:pt idx="1073">
                  <c:v>41856</c:v>
                </c:pt>
                <c:pt idx="1074">
                  <c:v>41857</c:v>
                </c:pt>
                <c:pt idx="1075">
                  <c:v>41858</c:v>
                </c:pt>
                <c:pt idx="1076">
                  <c:v>41859</c:v>
                </c:pt>
                <c:pt idx="1077">
                  <c:v>41862</c:v>
                </c:pt>
                <c:pt idx="1078">
                  <c:v>41863</c:v>
                </c:pt>
                <c:pt idx="1079">
                  <c:v>41864</c:v>
                </c:pt>
                <c:pt idx="1080">
                  <c:v>41865</c:v>
                </c:pt>
                <c:pt idx="1081">
                  <c:v>41866</c:v>
                </c:pt>
                <c:pt idx="1082">
                  <c:v>41869</c:v>
                </c:pt>
                <c:pt idx="1083">
                  <c:v>41870</c:v>
                </c:pt>
                <c:pt idx="1084">
                  <c:v>41871</c:v>
                </c:pt>
                <c:pt idx="1085">
                  <c:v>41872</c:v>
                </c:pt>
                <c:pt idx="1086">
                  <c:v>41873</c:v>
                </c:pt>
                <c:pt idx="1087">
                  <c:v>41876</c:v>
                </c:pt>
                <c:pt idx="1088">
                  <c:v>41877</c:v>
                </c:pt>
                <c:pt idx="1089">
                  <c:v>41878</c:v>
                </c:pt>
                <c:pt idx="1090">
                  <c:v>41879</c:v>
                </c:pt>
                <c:pt idx="1091">
                  <c:v>41880</c:v>
                </c:pt>
                <c:pt idx="1092">
                  <c:v>41883</c:v>
                </c:pt>
                <c:pt idx="1093">
                  <c:v>41884</c:v>
                </c:pt>
                <c:pt idx="1094">
                  <c:v>41885</c:v>
                </c:pt>
                <c:pt idx="1095">
                  <c:v>41886</c:v>
                </c:pt>
                <c:pt idx="1096">
                  <c:v>41887</c:v>
                </c:pt>
                <c:pt idx="1097">
                  <c:v>41890</c:v>
                </c:pt>
                <c:pt idx="1098">
                  <c:v>41891</c:v>
                </c:pt>
                <c:pt idx="1099">
                  <c:v>41892</c:v>
                </c:pt>
                <c:pt idx="1100">
                  <c:v>41893</c:v>
                </c:pt>
                <c:pt idx="1101">
                  <c:v>41894</c:v>
                </c:pt>
                <c:pt idx="1102">
                  <c:v>41897</c:v>
                </c:pt>
                <c:pt idx="1103">
                  <c:v>41898</c:v>
                </c:pt>
                <c:pt idx="1104">
                  <c:v>41899</c:v>
                </c:pt>
                <c:pt idx="1105">
                  <c:v>41900</c:v>
                </c:pt>
                <c:pt idx="1106">
                  <c:v>41901</c:v>
                </c:pt>
                <c:pt idx="1107">
                  <c:v>41904</c:v>
                </c:pt>
                <c:pt idx="1108">
                  <c:v>41905</c:v>
                </c:pt>
                <c:pt idx="1109">
                  <c:v>41906</c:v>
                </c:pt>
                <c:pt idx="1110">
                  <c:v>41907</c:v>
                </c:pt>
                <c:pt idx="1111">
                  <c:v>41908</c:v>
                </c:pt>
                <c:pt idx="1112">
                  <c:v>41911</c:v>
                </c:pt>
                <c:pt idx="1113">
                  <c:v>41912</c:v>
                </c:pt>
                <c:pt idx="1114">
                  <c:v>41913</c:v>
                </c:pt>
                <c:pt idx="1115">
                  <c:v>41914</c:v>
                </c:pt>
                <c:pt idx="1116">
                  <c:v>41915</c:v>
                </c:pt>
                <c:pt idx="1117">
                  <c:v>41918</c:v>
                </c:pt>
                <c:pt idx="1118">
                  <c:v>41919</c:v>
                </c:pt>
                <c:pt idx="1119">
                  <c:v>41920</c:v>
                </c:pt>
                <c:pt idx="1120">
                  <c:v>41921</c:v>
                </c:pt>
                <c:pt idx="1121">
                  <c:v>41922</c:v>
                </c:pt>
                <c:pt idx="1122">
                  <c:v>41925</c:v>
                </c:pt>
                <c:pt idx="1123">
                  <c:v>41926</c:v>
                </c:pt>
                <c:pt idx="1124">
                  <c:v>41927</c:v>
                </c:pt>
                <c:pt idx="1125">
                  <c:v>41928</c:v>
                </c:pt>
                <c:pt idx="1126">
                  <c:v>41929</c:v>
                </c:pt>
                <c:pt idx="1127">
                  <c:v>41932</c:v>
                </c:pt>
                <c:pt idx="1128">
                  <c:v>41933</c:v>
                </c:pt>
                <c:pt idx="1129">
                  <c:v>41934</c:v>
                </c:pt>
                <c:pt idx="1130">
                  <c:v>41935</c:v>
                </c:pt>
                <c:pt idx="1131">
                  <c:v>41936</c:v>
                </c:pt>
                <c:pt idx="1132">
                  <c:v>41939</c:v>
                </c:pt>
                <c:pt idx="1133">
                  <c:v>41940</c:v>
                </c:pt>
                <c:pt idx="1134">
                  <c:v>41941</c:v>
                </c:pt>
                <c:pt idx="1135">
                  <c:v>41942</c:v>
                </c:pt>
                <c:pt idx="1136">
                  <c:v>41943</c:v>
                </c:pt>
                <c:pt idx="1137">
                  <c:v>41946</c:v>
                </c:pt>
                <c:pt idx="1138">
                  <c:v>41947</c:v>
                </c:pt>
                <c:pt idx="1139">
                  <c:v>41948</c:v>
                </c:pt>
                <c:pt idx="1140">
                  <c:v>41949</c:v>
                </c:pt>
                <c:pt idx="1141">
                  <c:v>41950</c:v>
                </c:pt>
                <c:pt idx="1142">
                  <c:v>41953</c:v>
                </c:pt>
                <c:pt idx="1143">
                  <c:v>41954</c:v>
                </c:pt>
                <c:pt idx="1144">
                  <c:v>41955</c:v>
                </c:pt>
                <c:pt idx="1145">
                  <c:v>41956</c:v>
                </c:pt>
                <c:pt idx="1146">
                  <c:v>41957</c:v>
                </c:pt>
                <c:pt idx="1147">
                  <c:v>41960</c:v>
                </c:pt>
                <c:pt idx="1148">
                  <c:v>41961</c:v>
                </c:pt>
                <c:pt idx="1149">
                  <c:v>41962</c:v>
                </c:pt>
                <c:pt idx="1150">
                  <c:v>41963</c:v>
                </c:pt>
                <c:pt idx="1151">
                  <c:v>41964</c:v>
                </c:pt>
                <c:pt idx="1152">
                  <c:v>41967</c:v>
                </c:pt>
                <c:pt idx="1153">
                  <c:v>41968</c:v>
                </c:pt>
                <c:pt idx="1154">
                  <c:v>41969</c:v>
                </c:pt>
                <c:pt idx="1155">
                  <c:v>41970</c:v>
                </c:pt>
                <c:pt idx="1156">
                  <c:v>41971</c:v>
                </c:pt>
                <c:pt idx="1157">
                  <c:v>41974</c:v>
                </c:pt>
                <c:pt idx="1158">
                  <c:v>41975</c:v>
                </c:pt>
                <c:pt idx="1159">
                  <c:v>41976</c:v>
                </c:pt>
                <c:pt idx="1160">
                  <c:v>41977</c:v>
                </c:pt>
                <c:pt idx="1161">
                  <c:v>41978</c:v>
                </c:pt>
                <c:pt idx="1162">
                  <c:v>41981</c:v>
                </c:pt>
                <c:pt idx="1163">
                  <c:v>41982</c:v>
                </c:pt>
                <c:pt idx="1164">
                  <c:v>41983</c:v>
                </c:pt>
                <c:pt idx="1165">
                  <c:v>41984</c:v>
                </c:pt>
                <c:pt idx="1166">
                  <c:v>41985</c:v>
                </c:pt>
                <c:pt idx="1167">
                  <c:v>41988</c:v>
                </c:pt>
                <c:pt idx="1168">
                  <c:v>41989</c:v>
                </c:pt>
                <c:pt idx="1169">
                  <c:v>41990</c:v>
                </c:pt>
                <c:pt idx="1170">
                  <c:v>41991</c:v>
                </c:pt>
                <c:pt idx="1171">
                  <c:v>41992</c:v>
                </c:pt>
                <c:pt idx="1172">
                  <c:v>41995</c:v>
                </c:pt>
                <c:pt idx="1173">
                  <c:v>41996</c:v>
                </c:pt>
                <c:pt idx="1174">
                  <c:v>41997</c:v>
                </c:pt>
                <c:pt idx="1175">
                  <c:v>41998</c:v>
                </c:pt>
                <c:pt idx="1176">
                  <c:v>41999</c:v>
                </c:pt>
                <c:pt idx="1177">
                  <c:v>42002</c:v>
                </c:pt>
                <c:pt idx="1178">
                  <c:v>42003</c:v>
                </c:pt>
                <c:pt idx="1179">
                  <c:v>42004</c:v>
                </c:pt>
                <c:pt idx="1180">
                  <c:v>42005</c:v>
                </c:pt>
                <c:pt idx="1181">
                  <c:v>42006</c:v>
                </c:pt>
                <c:pt idx="1182">
                  <c:v>42009</c:v>
                </c:pt>
                <c:pt idx="1183">
                  <c:v>42010</c:v>
                </c:pt>
                <c:pt idx="1184">
                  <c:v>42011</c:v>
                </c:pt>
                <c:pt idx="1185">
                  <c:v>42012</c:v>
                </c:pt>
                <c:pt idx="1186">
                  <c:v>42013</c:v>
                </c:pt>
                <c:pt idx="1187">
                  <c:v>42016</c:v>
                </c:pt>
                <c:pt idx="1188">
                  <c:v>42017</c:v>
                </c:pt>
                <c:pt idx="1189">
                  <c:v>42018</c:v>
                </c:pt>
                <c:pt idx="1190">
                  <c:v>42019</c:v>
                </c:pt>
                <c:pt idx="1191">
                  <c:v>42020</c:v>
                </c:pt>
                <c:pt idx="1192">
                  <c:v>42023</c:v>
                </c:pt>
                <c:pt idx="1193">
                  <c:v>42024</c:v>
                </c:pt>
                <c:pt idx="1194">
                  <c:v>42025</c:v>
                </c:pt>
                <c:pt idx="1195">
                  <c:v>42026</c:v>
                </c:pt>
                <c:pt idx="1196">
                  <c:v>42027</c:v>
                </c:pt>
                <c:pt idx="1197">
                  <c:v>42030</c:v>
                </c:pt>
                <c:pt idx="1198">
                  <c:v>42031</c:v>
                </c:pt>
                <c:pt idx="1199">
                  <c:v>42032</c:v>
                </c:pt>
                <c:pt idx="1200">
                  <c:v>42033</c:v>
                </c:pt>
                <c:pt idx="1201">
                  <c:v>42034</c:v>
                </c:pt>
                <c:pt idx="1202">
                  <c:v>42037</c:v>
                </c:pt>
                <c:pt idx="1203">
                  <c:v>42038</c:v>
                </c:pt>
                <c:pt idx="1204">
                  <c:v>42039</c:v>
                </c:pt>
                <c:pt idx="1205">
                  <c:v>42040</c:v>
                </c:pt>
                <c:pt idx="1206">
                  <c:v>42041</c:v>
                </c:pt>
                <c:pt idx="1207">
                  <c:v>42044</c:v>
                </c:pt>
                <c:pt idx="1208">
                  <c:v>42045</c:v>
                </c:pt>
                <c:pt idx="1209">
                  <c:v>42046</c:v>
                </c:pt>
                <c:pt idx="1210">
                  <c:v>42047</c:v>
                </c:pt>
                <c:pt idx="1211">
                  <c:v>42048</c:v>
                </c:pt>
                <c:pt idx="1212">
                  <c:v>42051</c:v>
                </c:pt>
                <c:pt idx="1213">
                  <c:v>42052</c:v>
                </c:pt>
                <c:pt idx="1214">
                  <c:v>42053</c:v>
                </c:pt>
                <c:pt idx="1215">
                  <c:v>42054</c:v>
                </c:pt>
                <c:pt idx="1216">
                  <c:v>42055</c:v>
                </c:pt>
                <c:pt idx="1217">
                  <c:v>42058</c:v>
                </c:pt>
                <c:pt idx="1218">
                  <c:v>42059</c:v>
                </c:pt>
                <c:pt idx="1219">
                  <c:v>42060</c:v>
                </c:pt>
                <c:pt idx="1220">
                  <c:v>42061</c:v>
                </c:pt>
                <c:pt idx="1221">
                  <c:v>42062</c:v>
                </c:pt>
                <c:pt idx="1222">
                  <c:v>42065</c:v>
                </c:pt>
                <c:pt idx="1223">
                  <c:v>42066</c:v>
                </c:pt>
                <c:pt idx="1224">
                  <c:v>42067</c:v>
                </c:pt>
                <c:pt idx="1225">
                  <c:v>42068</c:v>
                </c:pt>
                <c:pt idx="1226">
                  <c:v>42069</c:v>
                </c:pt>
                <c:pt idx="1227">
                  <c:v>42072</c:v>
                </c:pt>
                <c:pt idx="1228">
                  <c:v>42073</c:v>
                </c:pt>
                <c:pt idx="1229">
                  <c:v>42074</c:v>
                </c:pt>
                <c:pt idx="1230">
                  <c:v>42075</c:v>
                </c:pt>
                <c:pt idx="1231">
                  <c:v>42076</c:v>
                </c:pt>
                <c:pt idx="1232">
                  <c:v>42079</c:v>
                </c:pt>
                <c:pt idx="1233">
                  <c:v>42080</c:v>
                </c:pt>
                <c:pt idx="1234">
                  <c:v>42081</c:v>
                </c:pt>
                <c:pt idx="1235">
                  <c:v>42082</c:v>
                </c:pt>
                <c:pt idx="1236">
                  <c:v>42083</c:v>
                </c:pt>
                <c:pt idx="1237">
                  <c:v>42086</c:v>
                </c:pt>
                <c:pt idx="1238">
                  <c:v>42087</c:v>
                </c:pt>
                <c:pt idx="1239">
                  <c:v>42088</c:v>
                </c:pt>
                <c:pt idx="1240">
                  <c:v>42089</c:v>
                </c:pt>
                <c:pt idx="1241">
                  <c:v>42090</c:v>
                </c:pt>
                <c:pt idx="1242">
                  <c:v>42093</c:v>
                </c:pt>
                <c:pt idx="1243">
                  <c:v>42094</c:v>
                </c:pt>
                <c:pt idx="1244">
                  <c:v>42095</c:v>
                </c:pt>
                <c:pt idx="1245">
                  <c:v>42096</c:v>
                </c:pt>
                <c:pt idx="1246">
                  <c:v>42097</c:v>
                </c:pt>
                <c:pt idx="1247">
                  <c:v>42100</c:v>
                </c:pt>
                <c:pt idx="1248">
                  <c:v>42101</c:v>
                </c:pt>
                <c:pt idx="1249">
                  <c:v>42102</c:v>
                </c:pt>
                <c:pt idx="1250">
                  <c:v>42103</c:v>
                </c:pt>
                <c:pt idx="1251">
                  <c:v>42104</c:v>
                </c:pt>
                <c:pt idx="1252">
                  <c:v>42107</c:v>
                </c:pt>
                <c:pt idx="1253">
                  <c:v>42108</c:v>
                </c:pt>
                <c:pt idx="1254">
                  <c:v>42109</c:v>
                </c:pt>
                <c:pt idx="1255">
                  <c:v>42110</c:v>
                </c:pt>
                <c:pt idx="1256">
                  <c:v>42111</c:v>
                </c:pt>
                <c:pt idx="1257">
                  <c:v>42114</c:v>
                </c:pt>
                <c:pt idx="1258">
                  <c:v>42115</c:v>
                </c:pt>
                <c:pt idx="1259">
                  <c:v>42116</c:v>
                </c:pt>
                <c:pt idx="1260">
                  <c:v>42117</c:v>
                </c:pt>
                <c:pt idx="1261">
                  <c:v>42118</c:v>
                </c:pt>
                <c:pt idx="1262">
                  <c:v>42121</c:v>
                </c:pt>
                <c:pt idx="1263">
                  <c:v>42122</c:v>
                </c:pt>
                <c:pt idx="1264">
                  <c:v>42123</c:v>
                </c:pt>
                <c:pt idx="1265">
                  <c:v>42124</c:v>
                </c:pt>
                <c:pt idx="1266">
                  <c:v>42125</c:v>
                </c:pt>
                <c:pt idx="1267">
                  <c:v>42128</c:v>
                </c:pt>
                <c:pt idx="1268">
                  <c:v>42129</c:v>
                </c:pt>
                <c:pt idx="1269">
                  <c:v>42130</c:v>
                </c:pt>
                <c:pt idx="1270">
                  <c:v>42131</c:v>
                </c:pt>
                <c:pt idx="1271">
                  <c:v>42132</c:v>
                </c:pt>
                <c:pt idx="1272">
                  <c:v>42135</c:v>
                </c:pt>
                <c:pt idx="1273">
                  <c:v>42136</c:v>
                </c:pt>
                <c:pt idx="1274">
                  <c:v>42137</c:v>
                </c:pt>
                <c:pt idx="1275">
                  <c:v>42138</c:v>
                </c:pt>
                <c:pt idx="1276">
                  <c:v>42139</c:v>
                </c:pt>
                <c:pt idx="1277">
                  <c:v>42142</c:v>
                </c:pt>
                <c:pt idx="1278">
                  <c:v>42143</c:v>
                </c:pt>
                <c:pt idx="1279">
                  <c:v>42144</c:v>
                </c:pt>
                <c:pt idx="1280">
                  <c:v>42145</c:v>
                </c:pt>
                <c:pt idx="1281">
                  <c:v>42146</c:v>
                </c:pt>
                <c:pt idx="1282">
                  <c:v>42149</c:v>
                </c:pt>
                <c:pt idx="1283">
                  <c:v>42150</c:v>
                </c:pt>
                <c:pt idx="1284">
                  <c:v>42151</c:v>
                </c:pt>
                <c:pt idx="1285">
                  <c:v>42152</c:v>
                </c:pt>
                <c:pt idx="1286">
                  <c:v>42153</c:v>
                </c:pt>
                <c:pt idx="1287">
                  <c:v>42156</c:v>
                </c:pt>
                <c:pt idx="1288">
                  <c:v>42157</c:v>
                </c:pt>
                <c:pt idx="1289">
                  <c:v>42158</c:v>
                </c:pt>
                <c:pt idx="1290">
                  <c:v>42159</c:v>
                </c:pt>
                <c:pt idx="1291">
                  <c:v>42160</c:v>
                </c:pt>
                <c:pt idx="1292">
                  <c:v>42163</c:v>
                </c:pt>
                <c:pt idx="1293">
                  <c:v>42164</c:v>
                </c:pt>
                <c:pt idx="1294">
                  <c:v>42165</c:v>
                </c:pt>
                <c:pt idx="1295">
                  <c:v>42166</c:v>
                </c:pt>
                <c:pt idx="1296">
                  <c:v>42167</c:v>
                </c:pt>
                <c:pt idx="1297">
                  <c:v>42170</c:v>
                </c:pt>
                <c:pt idx="1298">
                  <c:v>42171</c:v>
                </c:pt>
                <c:pt idx="1299">
                  <c:v>42172</c:v>
                </c:pt>
                <c:pt idx="1300">
                  <c:v>42173</c:v>
                </c:pt>
                <c:pt idx="1301">
                  <c:v>42174</c:v>
                </c:pt>
                <c:pt idx="1302">
                  <c:v>42177</c:v>
                </c:pt>
                <c:pt idx="1303">
                  <c:v>42178</c:v>
                </c:pt>
                <c:pt idx="1304">
                  <c:v>42179</c:v>
                </c:pt>
                <c:pt idx="1305">
                  <c:v>42180</c:v>
                </c:pt>
                <c:pt idx="1306">
                  <c:v>42181</c:v>
                </c:pt>
                <c:pt idx="1307">
                  <c:v>42184</c:v>
                </c:pt>
                <c:pt idx="1308">
                  <c:v>42185</c:v>
                </c:pt>
                <c:pt idx="1309">
                  <c:v>42186</c:v>
                </c:pt>
                <c:pt idx="1310">
                  <c:v>42187</c:v>
                </c:pt>
                <c:pt idx="1311">
                  <c:v>42188</c:v>
                </c:pt>
                <c:pt idx="1312">
                  <c:v>42191</c:v>
                </c:pt>
                <c:pt idx="1313">
                  <c:v>42192</c:v>
                </c:pt>
                <c:pt idx="1314">
                  <c:v>42193</c:v>
                </c:pt>
                <c:pt idx="1315">
                  <c:v>42194</c:v>
                </c:pt>
                <c:pt idx="1316">
                  <c:v>42195</c:v>
                </c:pt>
                <c:pt idx="1317">
                  <c:v>42198</c:v>
                </c:pt>
                <c:pt idx="1318">
                  <c:v>42199</c:v>
                </c:pt>
                <c:pt idx="1319">
                  <c:v>42200</c:v>
                </c:pt>
                <c:pt idx="1320">
                  <c:v>42201</c:v>
                </c:pt>
                <c:pt idx="1321">
                  <c:v>42202</c:v>
                </c:pt>
                <c:pt idx="1322">
                  <c:v>42205</c:v>
                </c:pt>
                <c:pt idx="1323">
                  <c:v>42206</c:v>
                </c:pt>
                <c:pt idx="1324">
                  <c:v>42207</c:v>
                </c:pt>
                <c:pt idx="1325">
                  <c:v>42208</c:v>
                </c:pt>
                <c:pt idx="1326">
                  <c:v>42209</c:v>
                </c:pt>
                <c:pt idx="1327">
                  <c:v>42212</c:v>
                </c:pt>
                <c:pt idx="1328">
                  <c:v>42213</c:v>
                </c:pt>
                <c:pt idx="1329">
                  <c:v>42214</c:v>
                </c:pt>
                <c:pt idx="1330">
                  <c:v>42215</c:v>
                </c:pt>
                <c:pt idx="1331">
                  <c:v>42216</c:v>
                </c:pt>
                <c:pt idx="1332">
                  <c:v>42219</c:v>
                </c:pt>
                <c:pt idx="1333">
                  <c:v>42220</c:v>
                </c:pt>
                <c:pt idx="1334">
                  <c:v>42221</c:v>
                </c:pt>
                <c:pt idx="1335">
                  <c:v>42222</c:v>
                </c:pt>
                <c:pt idx="1336">
                  <c:v>42223</c:v>
                </c:pt>
                <c:pt idx="1337">
                  <c:v>42226</c:v>
                </c:pt>
                <c:pt idx="1338">
                  <c:v>42227</c:v>
                </c:pt>
                <c:pt idx="1339">
                  <c:v>42228</c:v>
                </c:pt>
                <c:pt idx="1340">
                  <c:v>42229</c:v>
                </c:pt>
                <c:pt idx="1341">
                  <c:v>42230</c:v>
                </c:pt>
                <c:pt idx="1342">
                  <c:v>42233</c:v>
                </c:pt>
                <c:pt idx="1343">
                  <c:v>42234</c:v>
                </c:pt>
                <c:pt idx="1344">
                  <c:v>42235</c:v>
                </c:pt>
                <c:pt idx="1345">
                  <c:v>42236</c:v>
                </c:pt>
                <c:pt idx="1346">
                  <c:v>42237</c:v>
                </c:pt>
                <c:pt idx="1347">
                  <c:v>42240</c:v>
                </c:pt>
                <c:pt idx="1348">
                  <c:v>42241</c:v>
                </c:pt>
                <c:pt idx="1349">
                  <c:v>42242</c:v>
                </c:pt>
                <c:pt idx="1350">
                  <c:v>42243</c:v>
                </c:pt>
                <c:pt idx="1351">
                  <c:v>42244</c:v>
                </c:pt>
                <c:pt idx="1352">
                  <c:v>42247</c:v>
                </c:pt>
                <c:pt idx="1353">
                  <c:v>42248</c:v>
                </c:pt>
                <c:pt idx="1354">
                  <c:v>42249</c:v>
                </c:pt>
                <c:pt idx="1355">
                  <c:v>42250</c:v>
                </c:pt>
                <c:pt idx="1356">
                  <c:v>42251</c:v>
                </c:pt>
                <c:pt idx="1357">
                  <c:v>42254</c:v>
                </c:pt>
                <c:pt idx="1358">
                  <c:v>42255</c:v>
                </c:pt>
                <c:pt idx="1359">
                  <c:v>42256</c:v>
                </c:pt>
                <c:pt idx="1360">
                  <c:v>42257</c:v>
                </c:pt>
                <c:pt idx="1361">
                  <c:v>42258</c:v>
                </c:pt>
                <c:pt idx="1362">
                  <c:v>42261</c:v>
                </c:pt>
                <c:pt idx="1363">
                  <c:v>42262</c:v>
                </c:pt>
                <c:pt idx="1364">
                  <c:v>42263</c:v>
                </c:pt>
                <c:pt idx="1365">
                  <c:v>42264</c:v>
                </c:pt>
                <c:pt idx="1366">
                  <c:v>42265</c:v>
                </c:pt>
                <c:pt idx="1367">
                  <c:v>42268</c:v>
                </c:pt>
                <c:pt idx="1368">
                  <c:v>42269</c:v>
                </c:pt>
                <c:pt idx="1369">
                  <c:v>42270</c:v>
                </c:pt>
                <c:pt idx="1370">
                  <c:v>42271</c:v>
                </c:pt>
                <c:pt idx="1371">
                  <c:v>42272</c:v>
                </c:pt>
                <c:pt idx="1372">
                  <c:v>42275</c:v>
                </c:pt>
                <c:pt idx="1373">
                  <c:v>42276</c:v>
                </c:pt>
                <c:pt idx="1374">
                  <c:v>42277</c:v>
                </c:pt>
                <c:pt idx="1375">
                  <c:v>42278</c:v>
                </c:pt>
                <c:pt idx="1376">
                  <c:v>42279</c:v>
                </c:pt>
                <c:pt idx="1377">
                  <c:v>42282</c:v>
                </c:pt>
                <c:pt idx="1378">
                  <c:v>42283</c:v>
                </c:pt>
                <c:pt idx="1379">
                  <c:v>42284</c:v>
                </c:pt>
                <c:pt idx="1380">
                  <c:v>42285</c:v>
                </c:pt>
                <c:pt idx="1381">
                  <c:v>42286</c:v>
                </c:pt>
                <c:pt idx="1382">
                  <c:v>42289</c:v>
                </c:pt>
                <c:pt idx="1383">
                  <c:v>42290</c:v>
                </c:pt>
                <c:pt idx="1384">
                  <c:v>42291</c:v>
                </c:pt>
                <c:pt idx="1385">
                  <c:v>42292</c:v>
                </c:pt>
                <c:pt idx="1386">
                  <c:v>42293</c:v>
                </c:pt>
                <c:pt idx="1387">
                  <c:v>42296</c:v>
                </c:pt>
                <c:pt idx="1388">
                  <c:v>42297</c:v>
                </c:pt>
                <c:pt idx="1389">
                  <c:v>42298</c:v>
                </c:pt>
                <c:pt idx="1390">
                  <c:v>42299</c:v>
                </c:pt>
                <c:pt idx="1391">
                  <c:v>42300</c:v>
                </c:pt>
                <c:pt idx="1392">
                  <c:v>42303</c:v>
                </c:pt>
                <c:pt idx="1393">
                  <c:v>42304</c:v>
                </c:pt>
                <c:pt idx="1394">
                  <c:v>42305</c:v>
                </c:pt>
                <c:pt idx="1395">
                  <c:v>42306</c:v>
                </c:pt>
                <c:pt idx="1396">
                  <c:v>42307</c:v>
                </c:pt>
                <c:pt idx="1397">
                  <c:v>42310</c:v>
                </c:pt>
                <c:pt idx="1398">
                  <c:v>42311</c:v>
                </c:pt>
                <c:pt idx="1399">
                  <c:v>42312</c:v>
                </c:pt>
                <c:pt idx="1400">
                  <c:v>42313</c:v>
                </c:pt>
                <c:pt idx="1401">
                  <c:v>42314</c:v>
                </c:pt>
                <c:pt idx="1402">
                  <c:v>42317</c:v>
                </c:pt>
                <c:pt idx="1403">
                  <c:v>42318</c:v>
                </c:pt>
                <c:pt idx="1404">
                  <c:v>42319</c:v>
                </c:pt>
                <c:pt idx="1405">
                  <c:v>42320</c:v>
                </c:pt>
                <c:pt idx="1406">
                  <c:v>42321</c:v>
                </c:pt>
                <c:pt idx="1407">
                  <c:v>42324</c:v>
                </c:pt>
                <c:pt idx="1408">
                  <c:v>42325</c:v>
                </c:pt>
                <c:pt idx="1409">
                  <c:v>42326</c:v>
                </c:pt>
                <c:pt idx="1410">
                  <c:v>42327</c:v>
                </c:pt>
                <c:pt idx="1411">
                  <c:v>42328</c:v>
                </c:pt>
                <c:pt idx="1412">
                  <c:v>42331</c:v>
                </c:pt>
                <c:pt idx="1413">
                  <c:v>42332</c:v>
                </c:pt>
                <c:pt idx="1414">
                  <c:v>42333</c:v>
                </c:pt>
                <c:pt idx="1415">
                  <c:v>42334</c:v>
                </c:pt>
                <c:pt idx="1416">
                  <c:v>42335</c:v>
                </c:pt>
                <c:pt idx="1417">
                  <c:v>42338</c:v>
                </c:pt>
                <c:pt idx="1418">
                  <c:v>42339</c:v>
                </c:pt>
                <c:pt idx="1419">
                  <c:v>42340</c:v>
                </c:pt>
                <c:pt idx="1420">
                  <c:v>42341</c:v>
                </c:pt>
                <c:pt idx="1421">
                  <c:v>42342</c:v>
                </c:pt>
                <c:pt idx="1422">
                  <c:v>42345</c:v>
                </c:pt>
                <c:pt idx="1423">
                  <c:v>42346</c:v>
                </c:pt>
                <c:pt idx="1424">
                  <c:v>42347</c:v>
                </c:pt>
                <c:pt idx="1425">
                  <c:v>42348</c:v>
                </c:pt>
                <c:pt idx="1426">
                  <c:v>42349</c:v>
                </c:pt>
                <c:pt idx="1427">
                  <c:v>42352</c:v>
                </c:pt>
                <c:pt idx="1428">
                  <c:v>42353</c:v>
                </c:pt>
                <c:pt idx="1429">
                  <c:v>42354</c:v>
                </c:pt>
                <c:pt idx="1430">
                  <c:v>42355</c:v>
                </c:pt>
                <c:pt idx="1431">
                  <c:v>42356</c:v>
                </c:pt>
                <c:pt idx="1432">
                  <c:v>42359</c:v>
                </c:pt>
                <c:pt idx="1433">
                  <c:v>42360</c:v>
                </c:pt>
                <c:pt idx="1434">
                  <c:v>42361</c:v>
                </c:pt>
                <c:pt idx="1435">
                  <c:v>42362</c:v>
                </c:pt>
                <c:pt idx="1436">
                  <c:v>42363</c:v>
                </c:pt>
                <c:pt idx="1437">
                  <c:v>42366</c:v>
                </c:pt>
                <c:pt idx="1438">
                  <c:v>42367</c:v>
                </c:pt>
                <c:pt idx="1439">
                  <c:v>42368</c:v>
                </c:pt>
                <c:pt idx="1440">
                  <c:v>42369</c:v>
                </c:pt>
                <c:pt idx="1441">
                  <c:v>42370</c:v>
                </c:pt>
                <c:pt idx="1442">
                  <c:v>42373</c:v>
                </c:pt>
                <c:pt idx="1443">
                  <c:v>42374</c:v>
                </c:pt>
                <c:pt idx="1444">
                  <c:v>42375</c:v>
                </c:pt>
                <c:pt idx="1445">
                  <c:v>42376</c:v>
                </c:pt>
                <c:pt idx="1446">
                  <c:v>42377</c:v>
                </c:pt>
                <c:pt idx="1447">
                  <c:v>42380</c:v>
                </c:pt>
                <c:pt idx="1448">
                  <c:v>42381</c:v>
                </c:pt>
                <c:pt idx="1449">
                  <c:v>42382</c:v>
                </c:pt>
                <c:pt idx="1450">
                  <c:v>42383</c:v>
                </c:pt>
                <c:pt idx="1451">
                  <c:v>42384</c:v>
                </c:pt>
                <c:pt idx="1452">
                  <c:v>42387</c:v>
                </c:pt>
                <c:pt idx="1453">
                  <c:v>42388</c:v>
                </c:pt>
                <c:pt idx="1454">
                  <c:v>42389</c:v>
                </c:pt>
                <c:pt idx="1455">
                  <c:v>42390</c:v>
                </c:pt>
                <c:pt idx="1456">
                  <c:v>42391</c:v>
                </c:pt>
                <c:pt idx="1457">
                  <c:v>42394</c:v>
                </c:pt>
                <c:pt idx="1458">
                  <c:v>42395</c:v>
                </c:pt>
                <c:pt idx="1459">
                  <c:v>42396</c:v>
                </c:pt>
                <c:pt idx="1460">
                  <c:v>42397</c:v>
                </c:pt>
                <c:pt idx="1461">
                  <c:v>42398</c:v>
                </c:pt>
                <c:pt idx="1462">
                  <c:v>42401</c:v>
                </c:pt>
                <c:pt idx="1463">
                  <c:v>42402</c:v>
                </c:pt>
                <c:pt idx="1464">
                  <c:v>42403</c:v>
                </c:pt>
                <c:pt idx="1465">
                  <c:v>42404</c:v>
                </c:pt>
                <c:pt idx="1466">
                  <c:v>42405</c:v>
                </c:pt>
                <c:pt idx="1467">
                  <c:v>42408</c:v>
                </c:pt>
                <c:pt idx="1468">
                  <c:v>42409</c:v>
                </c:pt>
                <c:pt idx="1469">
                  <c:v>42410</c:v>
                </c:pt>
                <c:pt idx="1470">
                  <c:v>42411</c:v>
                </c:pt>
                <c:pt idx="1471">
                  <c:v>42412</c:v>
                </c:pt>
                <c:pt idx="1472">
                  <c:v>42415</c:v>
                </c:pt>
                <c:pt idx="1473">
                  <c:v>42416</c:v>
                </c:pt>
                <c:pt idx="1474">
                  <c:v>42417</c:v>
                </c:pt>
                <c:pt idx="1475">
                  <c:v>42418</c:v>
                </c:pt>
                <c:pt idx="1476">
                  <c:v>42419</c:v>
                </c:pt>
                <c:pt idx="1477">
                  <c:v>42422</c:v>
                </c:pt>
                <c:pt idx="1478">
                  <c:v>42423</c:v>
                </c:pt>
                <c:pt idx="1479">
                  <c:v>42424</c:v>
                </c:pt>
                <c:pt idx="1480">
                  <c:v>42425</c:v>
                </c:pt>
                <c:pt idx="1481">
                  <c:v>42426</c:v>
                </c:pt>
                <c:pt idx="1482">
                  <c:v>42429</c:v>
                </c:pt>
                <c:pt idx="1483">
                  <c:v>42430</c:v>
                </c:pt>
                <c:pt idx="1484">
                  <c:v>42431</c:v>
                </c:pt>
                <c:pt idx="1485">
                  <c:v>42432</c:v>
                </c:pt>
                <c:pt idx="1486">
                  <c:v>42433</c:v>
                </c:pt>
                <c:pt idx="1487">
                  <c:v>42436</c:v>
                </c:pt>
                <c:pt idx="1488">
                  <c:v>42437</c:v>
                </c:pt>
                <c:pt idx="1489">
                  <c:v>42438</c:v>
                </c:pt>
                <c:pt idx="1490">
                  <c:v>42439</c:v>
                </c:pt>
                <c:pt idx="1491">
                  <c:v>42440</c:v>
                </c:pt>
                <c:pt idx="1492">
                  <c:v>42443</c:v>
                </c:pt>
                <c:pt idx="1493">
                  <c:v>42444</c:v>
                </c:pt>
                <c:pt idx="1494">
                  <c:v>42445</c:v>
                </c:pt>
                <c:pt idx="1495">
                  <c:v>42446</c:v>
                </c:pt>
                <c:pt idx="1496">
                  <c:v>42447</c:v>
                </c:pt>
                <c:pt idx="1497">
                  <c:v>42450</c:v>
                </c:pt>
                <c:pt idx="1498">
                  <c:v>42451</c:v>
                </c:pt>
                <c:pt idx="1499">
                  <c:v>42452</c:v>
                </c:pt>
                <c:pt idx="1500">
                  <c:v>42453</c:v>
                </c:pt>
                <c:pt idx="1501">
                  <c:v>42454</c:v>
                </c:pt>
                <c:pt idx="1502">
                  <c:v>42457</c:v>
                </c:pt>
                <c:pt idx="1503">
                  <c:v>42458</c:v>
                </c:pt>
                <c:pt idx="1504">
                  <c:v>42459</c:v>
                </c:pt>
                <c:pt idx="1505">
                  <c:v>42460</c:v>
                </c:pt>
                <c:pt idx="1506">
                  <c:v>42461</c:v>
                </c:pt>
                <c:pt idx="1507">
                  <c:v>42464</c:v>
                </c:pt>
                <c:pt idx="1508">
                  <c:v>42465</c:v>
                </c:pt>
                <c:pt idx="1509">
                  <c:v>42466</c:v>
                </c:pt>
                <c:pt idx="1510">
                  <c:v>42467</c:v>
                </c:pt>
                <c:pt idx="1511">
                  <c:v>42468</c:v>
                </c:pt>
                <c:pt idx="1512">
                  <c:v>42471</c:v>
                </c:pt>
                <c:pt idx="1513">
                  <c:v>42472</c:v>
                </c:pt>
                <c:pt idx="1514">
                  <c:v>42473</c:v>
                </c:pt>
                <c:pt idx="1515">
                  <c:v>42474</c:v>
                </c:pt>
                <c:pt idx="1516">
                  <c:v>42475</c:v>
                </c:pt>
                <c:pt idx="1517">
                  <c:v>42478</c:v>
                </c:pt>
                <c:pt idx="1518">
                  <c:v>42479</c:v>
                </c:pt>
                <c:pt idx="1519">
                  <c:v>42480</c:v>
                </c:pt>
                <c:pt idx="1520">
                  <c:v>42481</c:v>
                </c:pt>
                <c:pt idx="1521">
                  <c:v>42482</c:v>
                </c:pt>
                <c:pt idx="1522">
                  <c:v>42485</c:v>
                </c:pt>
                <c:pt idx="1523">
                  <c:v>42486</c:v>
                </c:pt>
                <c:pt idx="1524">
                  <c:v>42487</c:v>
                </c:pt>
                <c:pt idx="1525">
                  <c:v>42488</c:v>
                </c:pt>
                <c:pt idx="1526">
                  <c:v>42489</c:v>
                </c:pt>
                <c:pt idx="1527">
                  <c:v>42492</c:v>
                </c:pt>
                <c:pt idx="1528">
                  <c:v>42493</c:v>
                </c:pt>
                <c:pt idx="1529">
                  <c:v>42494</c:v>
                </c:pt>
                <c:pt idx="1530">
                  <c:v>42495</c:v>
                </c:pt>
                <c:pt idx="1531">
                  <c:v>42496</c:v>
                </c:pt>
                <c:pt idx="1532">
                  <c:v>42499</c:v>
                </c:pt>
                <c:pt idx="1533">
                  <c:v>42500</c:v>
                </c:pt>
                <c:pt idx="1534">
                  <c:v>42501</c:v>
                </c:pt>
                <c:pt idx="1535">
                  <c:v>42502</c:v>
                </c:pt>
                <c:pt idx="1536">
                  <c:v>42503</c:v>
                </c:pt>
                <c:pt idx="1537">
                  <c:v>42506</c:v>
                </c:pt>
                <c:pt idx="1538">
                  <c:v>42507</c:v>
                </c:pt>
                <c:pt idx="1539">
                  <c:v>42508</c:v>
                </c:pt>
                <c:pt idx="1540">
                  <c:v>42509</c:v>
                </c:pt>
                <c:pt idx="1541">
                  <c:v>42510</c:v>
                </c:pt>
                <c:pt idx="1542">
                  <c:v>42513</c:v>
                </c:pt>
                <c:pt idx="1543">
                  <c:v>42514</c:v>
                </c:pt>
                <c:pt idx="1544">
                  <c:v>42515</c:v>
                </c:pt>
                <c:pt idx="1545">
                  <c:v>42516</c:v>
                </c:pt>
                <c:pt idx="1546">
                  <c:v>42517</c:v>
                </c:pt>
                <c:pt idx="1547">
                  <c:v>42520</c:v>
                </c:pt>
                <c:pt idx="1548">
                  <c:v>42521</c:v>
                </c:pt>
                <c:pt idx="1549">
                  <c:v>42522</c:v>
                </c:pt>
                <c:pt idx="1550">
                  <c:v>42523</c:v>
                </c:pt>
                <c:pt idx="1551">
                  <c:v>42524</c:v>
                </c:pt>
                <c:pt idx="1552">
                  <c:v>42527</c:v>
                </c:pt>
                <c:pt idx="1553">
                  <c:v>42528</c:v>
                </c:pt>
                <c:pt idx="1554">
                  <c:v>42529</c:v>
                </c:pt>
                <c:pt idx="1555">
                  <c:v>42530</c:v>
                </c:pt>
                <c:pt idx="1556">
                  <c:v>42531</c:v>
                </c:pt>
                <c:pt idx="1557">
                  <c:v>42534</c:v>
                </c:pt>
                <c:pt idx="1558">
                  <c:v>42535</c:v>
                </c:pt>
                <c:pt idx="1559">
                  <c:v>42536</c:v>
                </c:pt>
                <c:pt idx="1560">
                  <c:v>42537</c:v>
                </c:pt>
                <c:pt idx="1561">
                  <c:v>42538</c:v>
                </c:pt>
                <c:pt idx="1562">
                  <c:v>42541</c:v>
                </c:pt>
                <c:pt idx="1563">
                  <c:v>42542</c:v>
                </c:pt>
                <c:pt idx="1564">
                  <c:v>42543</c:v>
                </c:pt>
                <c:pt idx="1565">
                  <c:v>42544</c:v>
                </c:pt>
                <c:pt idx="1566">
                  <c:v>42545</c:v>
                </c:pt>
                <c:pt idx="1567">
                  <c:v>42548</c:v>
                </c:pt>
                <c:pt idx="1568">
                  <c:v>42549</c:v>
                </c:pt>
                <c:pt idx="1569">
                  <c:v>42550</c:v>
                </c:pt>
                <c:pt idx="1570">
                  <c:v>42551</c:v>
                </c:pt>
                <c:pt idx="1571">
                  <c:v>42552</c:v>
                </c:pt>
                <c:pt idx="1572">
                  <c:v>42555</c:v>
                </c:pt>
                <c:pt idx="1573">
                  <c:v>42556</c:v>
                </c:pt>
                <c:pt idx="1574">
                  <c:v>42557</c:v>
                </c:pt>
                <c:pt idx="1575">
                  <c:v>42558</c:v>
                </c:pt>
                <c:pt idx="1576">
                  <c:v>42559</c:v>
                </c:pt>
                <c:pt idx="1577">
                  <c:v>42562</c:v>
                </c:pt>
                <c:pt idx="1578">
                  <c:v>42563</c:v>
                </c:pt>
                <c:pt idx="1579">
                  <c:v>42564</c:v>
                </c:pt>
                <c:pt idx="1580">
                  <c:v>42565</c:v>
                </c:pt>
                <c:pt idx="1581">
                  <c:v>42566</c:v>
                </c:pt>
                <c:pt idx="1582">
                  <c:v>42569</c:v>
                </c:pt>
                <c:pt idx="1583">
                  <c:v>42570</c:v>
                </c:pt>
                <c:pt idx="1584">
                  <c:v>42571</c:v>
                </c:pt>
                <c:pt idx="1585">
                  <c:v>42572</c:v>
                </c:pt>
                <c:pt idx="1586">
                  <c:v>42573</c:v>
                </c:pt>
                <c:pt idx="1587">
                  <c:v>42576</c:v>
                </c:pt>
                <c:pt idx="1588">
                  <c:v>42577</c:v>
                </c:pt>
                <c:pt idx="1589">
                  <c:v>42578</c:v>
                </c:pt>
                <c:pt idx="1590">
                  <c:v>42579</c:v>
                </c:pt>
                <c:pt idx="1591">
                  <c:v>42580</c:v>
                </c:pt>
                <c:pt idx="1592">
                  <c:v>42583</c:v>
                </c:pt>
                <c:pt idx="1593">
                  <c:v>42584</c:v>
                </c:pt>
                <c:pt idx="1594">
                  <c:v>42585</c:v>
                </c:pt>
                <c:pt idx="1595">
                  <c:v>42586</c:v>
                </c:pt>
                <c:pt idx="1596">
                  <c:v>42587</c:v>
                </c:pt>
                <c:pt idx="1597">
                  <c:v>42590</c:v>
                </c:pt>
                <c:pt idx="1598">
                  <c:v>42591</c:v>
                </c:pt>
                <c:pt idx="1599">
                  <c:v>42592</c:v>
                </c:pt>
                <c:pt idx="1600">
                  <c:v>42593</c:v>
                </c:pt>
                <c:pt idx="1601">
                  <c:v>42594</c:v>
                </c:pt>
                <c:pt idx="1602">
                  <c:v>42597</c:v>
                </c:pt>
                <c:pt idx="1603">
                  <c:v>42598</c:v>
                </c:pt>
                <c:pt idx="1604">
                  <c:v>42599</c:v>
                </c:pt>
                <c:pt idx="1605">
                  <c:v>42600</c:v>
                </c:pt>
                <c:pt idx="1606">
                  <c:v>42601</c:v>
                </c:pt>
                <c:pt idx="1607">
                  <c:v>42604</c:v>
                </c:pt>
                <c:pt idx="1608">
                  <c:v>42605</c:v>
                </c:pt>
                <c:pt idx="1609">
                  <c:v>42606</c:v>
                </c:pt>
                <c:pt idx="1610">
                  <c:v>42607</c:v>
                </c:pt>
                <c:pt idx="1611">
                  <c:v>42608</c:v>
                </c:pt>
                <c:pt idx="1612">
                  <c:v>42611</c:v>
                </c:pt>
                <c:pt idx="1613">
                  <c:v>42612</c:v>
                </c:pt>
                <c:pt idx="1614">
                  <c:v>42613</c:v>
                </c:pt>
                <c:pt idx="1615">
                  <c:v>42614</c:v>
                </c:pt>
                <c:pt idx="1616">
                  <c:v>42615</c:v>
                </c:pt>
                <c:pt idx="1617">
                  <c:v>42618</c:v>
                </c:pt>
                <c:pt idx="1618">
                  <c:v>42619</c:v>
                </c:pt>
                <c:pt idx="1619">
                  <c:v>42620</c:v>
                </c:pt>
                <c:pt idx="1620">
                  <c:v>42621</c:v>
                </c:pt>
                <c:pt idx="1621">
                  <c:v>42622</c:v>
                </c:pt>
                <c:pt idx="1622">
                  <c:v>42625</c:v>
                </c:pt>
                <c:pt idx="1623">
                  <c:v>42626</c:v>
                </c:pt>
                <c:pt idx="1624">
                  <c:v>42627</c:v>
                </c:pt>
                <c:pt idx="1625">
                  <c:v>42628</c:v>
                </c:pt>
                <c:pt idx="1626">
                  <c:v>42629</c:v>
                </c:pt>
                <c:pt idx="1627">
                  <c:v>42632</c:v>
                </c:pt>
                <c:pt idx="1628">
                  <c:v>42633</c:v>
                </c:pt>
                <c:pt idx="1629">
                  <c:v>42634</c:v>
                </c:pt>
                <c:pt idx="1630">
                  <c:v>42635</c:v>
                </c:pt>
                <c:pt idx="1631">
                  <c:v>42636</c:v>
                </c:pt>
                <c:pt idx="1632">
                  <c:v>42639</c:v>
                </c:pt>
                <c:pt idx="1633">
                  <c:v>42640</c:v>
                </c:pt>
                <c:pt idx="1634">
                  <c:v>42641</c:v>
                </c:pt>
                <c:pt idx="1635">
                  <c:v>42642</c:v>
                </c:pt>
                <c:pt idx="1636">
                  <c:v>42643</c:v>
                </c:pt>
                <c:pt idx="1637">
                  <c:v>42646</c:v>
                </c:pt>
                <c:pt idx="1638">
                  <c:v>42647</c:v>
                </c:pt>
                <c:pt idx="1639">
                  <c:v>42648</c:v>
                </c:pt>
                <c:pt idx="1640">
                  <c:v>42649</c:v>
                </c:pt>
                <c:pt idx="1641">
                  <c:v>42650</c:v>
                </c:pt>
                <c:pt idx="1642">
                  <c:v>42653</c:v>
                </c:pt>
                <c:pt idx="1643">
                  <c:v>42654</c:v>
                </c:pt>
                <c:pt idx="1644">
                  <c:v>42655</c:v>
                </c:pt>
                <c:pt idx="1645">
                  <c:v>42656</c:v>
                </c:pt>
                <c:pt idx="1646">
                  <c:v>42657</c:v>
                </c:pt>
                <c:pt idx="1647">
                  <c:v>42660</c:v>
                </c:pt>
                <c:pt idx="1648">
                  <c:v>42661</c:v>
                </c:pt>
                <c:pt idx="1649">
                  <c:v>42662</c:v>
                </c:pt>
                <c:pt idx="1650">
                  <c:v>42663</c:v>
                </c:pt>
                <c:pt idx="1651">
                  <c:v>42664</c:v>
                </c:pt>
                <c:pt idx="1652">
                  <c:v>42667</c:v>
                </c:pt>
                <c:pt idx="1653">
                  <c:v>42668</c:v>
                </c:pt>
                <c:pt idx="1654">
                  <c:v>42669</c:v>
                </c:pt>
                <c:pt idx="1655">
                  <c:v>42670</c:v>
                </c:pt>
                <c:pt idx="1656">
                  <c:v>42671</c:v>
                </c:pt>
                <c:pt idx="1657">
                  <c:v>42674</c:v>
                </c:pt>
                <c:pt idx="1658">
                  <c:v>42675</c:v>
                </c:pt>
                <c:pt idx="1659">
                  <c:v>42676</c:v>
                </c:pt>
                <c:pt idx="1660">
                  <c:v>42677</c:v>
                </c:pt>
                <c:pt idx="1661">
                  <c:v>42678</c:v>
                </c:pt>
                <c:pt idx="1662">
                  <c:v>42681</c:v>
                </c:pt>
                <c:pt idx="1663">
                  <c:v>42682</c:v>
                </c:pt>
                <c:pt idx="1664">
                  <c:v>42683</c:v>
                </c:pt>
                <c:pt idx="1665">
                  <c:v>42684</c:v>
                </c:pt>
                <c:pt idx="1666">
                  <c:v>42685</c:v>
                </c:pt>
                <c:pt idx="1667">
                  <c:v>42688</c:v>
                </c:pt>
                <c:pt idx="1668">
                  <c:v>42689</c:v>
                </c:pt>
                <c:pt idx="1669">
                  <c:v>42690</c:v>
                </c:pt>
                <c:pt idx="1670">
                  <c:v>42691</c:v>
                </c:pt>
                <c:pt idx="1671">
                  <c:v>42692</c:v>
                </c:pt>
                <c:pt idx="1672">
                  <c:v>42695</c:v>
                </c:pt>
                <c:pt idx="1673">
                  <c:v>42696</c:v>
                </c:pt>
                <c:pt idx="1674">
                  <c:v>42697</c:v>
                </c:pt>
                <c:pt idx="1675">
                  <c:v>42698</c:v>
                </c:pt>
                <c:pt idx="1676">
                  <c:v>42699</c:v>
                </c:pt>
                <c:pt idx="1677">
                  <c:v>42702</c:v>
                </c:pt>
                <c:pt idx="1678">
                  <c:v>42703</c:v>
                </c:pt>
                <c:pt idx="1679">
                  <c:v>42704</c:v>
                </c:pt>
                <c:pt idx="1680">
                  <c:v>42705</c:v>
                </c:pt>
                <c:pt idx="1681">
                  <c:v>42706</c:v>
                </c:pt>
                <c:pt idx="1682">
                  <c:v>42709</c:v>
                </c:pt>
                <c:pt idx="1683">
                  <c:v>42710</c:v>
                </c:pt>
                <c:pt idx="1684">
                  <c:v>42711</c:v>
                </c:pt>
                <c:pt idx="1685">
                  <c:v>42712</c:v>
                </c:pt>
                <c:pt idx="1686">
                  <c:v>42713</c:v>
                </c:pt>
                <c:pt idx="1687">
                  <c:v>42716</c:v>
                </c:pt>
                <c:pt idx="1688">
                  <c:v>42717</c:v>
                </c:pt>
                <c:pt idx="1689">
                  <c:v>42718</c:v>
                </c:pt>
                <c:pt idx="1690">
                  <c:v>42719</c:v>
                </c:pt>
                <c:pt idx="1691">
                  <c:v>42720</c:v>
                </c:pt>
                <c:pt idx="1692">
                  <c:v>42723</c:v>
                </c:pt>
                <c:pt idx="1693">
                  <c:v>42724</c:v>
                </c:pt>
                <c:pt idx="1694">
                  <c:v>42725</c:v>
                </c:pt>
                <c:pt idx="1695">
                  <c:v>42726</c:v>
                </c:pt>
                <c:pt idx="1696">
                  <c:v>42727</c:v>
                </c:pt>
                <c:pt idx="1697">
                  <c:v>42730</c:v>
                </c:pt>
                <c:pt idx="1698">
                  <c:v>42731</c:v>
                </c:pt>
                <c:pt idx="1699">
                  <c:v>42732</c:v>
                </c:pt>
                <c:pt idx="1700">
                  <c:v>42733</c:v>
                </c:pt>
                <c:pt idx="1701">
                  <c:v>42734</c:v>
                </c:pt>
                <c:pt idx="1702">
                  <c:v>42737</c:v>
                </c:pt>
                <c:pt idx="1703">
                  <c:v>42738</c:v>
                </c:pt>
                <c:pt idx="1704">
                  <c:v>42739</c:v>
                </c:pt>
                <c:pt idx="1705">
                  <c:v>42740</c:v>
                </c:pt>
                <c:pt idx="1706">
                  <c:v>42741</c:v>
                </c:pt>
                <c:pt idx="1707">
                  <c:v>42744</c:v>
                </c:pt>
                <c:pt idx="1708">
                  <c:v>42745</c:v>
                </c:pt>
                <c:pt idx="1709">
                  <c:v>42746</c:v>
                </c:pt>
                <c:pt idx="1710">
                  <c:v>42747</c:v>
                </c:pt>
                <c:pt idx="1711">
                  <c:v>42748</c:v>
                </c:pt>
                <c:pt idx="1712">
                  <c:v>42751</c:v>
                </c:pt>
                <c:pt idx="1713">
                  <c:v>42752</c:v>
                </c:pt>
                <c:pt idx="1714">
                  <c:v>42753</c:v>
                </c:pt>
                <c:pt idx="1715">
                  <c:v>42754</c:v>
                </c:pt>
                <c:pt idx="1716">
                  <c:v>42755</c:v>
                </c:pt>
                <c:pt idx="1717">
                  <c:v>42758</c:v>
                </c:pt>
                <c:pt idx="1718">
                  <c:v>42759</c:v>
                </c:pt>
                <c:pt idx="1719">
                  <c:v>42760</c:v>
                </c:pt>
                <c:pt idx="1720">
                  <c:v>42761</c:v>
                </c:pt>
                <c:pt idx="1721">
                  <c:v>42762</c:v>
                </c:pt>
                <c:pt idx="1722">
                  <c:v>42765</c:v>
                </c:pt>
                <c:pt idx="1723">
                  <c:v>42766</c:v>
                </c:pt>
                <c:pt idx="1724">
                  <c:v>42767</c:v>
                </c:pt>
                <c:pt idx="1725">
                  <c:v>42768</c:v>
                </c:pt>
                <c:pt idx="1726">
                  <c:v>42769</c:v>
                </c:pt>
                <c:pt idx="1727">
                  <c:v>42772</c:v>
                </c:pt>
                <c:pt idx="1728">
                  <c:v>42773</c:v>
                </c:pt>
                <c:pt idx="1729">
                  <c:v>42774</c:v>
                </c:pt>
                <c:pt idx="1730">
                  <c:v>42775</c:v>
                </c:pt>
                <c:pt idx="1731">
                  <c:v>42776</c:v>
                </c:pt>
                <c:pt idx="1732">
                  <c:v>42779</c:v>
                </c:pt>
                <c:pt idx="1733">
                  <c:v>42780</c:v>
                </c:pt>
                <c:pt idx="1734">
                  <c:v>42781</c:v>
                </c:pt>
                <c:pt idx="1735">
                  <c:v>42782</c:v>
                </c:pt>
                <c:pt idx="1736">
                  <c:v>42783</c:v>
                </c:pt>
                <c:pt idx="1737">
                  <c:v>42786</c:v>
                </c:pt>
                <c:pt idx="1738">
                  <c:v>42787</c:v>
                </c:pt>
                <c:pt idx="1739">
                  <c:v>42788</c:v>
                </c:pt>
                <c:pt idx="1740">
                  <c:v>42789</c:v>
                </c:pt>
                <c:pt idx="1741">
                  <c:v>42790</c:v>
                </c:pt>
                <c:pt idx="1742">
                  <c:v>42793</c:v>
                </c:pt>
                <c:pt idx="1743">
                  <c:v>42794</c:v>
                </c:pt>
                <c:pt idx="1744">
                  <c:v>42795</c:v>
                </c:pt>
                <c:pt idx="1745">
                  <c:v>42796</c:v>
                </c:pt>
                <c:pt idx="1746">
                  <c:v>42797</c:v>
                </c:pt>
                <c:pt idx="1747">
                  <c:v>42800</c:v>
                </c:pt>
                <c:pt idx="1748">
                  <c:v>42801</c:v>
                </c:pt>
                <c:pt idx="1749">
                  <c:v>42802</c:v>
                </c:pt>
                <c:pt idx="1750">
                  <c:v>42803</c:v>
                </c:pt>
                <c:pt idx="1751">
                  <c:v>42804</c:v>
                </c:pt>
                <c:pt idx="1752">
                  <c:v>42807</c:v>
                </c:pt>
                <c:pt idx="1753">
                  <c:v>42808</c:v>
                </c:pt>
                <c:pt idx="1754">
                  <c:v>42809</c:v>
                </c:pt>
                <c:pt idx="1755">
                  <c:v>42810</c:v>
                </c:pt>
                <c:pt idx="1756">
                  <c:v>42811</c:v>
                </c:pt>
                <c:pt idx="1757">
                  <c:v>42814</c:v>
                </c:pt>
                <c:pt idx="1758">
                  <c:v>42815</c:v>
                </c:pt>
                <c:pt idx="1759">
                  <c:v>42816</c:v>
                </c:pt>
                <c:pt idx="1760">
                  <c:v>42817</c:v>
                </c:pt>
                <c:pt idx="1761">
                  <c:v>42818</c:v>
                </c:pt>
                <c:pt idx="1762">
                  <c:v>42821</c:v>
                </c:pt>
                <c:pt idx="1763">
                  <c:v>42822</c:v>
                </c:pt>
                <c:pt idx="1764">
                  <c:v>42823</c:v>
                </c:pt>
                <c:pt idx="1765">
                  <c:v>42824</c:v>
                </c:pt>
                <c:pt idx="1766">
                  <c:v>42825</c:v>
                </c:pt>
                <c:pt idx="1767">
                  <c:v>42828</c:v>
                </c:pt>
                <c:pt idx="1768">
                  <c:v>42829</c:v>
                </c:pt>
                <c:pt idx="1769">
                  <c:v>42830</c:v>
                </c:pt>
                <c:pt idx="1770">
                  <c:v>42831</c:v>
                </c:pt>
                <c:pt idx="1771">
                  <c:v>42832</c:v>
                </c:pt>
                <c:pt idx="1772">
                  <c:v>42835</c:v>
                </c:pt>
                <c:pt idx="1773">
                  <c:v>42836</c:v>
                </c:pt>
                <c:pt idx="1774">
                  <c:v>42837</c:v>
                </c:pt>
                <c:pt idx="1775">
                  <c:v>42838</c:v>
                </c:pt>
                <c:pt idx="1776">
                  <c:v>42839</c:v>
                </c:pt>
                <c:pt idx="1777">
                  <c:v>42842</c:v>
                </c:pt>
                <c:pt idx="1778">
                  <c:v>42843</c:v>
                </c:pt>
                <c:pt idx="1779">
                  <c:v>42844</c:v>
                </c:pt>
                <c:pt idx="1780">
                  <c:v>42845</c:v>
                </c:pt>
                <c:pt idx="1781">
                  <c:v>42846</c:v>
                </c:pt>
                <c:pt idx="1782">
                  <c:v>42849</c:v>
                </c:pt>
                <c:pt idx="1783">
                  <c:v>42850</c:v>
                </c:pt>
                <c:pt idx="1784">
                  <c:v>42851</c:v>
                </c:pt>
                <c:pt idx="1785">
                  <c:v>42852</c:v>
                </c:pt>
                <c:pt idx="1786">
                  <c:v>42853</c:v>
                </c:pt>
                <c:pt idx="1787">
                  <c:v>42856</c:v>
                </c:pt>
                <c:pt idx="1788">
                  <c:v>42857</c:v>
                </c:pt>
                <c:pt idx="1789">
                  <c:v>42858</c:v>
                </c:pt>
                <c:pt idx="1790">
                  <c:v>42859</c:v>
                </c:pt>
                <c:pt idx="1791">
                  <c:v>42860</c:v>
                </c:pt>
                <c:pt idx="1792">
                  <c:v>42863</c:v>
                </c:pt>
                <c:pt idx="1793">
                  <c:v>42864</c:v>
                </c:pt>
                <c:pt idx="1794">
                  <c:v>42865</c:v>
                </c:pt>
                <c:pt idx="1795">
                  <c:v>42866</c:v>
                </c:pt>
                <c:pt idx="1796">
                  <c:v>42867</c:v>
                </c:pt>
                <c:pt idx="1797">
                  <c:v>42870</c:v>
                </c:pt>
                <c:pt idx="1798">
                  <c:v>42871</c:v>
                </c:pt>
                <c:pt idx="1799">
                  <c:v>42872</c:v>
                </c:pt>
                <c:pt idx="1800">
                  <c:v>42873</c:v>
                </c:pt>
                <c:pt idx="1801">
                  <c:v>42874</c:v>
                </c:pt>
                <c:pt idx="1802">
                  <c:v>42877</c:v>
                </c:pt>
                <c:pt idx="1803">
                  <c:v>42878</c:v>
                </c:pt>
                <c:pt idx="1804">
                  <c:v>42879</c:v>
                </c:pt>
                <c:pt idx="1805">
                  <c:v>42880</c:v>
                </c:pt>
                <c:pt idx="1806">
                  <c:v>42881</c:v>
                </c:pt>
                <c:pt idx="1807">
                  <c:v>42884</c:v>
                </c:pt>
                <c:pt idx="1808">
                  <c:v>42885</c:v>
                </c:pt>
                <c:pt idx="1809">
                  <c:v>42886</c:v>
                </c:pt>
                <c:pt idx="1810">
                  <c:v>42887</c:v>
                </c:pt>
                <c:pt idx="1811">
                  <c:v>42888</c:v>
                </c:pt>
                <c:pt idx="1812">
                  <c:v>42891</c:v>
                </c:pt>
                <c:pt idx="1813">
                  <c:v>42892</c:v>
                </c:pt>
                <c:pt idx="1814">
                  <c:v>42893</c:v>
                </c:pt>
                <c:pt idx="1815">
                  <c:v>42894</c:v>
                </c:pt>
                <c:pt idx="1816">
                  <c:v>42895</c:v>
                </c:pt>
                <c:pt idx="1817">
                  <c:v>42898</c:v>
                </c:pt>
                <c:pt idx="1818">
                  <c:v>42899</c:v>
                </c:pt>
                <c:pt idx="1819">
                  <c:v>42900</c:v>
                </c:pt>
                <c:pt idx="1820">
                  <c:v>42901</c:v>
                </c:pt>
                <c:pt idx="1821">
                  <c:v>42902</c:v>
                </c:pt>
                <c:pt idx="1822">
                  <c:v>42905</c:v>
                </c:pt>
                <c:pt idx="1823">
                  <c:v>42906</c:v>
                </c:pt>
                <c:pt idx="1824">
                  <c:v>42907</c:v>
                </c:pt>
                <c:pt idx="1825">
                  <c:v>42908</c:v>
                </c:pt>
                <c:pt idx="1826">
                  <c:v>42909</c:v>
                </c:pt>
                <c:pt idx="1827">
                  <c:v>42912</c:v>
                </c:pt>
                <c:pt idx="1828">
                  <c:v>42913</c:v>
                </c:pt>
                <c:pt idx="1829">
                  <c:v>42914</c:v>
                </c:pt>
                <c:pt idx="1830">
                  <c:v>42915</c:v>
                </c:pt>
                <c:pt idx="1831">
                  <c:v>42916</c:v>
                </c:pt>
                <c:pt idx="1832">
                  <c:v>42919</c:v>
                </c:pt>
                <c:pt idx="1833">
                  <c:v>42920</c:v>
                </c:pt>
                <c:pt idx="1834">
                  <c:v>42921</c:v>
                </c:pt>
                <c:pt idx="1835">
                  <c:v>42922</c:v>
                </c:pt>
                <c:pt idx="1836">
                  <c:v>42923</c:v>
                </c:pt>
                <c:pt idx="1837">
                  <c:v>42926</c:v>
                </c:pt>
                <c:pt idx="1838">
                  <c:v>42927</c:v>
                </c:pt>
                <c:pt idx="1839">
                  <c:v>42928</c:v>
                </c:pt>
                <c:pt idx="1840">
                  <c:v>42929</c:v>
                </c:pt>
                <c:pt idx="1841">
                  <c:v>42930</c:v>
                </c:pt>
                <c:pt idx="1842">
                  <c:v>42933</c:v>
                </c:pt>
                <c:pt idx="1843">
                  <c:v>42934</c:v>
                </c:pt>
                <c:pt idx="1844">
                  <c:v>42935</c:v>
                </c:pt>
                <c:pt idx="1845">
                  <c:v>42936</c:v>
                </c:pt>
                <c:pt idx="1846">
                  <c:v>42937</c:v>
                </c:pt>
                <c:pt idx="1847">
                  <c:v>42940</c:v>
                </c:pt>
                <c:pt idx="1848">
                  <c:v>42941</c:v>
                </c:pt>
                <c:pt idx="1849">
                  <c:v>42942</c:v>
                </c:pt>
                <c:pt idx="1850">
                  <c:v>42943</c:v>
                </c:pt>
                <c:pt idx="1851">
                  <c:v>42944</c:v>
                </c:pt>
                <c:pt idx="1852">
                  <c:v>42947</c:v>
                </c:pt>
                <c:pt idx="1853">
                  <c:v>42948</c:v>
                </c:pt>
                <c:pt idx="1854">
                  <c:v>42949</c:v>
                </c:pt>
                <c:pt idx="1855">
                  <c:v>42950</c:v>
                </c:pt>
                <c:pt idx="1856">
                  <c:v>42951</c:v>
                </c:pt>
                <c:pt idx="1857">
                  <c:v>42954</c:v>
                </c:pt>
                <c:pt idx="1858">
                  <c:v>42955</c:v>
                </c:pt>
                <c:pt idx="1859">
                  <c:v>42956</c:v>
                </c:pt>
                <c:pt idx="1860">
                  <c:v>42957</c:v>
                </c:pt>
                <c:pt idx="1861">
                  <c:v>42958</c:v>
                </c:pt>
                <c:pt idx="1862">
                  <c:v>42961</c:v>
                </c:pt>
                <c:pt idx="1863">
                  <c:v>42962</c:v>
                </c:pt>
                <c:pt idx="1864">
                  <c:v>42963</c:v>
                </c:pt>
                <c:pt idx="1865">
                  <c:v>42964</c:v>
                </c:pt>
                <c:pt idx="1866">
                  <c:v>42965</c:v>
                </c:pt>
                <c:pt idx="1867">
                  <c:v>42968</c:v>
                </c:pt>
                <c:pt idx="1868">
                  <c:v>42969</c:v>
                </c:pt>
                <c:pt idx="1869">
                  <c:v>42970</c:v>
                </c:pt>
                <c:pt idx="1870">
                  <c:v>42971</c:v>
                </c:pt>
                <c:pt idx="1871">
                  <c:v>42972</c:v>
                </c:pt>
                <c:pt idx="1872">
                  <c:v>42975</c:v>
                </c:pt>
                <c:pt idx="1873">
                  <c:v>42976</c:v>
                </c:pt>
                <c:pt idx="1874">
                  <c:v>42977</c:v>
                </c:pt>
                <c:pt idx="1875">
                  <c:v>42978</c:v>
                </c:pt>
                <c:pt idx="1876">
                  <c:v>42979</c:v>
                </c:pt>
                <c:pt idx="1877">
                  <c:v>42982</c:v>
                </c:pt>
                <c:pt idx="1878">
                  <c:v>42983</c:v>
                </c:pt>
                <c:pt idx="1879">
                  <c:v>42984</c:v>
                </c:pt>
                <c:pt idx="1880">
                  <c:v>42985</c:v>
                </c:pt>
                <c:pt idx="1881">
                  <c:v>42986</c:v>
                </c:pt>
                <c:pt idx="1882">
                  <c:v>42989</c:v>
                </c:pt>
                <c:pt idx="1883">
                  <c:v>42990</c:v>
                </c:pt>
                <c:pt idx="1884">
                  <c:v>42991</c:v>
                </c:pt>
                <c:pt idx="1885">
                  <c:v>42992</c:v>
                </c:pt>
                <c:pt idx="1886">
                  <c:v>42993</c:v>
                </c:pt>
                <c:pt idx="1887">
                  <c:v>42996</c:v>
                </c:pt>
                <c:pt idx="1888">
                  <c:v>42997</c:v>
                </c:pt>
                <c:pt idx="1889">
                  <c:v>42998</c:v>
                </c:pt>
                <c:pt idx="1890">
                  <c:v>42999</c:v>
                </c:pt>
                <c:pt idx="1891">
                  <c:v>43000</c:v>
                </c:pt>
                <c:pt idx="1892">
                  <c:v>43003</c:v>
                </c:pt>
                <c:pt idx="1893">
                  <c:v>43004</c:v>
                </c:pt>
                <c:pt idx="1894">
                  <c:v>43005</c:v>
                </c:pt>
                <c:pt idx="1895">
                  <c:v>43006</c:v>
                </c:pt>
                <c:pt idx="1896">
                  <c:v>43007</c:v>
                </c:pt>
                <c:pt idx="1897">
                  <c:v>43010</c:v>
                </c:pt>
                <c:pt idx="1898">
                  <c:v>43011</c:v>
                </c:pt>
                <c:pt idx="1899">
                  <c:v>43012</c:v>
                </c:pt>
                <c:pt idx="1900">
                  <c:v>43013</c:v>
                </c:pt>
                <c:pt idx="1901">
                  <c:v>43014</c:v>
                </c:pt>
                <c:pt idx="1902">
                  <c:v>43017</c:v>
                </c:pt>
                <c:pt idx="1903">
                  <c:v>43018</c:v>
                </c:pt>
                <c:pt idx="1904">
                  <c:v>43019</c:v>
                </c:pt>
                <c:pt idx="1905">
                  <c:v>43020</c:v>
                </c:pt>
                <c:pt idx="1906">
                  <c:v>43021</c:v>
                </c:pt>
                <c:pt idx="1907">
                  <c:v>43024</c:v>
                </c:pt>
                <c:pt idx="1908">
                  <c:v>43025</c:v>
                </c:pt>
                <c:pt idx="1909">
                  <c:v>43026</c:v>
                </c:pt>
                <c:pt idx="1910">
                  <c:v>43027</c:v>
                </c:pt>
                <c:pt idx="1911">
                  <c:v>43028</c:v>
                </c:pt>
                <c:pt idx="1912">
                  <c:v>43031</c:v>
                </c:pt>
                <c:pt idx="1913">
                  <c:v>43032</c:v>
                </c:pt>
                <c:pt idx="1914">
                  <c:v>43033</c:v>
                </c:pt>
                <c:pt idx="1915">
                  <c:v>43034</c:v>
                </c:pt>
                <c:pt idx="1916">
                  <c:v>43035</c:v>
                </c:pt>
                <c:pt idx="1917">
                  <c:v>43038</c:v>
                </c:pt>
                <c:pt idx="1918">
                  <c:v>43039</c:v>
                </c:pt>
                <c:pt idx="1919">
                  <c:v>43040</c:v>
                </c:pt>
                <c:pt idx="1920">
                  <c:v>43041</c:v>
                </c:pt>
                <c:pt idx="1921">
                  <c:v>43042</c:v>
                </c:pt>
                <c:pt idx="1922">
                  <c:v>43045</c:v>
                </c:pt>
                <c:pt idx="1923">
                  <c:v>43046</c:v>
                </c:pt>
                <c:pt idx="1924">
                  <c:v>43047</c:v>
                </c:pt>
                <c:pt idx="1925">
                  <c:v>43048</c:v>
                </c:pt>
                <c:pt idx="1926">
                  <c:v>43049</c:v>
                </c:pt>
                <c:pt idx="1927">
                  <c:v>43052</c:v>
                </c:pt>
                <c:pt idx="1928">
                  <c:v>43053</c:v>
                </c:pt>
                <c:pt idx="1929">
                  <c:v>43054</c:v>
                </c:pt>
                <c:pt idx="1930">
                  <c:v>43055</c:v>
                </c:pt>
                <c:pt idx="1931">
                  <c:v>43056</c:v>
                </c:pt>
                <c:pt idx="1932">
                  <c:v>43059</c:v>
                </c:pt>
                <c:pt idx="1933">
                  <c:v>43060</c:v>
                </c:pt>
                <c:pt idx="1934">
                  <c:v>43061</c:v>
                </c:pt>
                <c:pt idx="1935">
                  <c:v>43062</c:v>
                </c:pt>
                <c:pt idx="1936">
                  <c:v>43063</c:v>
                </c:pt>
                <c:pt idx="1937">
                  <c:v>43066</c:v>
                </c:pt>
                <c:pt idx="1938">
                  <c:v>43067</c:v>
                </c:pt>
                <c:pt idx="1939">
                  <c:v>43068</c:v>
                </c:pt>
                <c:pt idx="1940">
                  <c:v>43069</c:v>
                </c:pt>
                <c:pt idx="1941">
                  <c:v>43070</c:v>
                </c:pt>
                <c:pt idx="1942">
                  <c:v>43073</c:v>
                </c:pt>
                <c:pt idx="1943">
                  <c:v>43074</c:v>
                </c:pt>
                <c:pt idx="1944">
                  <c:v>43075</c:v>
                </c:pt>
                <c:pt idx="1945">
                  <c:v>43076</c:v>
                </c:pt>
                <c:pt idx="1946">
                  <c:v>43077</c:v>
                </c:pt>
                <c:pt idx="1947">
                  <c:v>43080</c:v>
                </c:pt>
                <c:pt idx="1948">
                  <c:v>43081</c:v>
                </c:pt>
                <c:pt idx="1949">
                  <c:v>43082</c:v>
                </c:pt>
                <c:pt idx="1950">
                  <c:v>43083</c:v>
                </c:pt>
                <c:pt idx="1951">
                  <c:v>43084</c:v>
                </c:pt>
                <c:pt idx="1952">
                  <c:v>43087</c:v>
                </c:pt>
                <c:pt idx="1953">
                  <c:v>43088</c:v>
                </c:pt>
                <c:pt idx="1954">
                  <c:v>43089</c:v>
                </c:pt>
                <c:pt idx="1955">
                  <c:v>43090</c:v>
                </c:pt>
                <c:pt idx="1956">
                  <c:v>43091</c:v>
                </c:pt>
                <c:pt idx="1957">
                  <c:v>43094</c:v>
                </c:pt>
                <c:pt idx="1958">
                  <c:v>43095</c:v>
                </c:pt>
                <c:pt idx="1959">
                  <c:v>43096</c:v>
                </c:pt>
                <c:pt idx="1960">
                  <c:v>43097</c:v>
                </c:pt>
                <c:pt idx="1961">
                  <c:v>43098</c:v>
                </c:pt>
                <c:pt idx="1962">
                  <c:v>43101</c:v>
                </c:pt>
                <c:pt idx="1963">
                  <c:v>43102</c:v>
                </c:pt>
                <c:pt idx="1964">
                  <c:v>43103</c:v>
                </c:pt>
                <c:pt idx="1965">
                  <c:v>43104</c:v>
                </c:pt>
                <c:pt idx="1966">
                  <c:v>43105</c:v>
                </c:pt>
                <c:pt idx="1967">
                  <c:v>43108</c:v>
                </c:pt>
                <c:pt idx="1968">
                  <c:v>43109</c:v>
                </c:pt>
                <c:pt idx="1969">
                  <c:v>43110</c:v>
                </c:pt>
                <c:pt idx="1970">
                  <c:v>43111</c:v>
                </c:pt>
                <c:pt idx="1971">
                  <c:v>43112</c:v>
                </c:pt>
                <c:pt idx="1972">
                  <c:v>43115</c:v>
                </c:pt>
                <c:pt idx="1973">
                  <c:v>43116</c:v>
                </c:pt>
                <c:pt idx="1974">
                  <c:v>43117</c:v>
                </c:pt>
                <c:pt idx="1975">
                  <c:v>43118</c:v>
                </c:pt>
                <c:pt idx="1976">
                  <c:v>43119</c:v>
                </c:pt>
                <c:pt idx="1977">
                  <c:v>43122</c:v>
                </c:pt>
                <c:pt idx="1978">
                  <c:v>43123</c:v>
                </c:pt>
                <c:pt idx="1979">
                  <c:v>43124</c:v>
                </c:pt>
                <c:pt idx="1980">
                  <c:v>43125</c:v>
                </c:pt>
                <c:pt idx="1981">
                  <c:v>43126</c:v>
                </c:pt>
                <c:pt idx="1982">
                  <c:v>43129</c:v>
                </c:pt>
                <c:pt idx="1983">
                  <c:v>43130</c:v>
                </c:pt>
                <c:pt idx="1984">
                  <c:v>43131</c:v>
                </c:pt>
              </c:numCache>
            </c:numRef>
          </c:cat>
          <c:val>
            <c:numRef>
              <c:f>'AFE Euro RP Brut'!$M$5:$M$1989</c:f>
              <c:numCache>
                <c:formatCode>0.00%</c:formatCode>
                <c:ptCount val="1985"/>
                <c:pt idx="0" formatCode="0%">
                  <c:v>0</c:v>
                </c:pt>
                <c:pt idx="1">
                  <c:v>1.9082895840668357E-2</c:v>
                </c:pt>
                <c:pt idx="2">
                  <c:v>-0.38282534376031663</c:v>
                </c:pt>
                <c:pt idx="3">
                  <c:v>0.54557523389118501</c:v>
                </c:pt>
                <c:pt idx="4">
                  <c:v>6.0682393792120592E-2</c:v>
                </c:pt>
                <c:pt idx="5">
                  <c:v>0.53714709215783785</c:v>
                </c:pt>
                <c:pt idx="6">
                  <c:v>0.49239667536444642</c:v>
                </c:pt>
                <c:pt idx="7">
                  <c:v>0.79665572195685286</c:v>
                </c:pt>
                <c:pt idx="8">
                  <c:v>0.43919632451891744</c:v>
                </c:pt>
                <c:pt idx="9">
                  <c:v>-0.34419370661207438</c:v>
                </c:pt>
                <c:pt idx="10">
                  <c:v>-0.72318053620615785</c:v>
                </c:pt>
                <c:pt idx="11">
                  <c:v>-0.86767248814140885</c:v>
                </c:pt>
                <c:pt idx="12">
                  <c:v>-0.79321921642066684</c:v>
                </c:pt>
                <c:pt idx="13">
                  <c:v>-1.2075524930368573</c:v>
                </c:pt>
                <c:pt idx="14">
                  <c:v>-1.1115560665886193</c:v>
                </c:pt>
                <c:pt idx="15">
                  <c:v>-0.61081814698511039</c:v>
                </c:pt>
                <c:pt idx="16">
                  <c:v>-0.28827315364060269</c:v>
                </c:pt>
                <c:pt idx="17">
                  <c:v>-0.13888317618031465</c:v>
                </c:pt>
                <c:pt idx="18">
                  <c:v>-0.31949786838555383</c:v>
                </c:pt>
                <c:pt idx="19">
                  <c:v>-0.20484947911006657</c:v>
                </c:pt>
                <c:pt idx="20">
                  <c:v>-0.98484687069102961</c:v>
                </c:pt>
                <c:pt idx="21">
                  <c:v>-1.1600575582459953</c:v>
                </c:pt>
                <c:pt idx="22">
                  <c:v>-1.6018735872622614</c:v>
                </c:pt>
                <c:pt idx="23">
                  <c:v>-2.0955211954935891</c:v>
                </c:pt>
                <c:pt idx="24">
                  <c:v>-2.1348317403588197</c:v>
                </c:pt>
                <c:pt idx="25">
                  <c:v>-1.8548368274400104</c:v>
                </c:pt>
                <c:pt idx="26">
                  <c:v>-1.9168111333023745</c:v>
                </c:pt>
                <c:pt idx="27">
                  <c:v>-2.5588401727846843</c:v>
                </c:pt>
                <c:pt idx="28">
                  <c:v>-2.4248877849152422</c:v>
                </c:pt>
                <c:pt idx="29">
                  <c:v>-2.1950213918396031</c:v>
                </c:pt>
                <c:pt idx="30">
                  <c:v>-2.4375987141062012</c:v>
                </c:pt>
                <c:pt idx="31">
                  <c:v>-2.061745038971651</c:v>
                </c:pt>
                <c:pt idx="32">
                  <c:v>-2.501072362112069</c:v>
                </c:pt>
                <c:pt idx="33">
                  <c:v>-2.2257419141959218</c:v>
                </c:pt>
                <c:pt idx="34">
                  <c:v>-1.7040261656723743</c:v>
                </c:pt>
                <c:pt idx="35">
                  <c:v>-1.516271601210704</c:v>
                </c:pt>
                <c:pt idx="36">
                  <c:v>-1.2332766066245711</c:v>
                </c:pt>
                <c:pt idx="37">
                  <c:v>-1.0231506138832458</c:v>
                </c:pt>
                <c:pt idx="38">
                  <c:v>-1.1821612299547297</c:v>
                </c:pt>
                <c:pt idx="39">
                  <c:v>-1.141674729679437</c:v>
                </c:pt>
                <c:pt idx="40">
                  <c:v>-0.61173910388097852</c:v>
                </c:pt>
                <c:pt idx="41">
                  <c:v>-0.4989025225669792</c:v>
                </c:pt>
                <c:pt idx="42">
                  <c:v>-0.57955384139370381</c:v>
                </c:pt>
                <c:pt idx="43">
                  <c:v>-0.20335000331684228</c:v>
                </c:pt>
                <c:pt idx="44">
                  <c:v>1.191754534666245E-2</c:v>
                </c:pt>
                <c:pt idx="45">
                  <c:v>-9.8518449600419444E-2</c:v>
                </c:pt>
                <c:pt idx="46">
                  <c:v>4.4460687497291929E-2</c:v>
                </c:pt>
                <c:pt idx="47">
                  <c:v>0.27202267383248113</c:v>
                </c:pt>
                <c:pt idx="48">
                  <c:v>0.25430858759726505</c:v>
                </c:pt>
                <c:pt idx="49">
                  <c:v>-0.64886721456261398</c:v>
                </c:pt>
                <c:pt idx="50">
                  <c:v>-0.60194398587236719</c:v>
                </c:pt>
                <c:pt idx="51">
                  <c:v>-0.9966303114295556</c:v>
                </c:pt>
                <c:pt idx="52">
                  <c:v>-0.85132918568706373</c:v>
                </c:pt>
                <c:pt idx="53">
                  <c:v>-0.67219131889966377</c:v>
                </c:pt>
                <c:pt idx="54">
                  <c:v>-0.81940067288704199</c:v>
                </c:pt>
                <c:pt idx="55">
                  <c:v>-1.0268006892350741</c:v>
                </c:pt>
                <c:pt idx="56">
                  <c:v>-1.0289982494521865</c:v>
                </c:pt>
                <c:pt idx="57">
                  <c:v>-1.3591595106038028</c:v>
                </c:pt>
                <c:pt idx="58">
                  <c:v>-1.3183403722988345</c:v>
                </c:pt>
                <c:pt idx="59">
                  <c:v>-1.2679514540732981</c:v>
                </c:pt>
                <c:pt idx="60">
                  <c:v>-1.2961463500766683</c:v>
                </c:pt>
                <c:pt idx="61">
                  <c:v>-0.83308595331465085</c:v>
                </c:pt>
                <c:pt idx="62">
                  <c:v>-1.1890736352897733</c:v>
                </c:pt>
                <c:pt idx="63">
                  <c:v>-1.0272908799243794</c:v>
                </c:pt>
                <c:pt idx="64">
                  <c:v>-0.64913516998655041</c:v>
                </c:pt>
                <c:pt idx="65">
                  <c:v>-0.37500504544352964</c:v>
                </c:pt>
                <c:pt idx="66">
                  <c:v>-1.1230750412577208</c:v>
                </c:pt>
                <c:pt idx="67">
                  <c:v>-0.81983844440989628</c:v>
                </c:pt>
                <c:pt idx="68">
                  <c:v>-0.57396425142334806</c:v>
                </c:pt>
                <c:pt idx="69">
                  <c:v>-0.23913598414119974</c:v>
                </c:pt>
                <c:pt idx="70">
                  <c:v>-0.16982423122773582</c:v>
                </c:pt>
                <c:pt idx="71">
                  <c:v>0.32453421914415514</c:v>
                </c:pt>
                <c:pt idx="72">
                  <c:v>0.45513158073067927</c:v>
                </c:pt>
                <c:pt idx="73">
                  <c:v>-3.2960352605357457E-2</c:v>
                </c:pt>
                <c:pt idx="74">
                  <c:v>-0.2963986101029974</c:v>
                </c:pt>
                <c:pt idx="75">
                  <c:v>-0.48093306949321857</c:v>
                </c:pt>
                <c:pt idx="76">
                  <c:v>-0.43338535255418265</c:v>
                </c:pt>
                <c:pt idx="77">
                  <c:v>-0.43506739615027357</c:v>
                </c:pt>
                <c:pt idx="78">
                  <c:v>-0.23664049469184079</c:v>
                </c:pt>
                <c:pt idx="79">
                  <c:v>-0.73341877574213754</c:v>
                </c:pt>
                <c:pt idx="80">
                  <c:v>-0.58889561888499031</c:v>
                </c:pt>
                <c:pt idx="81">
                  <c:v>-0.61989571825951373</c:v>
                </c:pt>
                <c:pt idx="82">
                  <c:v>-0.61608892537167037</c:v>
                </c:pt>
                <c:pt idx="83">
                  <c:v>-0.6632436262822381</c:v>
                </c:pt>
                <c:pt idx="84">
                  <c:v>-0.86483972304586132</c:v>
                </c:pt>
                <c:pt idx="85">
                  <c:v>-1.0224893456238391</c:v>
                </c:pt>
                <c:pt idx="86">
                  <c:v>-1.0119385060543067</c:v>
                </c:pt>
                <c:pt idx="87">
                  <c:v>-0.87718377059502473</c:v>
                </c:pt>
                <c:pt idx="88">
                  <c:v>-0.54791398276637437</c:v>
                </c:pt>
                <c:pt idx="89">
                  <c:v>-0.36107511038743212</c:v>
                </c:pt>
                <c:pt idx="90">
                  <c:v>-0.18321990209599903</c:v>
                </c:pt>
                <c:pt idx="91">
                  <c:v>-0.11227146837752855</c:v>
                </c:pt>
                <c:pt idx="92">
                  <c:v>0.1107581125743593</c:v>
                </c:pt>
                <c:pt idx="93">
                  <c:v>4.8097227218917737E-2</c:v>
                </c:pt>
                <c:pt idx="94">
                  <c:v>0.34102565450437794</c:v>
                </c:pt>
                <c:pt idx="95">
                  <c:v>-0.50595989040895972</c:v>
                </c:pt>
                <c:pt idx="96">
                  <c:v>-0.55143210861672287</c:v>
                </c:pt>
                <c:pt idx="97">
                  <c:v>-0.59012491512534382</c:v>
                </c:pt>
                <c:pt idx="98">
                  <c:v>-0.65537431752497355</c:v>
                </c:pt>
                <c:pt idx="99">
                  <c:v>2.5558482482267664E-2</c:v>
                </c:pt>
                <c:pt idx="100">
                  <c:v>-0.17041194878848387</c:v>
                </c:pt>
                <c:pt idx="101">
                  <c:v>-0.40121626249727171</c:v>
                </c:pt>
                <c:pt idx="102">
                  <c:v>-0.57929172027802167</c:v>
                </c:pt>
                <c:pt idx="103">
                  <c:v>2.6008404282279685E-2</c:v>
                </c:pt>
                <c:pt idx="104">
                  <c:v>-9.6551322743110291E-2</c:v>
                </c:pt>
                <c:pt idx="105">
                  <c:v>-0.39992156792196454</c:v>
                </c:pt>
                <c:pt idx="106">
                  <c:v>-0.29878670996339451</c:v>
                </c:pt>
                <c:pt idx="107">
                  <c:v>-7.7432438688816774E-2</c:v>
                </c:pt>
                <c:pt idx="108">
                  <c:v>0.68986757430060663</c:v>
                </c:pt>
                <c:pt idx="109">
                  <c:v>0.55559820461814979</c:v>
                </c:pt>
                <c:pt idx="110">
                  <c:v>0.58430873408786965</c:v>
                </c:pt>
                <c:pt idx="111">
                  <c:v>1.1644402461095495</c:v>
                </c:pt>
                <c:pt idx="112">
                  <c:v>1.4668715693172629</c:v>
                </c:pt>
                <c:pt idx="113">
                  <c:v>1.5794954381981654</c:v>
                </c:pt>
                <c:pt idx="114">
                  <c:v>0.9158455013269986</c:v>
                </c:pt>
                <c:pt idx="115">
                  <c:v>0.4086713726446618</c:v>
                </c:pt>
                <c:pt idx="116">
                  <c:v>0.50647998639392711</c:v>
                </c:pt>
                <c:pt idx="117">
                  <c:v>0.75909189350808504</c:v>
                </c:pt>
                <c:pt idx="118">
                  <c:v>0.55186342615338901</c:v>
                </c:pt>
                <c:pt idx="119">
                  <c:v>0.39533767849795254</c:v>
                </c:pt>
                <c:pt idx="120">
                  <c:v>0.13631147859760517</c:v>
                </c:pt>
                <c:pt idx="121">
                  <c:v>0.14246067709477472</c:v>
                </c:pt>
                <c:pt idx="122">
                  <c:v>8.649178623666387E-2</c:v>
                </c:pt>
                <c:pt idx="123">
                  <c:v>0.10410128778914896</c:v>
                </c:pt>
                <c:pt idx="124">
                  <c:v>0.35223144967920916</c:v>
                </c:pt>
                <c:pt idx="125">
                  <c:v>0.36090518465924504</c:v>
                </c:pt>
                <c:pt idx="126">
                  <c:v>0.81659696102350665</c:v>
                </c:pt>
                <c:pt idx="127">
                  <c:v>0.75233480576200407</c:v>
                </c:pt>
                <c:pt idx="128">
                  <c:v>0.53047070045759881</c:v>
                </c:pt>
                <c:pt idx="129">
                  <c:v>0.79177566189332538</c:v>
                </c:pt>
                <c:pt idx="130">
                  <c:v>0.98991546950028919</c:v>
                </c:pt>
                <c:pt idx="131">
                  <c:v>0.98220424625600344</c:v>
                </c:pt>
                <c:pt idx="132">
                  <c:v>1.3855677225936915</c:v>
                </c:pt>
                <c:pt idx="133">
                  <c:v>1.5116725467802468</c:v>
                </c:pt>
                <c:pt idx="134">
                  <c:v>1.4299573794555158</c:v>
                </c:pt>
                <c:pt idx="135">
                  <c:v>1.5937186347920687</c:v>
                </c:pt>
                <c:pt idx="136">
                  <c:v>1.5900169647485427</c:v>
                </c:pt>
                <c:pt idx="137">
                  <c:v>1.2353004701378438</c:v>
                </c:pt>
                <c:pt idx="138">
                  <c:v>1.1554018435377742</c:v>
                </c:pt>
                <c:pt idx="139">
                  <c:v>1.3071515712165223</c:v>
                </c:pt>
                <c:pt idx="140">
                  <c:v>1.3384342794758908</c:v>
                </c:pt>
                <c:pt idx="141">
                  <c:v>1.7437526933429552</c:v>
                </c:pt>
                <c:pt idx="142">
                  <c:v>2.0443139912958088</c:v>
                </c:pt>
                <c:pt idx="143">
                  <c:v>1.7344314768972282</c:v>
                </c:pt>
                <c:pt idx="144">
                  <c:v>0.85748097739985951</c:v>
                </c:pt>
                <c:pt idx="145">
                  <c:v>7.867103352292304E-2</c:v>
                </c:pt>
                <c:pt idx="146">
                  <c:v>-0.25943186399477725</c:v>
                </c:pt>
                <c:pt idx="147">
                  <c:v>-4.8215398800707021E-2</c:v>
                </c:pt>
                <c:pt idx="148">
                  <c:v>-0.42331242204600983</c:v>
                </c:pt>
                <c:pt idx="149">
                  <c:v>-0.29683309100407484</c:v>
                </c:pt>
                <c:pt idx="150">
                  <c:v>-0.6631551004075078</c:v>
                </c:pt>
                <c:pt idx="151">
                  <c:v>-1.1796569127344441</c:v>
                </c:pt>
                <c:pt idx="152">
                  <c:v>-1.1896245573091306</c:v>
                </c:pt>
                <c:pt idx="153">
                  <c:v>-0.82767152256059262</c:v>
                </c:pt>
                <c:pt idx="154">
                  <c:v>-0.70587662730608258</c:v>
                </c:pt>
                <c:pt idx="155">
                  <c:v>-0.91478712699264975</c:v>
                </c:pt>
                <c:pt idx="156">
                  <c:v>-0.56155756980713534</c:v>
                </c:pt>
                <c:pt idx="157">
                  <c:v>-0.46061125940093461</c:v>
                </c:pt>
                <c:pt idx="158">
                  <c:v>-0.70818861957316415</c:v>
                </c:pt>
                <c:pt idx="159">
                  <c:v>-0.53669649213495063</c:v>
                </c:pt>
                <c:pt idx="160">
                  <c:v>-0.35023631222512108</c:v>
                </c:pt>
                <c:pt idx="161">
                  <c:v>-0.35877927007355481</c:v>
                </c:pt>
                <c:pt idx="162">
                  <c:v>-0.64556765102916813</c:v>
                </c:pt>
                <c:pt idx="163">
                  <c:v>-0.92636991189154116</c:v>
                </c:pt>
                <c:pt idx="164">
                  <c:v>-0.8869422880432154</c:v>
                </c:pt>
                <c:pt idx="165">
                  <c:v>-0.81757080894537637</c:v>
                </c:pt>
                <c:pt idx="166">
                  <c:v>-0.81193026292409343</c:v>
                </c:pt>
                <c:pt idx="167">
                  <c:v>-0.45684119142833879</c:v>
                </c:pt>
                <c:pt idx="168">
                  <c:v>-0.76586786514354799</c:v>
                </c:pt>
                <c:pt idx="169">
                  <c:v>-1.2123373055415954</c:v>
                </c:pt>
                <c:pt idx="170">
                  <c:v>-1.1488347625018918</c:v>
                </c:pt>
                <c:pt idx="171">
                  <c:v>-1.2110521877326335</c:v>
                </c:pt>
                <c:pt idx="172">
                  <c:v>-0.6998123162073</c:v>
                </c:pt>
                <c:pt idx="173">
                  <c:v>-0.41119919690949303</c:v>
                </c:pt>
                <c:pt idx="174">
                  <c:v>-0.12015119887546177</c:v>
                </c:pt>
                <c:pt idx="175">
                  <c:v>9.7379578951759527E-2</c:v>
                </c:pt>
                <c:pt idx="176">
                  <c:v>-1.6044134158434531E-2</c:v>
                </c:pt>
                <c:pt idx="177">
                  <c:v>-0.22575867012824347</c:v>
                </c:pt>
                <c:pt idx="178">
                  <c:v>0.47303680632174405</c:v>
                </c:pt>
                <c:pt idx="179">
                  <c:v>0.63603334555912738</c:v>
                </c:pt>
                <c:pt idx="180">
                  <c:v>0.62661044887614992</c:v>
                </c:pt>
                <c:pt idx="181">
                  <c:v>1.0170519535552813</c:v>
                </c:pt>
                <c:pt idx="182">
                  <c:v>1.3171170090302979</c:v>
                </c:pt>
                <c:pt idx="183">
                  <c:v>1.3167565676502164</c:v>
                </c:pt>
                <c:pt idx="184">
                  <c:v>1.5532850890539862</c:v>
                </c:pt>
                <c:pt idx="185">
                  <c:v>1.6963379623139616</c:v>
                </c:pt>
                <c:pt idx="186">
                  <c:v>1.7628287668248674</c:v>
                </c:pt>
                <c:pt idx="187">
                  <c:v>1.7923975601920716</c:v>
                </c:pt>
                <c:pt idx="188">
                  <c:v>1.9643244242754321</c:v>
                </c:pt>
                <c:pt idx="189">
                  <c:v>2.6966629731784906</c:v>
                </c:pt>
                <c:pt idx="190">
                  <c:v>2.0087084355781428</c:v>
                </c:pt>
                <c:pt idx="191">
                  <c:v>2.0725328988419705</c:v>
                </c:pt>
                <c:pt idx="192">
                  <c:v>1.8689943246429408</c:v>
                </c:pt>
                <c:pt idx="193">
                  <c:v>1.7826694786008375</c:v>
                </c:pt>
                <c:pt idx="194">
                  <c:v>1.8280016657156892</c:v>
                </c:pt>
                <c:pt idx="195">
                  <c:v>1.597935513534452</c:v>
                </c:pt>
                <c:pt idx="196">
                  <c:v>1.7833981554600058</c:v>
                </c:pt>
                <c:pt idx="197">
                  <c:v>1.8329868174840271</c:v>
                </c:pt>
                <c:pt idx="198">
                  <c:v>2.0353602994149469</c:v>
                </c:pt>
                <c:pt idx="199">
                  <c:v>2.0409013068605475</c:v>
                </c:pt>
                <c:pt idx="200">
                  <c:v>2.2183117800391869</c:v>
                </c:pt>
                <c:pt idx="201">
                  <c:v>1.6539035547244225</c:v>
                </c:pt>
                <c:pt idx="202">
                  <c:v>2.0306399942399196</c:v>
                </c:pt>
                <c:pt idx="203">
                  <c:v>2.078141570887837</c:v>
                </c:pt>
                <c:pt idx="204">
                  <c:v>1.7044877219184684</c:v>
                </c:pt>
                <c:pt idx="205">
                  <c:v>1.6567449013296027</c:v>
                </c:pt>
                <c:pt idx="206">
                  <c:v>1.5795149021227246</c:v>
                </c:pt>
                <c:pt idx="207">
                  <c:v>1.8045524892789331</c:v>
                </c:pt>
                <c:pt idx="208">
                  <c:v>1.8650598378562933</c:v>
                </c:pt>
                <c:pt idx="209">
                  <c:v>2.0565783975286536</c:v>
                </c:pt>
                <c:pt idx="210">
                  <c:v>2.2902064246516147</c:v>
                </c:pt>
                <c:pt idx="211">
                  <c:v>2.4963655674781506</c:v>
                </c:pt>
                <c:pt idx="212">
                  <c:v>3.0540620125634348</c:v>
                </c:pt>
                <c:pt idx="213">
                  <c:v>3.0650144839066797</c:v>
                </c:pt>
                <c:pt idx="214">
                  <c:v>2.6970503652225801</c:v>
                </c:pt>
                <c:pt idx="215">
                  <c:v>2.192943552302296</c:v>
                </c:pt>
                <c:pt idx="216">
                  <c:v>2.192943552302296</c:v>
                </c:pt>
                <c:pt idx="217">
                  <c:v>2.1961758610709268</c:v>
                </c:pt>
                <c:pt idx="218">
                  <c:v>2.2177739696433747</c:v>
                </c:pt>
                <c:pt idx="219">
                  <c:v>1.8171680183630201</c:v>
                </c:pt>
                <c:pt idx="220">
                  <c:v>1.5370316330572962</c:v>
                </c:pt>
                <c:pt idx="221">
                  <c:v>1.4926773744376618</c:v>
                </c:pt>
                <c:pt idx="222">
                  <c:v>1.703018420383799</c:v>
                </c:pt>
                <c:pt idx="223">
                  <c:v>1.6072784606124202</c:v>
                </c:pt>
                <c:pt idx="224">
                  <c:v>2.1616778410115955</c:v>
                </c:pt>
                <c:pt idx="225">
                  <c:v>2.3079116175061074</c:v>
                </c:pt>
                <c:pt idx="226">
                  <c:v>2.1237141463577984</c:v>
                </c:pt>
                <c:pt idx="227">
                  <c:v>2.9275834490446613</c:v>
                </c:pt>
                <c:pt idx="228">
                  <c:v>2.5042736543308592</c:v>
                </c:pt>
                <c:pt idx="229">
                  <c:v>2.7240575804315341</c:v>
                </c:pt>
                <c:pt idx="230">
                  <c:v>2.9754916147321353</c:v>
                </c:pt>
                <c:pt idx="231">
                  <c:v>3.3682412569147857</c:v>
                </c:pt>
                <c:pt idx="232">
                  <c:v>3.3513870798886956</c:v>
                </c:pt>
                <c:pt idx="233">
                  <c:v>3.3943738639422065</c:v>
                </c:pt>
                <c:pt idx="234">
                  <c:v>3.351291469706652</c:v>
                </c:pt>
                <c:pt idx="235">
                  <c:v>3.2624524919171023</c:v>
                </c:pt>
                <c:pt idx="236">
                  <c:v>3.7357259137172178</c:v>
                </c:pt>
                <c:pt idx="237">
                  <c:v>3.995650576107451</c:v>
                </c:pt>
                <c:pt idx="238">
                  <c:v>3.9176844166596538</c:v>
                </c:pt>
                <c:pt idx="239">
                  <c:v>3.5337138800424412</c:v>
                </c:pt>
                <c:pt idx="240">
                  <c:v>3.8108644687362414</c:v>
                </c:pt>
                <c:pt idx="241">
                  <c:v>3.5658049312439886</c:v>
                </c:pt>
                <c:pt idx="242">
                  <c:v>3.7584211349957144</c:v>
                </c:pt>
                <c:pt idx="243">
                  <c:v>3.2631045641203968</c:v>
                </c:pt>
                <c:pt idx="244">
                  <c:v>3.7889621249930912</c:v>
                </c:pt>
                <c:pt idx="245">
                  <c:v>5.4329164396096132</c:v>
                </c:pt>
                <c:pt idx="246">
                  <c:v>3.7981367485676856</c:v>
                </c:pt>
                <c:pt idx="247">
                  <c:v>4.1988676133674687</c:v>
                </c:pt>
                <c:pt idx="248">
                  <c:v>3.9385139586339761</c:v>
                </c:pt>
                <c:pt idx="249">
                  <c:v>3.7867496357465598</c:v>
                </c:pt>
                <c:pt idx="250">
                  <c:v>3.6649380036932655</c:v>
                </c:pt>
                <c:pt idx="251">
                  <c:v>3.8027031480241078</c:v>
                </c:pt>
                <c:pt idx="252">
                  <c:v>3.7380568953949194</c:v>
                </c:pt>
                <c:pt idx="253">
                  <c:v>3.4926395240749599</c:v>
                </c:pt>
                <c:pt idx="254">
                  <c:v>3.7341883410208681</c:v>
                </c:pt>
                <c:pt idx="255">
                  <c:v>3.2649461407328175</c:v>
                </c:pt>
                <c:pt idx="256">
                  <c:v>2.6272439029637269</c:v>
                </c:pt>
                <c:pt idx="257">
                  <c:v>2.5412135023455988</c:v>
                </c:pt>
                <c:pt idx="258">
                  <c:v>2.1862709382715479</c:v>
                </c:pt>
                <c:pt idx="259">
                  <c:v>2.115948092580922</c:v>
                </c:pt>
                <c:pt idx="260">
                  <c:v>4.3636983694500771</c:v>
                </c:pt>
                <c:pt idx="261">
                  <c:v>2.7953278405837949</c:v>
                </c:pt>
                <c:pt idx="262">
                  <c:v>2.7620361027931324</c:v>
                </c:pt>
                <c:pt idx="263">
                  <c:v>2.1703261530296487</c:v>
                </c:pt>
                <c:pt idx="264">
                  <c:v>2.1470850636997625</c:v>
                </c:pt>
                <c:pt idx="265">
                  <c:v>2.1439057636410865</c:v>
                </c:pt>
                <c:pt idx="266">
                  <c:v>1.7418161569242301</c:v>
                </c:pt>
                <c:pt idx="267">
                  <c:v>2.0513373026042387</c:v>
                </c:pt>
                <c:pt idx="268">
                  <c:v>2.0915822438908549</c:v>
                </c:pt>
                <c:pt idx="269">
                  <c:v>2.1191732365642366</c:v>
                </c:pt>
                <c:pt idx="270">
                  <c:v>2.4384056089164261</c:v>
                </c:pt>
                <c:pt idx="271">
                  <c:v>2.8049046305564929</c:v>
                </c:pt>
                <c:pt idx="272">
                  <c:v>3.3275031669263626</c:v>
                </c:pt>
                <c:pt idx="273">
                  <c:v>3.2431148892982833</c:v>
                </c:pt>
                <c:pt idx="274">
                  <c:v>3.1548083289929423</c:v>
                </c:pt>
                <c:pt idx="275">
                  <c:v>2.9741284207913168</c:v>
                </c:pt>
                <c:pt idx="276">
                  <c:v>3.4236904274766147</c:v>
                </c:pt>
                <c:pt idx="277">
                  <c:v>3.8248172826697413</c:v>
                </c:pt>
                <c:pt idx="278">
                  <c:v>3.6555041344678898</c:v>
                </c:pt>
                <c:pt idx="279">
                  <c:v>3.3508868848769708</c:v>
                </c:pt>
                <c:pt idx="280">
                  <c:v>2.9312633054249631</c:v>
                </c:pt>
                <c:pt idx="281">
                  <c:v>3.1307612705550554</c:v>
                </c:pt>
                <c:pt idx="282">
                  <c:v>3.4762982050043689</c:v>
                </c:pt>
                <c:pt idx="283">
                  <c:v>3.5245058095031396</c:v>
                </c:pt>
                <c:pt idx="284">
                  <c:v>3.7871938791525537</c:v>
                </c:pt>
                <c:pt idx="285">
                  <c:v>3.6475940574655112</c:v>
                </c:pt>
                <c:pt idx="286">
                  <c:v>3.8318341757753984</c:v>
                </c:pt>
                <c:pt idx="287">
                  <c:v>4.217431693407363</c:v>
                </c:pt>
                <c:pt idx="288">
                  <c:v>4.2467345215813452</c:v>
                </c:pt>
                <c:pt idx="289">
                  <c:v>4.2688707073969425</c:v>
                </c:pt>
                <c:pt idx="290">
                  <c:v>4.1399534629707091</c:v>
                </c:pt>
                <c:pt idx="291">
                  <c:v>4.1707952118112672</c:v>
                </c:pt>
                <c:pt idx="292">
                  <c:v>4.1163594517670248</c:v>
                </c:pt>
                <c:pt idx="293">
                  <c:v>4.2005925024448914</c:v>
                </c:pt>
                <c:pt idx="294">
                  <c:v>5.7571569558502631</c:v>
                </c:pt>
                <c:pt idx="295">
                  <c:v>5.9042919932577576</c:v>
                </c:pt>
                <c:pt idx="296">
                  <c:v>5.6482629137648104</c:v>
                </c:pt>
                <c:pt idx="297">
                  <c:v>5.0186083820331362</c:v>
                </c:pt>
                <c:pt idx="298">
                  <c:v>5.1689336372593289</c:v>
                </c:pt>
                <c:pt idx="299">
                  <c:v>5.2969748228303075</c:v>
                </c:pt>
                <c:pt idx="300">
                  <c:v>5.6785482908660043</c:v>
                </c:pt>
                <c:pt idx="301">
                  <c:v>6.1589041951529282</c:v>
                </c:pt>
                <c:pt idx="302">
                  <c:v>6.4166837049249494</c:v>
                </c:pt>
                <c:pt idx="303">
                  <c:v>6.3422047522193594</c:v>
                </c:pt>
                <c:pt idx="304">
                  <c:v>6.1581749521114517</c:v>
                </c:pt>
                <c:pt idx="305">
                  <c:v>6.0584792809449937</c:v>
                </c:pt>
                <c:pt idx="306">
                  <c:v>6.2896400079772263</c:v>
                </c:pt>
                <c:pt idx="307">
                  <c:v>6.3353879148415331</c:v>
                </c:pt>
                <c:pt idx="308">
                  <c:v>6.3663163361686799</c:v>
                </c:pt>
                <c:pt idx="309">
                  <c:v>6.1855457023905274</c:v>
                </c:pt>
                <c:pt idx="310">
                  <c:v>6.4338004018271135</c:v>
                </c:pt>
                <c:pt idx="311">
                  <c:v>7.2266300794411791</c:v>
                </c:pt>
                <c:pt idx="312">
                  <c:v>7.557265127631112</c:v>
                </c:pt>
                <c:pt idx="313">
                  <c:v>7.7740651292236578</c:v>
                </c:pt>
                <c:pt idx="314">
                  <c:v>7.7972670042169625</c:v>
                </c:pt>
                <c:pt idx="315">
                  <c:v>7.9374209752605935</c:v>
                </c:pt>
                <c:pt idx="316">
                  <c:v>8.3328799479028959</c:v>
                </c:pt>
                <c:pt idx="317">
                  <c:v>8.5075575775360335</c:v>
                </c:pt>
                <c:pt idx="318">
                  <c:v>7.9057477229673481</c:v>
                </c:pt>
                <c:pt idx="319">
                  <c:v>7.9097324994902323</c:v>
                </c:pt>
                <c:pt idx="320">
                  <c:v>7.2848002445428364</c:v>
                </c:pt>
                <c:pt idx="321">
                  <c:v>7.6299153537876094</c:v>
                </c:pt>
                <c:pt idx="322">
                  <c:v>7.7994343970515985</c:v>
                </c:pt>
                <c:pt idx="323">
                  <c:v>7.7172304047093405</c:v>
                </c:pt>
                <c:pt idx="324">
                  <c:v>8.0423573637586685</c:v>
                </c:pt>
                <c:pt idx="325">
                  <c:v>7.8708927225292626</c:v>
                </c:pt>
                <c:pt idx="326">
                  <c:v>7.257479184256951</c:v>
                </c:pt>
                <c:pt idx="327">
                  <c:v>6.7779469146723983</c:v>
                </c:pt>
                <c:pt idx="328">
                  <c:v>6.2353916712520174</c:v>
                </c:pt>
                <c:pt idx="329">
                  <c:v>6.3156698246590111</c:v>
                </c:pt>
                <c:pt idx="330">
                  <c:v>5.9873652022240833</c:v>
                </c:pt>
                <c:pt idx="331">
                  <c:v>6.1460032561973605</c:v>
                </c:pt>
                <c:pt idx="332">
                  <c:v>6.2739594217218269</c:v>
                </c:pt>
                <c:pt idx="333">
                  <c:v>6.1194239947668763</c:v>
                </c:pt>
                <c:pt idx="334">
                  <c:v>5.5563607039434828</c:v>
                </c:pt>
                <c:pt idx="335">
                  <c:v>5.3657396742484167</c:v>
                </c:pt>
                <c:pt idx="336">
                  <c:v>5.1157345947781181</c:v>
                </c:pt>
                <c:pt idx="337">
                  <c:v>4.9182784941303339</c:v>
                </c:pt>
                <c:pt idx="338">
                  <c:v>4.6986683359466497</c:v>
                </c:pt>
                <c:pt idx="339">
                  <c:v>4.7005333529239408</c:v>
                </c:pt>
                <c:pt idx="340">
                  <c:v>5.14011221001482</c:v>
                </c:pt>
                <c:pt idx="341">
                  <c:v>5.5226950165557724</c:v>
                </c:pt>
                <c:pt idx="342">
                  <c:v>5.6145666257187372</c:v>
                </c:pt>
                <c:pt idx="343">
                  <c:v>5.7813881694382587</c:v>
                </c:pt>
                <c:pt idx="344">
                  <c:v>5.2179119901090729</c:v>
                </c:pt>
                <c:pt idx="345">
                  <c:v>5.7176420236842915</c:v>
                </c:pt>
                <c:pt idx="346">
                  <c:v>5.6036668512105194</c:v>
                </c:pt>
                <c:pt idx="347">
                  <c:v>5.4575469806710117</c:v>
                </c:pt>
                <c:pt idx="348">
                  <c:v>5.6471394063919576</c:v>
                </c:pt>
                <c:pt idx="349">
                  <c:v>6.0347127685215725</c:v>
                </c:pt>
                <c:pt idx="350">
                  <c:v>4.8350432897505158</c:v>
                </c:pt>
                <c:pt idx="351">
                  <c:v>4.7996990960751305</c:v>
                </c:pt>
                <c:pt idx="352">
                  <c:v>5.304838115194471</c:v>
                </c:pt>
                <c:pt idx="353">
                  <c:v>9.882439477205935</c:v>
                </c:pt>
                <c:pt idx="354">
                  <c:v>5.497621516427543</c:v>
                </c:pt>
                <c:pt idx="355">
                  <c:v>5.6305202274011492</c:v>
                </c:pt>
                <c:pt idx="356">
                  <c:v>6.1602393337443146</c:v>
                </c:pt>
                <c:pt idx="357">
                  <c:v>6.3476322522367497</c:v>
                </c:pt>
                <c:pt idx="358">
                  <c:v>6.1667224837599832</c:v>
                </c:pt>
                <c:pt idx="359">
                  <c:v>6.2963091206630963</c:v>
                </c:pt>
                <c:pt idx="360">
                  <c:v>6.0301019310069535</c:v>
                </c:pt>
                <c:pt idx="361">
                  <c:v>5.6969577712132775</c:v>
                </c:pt>
                <c:pt idx="362">
                  <c:v>5.8852892867252393</c:v>
                </c:pt>
                <c:pt idx="363">
                  <c:v>6.1190909003233998</c:v>
                </c:pt>
                <c:pt idx="364">
                  <c:v>5.8439032692876509</c:v>
                </c:pt>
                <c:pt idx="365">
                  <c:v>5.770319020951419</c:v>
                </c:pt>
                <c:pt idx="366">
                  <c:v>5.6268641719737644</c:v>
                </c:pt>
                <c:pt idx="367">
                  <c:v>5.6252030898082523</c:v>
                </c:pt>
                <c:pt idx="368">
                  <c:v>5.7450481436433165</c:v>
                </c:pt>
                <c:pt idx="369">
                  <c:v>5.9685198623288755</c:v>
                </c:pt>
                <c:pt idx="370">
                  <c:v>5.9763420152248159</c:v>
                </c:pt>
                <c:pt idx="371">
                  <c:v>5.8105861090163131</c:v>
                </c:pt>
                <c:pt idx="372">
                  <c:v>5.4132236195070078</c:v>
                </c:pt>
                <c:pt idx="373">
                  <c:v>5.3771055598299284</c:v>
                </c:pt>
                <c:pt idx="374">
                  <c:v>5.3225760947933907</c:v>
                </c:pt>
                <c:pt idx="375">
                  <c:v>5.2390176097244137</c:v>
                </c:pt>
                <c:pt idx="376">
                  <c:v>4.8508936572378616</c:v>
                </c:pt>
                <c:pt idx="377">
                  <c:v>4.8184021004384618</c:v>
                </c:pt>
                <c:pt idx="378">
                  <c:v>4.6847319024620191</c:v>
                </c:pt>
                <c:pt idx="379">
                  <c:v>4.7210246577579369</c:v>
                </c:pt>
                <c:pt idx="380">
                  <c:v>4.9764674704134677</c:v>
                </c:pt>
                <c:pt idx="381">
                  <c:v>4.5225087462237497</c:v>
                </c:pt>
                <c:pt idx="382">
                  <c:v>5.0130787898982874</c:v>
                </c:pt>
                <c:pt idx="383">
                  <c:v>5.2309664364632482</c:v>
                </c:pt>
                <c:pt idx="384">
                  <c:v>5.3842336058423257</c:v>
                </c:pt>
                <c:pt idx="385">
                  <c:v>5.3013413711803707</c:v>
                </c:pt>
                <c:pt idx="386">
                  <c:v>5.6416332489328056</c:v>
                </c:pt>
                <c:pt idx="387">
                  <c:v>5.5759178655115988</c:v>
                </c:pt>
                <c:pt idx="388">
                  <c:v>5.3994475345821371</c:v>
                </c:pt>
                <c:pt idx="389">
                  <c:v>5.3473658450556059</c:v>
                </c:pt>
                <c:pt idx="390">
                  <c:v>5.2688304905857848</c:v>
                </c:pt>
                <c:pt idx="391">
                  <c:v>5.452257091747029</c:v>
                </c:pt>
                <c:pt idx="392">
                  <c:v>5.452257091747029</c:v>
                </c:pt>
                <c:pt idx="393">
                  <c:v>5.3905079933505391</c:v>
                </c:pt>
                <c:pt idx="394">
                  <c:v>5.9030258842680183</c:v>
                </c:pt>
                <c:pt idx="395">
                  <c:v>5.6930434356736868</c:v>
                </c:pt>
                <c:pt idx="396">
                  <c:v>5.5835868995675639</c:v>
                </c:pt>
                <c:pt idx="397">
                  <c:v>5.4724781574112882</c:v>
                </c:pt>
                <c:pt idx="398">
                  <c:v>5.5156053041273907</c:v>
                </c:pt>
                <c:pt idx="399">
                  <c:v>5.7828281607253871</c:v>
                </c:pt>
                <c:pt idx="400">
                  <c:v>5.8065804271544721</c:v>
                </c:pt>
                <c:pt idx="401">
                  <c:v>6.2636858448757238</c:v>
                </c:pt>
                <c:pt idx="402">
                  <c:v>6.3889295572015072</c:v>
                </c:pt>
                <c:pt idx="403">
                  <c:v>5.8686076992482299</c:v>
                </c:pt>
                <c:pt idx="404">
                  <c:v>5.873089255636927</c:v>
                </c:pt>
                <c:pt idx="405">
                  <c:v>5.7479938492474218</c:v>
                </c:pt>
                <c:pt idx="406">
                  <c:v>5.5051850277135941</c:v>
                </c:pt>
                <c:pt idx="407">
                  <c:v>5.2270587887641113</c:v>
                </c:pt>
                <c:pt idx="408">
                  <c:v>5.0937327302860353</c:v>
                </c:pt>
                <c:pt idx="409">
                  <c:v>5.16097390308515</c:v>
                </c:pt>
                <c:pt idx="410">
                  <c:v>4.6658599890662771</c:v>
                </c:pt>
                <c:pt idx="411">
                  <c:v>4.6412951122354826</c:v>
                </c:pt>
                <c:pt idx="412">
                  <c:v>4.486077078831471</c:v>
                </c:pt>
                <c:pt idx="413">
                  <c:v>4.159840947072027</c:v>
                </c:pt>
                <c:pt idx="414">
                  <c:v>4.2829684130485219</c:v>
                </c:pt>
                <c:pt idx="415">
                  <c:v>4.3301875209220952</c:v>
                </c:pt>
                <c:pt idx="416">
                  <c:v>4.5112471851136604</c:v>
                </c:pt>
                <c:pt idx="417">
                  <c:v>4.6012699757771998</c:v>
                </c:pt>
                <c:pt idx="418">
                  <c:v>4.6194562217170727</c:v>
                </c:pt>
                <c:pt idx="419">
                  <c:v>4.3770489667911079</c:v>
                </c:pt>
                <c:pt idx="420">
                  <c:v>4.2693924724926404</c:v>
                </c:pt>
                <c:pt idx="421">
                  <c:v>4.2030595549463641</c:v>
                </c:pt>
                <c:pt idx="422">
                  <c:v>4.2523639635794126</c:v>
                </c:pt>
                <c:pt idx="423">
                  <c:v>4.2317258587093818</c:v>
                </c:pt>
                <c:pt idx="424">
                  <c:v>4.2852966583916867</c:v>
                </c:pt>
                <c:pt idx="425">
                  <c:v>3.9808902783520352</c:v>
                </c:pt>
                <c:pt idx="426">
                  <c:v>4.5019583798266893</c:v>
                </c:pt>
                <c:pt idx="427">
                  <c:v>4.5405730891959024</c:v>
                </c:pt>
                <c:pt idx="428">
                  <c:v>4.6473606494938196</c:v>
                </c:pt>
                <c:pt idx="429">
                  <c:v>4.7124104716396573</c:v>
                </c:pt>
                <c:pt idx="430">
                  <c:v>4.6804457231943246</c:v>
                </c:pt>
                <c:pt idx="431">
                  <c:v>4.3856722588429022</c:v>
                </c:pt>
                <c:pt idx="432">
                  <c:v>4.2776083250020065</c:v>
                </c:pt>
                <c:pt idx="433">
                  <c:v>4.269717118188467</c:v>
                </c:pt>
                <c:pt idx="434">
                  <c:v>4.4885275573371786</c:v>
                </c:pt>
                <c:pt idx="435">
                  <c:v>4.4179817774822823</c:v>
                </c:pt>
                <c:pt idx="436">
                  <c:v>4.4343720972349843</c:v>
                </c:pt>
                <c:pt idx="437">
                  <c:v>4.5131392205768179</c:v>
                </c:pt>
                <c:pt idx="438">
                  <c:v>4.4364269284652096</c:v>
                </c:pt>
                <c:pt idx="439">
                  <c:v>4.4408668619075939</c:v>
                </c:pt>
                <c:pt idx="440">
                  <c:v>4.0391591089094305</c:v>
                </c:pt>
                <c:pt idx="441">
                  <c:v>4.2720344695996744</c:v>
                </c:pt>
                <c:pt idx="442">
                  <c:v>4.4752519548084706</c:v>
                </c:pt>
                <c:pt idx="443">
                  <c:v>4.9184678925449532</c:v>
                </c:pt>
                <c:pt idx="444">
                  <c:v>4.9107215398490922</c:v>
                </c:pt>
                <c:pt idx="445">
                  <c:v>4.4246019840069124</c:v>
                </c:pt>
                <c:pt idx="446">
                  <c:v>4.6232499637224294</c:v>
                </c:pt>
                <c:pt idx="447">
                  <c:v>4.5124539078794186</c:v>
                </c:pt>
                <c:pt idx="448">
                  <c:v>4.4184266124025271</c:v>
                </c:pt>
                <c:pt idx="449">
                  <c:v>4.0000875404560361</c:v>
                </c:pt>
                <c:pt idx="450">
                  <c:v>3.8564972748586115</c:v>
                </c:pt>
                <c:pt idx="451">
                  <c:v>3.6419210036526266</c:v>
                </c:pt>
                <c:pt idx="452">
                  <c:v>3.8485472738747148</c:v>
                </c:pt>
                <c:pt idx="453">
                  <c:v>4.4701185930611302</c:v>
                </c:pt>
                <c:pt idx="454">
                  <c:v>4.5854397978453676</c:v>
                </c:pt>
                <c:pt idx="455">
                  <c:v>4.9277507653316519</c:v>
                </c:pt>
                <c:pt idx="456">
                  <c:v>5.1038657454065515</c:v>
                </c:pt>
                <c:pt idx="457">
                  <c:v>5.3637572012931969</c:v>
                </c:pt>
                <c:pt idx="458">
                  <c:v>5.3860239365291136</c:v>
                </c:pt>
                <c:pt idx="459">
                  <c:v>5.6611378465806297</c:v>
                </c:pt>
                <c:pt idx="460">
                  <c:v>5.9331212073065132</c:v>
                </c:pt>
                <c:pt idx="461">
                  <c:v>5.9706750348466926</c:v>
                </c:pt>
                <c:pt idx="462">
                  <c:v>5.9717729875291354</c:v>
                </c:pt>
                <c:pt idx="463">
                  <c:v>6.3985823605233207</c:v>
                </c:pt>
                <c:pt idx="464">
                  <c:v>6.237372884349071</c:v>
                </c:pt>
                <c:pt idx="465">
                  <c:v>6.164397818747176</c:v>
                </c:pt>
                <c:pt idx="466">
                  <c:v>6.164397818747176</c:v>
                </c:pt>
                <c:pt idx="467">
                  <c:v>6.1689230510232562</c:v>
                </c:pt>
                <c:pt idx="468">
                  <c:v>6.3051861319185321</c:v>
                </c:pt>
                <c:pt idx="469">
                  <c:v>6.1734112749878278</c:v>
                </c:pt>
                <c:pt idx="470">
                  <c:v>6.3222291070965753</c:v>
                </c:pt>
                <c:pt idx="471">
                  <c:v>6.6892078393346424</c:v>
                </c:pt>
                <c:pt idx="472">
                  <c:v>6.5981282205822112</c:v>
                </c:pt>
                <c:pt idx="473">
                  <c:v>6.2083145463476228</c:v>
                </c:pt>
                <c:pt idx="474">
                  <c:v>6.4007798914194751</c:v>
                </c:pt>
                <c:pt idx="475">
                  <c:v>6.7649917474199555</c:v>
                </c:pt>
                <c:pt idx="476">
                  <c:v>6.5026274765122309</c:v>
                </c:pt>
                <c:pt idx="477">
                  <c:v>6.6808515190356133</c:v>
                </c:pt>
                <c:pt idx="478">
                  <c:v>6.7649495079747339</c:v>
                </c:pt>
                <c:pt idx="479">
                  <c:v>6.7400971939695609</c:v>
                </c:pt>
                <c:pt idx="480">
                  <c:v>6.5843973827036564</c:v>
                </c:pt>
                <c:pt idx="481">
                  <c:v>6.51027539345489</c:v>
                </c:pt>
                <c:pt idx="482">
                  <c:v>6.9918401538313901</c:v>
                </c:pt>
                <c:pt idx="483">
                  <c:v>6.9795573584372761</c:v>
                </c:pt>
                <c:pt idx="484">
                  <c:v>7.0745884823147662</c:v>
                </c:pt>
                <c:pt idx="485">
                  <c:v>7.1819407735082308</c:v>
                </c:pt>
                <c:pt idx="486">
                  <c:v>7.1376507027071057</c:v>
                </c:pt>
                <c:pt idx="487">
                  <c:v>6.9001657199072923</c:v>
                </c:pt>
                <c:pt idx="488">
                  <c:v>7.4708957810387631</c:v>
                </c:pt>
                <c:pt idx="489">
                  <c:v>7.3920209188539019</c:v>
                </c:pt>
                <c:pt idx="490">
                  <c:v>7.4333414748268893</c:v>
                </c:pt>
                <c:pt idx="491">
                  <c:v>7.310320277262079</c:v>
                </c:pt>
                <c:pt idx="492">
                  <c:v>7.2510576600265892</c:v>
                </c:pt>
                <c:pt idx="493">
                  <c:v>7.2383610329542734</c:v>
                </c:pt>
                <c:pt idx="494">
                  <c:v>6.9858898515604153</c:v>
                </c:pt>
                <c:pt idx="495">
                  <c:v>8.0861691249473751</c:v>
                </c:pt>
                <c:pt idx="496">
                  <c:v>6.9864013256436976</c:v>
                </c:pt>
                <c:pt idx="497">
                  <c:v>7.133798563980406</c:v>
                </c:pt>
                <c:pt idx="498">
                  <c:v>7.0866798877620312</c:v>
                </c:pt>
                <c:pt idx="499">
                  <c:v>6.9603827874723834</c:v>
                </c:pt>
                <c:pt idx="500">
                  <c:v>6.8892466386170241</c:v>
                </c:pt>
                <c:pt idx="501">
                  <c:v>6.7935943164824835</c:v>
                </c:pt>
                <c:pt idx="502">
                  <c:v>7.1271689897613584</c:v>
                </c:pt>
                <c:pt idx="503">
                  <c:v>6.8256763111953802</c:v>
                </c:pt>
                <c:pt idx="504">
                  <c:v>6.9281526317802644</c:v>
                </c:pt>
                <c:pt idx="505">
                  <c:v>6.6571666531066001</c:v>
                </c:pt>
                <c:pt idx="506">
                  <c:v>6.7323277401791159</c:v>
                </c:pt>
                <c:pt idx="507">
                  <c:v>6.4973226170342855</c:v>
                </c:pt>
                <c:pt idx="508">
                  <c:v>6.4317368164329309</c:v>
                </c:pt>
                <c:pt idx="509">
                  <c:v>6.41970137131797</c:v>
                </c:pt>
                <c:pt idx="510">
                  <c:v>6.5821675326093327</c:v>
                </c:pt>
                <c:pt idx="511">
                  <c:v>6.8852468749676206</c:v>
                </c:pt>
                <c:pt idx="512">
                  <c:v>6.7100315702931397</c:v>
                </c:pt>
                <c:pt idx="513">
                  <c:v>6.6178871998964155</c:v>
                </c:pt>
                <c:pt idx="514">
                  <c:v>6.4389560946991935</c:v>
                </c:pt>
                <c:pt idx="515">
                  <c:v>6.5630701656350539</c:v>
                </c:pt>
                <c:pt idx="516">
                  <c:v>6.5928808424460641</c:v>
                </c:pt>
                <c:pt idx="517">
                  <c:v>6.947816532108547</c:v>
                </c:pt>
                <c:pt idx="518">
                  <c:v>7.0036728946767823</c:v>
                </c:pt>
                <c:pt idx="519">
                  <c:v>7.2456167421804736</c:v>
                </c:pt>
                <c:pt idx="520">
                  <c:v>7.1722615508553815</c:v>
                </c:pt>
                <c:pt idx="521">
                  <c:v>7.2470559522613769</c:v>
                </c:pt>
                <c:pt idx="522">
                  <c:v>7.4002495029855737</c:v>
                </c:pt>
                <c:pt idx="523">
                  <c:v>7.1840982537475782</c:v>
                </c:pt>
                <c:pt idx="524">
                  <c:v>7.3467557506501606</c:v>
                </c:pt>
                <c:pt idx="525">
                  <c:v>7.4244993092271869</c:v>
                </c:pt>
                <c:pt idx="526">
                  <c:v>7.0029015373891639</c:v>
                </c:pt>
                <c:pt idx="527">
                  <c:v>7.1284681605160216</c:v>
                </c:pt>
                <c:pt idx="528">
                  <c:v>7.1350524532541186</c:v>
                </c:pt>
                <c:pt idx="529">
                  <c:v>7.2815333600760255</c:v>
                </c:pt>
                <c:pt idx="530">
                  <c:v>7.3439748899508714</c:v>
                </c:pt>
                <c:pt idx="531">
                  <c:v>7.5608794400149719</c:v>
                </c:pt>
                <c:pt idx="532">
                  <c:v>7.5899912167056272</c:v>
                </c:pt>
                <c:pt idx="533">
                  <c:v>7.7582281653496921</c:v>
                </c:pt>
                <c:pt idx="534">
                  <c:v>7.6370480689420646</c:v>
                </c:pt>
                <c:pt idx="535">
                  <c:v>7.4548478088555044</c:v>
                </c:pt>
                <c:pt idx="536">
                  <c:v>7.5820737266202229</c:v>
                </c:pt>
                <c:pt idx="537">
                  <c:v>7.7598092299290613</c:v>
                </c:pt>
                <c:pt idx="538">
                  <c:v>7.76602227661391</c:v>
                </c:pt>
                <c:pt idx="539">
                  <c:v>7.6896747618158372</c:v>
                </c:pt>
                <c:pt idx="540">
                  <c:v>7.6844072905965533</c:v>
                </c:pt>
                <c:pt idx="541">
                  <c:v>7.8187737552685945</c:v>
                </c:pt>
                <c:pt idx="542">
                  <c:v>7.5052928517859101</c:v>
                </c:pt>
                <c:pt idx="543">
                  <c:v>7.5326581080815771</c:v>
                </c:pt>
                <c:pt idx="544">
                  <c:v>7.5272608379469261</c:v>
                </c:pt>
                <c:pt idx="545">
                  <c:v>7.4359165884255987</c:v>
                </c:pt>
                <c:pt idx="546">
                  <c:v>7.1152994338986559</c:v>
                </c:pt>
                <c:pt idx="547">
                  <c:v>6.9270185867376455</c:v>
                </c:pt>
                <c:pt idx="548">
                  <c:v>7.0082822161801772</c:v>
                </c:pt>
                <c:pt idx="549">
                  <c:v>6.7458526683588218</c:v>
                </c:pt>
                <c:pt idx="550">
                  <c:v>6.9201766215375358</c:v>
                </c:pt>
                <c:pt idx="551">
                  <c:v>6.1173916975480296</c:v>
                </c:pt>
                <c:pt idx="552">
                  <c:v>6.2121994057418846</c:v>
                </c:pt>
                <c:pt idx="553">
                  <c:v>5.7388607824622966</c:v>
                </c:pt>
                <c:pt idx="554">
                  <c:v>5.5845030585925173</c:v>
                </c:pt>
                <c:pt idx="555">
                  <c:v>5.6369245535702817</c:v>
                </c:pt>
                <c:pt idx="556">
                  <c:v>5.7625376061945701</c:v>
                </c:pt>
                <c:pt idx="557">
                  <c:v>5.7731409134955811</c:v>
                </c:pt>
                <c:pt idx="558">
                  <c:v>5.7792166137868861</c:v>
                </c:pt>
                <c:pt idx="559">
                  <c:v>5.876185998248971</c:v>
                </c:pt>
                <c:pt idx="560">
                  <c:v>6.0123665136716653</c:v>
                </c:pt>
                <c:pt idx="561">
                  <c:v>6.0704456345198849</c:v>
                </c:pt>
                <c:pt idx="562">
                  <c:v>5.8844999866192182</c:v>
                </c:pt>
                <c:pt idx="563">
                  <c:v>5.7002750787365812</c:v>
                </c:pt>
                <c:pt idx="564">
                  <c:v>5.7763076915584151</c:v>
                </c:pt>
                <c:pt idx="565">
                  <c:v>5.8449571794272117</c:v>
                </c:pt>
                <c:pt idx="566">
                  <c:v>5.8251941308971027</c:v>
                </c:pt>
                <c:pt idx="567">
                  <c:v>5.7444271787132521</c:v>
                </c:pt>
                <c:pt idx="568">
                  <c:v>5.728343818677871</c:v>
                </c:pt>
                <c:pt idx="569">
                  <c:v>5.8682475307640942</c:v>
                </c:pt>
                <c:pt idx="570">
                  <c:v>6.1707878204896929</c:v>
                </c:pt>
                <c:pt idx="571">
                  <c:v>5.8883861656692602</c:v>
                </c:pt>
                <c:pt idx="572">
                  <c:v>5.8933839954469249</c:v>
                </c:pt>
                <c:pt idx="573">
                  <c:v>6.1396106041711107</c:v>
                </c:pt>
                <c:pt idx="574">
                  <c:v>5.8379021967352571</c:v>
                </c:pt>
                <c:pt idx="575">
                  <c:v>5.4082616470700913</c:v>
                </c:pt>
                <c:pt idx="576">
                  <c:v>5.449798669641325</c:v>
                </c:pt>
                <c:pt idx="577">
                  <c:v>5.5483121320501851</c:v>
                </c:pt>
                <c:pt idx="578">
                  <c:v>5.2015904627908469</c:v>
                </c:pt>
                <c:pt idx="579">
                  <c:v>5.4841691422078327</c:v>
                </c:pt>
                <c:pt idx="580">
                  <c:v>5.7568712723595183</c:v>
                </c:pt>
                <c:pt idx="581">
                  <c:v>5.5482022780589375</c:v>
                </c:pt>
                <c:pt idx="582">
                  <c:v>5.4433021400657822</c:v>
                </c:pt>
                <c:pt idx="583">
                  <c:v>5.5490092332508141</c:v>
                </c:pt>
                <c:pt idx="584">
                  <c:v>5.4827960568520666</c:v>
                </c:pt>
                <c:pt idx="585">
                  <c:v>5.8380951497073426</c:v>
                </c:pt>
                <c:pt idx="586">
                  <c:v>5.8508255782629703</c:v>
                </c:pt>
                <c:pt idx="587">
                  <c:v>5.7755409251612235</c:v>
                </c:pt>
                <c:pt idx="588">
                  <c:v>5.7559276736570553</c:v>
                </c:pt>
                <c:pt idx="589">
                  <c:v>6.0942576265147466</c:v>
                </c:pt>
                <c:pt idx="590">
                  <c:v>6.1204869254309671</c:v>
                </c:pt>
                <c:pt idx="591">
                  <c:v>6.6126706042667251</c:v>
                </c:pt>
                <c:pt idx="592">
                  <c:v>6.3120110887610252</c:v>
                </c:pt>
                <c:pt idx="593">
                  <c:v>6.5095089708523801</c:v>
                </c:pt>
                <c:pt idx="594">
                  <c:v>6.5782725779585149</c:v>
                </c:pt>
                <c:pt idx="595">
                  <c:v>6.3940700902095386</c:v>
                </c:pt>
                <c:pt idx="596">
                  <c:v>6.1095293648919267</c:v>
                </c:pt>
                <c:pt idx="597">
                  <c:v>6.2368798630695892</c:v>
                </c:pt>
                <c:pt idx="598">
                  <c:v>6.4876153033180941</c:v>
                </c:pt>
                <c:pt idx="599">
                  <c:v>6.4670521309814291</c:v>
                </c:pt>
                <c:pt idx="600">
                  <c:v>6.1630911003470885</c:v>
                </c:pt>
                <c:pt idx="601">
                  <c:v>6.2438251728644047</c:v>
                </c:pt>
                <c:pt idx="602">
                  <c:v>6.1363892308972225</c:v>
                </c:pt>
                <c:pt idx="603">
                  <c:v>5.633514896810226</c:v>
                </c:pt>
                <c:pt idx="604">
                  <c:v>5.380899006469491</c:v>
                </c:pt>
                <c:pt idx="605">
                  <c:v>5.3179444820800512</c:v>
                </c:pt>
                <c:pt idx="606">
                  <c:v>5.5492862688000884</c:v>
                </c:pt>
                <c:pt idx="607">
                  <c:v>5.4717818615944651</c:v>
                </c:pt>
                <c:pt idx="608">
                  <c:v>5.6657543315604073</c:v>
                </c:pt>
                <c:pt idx="609">
                  <c:v>5.6676540248073053</c:v>
                </c:pt>
                <c:pt idx="610">
                  <c:v>5.6544749589014458</c:v>
                </c:pt>
                <c:pt idx="611">
                  <c:v>5.6092316954713652</c:v>
                </c:pt>
                <c:pt idx="612">
                  <c:v>5.6202280372021249</c:v>
                </c:pt>
                <c:pt idx="613">
                  <c:v>5.2786170296297712</c:v>
                </c:pt>
                <c:pt idx="614">
                  <c:v>5.2946854127005594</c:v>
                </c:pt>
                <c:pt idx="615">
                  <c:v>4.1381639005195296</c:v>
                </c:pt>
                <c:pt idx="616">
                  <c:v>5.093252341874404</c:v>
                </c:pt>
                <c:pt idx="617">
                  <c:v>5.2946380235191128</c:v>
                </c:pt>
                <c:pt idx="618">
                  <c:v>5.1504400776539541</c:v>
                </c:pt>
                <c:pt idx="619">
                  <c:v>5.4970892904642596</c:v>
                </c:pt>
                <c:pt idx="620">
                  <c:v>5.1355606209966425</c:v>
                </c:pt>
                <c:pt idx="621">
                  <c:v>5.3366253698691395</c:v>
                </c:pt>
                <c:pt idx="622">
                  <c:v>5.3783982342114598</c:v>
                </c:pt>
                <c:pt idx="623">
                  <c:v>5.013223132615849</c:v>
                </c:pt>
                <c:pt idx="624">
                  <c:v>5.2934238826911155</c:v>
                </c:pt>
                <c:pt idx="625">
                  <c:v>4.9226202859119752</c:v>
                </c:pt>
                <c:pt idx="626">
                  <c:v>4.9388320613505243</c:v>
                </c:pt>
                <c:pt idx="627">
                  <c:v>4.3239124330460612</c:v>
                </c:pt>
                <c:pt idx="628">
                  <c:v>4.1969032906412451</c:v>
                </c:pt>
                <c:pt idx="629">
                  <c:v>4.3294270123486314</c:v>
                </c:pt>
                <c:pt idx="630">
                  <c:v>4.5235817507968363</c:v>
                </c:pt>
                <c:pt idx="631">
                  <c:v>4.3648706860994935</c:v>
                </c:pt>
                <c:pt idx="632">
                  <c:v>4.3799761712777752</c:v>
                </c:pt>
                <c:pt idx="633">
                  <c:v>4.4391016426251753</c:v>
                </c:pt>
                <c:pt idx="634">
                  <c:v>4.3920828959124236</c:v>
                </c:pt>
                <c:pt idx="635">
                  <c:v>4.4183031096790586</c:v>
                </c:pt>
                <c:pt idx="636">
                  <c:v>4.2870682718853459</c:v>
                </c:pt>
                <c:pt idx="637">
                  <c:v>4.2282401330673167</c:v>
                </c:pt>
                <c:pt idx="638">
                  <c:v>4.0180510866409946</c:v>
                </c:pt>
                <c:pt idx="639">
                  <c:v>4.246051641295864</c:v>
                </c:pt>
                <c:pt idx="640">
                  <c:v>4.1298858687890316</c:v>
                </c:pt>
                <c:pt idx="641">
                  <c:v>4.1429746260744906</c:v>
                </c:pt>
                <c:pt idx="642">
                  <c:v>4.2353088316398129</c:v>
                </c:pt>
                <c:pt idx="643">
                  <c:v>4.3071895529088664</c:v>
                </c:pt>
                <c:pt idx="644">
                  <c:v>4.2406232514627504</c:v>
                </c:pt>
                <c:pt idx="645">
                  <c:v>4.2058183151853967</c:v>
                </c:pt>
                <c:pt idx="646">
                  <c:v>4.1257433147208076</c:v>
                </c:pt>
                <c:pt idx="647">
                  <c:v>3.9909383762978194</c:v>
                </c:pt>
                <c:pt idx="648">
                  <c:v>3.9611125743450373</c:v>
                </c:pt>
                <c:pt idx="649">
                  <c:v>4.1266303692616191</c:v>
                </c:pt>
                <c:pt idx="650">
                  <c:v>3.9888368134594572</c:v>
                </c:pt>
                <c:pt idx="651">
                  <c:v>3.9971871120060882</c:v>
                </c:pt>
                <c:pt idx="652">
                  <c:v>4.1032069941303604</c:v>
                </c:pt>
                <c:pt idx="653">
                  <c:v>4.1032069941303604</c:v>
                </c:pt>
                <c:pt idx="654">
                  <c:v>4.0999746853617296</c:v>
                </c:pt>
                <c:pt idx="655">
                  <c:v>3.7567926229652642</c:v>
                </c:pt>
                <c:pt idx="656">
                  <c:v>4.0495378642500981</c:v>
                </c:pt>
                <c:pt idx="657">
                  <c:v>3.9648388099814582</c:v>
                </c:pt>
                <c:pt idx="658">
                  <c:v>3.9648388099814582</c:v>
                </c:pt>
                <c:pt idx="659">
                  <c:v>3.6429290516220618</c:v>
                </c:pt>
                <c:pt idx="660">
                  <c:v>3.9628995192770162</c:v>
                </c:pt>
                <c:pt idx="661">
                  <c:v>3.8150069827759552</c:v>
                </c:pt>
                <c:pt idx="662">
                  <c:v>3.7222344658816127</c:v>
                </c:pt>
                <c:pt idx="663">
                  <c:v>3.8811626599216709</c:v>
                </c:pt>
                <c:pt idx="664">
                  <c:v>3.9973905215719867</c:v>
                </c:pt>
                <c:pt idx="665">
                  <c:v>3.6448033013792127</c:v>
                </c:pt>
                <c:pt idx="666">
                  <c:v>3.2425538985417148</c:v>
                </c:pt>
                <c:pt idx="667">
                  <c:v>3.0702627536343812</c:v>
                </c:pt>
                <c:pt idx="668">
                  <c:v>3.2016234158535326</c:v>
                </c:pt>
                <c:pt idx="669">
                  <c:v>3.4095264817862727</c:v>
                </c:pt>
                <c:pt idx="670">
                  <c:v>3.795410217901221</c:v>
                </c:pt>
                <c:pt idx="671">
                  <c:v>3.8044934843270966</c:v>
                </c:pt>
                <c:pt idx="672">
                  <c:v>3.7769378484622536</c:v>
                </c:pt>
                <c:pt idx="673">
                  <c:v>3.8346867904069626</c:v>
                </c:pt>
                <c:pt idx="674">
                  <c:v>4.140411154644454</c:v>
                </c:pt>
                <c:pt idx="675">
                  <c:v>3.8510057342371766</c:v>
                </c:pt>
                <c:pt idx="676">
                  <c:v>3.6483633403995128</c:v>
                </c:pt>
                <c:pt idx="677">
                  <c:v>3.4952090719462916</c:v>
                </c:pt>
                <c:pt idx="678">
                  <c:v>3.455792144606491</c:v>
                </c:pt>
                <c:pt idx="679">
                  <c:v>3.4620986382992811</c:v>
                </c:pt>
                <c:pt idx="680">
                  <c:v>3.7256765607840236</c:v>
                </c:pt>
                <c:pt idx="681">
                  <c:v>4.0367283475636668</c:v>
                </c:pt>
                <c:pt idx="682">
                  <c:v>4.8433823087414396</c:v>
                </c:pt>
                <c:pt idx="683">
                  <c:v>4.4218104600835204</c:v>
                </c:pt>
                <c:pt idx="684">
                  <c:v>4.7503855492454647</c:v>
                </c:pt>
                <c:pt idx="685">
                  <c:v>4.9911691558572926</c:v>
                </c:pt>
                <c:pt idx="686">
                  <c:v>4.6163235475806914</c:v>
                </c:pt>
                <c:pt idx="687">
                  <c:v>4.5784060220396583</c:v>
                </c:pt>
                <c:pt idx="688">
                  <c:v>4.4408640200904301</c:v>
                </c:pt>
                <c:pt idx="689">
                  <c:v>4.7405434902661199</c:v>
                </c:pt>
                <c:pt idx="690">
                  <c:v>4.9254794790847711</c:v>
                </c:pt>
                <c:pt idx="691">
                  <c:v>5.2259958718637876</c:v>
                </c:pt>
                <c:pt idx="692">
                  <c:v>5.0832584804098957</c:v>
                </c:pt>
                <c:pt idx="693">
                  <c:v>4.7862454289309824</c:v>
                </c:pt>
                <c:pt idx="694">
                  <c:v>5.1124280909786677</c:v>
                </c:pt>
                <c:pt idx="695">
                  <c:v>5.507768133697823</c:v>
                </c:pt>
                <c:pt idx="696">
                  <c:v>5.4542569903258169</c:v>
                </c:pt>
                <c:pt idx="697">
                  <c:v>5.1969343022440455</c:v>
                </c:pt>
                <c:pt idx="698">
                  <c:v>6.0716792123985073</c:v>
                </c:pt>
                <c:pt idx="699">
                  <c:v>5.7101463155213992</c:v>
                </c:pt>
                <c:pt idx="700">
                  <c:v>5.6875703244376723</c:v>
                </c:pt>
                <c:pt idx="701">
                  <c:v>5.7178148304002576</c:v>
                </c:pt>
                <c:pt idx="702">
                  <c:v>5.734820927727128</c:v>
                </c:pt>
                <c:pt idx="703">
                  <c:v>5.4104249579639969</c:v>
                </c:pt>
                <c:pt idx="704">
                  <c:v>5.3324032573044065</c:v>
                </c:pt>
                <c:pt idx="705">
                  <c:v>5.1739912987532648</c:v>
                </c:pt>
                <c:pt idx="706">
                  <c:v>5.010841150661733</c:v>
                </c:pt>
                <c:pt idx="707">
                  <c:v>5.0790811217355127</c:v>
                </c:pt>
                <c:pt idx="708">
                  <c:v>5.2505419317894138</c:v>
                </c:pt>
                <c:pt idx="709">
                  <c:v>5.3383417672637421</c:v>
                </c:pt>
                <c:pt idx="710">
                  <c:v>5.1662448257488762</c:v>
                </c:pt>
                <c:pt idx="711">
                  <c:v>5.3260747164069784</c:v>
                </c:pt>
                <c:pt idx="712">
                  <c:v>5.6566451095190473</c:v>
                </c:pt>
                <c:pt idx="713">
                  <c:v>6.2138303224123632</c:v>
                </c:pt>
                <c:pt idx="714">
                  <c:v>5.7595651714176199</c:v>
                </c:pt>
                <c:pt idx="715">
                  <c:v>6.0963819147583536</c:v>
                </c:pt>
                <c:pt idx="716">
                  <c:v>6.0969784575888752</c:v>
                </c:pt>
                <c:pt idx="717">
                  <c:v>6.428179664314257</c:v>
                </c:pt>
                <c:pt idx="718">
                  <c:v>6.4249345799559734</c:v>
                </c:pt>
                <c:pt idx="719">
                  <c:v>6.4535333740696359</c:v>
                </c:pt>
                <c:pt idx="720">
                  <c:v>6.7583062413042683</c:v>
                </c:pt>
                <c:pt idx="721">
                  <c:v>6.7583062413042683</c:v>
                </c:pt>
                <c:pt idx="722">
                  <c:v>6.7608921324658553</c:v>
                </c:pt>
                <c:pt idx="723">
                  <c:v>6.2580630661296937</c:v>
                </c:pt>
                <c:pt idx="724">
                  <c:v>6.7141449794902002</c:v>
                </c:pt>
                <c:pt idx="725">
                  <c:v>6.7957502849614428</c:v>
                </c:pt>
                <c:pt idx="726">
                  <c:v>6.7578338819353121</c:v>
                </c:pt>
                <c:pt idx="727">
                  <c:v>6.8391447356995485</c:v>
                </c:pt>
                <c:pt idx="728">
                  <c:v>6.967518829637001</c:v>
                </c:pt>
                <c:pt idx="729">
                  <c:v>6.6327080940902903</c:v>
                </c:pt>
                <c:pt idx="730">
                  <c:v>6.7248150739511061</c:v>
                </c:pt>
                <c:pt idx="731">
                  <c:v>7.2369406789446344</c:v>
                </c:pt>
                <c:pt idx="732">
                  <c:v>6.9363074785844816</c:v>
                </c:pt>
                <c:pt idx="733">
                  <c:v>6.6697071092779368</c:v>
                </c:pt>
                <c:pt idx="734">
                  <c:v>7.0431428124263533</c:v>
                </c:pt>
                <c:pt idx="735">
                  <c:v>7.0820631638212603</c:v>
                </c:pt>
                <c:pt idx="736">
                  <c:v>6.9034421561139823</c:v>
                </c:pt>
                <c:pt idx="737">
                  <c:v>6.9791375916452267</c:v>
                </c:pt>
                <c:pt idx="738">
                  <c:v>6.4227535226226991</c:v>
                </c:pt>
                <c:pt idx="739">
                  <c:v>6.0789627611824244</c:v>
                </c:pt>
                <c:pt idx="740">
                  <c:v>6.3173564168106111</c:v>
                </c:pt>
                <c:pt idx="741">
                  <c:v>6.3513441449940302</c:v>
                </c:pt>
                <c:pt idx="742">
                  <c:v>6.0831102815860305</c:v>
                </c:pt>
                <c:pt idx="743">
                  <c:v>6.0478329559913391</c:v>
                </c:pt>
                <c:pt idx="744">
                  <c:v>6.0562369367164308</c:v>
                </c:pt>
                <c:pt idx="745">
                  <c:v>5.9171666636492972</c:v>
                </c:pt>
                <c:pt idx="746">
                  <c:v>5.5131622390287731</c:v>
                </c:pt>
                <c:pt idx="747">
                  <c:v>5.856998231167907</c:v>
                </c:pt>
                <c:pt idx="748">
                  <c:v>5.4910384881068097</c:v>
                </c:pt>
                <c:pt idx="749">
                  <c:v>5.5379429010963719</c:v>
                </c:pt>
                <c:pt idx="750">
                  <c:v>5.6840434340249573</c:v>
                </c:pt>
                <c:pt idx="751">
                  <c:v>5.8350506130029629</c:v>
                </c:pt>
                <c:pt idx="752">
                  <c:v>5.9623991404538685</c:v>
                </c:pt>
                <c:pt idx="753">
                  <c:v>5.6746522714039571</c:v>
                </c:pt>
                <c:pt idx="754">
                  <c:v>5.4425477356159035</c:v>
                </c:pt>
                <c:pt idx="755">
                  <c:v>5.5160276388663618</c:v>
                </c:pt>
                <c:pt idx="756">
                  <c:v>5.0956962754682849</c:v>
                </c:pt>
                <c:pt idx="757">
                  <c:v>4.5416778682524637</c:v>
                </c:pt>
                <c:pt idx="758">
                  <c:v>5.247039375544631</c:v>
                </c:pt>
                <c:pt idx="759">
                  <c:v>5.2769820334508069</c:v>
                </c:pt>
                <c:pt idx="760">
                  <c:v>5.587981387720049</c:v>
                </c:pt>
                <c:pt idx="761">
                  <c:v>5.7219585852184025</c:v>
                </c:pt>
                <c:pt idx="762">
                  <c:v>5.4598185212209955</c:v>
                </c:pt>
                <c:pt idx="763">
                  <c:v>5.0839510366925396</c:v>
                </c:pt>
                <c:pt idx="764">
                  <c:v>5.0496207257334902</c:v>
                </c:pt>
                <c:pt idx="765">
                  <c:v>4.7509609951434157</c:v>
                </c:pt>
                <c:pt idx="766">
                  <c:v>4.6098617715901611</c:v>
                </c:pt>
                <c:pt idx="767">
                  <c:v>4.7284670729790435</c:v>
                </c:pt>
                <c:pt idx="768">
                  <c:v>4.5822635309325079</c:v>
                </c:pt>
                <c:pt idx="769">
                  <c:v>4.8558462860574849</c:v>
                </c:pt>
                <c:pt idx="770">
                  <c:v>5.3230540993198048</c:v>
                </c:pt>
                <c:pt idx="771">
                  <c:v>4.8454085183262094</c:v>
                </c:pt>
                <c:pt idx="772">
                  <c:v>4.998919285496072</c:v>
                </c:pt>
                <c:pt idx="773">
                  <c:v>5.3408849918678953</c:v>
                </c:pt>
                <c:pt idx="774">
                  <c:v>5.5938948074912389</c:v>
                </c:pt>
                <c:pt idx="775">
                  <c:v>5.6203850283831116</c:v>
                </c:pt>
                <c:pt idx="776">
                  <c:v>5.6116453526827428</c:v>
                </c:pt>
                <c:pt idx="777">
                  <c:v>5.3739838414328176</c:v>
                </c:pt>
                <c:pt idx="778">
                  <c:v>5.5229419931136761</c:v>
                </c:pt>
                <c:pt idx="779">
                  <c:v>5.8810882622827165</c:v>
                </c:pt>
                <c:pt idx="780">
                  <c:v>6.4840567254512962</c:v>
                </c:pt>
                <c:pt idx="781">
                  <c:v>6.6673458015310558</c:v>
                </c:pt>
                <c:pt idx="782">
                  <c:v>6.1857773353839889</c:v>
                </c:pt>
                <c:pt idx="783">
                  <c:v>6.0276829769431544</c:v>
                </c:pt>
                <c:pt idx="784">
                  <c:v>5.8838634165631589</c:v>
                </c:pt>
                <c:pt idx="785">
                  <c:v>6.2498753769697259</c:v>
                </c:pt>
                <c:pt idx="786">
                  <c:v>6.4294141371679245</c:v>
                </c:pt>
                <c:pt idx="787">
                  <c:v>6.4233005725460259</c:v>
                </c:pt>
                <c:pt idx="788">
                  <c:v>6.5281763973532634</c:v>
                </c:pt>
                <c:pt idx="789">
                  <c:v>6.6771261518090199</c:v>
                </c:pt>
                <c:pt idx="790">
                  <c:v>5.9926819592593432</c:v>
                </c:pt>
                <c:pt idx="791">
                  <c:v>6.463360910409051</c:v>
                </c:pt>
                <c:pt idx="792">
                  <c:v>5.9524219750967546</c:v>
                </c:pt>
                <c:pt idx="793">
                  <c:v>6.0639513552579132</c:v>
                </c:pt>
                <c:pt idx="794">
                  <c:v>6.2238301844157604</c:v>
                </c:pt>
                <c:pt idx="795">
                  <c:v>6.1781842366668229</c:v>
                </c:pt>
                <c:pt idx="796">
                  <c:v>6.1434545695235983</c:v>
                </c:pt>
                <c:pt idx="797">
                  <c:v>6.0789700798899702</c:v>
                </c:pt>
                <c:pt idx="798">
                  <c:v>6.3281727361462288</c:v>
                </c:pt>
                <c:pt idx="799">
                  <c:v>6.036841792619299</c:v>
                </c:pt>
                <c:pt idx="800">
                  <c:v>5.794991738861043</c:v>
                </c:pt>
                <c:pt idx="801">
                  <c:v>5.5907706743292636</c:v>
                </c:pt>
                <c:pt idx="802">
                  <c:v>5.5313131869727528</c:v>
                </c:pt>
                <c:pt idx="803">
                  <c:v>5.6893755827079673</c:v>
                </c:pt>
                <c:pt idx="804">
                  <c:v>5.3968772857561618</c:v>
                </c:pt>
                <c:pt idx="805">
                  <c:v>5.4890274819073852</c:v>
                </c:pt>
                <c:pt idx="806">
                  <c:v>5.4029010249999061</c:v>
                </c:pt>
                <c:pt idx="807">
                  <c:v>5.5003171728698419</c:v>
                </c:pt>
                <c:pt idx="808">
                  <c:v>5.4641261705180852</c:v>
                </c:pt>
                <c:pt idx="809">
                  <c:v>5.2664560505519233</c:v>
                </c:pt>
                <c:pt idx="810">
                  <c:v>5.3063550807419801</c:v>
                </c:pt>
                <c:pt idx="811">
                  <c:v>5.305730058478531</c:v>
                </c:pt>
                <c:pt idx="812">
                  <c:v>5.3460385110685991</c:v>
                </c:pt>
                <c:pt idx="813">
                  <c:v>5.3807584265226041</c:v>
                </c:pt>
                <c:pt idx="814">
                  <c:v>5.2701223482743274</c:v>
                </c:pt>
                <c:pt idx="815">
                  <c:v>5.301003484225248</c:v>
                </c:pt>
                <c:pt idx="816">
                  <c:v>5.4454200439897988</c:v>
                </c:pt>
                <c:pt idx="817">
                  <c:v>5.530546255274416</c:v>
                </c:pt>
                <c:pt idx="818">
                  <c:v>5.5559161049169603</c:v>
                </c:pt>
                <c:pt idx="819">
                  <c:v>5.4319961651850974</c:v>
                </c:pt>
                <c:pt idx="820">
                  <c:v>6.2051653717937825</c:v>
                </c:pt>
                <c:pt idx="821">
                  <c:v>5.1548513639231146</c:v>
                </c:pt>
                <c:pt idx="822">
                  <c:v>5.5306723443602692</c:v>
                </c:pt>
                <c:pt idx="823">
                  <c:v>5.604783003459417</c:v>
                </c:pt>
                <c:pt idx="824">
                  <c:v>5.7358844431437603</c:v>
                </c:pt>
                <c:pt idx="825">
                  <c:v>5.4377180318534499</c:v>
                </c:pt>
                <c:pt idx="826">
                  <c:v>5.3493183879791957</c:v>
                </c:pt>
                <c:pt idx="827">
                  <c:v>5.3690758116108981</c:v>
                </c:pt>
                <c:pt idx="828">
                  <c:v>5.7550008415595642</c:v>
                </c:pt>
                <c:pt idx="829">
                  <c:v>5.743875101657494</c:v>
                </c:pt>
                <c:pt idx="830">
                  <c:v>5.762249479056436</c:v>
                </c:pt>
                <c:pt idx="831">
                  <c:v>6.1627554291178228</c:v>
                </c:pt>
                <c:pt idx="832">
                  <c:v>5.8069724114369734</c:v>
                </c:pt>
                <c:pt idx="833">
                  <c:v>6.1909464511824126</c:v>
                </c:pt>
                <c:pt idx="834">
                  <c:v>6.0087406505115695</c:v>
                </c:pt>
                <c:pt idx="835">
                  <c:v>6.0800428836764411</c:v>
                </c:pt>
                <c:pt idx="836">
                  <c:v>5.765675836991548</c:v>
                </c:pt>
                <c:pt idx="837">
                  <c:v>5.6609410933799467</c:v>
                </c:pt>
                <c:pt idx="838">
                  <c:v>5.3203371487000055</c:v>
                </c:pt>
                <c:pt idx="839">
                  <c:v>5.2264013043837707</c:v>
                </c:pt>
                <c:pt idx="840">
                  <c:v>5.4966804200234805</c:v>
                </c:pt>
                <c:pt idx="841">
                  <c:v>5.5057817787346579</c:v>
                </c:pt>
                <c:pt idx="842">
                  <c:v>5.6327752185266746</c:v>
                </c:pt>
                <c:pt idx="843">
                  <c:v>5.5385706173718035</c:v>
                </c:pt>
                <c:pt idx="844">
                  <c:v>5.2250376487196348</c:v>
                </c:pt>
                <c:pt idx="845">
                  <c:v>4.7888143151456291</c:v>
                </c:pt>
                <c:pt idx="846">
                  <c:v>5.0128043802330069</c:v>
                </c:pt>
                <c:pt idx="847">
                  <c:v>5.0972693582931612</c:v>
                </c:pt>
                <c:pt idx="848">
                  <c:v>4.8751150826229832</c:v>
                </c:pt>
                <c:pt idx="849">
                  <c:v>4.8918263333526681</c:v>
                </c:pt>
                <c:pt idx="850">
                  <c:v>5.1895314999691493</c:v>
                </c:pt>
                <c:pt idx="851">
                  <c:v>5.171246856655074</c:v>
                </c:pt>
                <c:pt idx="852">
                  <c:v>5.4354270676247012</c:v>
                </c:pt>
                <c:pt idx="853">
                  <c:v>5.1508040875525438</c:v>
                </c:pt>
                <c:pt idx="854">
                  <c:v>5.0806937742413538</c:v>
                </c:pt>
                <c:pt idx="855">
                  <c:v>5.2743562257684431</c:v>
                </c:pt>
                <c:pt idx="856">
                  <c:v>4.7351168519801945</c:v>
                </c:pt>
                <c:pt idx="857">
                  <c:v>4.6235904081433716</c:v>
                </c:pt>
                <c:pt idx="858">
                  <c:v>5.0557829150021689</c:v>
                </c:pt>
                <c:pt idx="859">
                  <c:v>4.9516910961739597</c:v>
                </c:pt>
                <c:pt idx="860">
                  <c:v>4.3184213225846122</c:v>
                </c:pt>
                <c:pt idx="861">
                  <c:v>4.3554961429270236</c:v>
                </c:pt>
                <c:pt idx="862">
                  <c:v>4.1775972025180579</c:v>
                </c:pt>
                <c:pt idx="863">
                  <c:v>4.0327178235494614</c:v>
                </c:pt>
                <c:pt idx="864">
                  <c:v>4.1355783202530745</c:v>
                </c:pt>
                <c:pt idx="865">
                  <c:v>4.2187092550769023</c:v>
                </c:pt>
                <c:pt idx="866">
                  <c:v>4.3678683927903137</c:v>
                </c:pt>
                <c:pt idx="867">
                  <c:v>4.8130111869370467</c:v>
                </c:pt>
                <c:pt idx="868">
                  <c:v>4.5382602047081662</c:v>
                </c:pt>
                <c:pt idx="869">
                  <c:v>4.8727544385175747</c:v>
                </c:pt>
                <c:pt idx="870">
                  <c:v>4.3698526750313533</c:v>
                </c:pt>
                <c:pt idx="871">
                  <c:v>4.3497410861857873</c:v>
                </c:pt>
                <c:pt idx="872">
                  <c:v>5.0532948954476922</c:v>
                </c:pt>
                <c:pt idx="873">
                  <c:v>4.8296471830371388</c:v>
                </c:pt>
                <c:pt idx="874">
                  <c:v>4.902925828510746</c:v>
                </c:pt>
                <c:pt idx="875">
                  <c:v>4.4878861548915268</c:v>
                </c:pt>
                <c:pt idx="876">
                  <c:v>5.0949144479861275</c:v>
                </c:pt>
                <c:pt idx="877">
                  <c:v>4.7315995917792861</c:v>
                </c:pt>
                <c:pt idx="878">
                  <c:v>5.2661039131833718</c:v>
                </c:pt>
                <c:pt idx="879">
                  <c:v>5.1242007030648153</c:v>
                </c:pt>
                <c:pt idx="880">
                  <c:v>4.8095752671722494</c:v>
                </c:pt>
                <c:pt idx="881">
                  <c:v>4.8563398405168812</c:v>
                </c:pt>
                <c:pt idx="882">
                  <c:v>4.8431475361501839</c:v>
                </c:pt>
                <c:pt idx="883">
                  <c:v>4.874645068607947</c:v>
                </c:pt>
                <c:pt idx="884">
                  <c:v>4.985925630545097</c:v>
                </c:pt>
                <c:pt idx="885">
                  <c:v>4.6709421545495502</c:v>
                </c:pt>
                <c:pt idx="886">
                  <c:v>4.801350282960982</c:v>
                </c:pt>
                <c:pt idx="887">
                  <c:v>4.4416971400248713</c:v>
                </c:pt>
                <c:pt idx="888">
                  <c:v>4.8936053962258086</c:v>
                </c:pt>
                <c:pt idx="889">
                  <c:v>4.8052104339639072</c:v>
                </c:pt>
                <c:pt idx="890">
                  <c:v>4.7106163664550138</c:v>
                </c:pt>
                <c:pt idx="891">
                  <c:v>4.467850284191428</c:v>
                </c:pt>
                <c:pt idx="892">
                  <c:v>4.5487757742649819</c:v>
                </c:pt>
                <c:pt idx="893">
                  <c:v>4.348509992043688</c:v>
                </c:pt>
                <c:pt idx="894">
                  <c:v>4.2373119098155883</c:v>
                </c:pt>
                <c:pt idx="895">
                  <c:v>4.2092791249501147</c:v>
                </c:pt>
                <c:pt idx="896">
                  <c:v>4.4011757511472922</c:v>
                </c:pt>
                <c:pt idx="897">
                  <c:v>4.1622244594639994</c:v>
                </c:pt>
                <c:pt idx="898">
                  <c:v>4.5060191125052711</c:v>
                </c:pt>
                <c:pt idx="899">
                  <c:v>4.6193481136717196</c:v>
                </c:pt>
                <c:pt idx="900">
                  <c:v>5.2759390145978386</c:v>
                </c:pt>
                <c:pt idx="901">
                  <c:v>4.813639486205858</c:v>
                </c:pt>
                <c:pt idx="902">
                  <c:v>4.8275220460069761</c:v>
                </c:pt>
                <c:pt idx="903">
                  <c:v>5.1976206437701649</c:v>
                </c:pt>
                <c:pt idx="904">
                  <c:v>5.1791092540515535</c:v>
                </c:pt>
                <c:pt idx="905">
                  <c:v>5.3224682347070882</c:v>
                </c:pt>
                <c:pt idx="906">
                  <c:v>5.211066671166293</c:v>
                </c:pt>
                <c:pt idx="907">
                  <c:v>4.6253303944062054</c:v>
                </c:pt>
                <c:pt idx="908">
                  <c:v>4.9991947333195128</c:v>
                </c:pt>
                <c:pt idx="909">
                  <c:v>4.6425696459530457</c:v>
                </c:pt>
                <c:pt idx="910">
                  <c:v>4.44211167600821</c:v>
                </c:pt>
                <c:pt idx="911">
                  <c:v>4.2229295750866527</c:v>
                </c:pt>
                <c:pt idx="912">
                  <c:v>4.1708157594038084</c:v>
                </c:pt>
                <c:pt idx="913">
                  <c:v>4.2783467827384527</c:v>
                </c:pt>
                <c:pt idx="914">
                  <c:v>4.2783467827384527</c:v>
                </c:pt>
                <c:pt idx="915">
                  <c:v>4.2783417058714406</c:v>
                </c:pt>
                <c:pt idx="916">
                  <c:v>4.0376689638439132</c:v>
                </c:pt>
                <c:pt idx="917">
                  <c:v>4.3043912886220994</c:v>
                </c:pt>
                <c:pt idx="918">
                  <c:v>4.2354817420956294</c:v>
                </c:pt>
                <c:pt idx="919">
                  <c:v>4.2354817420956294</c:v>
                </c:pt>
                <c:pt idx="920">
                  <c:v>4.5634281145413524</c:v>
                </c:pt>
                <c:pt idx="921">
                  <c:v>4.9601071809260588</c:v>
                </c:pt>
                <c:pt idx="922">
                  <c:v>4.9323470736935917</c:v>
                </c:pt>
                <c:pt idx="923">
                  <c:v>4.1727135781866878</c:v>
                </c:pt>
                <c:pt idx="924">
                  <c:v>4.4804195190832274</c:v>
                </c:pt>
                <c:pt idx="925">
                  <c:v>4.9726970486693176</c:v>
                </c:pt>
                <c:pt idx="926">
                  <c:v>4.9046157802791583</c:v>
                </c:pt>
                <c:pt idx="927">
                  <c:v>4.7592610322186317</c:v>
                </c:pt>
                <c:pt idx="928">
                  <c:v>4.6305595660565473</c:v>
                </c:pt>
                <c:pt idx="929">
                  <c:v>4.0077761101853469</c:v>
                </c:pt>
                <c:pt idx="930">
                  <c:v>4.4106282800688064</c:v>
                </c:pt>
                <c:pt idx="931">
                  <c:v>4.3368444363475191</c:v>
                </c:pt>
                <c:pt idx="932">
                  <c:v>4.5372463469191473</c:v>
                </c:pt>
                <c:pt idx="933">
                  <c:v>4.5183630765866667</c:v>
                </c:pt>
                <c:pt idx="934">
                  <c:v>4.7486148140818614</c:v>
                </c:pt>
                <c:pt idx="935">
                  <c:v>5.2691753289524854</c:v>
                </c:pt>
                <c:pt idx="936">
                  <c:v>5.792541523955407</c:v>
                </c:pt>
                <c:pt idx="937">
                  <c:v>5.441415365220422</c:v>
                </c:pt>
                <c:pt idx="938">
                  <c:v>5.0292804967236293</c:v>
                </c:pt>
                <c:pt idx="939">
                  <c:v>5.3131730861789492</c:v>
                </c:pt>
                <c:pt idx="940">
                  <c:v>5.0612918447835114</c:v>
                </c:pt>
                <c:pt idx="941">
                  <c:v>4.9738072303063348</c:v>
                </c:pt>
                <c:pt idx="942">
                  <c:v>5.7326218145664996</c:v>
                </c:pt>
                <c:pt idx="943">
                  <c:v>5.5627500340759752</c:v>
                </c:pt>
                <c:pt idx="944">
                  <c:v>5.491356859967965</c:v>
                </c:pt>
                <c:pt idx="945">
                  <c:v>5.3964900581081849</c:v>
                </c:pt>
                <c:pt idx="946">
                  <c:v>5.2783906969744407</c:v>
                </c:pt>
                <c:pt idx="947">
                  <c:v>5.6232969106064843</c:v>
                </c:pt>
                <c:pt idx="948">
                  <c:v>5.2710838329962257</c:v>
                </c:pt>
                <c:pt idx="949">
                  <c:v>5.1269778011174196</c:v>
                </c:pt>
                <c:pt idx="950">
                  <c:v>5.1483209639159497</c:v>
                </c:pt>
                <c:pt idx="951">
                  <c:v>5.1181516318648335</c:v>
                </c:pt>
                <c:pt idx="952">
                  <c:v>5.3445933123829548</c:v>
                </c:pt>
                <c:pt idx="953">
                  <c:v>5.4128983751378428</c:v>
                </c:pt>
                <c:pt idx="954">
                  <c:v>5.4225051597667573</c:v>
                </c:pt>
                <c:pt idx="955">
                  <c:v>5.5695466590795206</c:v>
                </c:pt>
                <c:pt idx="956">
                  <c:v>5.5935007774581891</c:v>
                </c:pt>
                <c:pt idx="957">
                  <c:v>5.5967679780990238</c:v>
                </c:pt>
                <c:pt idx="958">
                  <c:v>5.4822747674536743</c:v>
                </c:pt>
                <c:pt idx="959">
                  <c:v>5.3474755044291271</c:v>
                </c:pt>
                <c:pt idx="960">
                  <c:v>5.3897748636828737</c:v>
                </c:pt>
                <c:pt idx="961">
                  <c:v>5.4513765236499978</c:v>
                </c:pt>
                <c:pt idx="962">
                  <c:v>5.8859146982166806</c:v>
                </c:pt>
                <c:pt idx="963">
                  <c:v>5.5073290080075878</c:v>
                </c:pt>
                <c:pt idx="964">
                  <c:v>5.5570740066166877</c:v>
                </c:pt>
                <c:pt idx="965">
                  <c:v>5.7442682749406799</c:v>
                </c:pt>
                <c:pt idx="966">
                  <c:v>6.3963552464460918</c:v>
                </c:pt>
                <c:pt idx="967">
                  <c:v>6.5040242844661122</c:v>
                </c:pt>
                <c:pt idx="968">
                  <c:v>6.4396496077463894</c:v>
                </c:pt>
                <c:pt idx="969">
                  <c:v>6.4808984991068144</c:v>
                </c:pt>
                <c:pt idx="970">
                  <c:v>6.590027147563859</c:v>
                </c:pt>
                <c:pt idx="971">
                  <c:v>6.5692571163184823</c:v>
                </c:pt>
                <c:pt idx="972">
                  <c:v>6.3559012487658038</c:v>
                </c:pt>
                <c:pt idx="973">
                  <c:v>6.3981616309895628</c:v>
                </c:pt>
                <c:pt idx="974">
                  <c:v>6.3252507280803911</c:v>
                </c:pt>
                <c:pt idx="975">
                  <c:v>6.1635658908125208</c:v>
                </c:pt>
                <c:pt idx="976">
                  <c:v>6.0574164677193778</c:v>
                </c:pt>
                <c:pt idx="977">
                  <c:v>6.2565540577000149</c:v>
                </c:pt>
                <c:pt idx="978">
                  <c:v>6.0353585484467658</c:v>
                </c:pt>
                <c:pt idx="979">
                  <c:v>5.9647719271606547</c:v>
                </c:pt>
                <c:pt idx="980">
                  <c:v>5.9863862778936721</c:v>
                </c:pt>
                <c:pt idx="981">
                  <c:v>5.7765544538551694</c:v>
                </c:pt>
                <c:pt idx="982">
                  <c:v>5.8911157253492661</c:v>
                </c:pt>
                <c:pt idx="983">
                  <c:v>5.3598803765548269</c:v>
                </c:pt>
                <c:pt idx="984">
                  <c:v>5.3948042340215068</c:v>
                </c:pt>
                <c:pt idx="985">
                  <c:v>5.0262697291613563</c:v>
                </c:pt>
                <c:pt idx="986">
                  <c:v>4.7759326586769362</c:v>
                </c:pt>
                <c:pt idx="987">
                  <c:v>5.3268219888227293</c:v>
                </c:pt>
                <c:pt idx="988">
                  <c:v>4.8684587919532021</c:v>
                </c:pt>
                <c:pt idx="989">
                  <c:v>5.1408679162696274</c:v>
                </c:pt>
                <c:pt idx="990">
                  <c:v>5.3693566400884833</c:v>
                </c:pt>
                <c:pt idx="991">
                  <c:v>5.2196582582796509</c:v>
                </c:pt>
                <c:pt idx="992">
                  <c:v>5.0639556092864666</c:v>
                </c:pt>
                <c:pt idx="993">
                  <c:v>5.464212010359546</c:v>
                </c:pt>
                <c:pt idx="994">
                  <c:v>5.1012445039118859</c:v>
                </c:pt>
                <c:pt idx="995">
                  <c:v>4.840090655990565</c:v>
                </c:pt>
                <c:pt idx="996">
                  <c:v>4.840090655990565</c:v>
                </c:pt>
                <c:pt idx="997">
                  <c:v>4.8400948499241565</c:v>
                </c:pt>
                <c:pt idx="998">
                  <c:v>4.9755775105332702</c:v>
                </c:pt>
                <c:pt idx="999">
                  <c:v>5.3129779263436774</c:v>
                </c:pt>
                <c:pt idx="1000">
                  <c:v>5.3507239196516139</c:v>
                </c:pt>
                <c:pt idx="1001">
                  <c:v>5.6797832239220725</c:v>
                </c:pt>
                <c:pt idx="1002">
                  <c:v>5.5280616476668456</c:v>
                </c:pt>
                <c:pt idx="1003">
                  <c:v>5.3049794288903342</c:v>
                </c:pt>
                <c:pt idx="1004">
                  <c:v>5.4845337971682113</c:v>
                </c:pt>
                <c:pt idx="1005">
                  <c:v>5.4861059704331296</c:v>
                </c:pt>
                <c:pt idx="1006">
                  <c:v>5.7787675447711138</c:v>
                </c:pt>
                <c:pt idx="1007">
                  <c:v>5.9089937875862404</c:v>
                </c:pt>
                <c:pt idx="1008">
                  <c:v>6.2551106797374985</c:v>
                </c:pt>
                <c:pt idx="1009">
                  <c:v>6.1252996862603197</c:v>
                </c:pt>
                <c:pt idx="1010">
                  <c:v>5.6135310471091486</c:v>
                </c:pt>
                <c:pt idx="1011">
                  <c:v>6.2347255622129865</c:v>
                </c:pt>
                <c:pt idx="1012">
                  <c:v>6.3267785604545281</c:v>
                </c:pt>
                <c:pt idx="1013">
                  <c:v>6.0949268558731262</c:v>
                </c:pt>
                <c:pt idx="1014">
                  <c:v>6.0977015314927598</c:v>
                </c:pt>
                <c:pt idx="1015">
                  <c:v>6.5700169153006129</c:v>
                </c:pt>
                <c:pt idx="1016">
                  <c:v>6.286359182912804</c:v>
                </c:pt>
                <c:pt idx="1017">
                  <c:v>6.6693359874059865</c:v>
                </c:pt>
                <c:pt idx="1018">
                  <c:v>6.4856606797365544</c:v>
                </c:pt>
                <c:pt idx="1019">
                  <c:v>6.3131235742757781</c:v>
                </c:pt>
                <c:pt idx="1020">
                  <c:v>6.3782782677186276</c:v>
                </c:pt>
                <c:pt idx="1021">
                  <c:v>6.2681948067481983</c:v>
                </c:pt>
                <c:pt idx="1022">
                  <c:v>6.2091499448908962</c:v>
                </c:pt>
                <c:pt idx="1023">
                  <c:v>6.0631539454997778</c:v>
                </c:pt>
                <c:pt idx="1024">
                  <c:v>6.0052828721156573</c:v>
                </c:pt>
                <c:pt idx="1025">
                  <c:v>6.005911079221562</c:v>
                </c:pt>
                <c:pt idx="1026">
                  <c:v>6.2879974650944916</c:v>
                </c:pt>
                <c:pt idx="1027">
                  <c:v>6.5586197704552376</c:v>
                </c:pt>
                <c:pt idx="1028">
                  <c:v>6.3302083029415144</c:v>
                </c:pt>
                <c:pt idx="1029">
                  <c:v>6.4572302192098334</c:v>
                </c:pt>
                <c:pt idx="1030">
                  <c:v>6.1366534076121582</c:v>
                </c:pt>
                <c:pt idx="1031">
                  <c:v>5.9211901783305905</c:v>
                </c:pt>
                <c:pt idx="1032">
                  <c:v>5.4359153092433132</c:v>
                </c:pt>
                <c:pt idx="1033">
                  <c:v>6.1267981488729788</c:v>
                </c:pt>
                <c:pt idx="1034">
                  <c:v>6.2979503078182688</c:v>
                </c:pt>
                <c:pt idx="1035">
                  <c:v>6.7458905208989961</c:v>
                </c:pt>
                <c:pt idx="1036">
                  <c:v>6.5371542245302692</c:v>
                </c:pt>
                <c:pt idx="1037">
                  <c:v>6.6301107249335587</c:v>
                </c:pt>
                <c:pt idx="1038">
                  <c:v>6.689743817067523</c:v>
                </c:pt>
                <c:pt idx="1039">
                  <c:v>6.7368077674264271</c:v>
                </c:pt>
                <c:pt idx="1040">
                  <c:v>6.3433099927752039</c:v>
                </c:pt>
                <c:pt idx="1041">
                  <c:v>6.5797699659988496</c:v>
                </c:pt>
                <c:pt idx="1042">
                  <c:v>7.4680537101000368</c:v>
                </c:pt>
                <c:pt idx="1043">
                  <c:v>6.8647986362803408</c:v>
                </c:pt>
                <c:pt idx="1044">
                  <c:v>6.5947284886012199</c:v>
                </c:pt>
                <c:pt idx="1045">
                  <c:v>7.2231618187979905</c:v>
                </c:pt>
                <c:pt idx="1046">
                  <c:v>7.2320881216529642</c:v>
                </c:pt>
                <c:pt idx="1047">
                  <c:v>7.1856324549843862</c:v>
                </c:pt>
                <c:pt idx="1048">
                  <c:v>6.9575177868923106</c:v>
                </c:pt>
                <c:pt idx="1049">
                  <c:v>7.2574145429487373</c:v>
                </c:pt>
                <c:pt idx="1050">
                  <c:v>7.0247976379169188</c:v>
                </c:pt>
                <c:pt idx="1051">
                  <c:v>7.2280747476662839</c:v>
                </c:pt>
                <c:pt idx="1052">
                  <c:v>7.3521307098518776</c:v>
                </c:pt>
                <c:pt idx="1053">
                  <c:v>7.5488180668479572</c:v>
                </c:pt>
                <c:pt idx="1054">
                  <c:v>7.1605956238696251</c:v>
                </c:pt>
                <c:pt idx="1055">
                  <c:v>7.0970934068048166</c:v>
                </c:pt>
                <c:pt idx="1056">
                  <c:v>7.0169514702128311</c:v>
                </c:pt>
                <c:pt idx="1057">
                  <c:v>6.9770152396125127</c:v>
                </c:pt>
                <c:pt idx="1058">
                  <c:v>7.1386395849037001</c:v>
                </c:pt>
                <c:pt idx="1059">
                  <c:v>7.0220652540232606</c:v>
                </c:pt>
                <c:pt idx="1060">
                  <c:v>7.3330489930311273</c:v>
                </c:pt>
                <c:pt idx="1061">
                  <c:v>7.2168710016624118</c:v>
                </c:pt>
                <c:pt idx="1062">
                  <c:v>7.5979187050854478</c:v>
                </c:pt>
                <c:pt idx="1063">
                  <c:v>7.2833467202206634</c:v>
                </c:pt>
                <c:pt idx="1064">
                  <c:v>7.1944105343116291</c:v>
                </c:pt>
                <c:pt idx="1065">
                  <c:v>6.7535548429304981</c:v>
                </c:pt>
                <c:pt idx="1066">
                  <c:v>7.0278142330751621</c:v>
                </c:pt>
                <c:pt idx="1067">
                  <c:v>7.1237143896940722</c:v>
                </c:pt>
                <c:pt idx="1068">
                  <c:v>7.0355579405899107</c:v>
                </c:pt>
                <c:pt idx="1069">
                  <c:v>7.4095378753175112</c:v>
                </c:pt>
                <c:pt idx="1070">
                  <c:v>7.6099016755003106</c:v>
                </c:pt>
                <c:pt idx="1071">
                  <c:v>7.5567770954116043</c:v>
                </c:pt>
                <c:pt idx="1072">
                  <c:v>7.3600271605522778</c:v>
                </c:pt>
                <c:pt idx="1073">
                  <c:v>7.4882438265805717</c:v>
                </c:pt>
                <c:pt idx="1074">
                  <c:v>7.4463670114872968</c:v>
                </c:pt>
                <c:pt idx="1075">
                  <c:v>7.6261714532339226</c:v>
                </c:pt>
                <c:pt idx="1076">
                  <c:v>7.3294132894512529</c:v>
                </c:pt>
                <c:pt idx="1077">
                  <c:v>7.4917637300688966</c:v>
                </c:pt>
                <c:pt idx="1078">
                  <c:v>7.5207880646687499</c:v>
                </c:pt>
                <c:pt idx="1079">
                  <c:v>7.2158014871460523</c:v>
                </c:pt>
                <c:pt idx="1080">
                  <c:v>7.5979987698709124</c:v>
                </c:pt>
                <c:pt idx="1081">
                  <c:v>8.5704727509990448</c:v>
                </c:pt>
                <c:pt idx="1082">
                  <c:v>7.7608958799891639</c:v>
                </c:pt>
                <c:pt idx="1083">
                  <c:v>7.7602510269225888</c:v>
                </c:pt>
                <c:pt idx="1084">
                  <c:v>8.1243124321558753</c:v>
                </c:pt>
                <c:pt idx="1085">
                  <c:v>7.7361217848850288</c:v>
                </c:pt>
                <c:pt idx="1086">
                  <c:v>8.0401067571211229</c:v>
                </c:pt>
                <c:pt idx="1087">
                  <c:v>7.4461078984363098</c:v>
                </c:pt>
                <c:pt idx="1088">
                  <c:v>7.1814869670108408</c:v>
                </c:pt>
                <c:pt idx="1089">
                  <c:v>7.3987077538706103</c:v>
                </c:pt>
                <c:pt idx="1090">
                  <c:v>7.6900468046461015</c:v>
                </c:pt>
                <c:pt idx="1091">
                  <c:v>7.6475371586736856</c:v>
                </c:pt>
                <c:pt idx="1092">
                  <c:v>7.6605788585322898</c:v>
                </c:pt>
                <c:pt idx="1093">
                  <c:v>7.5605476932828708</c:v>
                </c:pt>
                <c:pt idx="1094">
                  <c:v>7.122232921718421</c:v>
                </c:pt>
                <c:pt idx="1095">
                  <c:v>6.4354233010081145</c:v>
                </c:pt>
                <c:pt idx="1096">
                  <c:v>6.3601990656639487</c:v>
                </c:pt>
                <c:pt idx="1097">
                  <c:v>6.5085837667434703</c:v>
                </c:pt>
                <c:pt idx="1098">
                  <c:v>6.7791929851483133</c:v>
                </c:pt>
                <c:pt idx="1099">
                  <c:v>6.4828209386319031</c:v>
                </c:pt>
                <c:pt idx="1100">
                  <c:v>6.5705876918679564</c:v>
                </c:pt>
                <c:pt idx="1101">
                  <c:v>6.5520190855114038</c:v>
                </c:pt>
                <c:pt idx="1102">
                  <c:v>6.3535646968168749</c:v>
                </c:pt>
                <c:pt idx="1103">
                  <c:v>6.1189932802507769</c:v>
                </c:pt>
                <c:pt idx="1104">
                  <c:v>6.0512387602854005</c:v>
                </c:pt>
                <c:pt idx="1105">
                  <c:v>5.6776840089823111</c:v>
                </c:pt>
                <c:pt idx="1106">
                  <c:v>5.7098921422403635</c:v>
                </c:pt>
                <c:pt idx="1107">
                  <c:v>5.904135053822074</c:v>
                </c:pt>
                <c:pt idx="1108">
                  <c:v>6.1499289910540824</c:v>
                </c:pt>
                <c:pt idx="1109">
                  <c:v>5.8080905184004905</c:v>
                </c:pt>
                <c:pt idx="1110">
                  <c:v>6.0140146302190658</c:v>
                </c:pt>
                <c:pt idx="1111">
                  <c:v>6.0280952441568729</c:v>
                </c:pt>
                <c:pt idx="1112">
                  <c:v>6.5950569487691268</c:v>
                </c:pt>
                <c:pt idx="1113">
                  <c:v>6.2480993224974384</c:v>
                </c:pt>
                <c:pt idx="1114">
                  <c:v>6.2434760206979547</c:v>
                </c:pt>
                <c:pt idx="1115">
                  <c:v>6.698349216165326</c:v>
                </c:pt>
                <c:pt idx="1116">
                  <c:v>6.4936696479901457</c:v>
                </c:pt>
                <c:pt idx="1117">
                  <c:v>6.5228658561817667</c:v>
                </c:pt>
                <c:pt idx="1118">
                  <c:v>6.6940418220242464</c:v>
                </c:pt>
                <c:pt idx="1119">
                  <c:v>6.6959067807836732</c:v>
                </c:pt>
                <c:pt idx="1120">
                  <c:v>6.6915079423551447</c:v>
                </c:pt>
                <c:pt idx="1121">
                  <c:v>6.674627295119592</c:v>
                </c:pt>
                <c:pt idx="1122">
                  <c:v>6.0494584613506959</c:v>
                </c:pt>
                <c:pt idx="1123">
                  <c:v>6.0686829087139813</c:v>
                </c:pt>
                <c:pt idx="1124">
                  <c:v>6.5049079880833176</c:v>
                </c:pt>
                <c:pt idx="1125">
                  <c:v>6.415359512076634</c:v>
                </c:pt>
                <c:pt idx="1126">
                  <c:v>6.2721988572409373</c:v>
                </c:pt>
                <c:pt idx="1127">
                  <c:v>6.3745470828870054</c:v>
                </c:pt>
                <c:pt idx="1128">
                  <c:v>6.2271684015780409</c:v>
                </c:pt>
                <c:pt idx="1129">
                  <c:v>6.4283617623196676</c:v>
                </c:pt>
                <c:pt idx="1130">
                  <c:v>6.0738528074952001</c:v>
                </c:pt>
                <c:pt idx="1131">
                  <c:v>6.2758220690565452</c:v>
                </c:pt>
                <c:pt idx="1132">
                  <c:v>6.6341801394683273</c:v>
                </c:pt>
                <c:pt idx="1133">
                  <c:v>6.8853808023399097</c:v>
                </c:pt>
                <c:pt idx="1134">
                  <c:v>7.1663393300808593</c:v>
                </c:pt>
                <c:pt idx="1135">
                  <c:v>7.1602014324098775</c:v>
                </c:pt>
                <c:pt idx="1136">
                  <c:v>6.6177273927008571</c:v>
                </c:pt>
                <c:pt idx="1137">
                  <c:v>6.9897511598706501</c:v>
                </c:pt>
                <c:pt idx="1138">
                  <c:v>7.3730446785183403</c:v>
                </c:pt>
                <c:pt idx="1139">
                  <c:v>7.2967628415801187</c:v>
                </c:pt>
                <c:pt idx="1140">
                  <c:v>7.5550108098411783</c:v>
                </c:pt>
                <c:pt idx="1141">
                  <c:v>7.9866459190391481</c:v>
                </c:pt>
                <c:pt idx="1142">
                  <c:v>8.3701585232656726</c:v>
                </c:pt>
                <c:pt idx="1143">
                  <c:v>8.5119967991579415</c:v>
                </c:pt>
                <c:pt idx="1144">
                  <c:v>9.0408845037483445</c:v>
                </c:pt>
                <c:pt idx="1145">
                  <c:v>8.9225415853650247</c:v>
                </c:pt>
                <c:pt idx="1146">
                  <c:v>9.2521630417437564</c:v>
                </c:pt>
                <c:pt idx="1147">
                  <c:v>9.0468115392418724</c:v>
                </c:pt>
                <c:pt idx="1148">
                  <c:v>9.0291106865334996</c:v>
                </c:pt>
                <c:pt idx="1149">
                  <c:v>8.9589820112708196</c:v>
                </c:pt>
                <c:pt idx="1150">
                  <c:v>9.3204129219460867</c:v>
                </c:pt>
                <c:pt idx="1151">
                  <c:v>8.5799020652764568</c:v>
                </c:pt>
                <c:pt idx="1152">
                  <c:v>8.2567682399493947</c:v>
                </c:pt>
                <c:pt idx="1153">
                  <c:v>7.9075281919340057</c:v>
                </c:pt>
                <c:pt idx="1154">
                  <c:v>7.9140127759190477</c:v>
                </c:pt>
                <c:pt idx="1155">
                  <c:v>7.7230450714112351</c:v>
                </c:pt>
                <c:pt idx="1156">
                  <c:v>7.4711682218105295</c:v>
                </c:pt>
                <c:pt idx="1157">
                  <c:v>7.8233449705222142</c:v>
                </c:pt>
                <c:pt idx="1158">
                  <c:v>7.5627203006127388</c:v>
                </c:pt>
                <c:pt idx="1159">
                  <c:v>7.6100968702944556</c:v>
                </c:pt>
                <c:pt idx="1160">
                  <c:v>8.3575500789456214</c:v>
                </c:pt>
                <c:pt idx="1161">
                  <c:v>7.6431154473604579</c:v>
                </c:pt>
                <c:pt idx="1162">
                  <c:v>7.8867327377380434</c:v>
                </c:pt>
                <c:pt idx="1163">
                  <c:v>8.1108435907559624</c:v>
                </c:pt>
                <c:pt idx="1164">
                  <c:v>8.155029787303107</c:v>
                </c:pt>
                <c:pt idx="1165">
                  <c:v>8.0358009273262212</c:v>
                </c:pt>
                <c:pt idx="1166">
                  <c:v>8.2319775151044325</c:v>
                </c:pt>
                <c:pt idx="1167">
                  <c:v>8.4182830801111663</c:v>
                </c:pt>
                <c:pt idx="1168">
                  <c:v>8.2805809388244143</c:v>
                </c:pt>
                <c:pt idx="1169">
                  <c:v>8.279509624644561</c:v>
                </c:pt>
                <c:pt idx="1170">
                  <c:v>8.1435660036341346</c:v>
                </c:pt>
                <c:pt idx="1171">
                  <c:v>8.7562878141947351</c:v>
                </c:pt>
                <c:pt idx="1172">
                  <c:v>8.9119345883671315</c:v>
                </c:pt>
                <c:pt idx="1173">
                  <c:v>8.7045138334184742</c:v>
                </c:pt>
                <c:pt idx="1174">
                  <c:v>8.9693399910318306</c:v>
                </c:pt>
                <c:pt idx="1175">
                  <c:v>8.9693399910318306</c:v>
                </c:pt>
                <c:pt idx="1176">
                  <c:v>8.9693418672652854</c:v>
                </c:pt>
                <c:pt idx="1177">
                  <c:v>8.7236685687566364</c:v>
                </c:pt>
                <c:pt idx="1178">
                  <c:v>9.047361448289422</c:v>
                </c:pt>
                <c:pt idx="1179">
                  <c:v>8.9689178457386447</c:v>
                </c:pt>
                <c:pt idx="1180">
                  <c:v>8.9689178457386447</c:v>
                </c:pt>
                <c:pt idx="1181">
                  <c:v>8.8968755755216478</c:v>
                </c:pt>
                <c:pt idx="1182">
                  <c:v>9.5917100048353632</c:v>
                </c:pt>
                <c:pt idx="1183">
                  <c:v>9.5108906393396921</c:v>
                </c:pt>
                <c:pt idx="1184">
                  <c:v>9.383092739526802</c:v>
                </c:pt>
                <c:pt idx="1185">
                  <c:v>9.0709721572572164</c:v>
                </c:pt>
                <c:pt idx="1186">
                  <c:v>10.374615575147089</c:v>
                </c:pt>
                <c:pt idx="1187">
                  <c:v>9.9776299305744374</c:v>
                </c:pt>
                <c:pt idx="1188">
                  <c:v>9.8773193146198537</c:v>
                </c:pt>
                <c:pt idx="1189">
                  <c:v>10.041505269541233</c:v>
                </c:pt>
                <c:pt idx="1190">
                  <c:v>10.013461708119877</c:v>
                </c:pt>
                <c:pt idx="1191">
                  <c:v>10.052442496904888</c:v>
                </c:pt>
                <c:pt idx="1192">
                  <c:v>10.095284354868141</c:v>
                </c:pt>
                <c:pt idx="1193">
                  <c:v>9.8627471103612834</c:v>
                </c:pt>
                <c:pt idx="1194">
                  <c:v>9.904940968251509</c:v>
                </c:pt>
                <c:pt idx="1195">
                  <c:v>9.574398765903652</c:v>
                </c:pt>
                <c:pt idx="1196">
                  <c:v>9.7988028238442269</c:v>
                </c:pt>
                <c:pt idx="1197">
                  <c:v>10.114177928741469</c:v>
                </c:pt>
                <c:pt idx="1198">
                  <c:v>10.498441656499011</c:v>
                </c:pt>
                <c:pt idx="1199">
                  <c:v>11.009643530769324</c:v>
                </c:pt>
                <c:pt idx="1200">
                  <c:v>10.849081217748505</c:v>
                </c:pt>
                <c:pt idx="1201">
                  <c:v>10.878338678293261</c:v>
                </c:pt>
                <c:pt idx="1202">
                  <c:v>10.402803764719977</c:v>
                </c:pt>
                <c:pt idx="1203">
                  <c:v>10.018514017450343</c:v>
                </c:pt>
                <c:pt idx="1204">
                  <c:v>9.884442658366595</c:v>
                </c:pt>
                <c:pt idx="1205">
                  <c:v>10.265321879691044</c:v>
                </c:pt>
                <c:pt idx="1206">
                  <c:v>10.248947482570969</c:v>
                </c:pt>
                <c:pt idx="1207">
                  <c:v>10.524574252945712</c:v>
                </c:pt>
                <c:pt idx="1208">
                  <c:v>10.499860774133197</c:v>
                </c:pt>
                <c:pt idx="1209">
                  <c:v>10.52064730275751</c:v>
                </c:pt>
                <c:pt idx="1210">
                  <c:v>10.283401342757799</c:v>
                </c:pt>
                <c:pt idx="1211">
                  <c:v>9.7929030882825145</c:v>
                </c:pt>
                <c:pt idx="1212">
                  <c:v>9.9884715004279201</c:v>
                </c:pt>
                <c:pt idx="1213">
                  <c:v>9.9426346117623154</c:v>
                </c:pt>
                <c:pt idx="1214">
                  <c:v>9.753767991245951</c:v>
                </c:pt>
                <c:pt idx="1215">
                  <c:v>9.5862294060092665</c:v>
                </c:pt>
                <c:pt idx="1216">
                  <c:v>9.4239990263831999</c:v>
                </c:pt>
                <c:pt idx="1217">
                  <c:v>9.5341807753786156</c:v>
                </c:pt>
                <c:pt idx="1218">
                  <c:v>9.6116631216495705</c:v>
                </c:pt>
                <c:pt idx="1219">
                  <c:v>10.06271745387636</c:v>
                </c:pt>
                <c:pt idx="1220">
                  <c:v>9.8984745176717013</c:v>
                </c:pt>
                <c:pt idx="1221">
                  <c:v>9.5624624989127653</c:v>
                </c:pt>
                <c:pt idx="1222">
                  <c:v>9.6740904795174743</c:v>
                </c:pt>
                <c:pt idx="1223">
                  <c:v>10.023942047965619</c:v>
                </c:pt>
                <c:pt idx="1224">
                  <c:v>9.5182558170324114</c:v>
                </c:pt>
                <c:pt idx="1225">
                  <c:v>9.5928401241886263</c:v>
                </c:pt>
                <c:pt idx="1226">
                  <c:v>9.5800811188895239</c:v>
                </c:pt>
                <c:pt idx="1227">
                  <c:v>9.5169296370223435</c:v>
                </c:pt>
                <c:pt idx="1228">
                  <c:v>9.6389018854340236</c:v>
                </c:pt>
                <c:pt idx="1229">
                  <c:v>9.2513429569715697</c:v>
                </c:pt>
                <c:pt idx="1230">
                  <c:v>9.4042971436707603</c:v>
                </c:pt>
                <c:pt idx="1231">
                  <c:v>9.1819756848401539</c:v>
                </c:pt>
                <c:pt idx="1232">
                  <c:v>8.8484400996957504</c:v>
                </c:pt>
                <c:pt idx="1233">
                  <c:v>9.1654324710952437</c:v>
                </c:pt>
                <c:pt idx="1234">
                  <c:v>9.3796018711688021</c:v>
                </c:pt>
                <c:pt idx="1235">
                  <c:v>9.619607495299249</c:v>
                </c:pt>
                <c:pt idx="1236">
                  <c:v>9.230039847326168</c:v>
                </c:pt>
                <c:pt idx="1237">
                  <c:v>9.692309582386855</c:v>
                </c:pt>
                <c:pt idx="1238">
                  <c:v>9.2334887152265424</c:v>
                </c:pt>
                <c:pt idx="1239">
                  <c:v>9.402267690658249</c:v>
                </c:pt>
                <c:pt idx="1240">
                  <c:v>8.9979407189267135</c:v>
                </c:pt>
                <c:pt idx="1241">
                  <c:v>8.9926453994885094</c:v>
                </c:pt>
                <c:pt idx="1242">
                  <c:v>8.8230318323274162</c:v>
                </c:pt>
                <c:pt idx="1243">
                  <c:v>8.7661211793352436</c:v>
                </c:pt>
                <c:pt idx="1244">
                  <c:v>8.7179108083105064</c:v>
                </c:pt>
                <c:pt idx="1245">
                  <c:v>8.8795888289269556</c:v>
                </c:pt>
                <c:pt idx="1246">
                  <c:v>8.8795888289269556</c:v>
                </c:pt>
                <c:pt idx="1247">
                  <c:v>8.8795935746939278</c:v>
                </c:pt>
                <c:pt idx="1248">
                  <c:v>9.364683205931243</c:v>
                </c:pt>
                <c:pt idx="1249">
                  <c:v>9.6855821990188531</c:v>
                </c:pt>
                <c:pt idx="1250">
                  <c:v>9.9314997712961315</c:v>
                </c:pt>
                <c:pt idx="1251">
                  <c:v>10.233705647358903</c:v>
                </c:pt>
                <c:pt idx="1252">
                  <c:v>10.477926112839555</c:v>
                </c:pt>
                <c:pt idx="1253">
                  <c:v>11.298448367157562</c:v>
                </c:pt>
                <c:pt idx="1254">
                  <c:v>10.946655170559495</c:v>
                </c:pt>
                <c:pt idx="1255">
                  <c:v>11.398005515211906</c:v>
                </c:pt>
                <c:pt idx="1256">
                  <c:v>11.58222059871386</c:v>
                </c:pt>
                <c:pt idx="1257">
                  <c:v>11.423850812504867</c:v>
                </c:pt>
                <c:pt idx="1258">
                  <c:v>12.025391951967407</c:v>
                </c:pt>
                <c:pt idx="1259">
                  <c:v>11.60559847800684</c:v>
                </c:pt>
                <c:pt idx="1260">
                  <c:v>11.838061423222172</c:v>
                </c:pt>
                <c:pt idx="1261">
                  <c:v>12.023019627840284</c:v>
                </c:pt>
                <c:pt idx="1262">
                  <c:v>11.74626299994361</c:v>
                </c:pt>
                <c:pt idx="1263">
                  <c:v>11.582584288118852</c:v>
                </c:pt>
                <c:pt idx="1264">
                  <c:v>11.471990371905292</c:v>
                </c:pt>
                <c:pt idx="1265">
                  <c:v>11.443771660991501</c:v>
                </c:pt>
                <c:pt idx="1266">
                  <c:v>11.454468288626515</c:v>
                </c:pt>
                <c:pt idx="1267">
                  <c:v>12.014720210300453</c:v>
                </c:pt>
                <c:pt idx="1268">
                  <c:v>12.044402141819489</c:v>
                </c:pt>
                <c:pt idx="1269">
                  <c:v>11.450819461003192</c:v>
                </c:pt>
                <c:pt idx="1270">
                  <c:v>11.306198535785171</c:v>
                </c:pt>
                <c:pt idx="1271">
                  <c:v>11.127626772990425</c:v>
                </c:pt>
                <c:pt idx="1272">
                  <c:v>11.50960650182904</c:v>
                </c:pt>
                <c:pt idx="1273">
                  <c:v>11.991743470373564</c:v>
                </c:pt>
                <c:pt idx="1274">
                  <c:v>12.17632606753358</c:v>
                </c:pt>
                <c:pt idx="1275">
                  <c:v>10.074352706432762</c:v>
                </c:pt>
                <c:pt idx="1276">
                  <c:v>12.194101399444577</c:v>
                </c:pt>
                <c:pt idx="1277">
                  <c:v>12.206282871595221</c:v>
                </c:pt>
                <c:pt idx="1278">
                  <c:v>11.606147910390064</c:v>
                </c:pt>
                <c:pt idx="1279">
                  <c:v>11.390355767301173</c:v>
                </c:pt>
                <c:pt idx="1280">
                  <c:v>11.545531629417667</c:v>
                </c:pt>
                <c:pt idx="1281">
                  <c:v>11.556820057212747</c:v>
                </c:pt>
                <c:pt idx="1282">
                  <c:v>12.602108451223785</c:v>
                </c:pt>
                <c:pt idx="1283">
                  <c:v>11.526920144116957</c:v>
                </c:pt>
                <c:pt idx="1284">
                  <c:v>11.279641491671896</c:v>
                </c:pt>
                <c:pt idx="1285">
                  <c:v>11.8474609737506</c:v>
                </c:pt>
                <c:pt idx="1286">
                  <c:v>12.522882910661934</c:v>
                </c:pt>
                <c:pt idx="1287">
                  <c:v>12.658976127131268</c:v>
                </c:pt>
                <c:pt idx="1288">
                  <c:v>12.742079311730805</c:v>
                </c:pt>
                <c:pt idx="1289">
                  <c:v>12.568457039210301</c:v>
                </c:pt>
                <c:pt idx="1290">
                  <c:v>12.39752057587566</c:v>
                </c:pt>
                <c:pt idx="1291">
                  <c:v>12.338132811419939</c:v>
                </c:pt>
                <c:pt idx="1292">
                  <c:v>12.358146617998472</c:v>
                </c:pt>
                <c:pt idx="1293">
                  <c:v>12.033118392007566</c:v>
                </c:pt>
                <c:pt idx="1294">
                  <c:v>11.875569051158124</c:v>
                </c:pt>
                <c:pt idx="1295">
                  <c:v>11.710124506831619</c:v>
                </c:pt>
                <c:pt idx="1296">
                  <c:v>11.848579033584741</c:v>
                </c:pt>
                <c:pt idx="1297">
                  <c:v>11.878054886250055</c:v>
                </c:pt>
                <c:pt idx="1298">
                  <c:v>11.941811153439232</c:v>
                </c:pt>
                <c:pt idx="1299">
                  <c:v>11.990972768553888</c:v>
                </c:pt>
                <c:pt idx="1300">
                  <c:v>12.191904907942586</c:v>
                </c:pt>
                <c:pt idx="1301">
                  <c:v>12.009890808710395</c:v>
                </c:pt>
                <c:pt idx="1302">
                  <c:v>11.340009424373648</c:v>
                </c:pt>
                <c:pt idx="1303">
                  <c:v>9.8400213719523322</c:v>
                </c:pt>
                <c:pt idx="1304">
                  <c:v>11.643437794700702</c:v>
                </c:pt>
                <c:pt idx="1305">
                  <c:v>11.55767357041438</c:v>
                </c:pt>
                <c:pt idx="1306">
                  <c:v>11.58825017004952</c:v>
                </c:pt>
                <c:pt idx="1307">
                  <c:v>12.365753056907749</c:v>
                </c:pt>
                <c:pt idx="1308">
                  <c:v>12.309820804873823</c:v>
                </c:pt>
                <c:pt idx="1309">
                  <c:v>11.835339619403271</c:v>
                </c:pt>
                <c:pt idx="1310">
                  <c:v>12.189507958459302</c:v>
                </c:pt>
                <c:pt idx="1311">
                  <c:v>12.090885467205936</c:v>
                </c:pt>
                <c:pt idx="1312">
                  <c:v>12.39250043035193</c:v>
                </c:pt>
                <c:pt idx="1313">
                  <c:v>12.493658967172252</c:v>
                </c:pt>
                <c:pt idx="1314">
                  <c:v>12.685520580960315</c:v>
                </c:pt>
                <c:pt idx="1315">
                  <c:v>12.629543027154767</c:v>
                </c:pt>
                <c:pt idx="1316">
                  <c:v>12.357398874498188</c:v>
                </c:pt>
                <c:pt idx="1317">
                  <c:v>12.252122162637733</c:v>
                </c:pt>
                <c:pt idx="1318">
                  <c:v>12.303443244835904</c:v>
                </c:pt>
                <c:pt idx="1319">
                  <c:v>12.590746793938507</c:v>
                </c:pt>
                <c:pt idx="1320">
                  <c:v>12.426385115701692</c:v>
                </c:pt>
                <c:pt idx="1321">
                  <c:v>12.566919714169785</c:v>
                </c:pt>
                <c:pt idx="1322">
                  <c:v>12.845777587283635</c:v>
                </c:pt>
                <c:pt idx="1323">
                  <c:v>12.801326564328093</c:v>
                </c:pt>
                <c:pt idx="1324">
                  <c:v>12.619294465340062</c:v>
                </c:pt>
                <c:pt idx="1325">
                  <c:v>12.609252063568817</c:v>
                </c:pt>
                <c:pt idx="1326">
                  <c:v>12.946992957472133</c:v>
                </c:pt>
                <c:pt idx="1327">
                  <c:v>13.089343660228735</c:v>
                </c:pt>
                <c:pt idx="1328">
                  <c:v>12.839810050445806</c:v>
                </c:pt>
                <c:pt idx="1329">
                  <c:v>13.092097308869569</c:v>
                </c:pt>
                <c:pt idx="1330">
                  <c:v>13.023774244806788</c:v>
                </c:pt>
                <c:pt idx="1331">
                  <c:v>12.924810499804721</c:v>
                </c:pt>
                <c:pt idx="1332">
                  <c:v>12.984509169479423</c:v>
                </c:pt>
                <c:pt idx="1333">
                  <c:v>13.386993289607886</c:v>
                </c:pt>
                <c:pt idx="1334">
                  <c:v>12.886825507892496</c:v>
                </c:pt>
                <c:pt idx="1335">
                  <c:v>12.548195537536287</c:v>
                </c:pt>
                <c:pt idx="1336">
                  <c:v>12.481086509079404</c:v>
                </c:pt>
                <c:pt idx="1337">
                  <c:v>12.369956492006111</c:v>
                </c:pt>
                <c:pt idx="1338">
                  <c:v>12.677503791491375</c:v>
                </c:pt>
                <c:pt idx="1339">
                  <c:v>13.235131348813809</c:v>
                </c:pt>
                <c:pt idx="1340">
                  <c:v>13.413417261732093</c:v>
                </c:pt>
                <c:pt idx="1341">
                  <c:v>13.752237427635748</c:v>
                </c:pt>
                <c:pt idx="1342">
                  <c:v>13.652599319238988</c:v>
                </c:pt>
                <c:pt idx="1343">
                  <c:v>13.696628824114725</c:v>
                </c:pt>
                <c:pt idx="1344">
                  <c:v>13.572539805622938</c:v>
                </c:pt>
                <c:pt idx="1345">
                  <c:v>13.537258480622341</c:v>
                </c:pt>
                <c:pt idx="1346">
                  <c:v>13.266288847830936</c:v>
                </c:pt>
                <c:pt idx="1347">
                  <c:v>12.928208909008362</c:v>
                </c:pt>
                <c:pt idx="1348">
                  <c:v>12.842422566202799</c:v>
                </c:pt>
                <c:pt idx="1349">
                  <c:v>13.009179210611109</c:v>
                </c:pt>
                <c:pt idx="1350">
                  <c:v>12.963212872875232</c:v>
                </c:pt>
                <c:pt idx="1351">
                  <c:v>13.121367074923086</c:v>
                </c:pt>
                <c:pt idx="1352">
                  <c:v>13.09200509179297</c:v>
                </c:pt>
                <c:pt idx="1353">
                  <c:v>13.18677462678184</c:v>
                </c:pt>
                <c:pt idx="1354">
                  <c:v>12.9924748361056</c:v>
                </c:pt>
                <c:pt idx="1355">
                  <c:v>13.231508325492428</c:v>
                </c:pt>
                <c:pt idx="1356">
                  <c:v>13.40413769198571</c:v>
                </c:pt>
                <c:pt idx="1357">
                  <c:v>13.35609157396263</c:v>
                </c:pt>
                <c:pt idx="1358">
                  <c:v>13.51416994428908</c:v>
                </c:pt>
                <c:pt idx="1359">
                  <c:v>13.601789672294615</c:v>
                </c:pt>
                <c:pt idx="1360">
                  <c:v>13.599865497689422</c:v>
                </c:pt>
                <c:pt idx="1361">
                  <c:v>13.277679628370038</c:v>
                </c:pt>
                <c:pt idx="1362">
                  <c:v>13.228573052282286</c:v>
                </c:pt>
                <c:pt idx="1363">
                  <c:v>13.025494387885175</c:v>
                </c:pt>
                <c:pt idx="1364">
                  <c:v>13.171150028605751</c:v>
                </c:pt>
                <c:pt idx="1365">
                  <c:v>13.213806652124021</c:v>
                </c:pt>
                <c:pt idx="1366">
                  <c:v>14.160801235587343</c:v>
                </c:pt>
                <c:pt idx="1367">
                  <c:v>14.485518844571089</c:v>
                </c:pt>
                <c:pt idx="1368">
                  <c:v>14.444554926949991</c:v>
                </c:pt>
                <c:pt idx="1369">
                  <c:v>14.542024936416936</c:v>
                </c:pt>
                <c:pt idx="1370">
                  <c:v>14.17601900860322</c:v>
                </c:pt>
                <c:pt idx="1371">
                  <c:v>14.313243136616137</c:v>
                </c:pt>
                <c:pt idx="1372">
                  <c:v>14.316118384247943</c:v>
                </c:pt>
                <c:pt idx="1373">
                  <c:v>14.002171147568703</c:v>
                </c:pt>
                <c:pt idx="1374">
                  <c:v>14.227899115668976</c:v>
                </c:pt>
                <c:pt idx="1375">
                  <c:v>14.153786334401474</c:v>
                </c:pt>
                <c:pt idx="1376">
                  <c:v>14.401114219385022</c:v>
                </c:pt>
                <c:pt idx="1377">
                  <c:v>14.801105487201085</c:v>
                </c:pt>
                <c:pt idx="1378">
                  <c:v>14.803621121855599</c:v>
                </c:pt>
                <c:pt idx="1379">
                  <c:v>14.405816821139837</c:v>
                </c:pt>
                <c:pt idx="1380">
                  <c:v>14.69732698102203</c:v>
                </c:pt>
                <c:pt idx="1381">
                  <c:v>14.533456348308306</c:v>
                </c:pt>
                <c:pt idx="1382">
                  <c:v>14.20527967618267</c:v>
                </c:pt>
                <c:pt idx="1383">
                  <c:v>14.24051423983704</c:v>
                </c:pt>
                <c:pt idx="1384">
                  <c:v>14.196699418690912</c:v>
                </c:pt>
                <c:pt idx="1385">
                  <c:v>14.378069236233017</c:v>
                </c:pt>
                <c:pt idx="1386">
                  <c:v>14.32298044909993</c:v>
                </c:pt>
                <c:pt idx="1387">
                  <c:v>14.433013533091298</c:v>
                </c:pt>
                <c:pt idx="1388">
                  <c:v>14.601790463410566</c:v>
                </c:pt>
                <c:pt idx="1389">
                  <c:v>14.511786633569187</c:v>
                </c:pt>
                <c:pt idx="1390">
                  <c:v>14.435262904471529</c:v>
                </c:pt>
                <c:pt idx="1391">
                  <c:v>14.396228883846049</c:v>
                </c:pt>
                <c:pt idx="1392">
                  <c:v>14.61764319159829</c:v>
                </c:pt>
                <c:pt idx="1393">
                  <c:v>13.894338094512221</c:v>
                </c:pt>
                <c:pt idx="1394">
                  <c:v>14.164142447841328</c:v>
                </c:pt>
                <c:pt idx="1395">
                  <c:v>14.600453509477035</c:v>
                </c:pt>
                <c:pt idx="1396">
                  <c:v>14.620577696877405</c:v>
                </c:pt>
                <c:pt idx="1397">
                  <c:v>14.805776233059845</c:v>
                </c:pt>
                <c:pt idx="1398">
                  <c:v>15.077082544096498</c:v>
                </c:pt>
                <c:pt idx="1399">
                  <c:v>15.291910512643454</c:v>
                </c:pt>
                <c:pt idx="1400">
                  <c:v>15.007404800678131</c:v>
                </c:pt>
                <c:pt idx="1401">
                  <c:v>14.835589707510877</c:v>
                </c:pt>
                <c:pt idx="1402">
                  <c:v>14.786444082936185</c:v>
                </c:pt>
                <c:pt idx="1403">
                  <c:v>14.759261318923052</c:v>
                </c:pt>
                <c:pt idx="1404">
                  <c:v>14.838170977609138</c:v>
                </c:pt>
                <c:pt idx="1405">
                  <c:v>14.904521339198851</c:v>
                </c:pt>
                <c:pt idx="1406">
                  <c:v>15.056726830328046</c:v>
                </c:pt>
                <c:pt idx="1407">
                  <c:v>15.415131082275479</c:v>
                </c:pt>
                <c:pt idx="1408">
                  <c:v>15.637279773595566</c:v>
                </c:pt>
                <c:pt idx="1409">
                  <c:v>15.852493973761852</c:v>
                </c:pt>
                <c:pt idx="1410">
                  <c:v>15.849498662088877</c:v>
                </c:pt>
                <c:pt idx="1411">
                  <c:v>15.679748936032013</c:v>
                </c:pt>
                <c:pt idx="1412">
                  <c:v>15.651804348044294</c:v>
                </c:pt>
                <c:pt idx="1413">
                  <c:v>15.246527272473458</c:v>
                </c:pt>
                <c:pt idx="1414">
                  <c:v>15.360031791496141</c:v>
                </c:pt>
                <c:pt idx="1415">
                  <c:v>15.666872255341104</c:v>
                </c:pt>
                <c:pt idx="1416">
                  <c:v>15.8410963531216</c:v>
                </c:pt>
                <c:pt idx="1417">
                  <c:v>15.764863673972457</c:v>
                </c:pt>
                <c:pt idx="1418">
                  <c:v>15.911917358010527</c:v>
                </c:pt>
                <c:pt idx="1419">
                  <c:v>16.110859576232258</c:v>
                </c:pt>
                <c:pt idx="1420">
                  <c:v>16.562586809675309</c:v>
                </c:pt>
                <c:pt idx="1421">
                  <c:v>16.207691515243738</c:v>
                </c:pt>
                <c:pt idx="1422">
                  <c:v>16.094867070947259</c:v>
                </c:pt>
                <c:pt idx="1423">
                  <c:v>16.078742541565163</c:v>
                </c:pt>
                <c:pt idx="1424">
                  <c:v>16.066549544412169</c:v>
                </c:pt>
                <c:pt idx="1425">
                  <c:v>16.145609726929166</c:v>
                </c:pt>
                <c:pt idx="1426">
                  <c:v>16.071517355214041</c:v>
                </c:pt>
                <c:pt idx="1427">
                  <c:v>15.970008728169176</c:v>
                </c:pt>
                <c:pt idx="1428">
                  <c:v>16.155522300390487</c:v>
                </c:pt>
                <c:pt idx="1429">
                  <c:v>16.377216123833989</c:v>
                </c:pt>
                <c:pt idx="1430">
                  <c:v>16.060412243520858</c:v>
                </c:pt>
                <c:pt idx="1431">
                  <c:v>16.138199514951282</c:v>
                </c:pt>
                <c:pt idx="1432">
                  <c:v>16.023742501076356</c:v>
                </c:pt>
                <c:pt idx="1433">
                  <c:v>16.017537226164592</c:v>
                </c:pt>
                <c:pt idx="1434">
                  <c:v>16.583693002446495</c:v>
                </c:pt>
                <c:pt idx="1435">
                  <c:v>16.583693002446495</c:v>
                </c:pt>
                <c:pt idx="1436">
                  <c:v>16.583693002446495</c:v>
                </c:pt>
                <c:pt idx="1437">
                  <c:v>16.879523153454755</c:v>
                </c:pt>
                <c:pt idx="1438">
                  <c:v>16.967612971019491</c:v>
                </c:pt>
                <c:pt idx="1439">
                  <c:v>17.100603278090034</c:v>
                </c:pt>
                <c:pt idx="1440">
                  <c:v>17.151685681680561</c:v>
                </c:pt>
                <c:pt idx="1441">
                  <c:v>17.151685681680561</c:v>
                </c:pt>
                <c:pt idx="1442">
                  <c:v>17.141824705274558</c:v>
                </c:pt>
                <c:pt idx="1443">
                  <c:v>17.379207615666672</c:v>
                </c:pt>
                <c:pt idx="1444">
                  <c:v>17.362721479355201</c:v>
                </c:pt>
                <c:pt idx="1445">
                  <c:v>17.445891291300825</c:v>
                </c:pt>
                <c:pt idx="1446">
                  <c:v>17.506882804322572</c:v>
                </c:pt>
                <c:pt idx="1447">
                  <c:v>17.023589219458103</c:v>
                </c:pt>
                <c:pt idx="1448">
                  <c:v>17.110651378214612</c:v>
                </c:pt>
                <c:pt idx="1449">
                  <c:v>17.222307019330117</c:v>
                </c:pt>
                <c:pt idx="1450">
                  <c:v>16.949428721868429</c:v>
                </c:pt>
                <c:pt idx="1451">
                  <c:v>16.365370531296492</c:v>
                </c:pt>
                <c:pt idx="1452">
                  <c:v>16.015682185131311</c:v>
                </c:pt>
                <c:pt idx="1453">
                  <c:v>16.522091703148959</c:v>
                </c:pt>
                <c:pt idx="1454">
                  <c:v>16.188904880982108</c:v>
                </c:pt>
                <c:pt idx="1455">
                  <c:v>16.521073555334084</c:v>
                </c:pt>
                <c:pt idx="1456">
                  <c:v>17.03289102482421</c:v>
                </c:pt>
                <c:pt idx="1457">
                  <c:v>17.427256849143362</c:v>
                </c:pt>
                <c:pt idx="1458">
                  <c:v>17.204430847828007</c:v>
                </c:pt>
                <c:pt idx="1459">
                  <c:v>17.516924299480081</c:v>
                </c:pt>
                <c:pt idx="1460">
                  <c:v>17.803713460339736</c:v>
                </c:pt>
                <c:pt idx="1461">
                  <c:v>18.199237286014153</c:v>
                </c:pt>
                <c:pt idx="1462">
                  <c:v>18.651777902009286</c:v>
                </c:pt>
                <c:pt idx="1463">
                  <c:v>18.629781905941371</c:v>
                </c:pt>
                <c:pt idx="1464">
                  <c:v>18.519147548334189</c:v>
                </c:pt>
                <c:pt idx="1465">
                  <c:v>18.230594291245694</c:v>
                </c:pt>
                <c:pt idx="1466">
                  <c:v>17.7517878343495</c:v>
                </c:pt>
                <c:pt idx="1467">
                  <c:v>16.876552441729331</c:v>
                </c:pt>
                <c:pt idx="1468">
                  <c:v>16.936942700727087</c:v>
                </c:pt>
                <c:pt idx="1469">
                  <c:v>16.53901104835785</c:v>
                </c:pt>
                <c:pt idx="1470">
                  <c:v>16.309174780954038</c:v>
                </c:pt>
                <c:pt idx="1471">
                  <c:v>16.286264497661676</c:v>
                </c:pt>
                <c:pt idx="1472">
                  <c:v>16.770908940002812</c:v>
                </c:pt>
                <c:pt idx="1473">
                  <c:v>16.794375396375756</c:v>
                </c:pt>
                <c:pt idx="1474">
                  <c:v>16.922492039171715</c:v>
                </c:pt>
                <c:pt idx="1475">
                  <c:v>17.477956547222192</c:v>
                </c:pt>
                <c:pt idx="1476">
                  <c:v>17.229080326721885</c:v>
                </c:pt>
                <c:pt idx="1477">
                  <c:v>17.455504942369913</c:v>
                </c:pt>
                <c:pt idx="1478">
                  <c:v>17.429164634644536</c:v>
                </c:pt>
                <c:pt idx="1479">
                  <c:v>17.206934997422337</c:v>
                </c:pt>
                <c:pt idx="1480">
                  <c:v>17.468733791123412</c:v>
                </c:pt>
                <c:pt idx="1481">
                  <c:v>17.265699746510194</c:v>
                </c:pt>
                <c:pt idx="1482">
                  <c:v>17.299880664284956</c:v>
                </c:pt>
                <c:pt idx="1483">
                  <c:v>17.68409042915377</c:v>
                </c:pt>
                <c:pt idx="1484">
                  <c:v>16.907065752957038</c:v>
                </c:pt>
                <c:pt idx="1485">
                  <c:v>16.941605000703305</c:v>
                </c:pt>
                <c:pt idx="1486">
                  <c:v>17.050054751137765</c:v>
                </c:pt>
                <c:pt idx="1487">
                  <c:v>17.102083132957148</c:v>
                </c:pt>
                <c:pt idx="1488">
                  <c:v>16.786790532808539</c:v>
                </c:pt>
                <c:pt idx="1489">
                  <c:v>16.957569267921343</c:v>
                </c:pt>
                <c:pt idx="1490">
                  <c:v>16.975575704437688</c:v>
                </c:pt>
                <c:pt idx="1491">
                  <c:v>16.765426305373751</c:v>
                </c:pt>
                <c:pt idx="1492">
                  <c:v>17.060451035490928</c:v>
                </c:pt>
                <c:pt idx="1493">
                  <c:v>17.109876015230981</c:v>
                </c:pt>
                <c:pt idx="1494">
                  <c:v>17.289476893829118</c:v>
                </c:pt>
                <c:pt idx="1495">
                  <c:v>17.799963674357826</c:v>
                </c:pt>
                <c:pt idx="1496">
                  <c:v>17.662433869469737</c:v>
                </c:pt>
                <c:pt idx="1497">
                  <c:v>17.942483628065332</c:v>
                </c:pt>
                <c:pt idx="1498">
                  <c:v>18.019679064549109</c:v>
                </c:pt>
                <c:pt idx="1499">
                  <c:v>18.199807304787811</c:v>
                </c:pt>
                <c:pt idx="1500">
                  <c:v>18.103648417501461</c:v>
                </c:pt>
                <c:pt idx="1501">
                  <c:v>18.103648417501461</c:v>
                </c:pt>
                <c:pt idx="1502">
                  <c:v>18.106479322678325</c:v>
                </c:pt>
                <c:pt idx="1503">
                  <c:v>18.154110421695862</c:v>
                </c:pt>
                <c:pt idx="1504">
                  <c:v>18.613266757905762</c:v>
                </c:pt>
                <c:pt idx="1505">
                  <c:v>18.541614833665278</c:v>
                </c:pt>
                <c:pt idx="1506">
                  <c:v>18.792405608627689</c:v>
                </c:pt>
                <c:pt idx="1507">
                  <c:v>18.555577761810667</c:v>
                </c:pt>
                <c:pt idx="1508">
                  <c:v>18.584494876905012</c:v>
                </c:pt>
                <c:pt idx="1509">
                  <c:v>18.817693061324007</c:v>
                </c:pt>
                <c:pt idx="1510">
                  <c:v>19.034930088280362</c:v>
                </c:pt>
                <c:pt idx="1511">
                  <c:v>19.394818869991212</c:v>
                </c:pt>
                <c:pt idx="1512">
                  <c:v>19.416518849014494</c:v>
                </c:pt>
                <c:pt idx="1513">
                  <c:v>19.241666255925594</c:v>
                </c:pt>
                <c:pt idx="1514">
                  <c:v>18.402504799622704</c:v>
                </c:pt>
                <c:pt idx="1515">
                  <c:v>18.262286218717605</c:v>
                </c:pt>
                <c:pt idx="1516">
                  <c:v>18.320072878342216</c:v>
                </c:pt>
                <c:pt idx="1517">
                  <c:v>18.27557027069966</c:v>
                </c:pt>
                <c:pt idx="1518">
                  <c:v>18.568345820589201</c:v>
                </c:pt>
                <c:pt idx="1519">
                  <c:v>18.111226520397395</c:v>
                </c:pt>
                <c:pt idx="1520">
                  <c:v>17.523135609774585</c:v>
                </c:pt>
                <c:pt idx="1521">
                  <c:v>17.626632845646697</c:v>
                </c:pt>
                <c:pt idx="1522">
                  <c:v>17.494666499384323</c:v>
                </c:pt>
                <c:pt idx="1523">
                  <c:v>17.409623774474426</c:v>
                </c:pt>
                <c:pt idx="1524">
                  <c:v>17.798734863201958</c:v>
                </c:pt>
                <c:pt idx="1525">
                  <c:v>17.976708434061408</c:v>
                </c:pt>
                <c:pt idx="1526">
                  <c:v>18.75252142550363</c:v>
                </c:pt>
                <c:pt idx="1527">
                  <c:v>18.618383453336378</c:v>
                </c:pt>
                <c:pt idx="1528">
                  <c:v>18.954433734047456</c:v>
                </c:pt>
                <c:pt idx="1529">
                  <c:v>18.766404523466775</c:v>
                </c:pt>
                <c:pt idx="1530">
                  <c:v>18.389844690672163</c:v>
                </c:pt>
                <c:pt idx="1531">
                  <c:v>18.927786336494194</c:v>
                </c:pt>
                <c:pt idx="1532">
                  <c:v>18.973652023545839</c:v>
                </c:pt>
                <c:pt idx="1533">
                  <c:v>18.802279279024106</c:v>
                </c:pt>
                <c:pt idx="1534">
                  <c:v>18.796190549613954</c:v>
                </c:pt>
                <c:pt idx="1535">
                  <c:v>19.029953893183489</c:v>
                </c:pt>
                <c:pt idx="1536">
                  <c:v>18.915909366728783</c:v>
                </c:pt>
                <c:pt idx="1537">
                  <c:v>18.986518432740553</c:v>
                </c:pt>
                <c:pt idx="1538">
                  <c:v>19.393735750016617</c:v>
                </c:pt>
                <c:pt idx="1539">
                  <c:v>19.209253523952412</c:v>
                </c:pt>
                <c:pt idx="1540">
                  <c:v>18.9875266353786</c:v>
                </c:pt>
                <c:pt idx="1541">
                  <c:v>19.110931146001377</c:v>
                </c:pt>
                <c:pt idx="1542">
                  <c:v>19.247861952062522</c:v>
                </c:pt>
                <c:pt idx="1543">
                  <c:v>18.582347605943852</c:v>
                </c:pt>
                <c:pt idx="1544">
                  <c:v>18.235360241588751</c:v>
                </c:pt>
                <c:pt idx="1545">
                  <c:v>18.565857895626351</c:v>
                </c:pt>
                <c:pt idx="1546">
                  <c:v>18.494835509035539</c:v>
                </c:pt>
                <c:pt idx="1547">
                  <c:v>18.440457918127208</c:v>
                </c:pt>
                <c:pt idx="1548">
                  <c:v>18.729200184618605</c:v>
                </c:pt>
                <c:pt idx="1549">
                  <c:v>18.835729498830943</c:v>
                </c:pt>
                <c:pt idx="1550">
                  <c:v>18.952632348412692</c:v>
                </c:pt>
                <c:pt idx="1551">
                  <c:v>19.444265654100093</c:v>
                </c:pt>
                <c:pt idx="1552">
                  <c:v>19.772129511021461</c:v>
                </c:pt>
                <c:pt idx="1553">
                  <c:v>19.977813091964947</c:v>
                </c:pt>
                <c:pt idx="1554">
                  <c:v>20.259657427424344</c:v>
                </c:pt>
                <c:pt idx="1555">
                  <c:v>20.086806027977957</c:v>
                </c:pt>
                <c:pt idx="1556">
                  <c:v>19.86062102854936</c:v>
                </c:pt>
                <c:pt idx="1557">
                  <c:v>19.818627265259835</c:v>
                </c:pt>
                <c:pt idx="1558">
                  <c:v>19.512254191719592</c:v>
                </c:pt>
                <c:pt idx="1559">
                  <c:v>19.472425396904612</c:v>
                </c:pt>
                <c:pt idx="1560">
                  <c:v>19.037947843594338</c:v>
                </c:pt>
                <c:pt idx="1561">
                  <c:v>19.076863176039154</c:v>
                </c:pt>
                <c:pt idx="1562">
                  <c:v>19.335606395162785</c:v>
                </c:pt>
                <c:pt idx="1563">
                  <c:v>19.02330617510006</c:v>
                </c:pt>
                <c:pt idx="1564">
                  <c:v>18.788966216981663</c:v>
                </c:pt>
                <c:pt idx="1565">
                  <c:v>16.062760053877952</c:v>
                </c:pt>
                <c:pt idx="1566">
                  <c:v>20.300818627719764</c:v>
                </c:pt>
                <c:pt idx="1567">
                  <c:v>19.704168151125117</c:v>
                </c:pt>
                <c:pt idx="1568">
                  <c:v>20.287424461122725</c:v>
                </c:pt>
                <c:pt idx="1569">
                  <c:v>21.198886614552265</c:v>
                </c:pt>
                <c:pt idx="1570">
                  <c:v>21.669385702787508</c:v>
                </c:pt>
                <c:pt idx="1571">
                  <c:v>21.957385843195397</c:v>
                </c:pt>
                <c:pt idx="1572">
                  <c:v>22.023886389378873</c:v>
                </c:pt>
                <c:pt idx="1573">
                  <c:v>21.712144441768118</c:v>
                </c:pt>
                <c:pt idx="1574">
                  <c:v>21.263031185775645</c:v>
                </c:pt>
                <c:pt idx="1575">
                  <c:v>21.598032282066299</c:v>
                </c:pt>
                <c:pt idx="1576">
                  <c:v>21.660803160269865</c:v>
                </c:pt>
                <c:pt idx="1577">
                  <c:v>21.879410650295796</c:v>
                </c:pt>
                <c:pt idx="1578">
                  <c:v>21.282610719883991</c:v>
                </c:pt>
                <c:pt idx="1579">
                  <c:v>21.48538820655051</c:v>
                </c:pt>
                <c:pt idx="1580">
                  <c:v>21.168661268688396</c:v>
                </c:pt>
                <c:pt idx="1581">
                  <c:v>21.108193198518762</c:v>
                </c:pt>
                <c:pt idx="1582">
                  <c:v>21.441448609342814</c:v>
                </c:pt>
                <c:pt idx="1583">
                  <c:v>21.556931862626897</c:v>
                </c:pt>
                <c:pt idx="1584">
                  <c:v>21.289000049837256</c:v>
                </c:pt>
                <c:pt idx="1585">
                  <c:v>21.051911390484037</c:v>
                </c:pt>
                <c:pt idx="1586">
                  <c:v>21.340267011694294</c:v>
                </c:pt>
                <c:pt idx="1587">
                  <c:v>21.367426105245244</c:v>
                </c:pt>
                <c:pt idx="1588">
                  <c:v>21.308451892334375</c:v>
                </c:pt>
                <c:pt idx="1589">
                  <c:v>21.328957161200179</c:v>
                </c:pt>
                <c:pt idx="1590">
                  <c:v>21.577115538823335</c:v>
                </c:pt>
                <c:pt idx="1591">
                  <c:v>21.48958769169343</c:v>
                </c:pt>
                <c:pt idx="1592">
                  <c:v>21.683108519083618</c:v>
                </c:pt>
                <c:pt idx="1593">
                  <c:v>21.724334144046509</c:v>
                </c:pt>
                <c:pt idx="1594">
                  <c:v>21.4839477235723</c:v>
                </c:pt>
                <c:pt idx="1595">
                  <c:v>21.471567660446794</c:v>
                </c:pt>
                <c:pt idx="1596">
                  <c:v>21.461013504249678</c:v>
                </c:pt>
                <c:pt idx="1597">
                  <c:v>21.347183902468515</c:v>
                </c:pt>
                <c:pt idx="1598">
                  <c:v>21.421656237855359</c:v>
                </c:pt>
                <c:pt idx="1599">
                  <c:v>21.300384278256189</c:v>
                </c:pt>
                <c:pt idx="1600">
                  <c:v>21.589499108399309</c:v>
                </c:pt>
                <c:pt idx="1601">
                  <c:v>21.628943479589196</c:v>
                </c:pt>
                <c:pt idx="1602">
                  <c:v>21.420194518446294</c:v>
                </c:pt>
                <c:pt idx="1603">
                  <c:v>21.592252351246174</c:v>
                </c:pt>
                <c:pt idx="1604">
                  <c:v>21.342924081889066</c:v>
                </c:pt>
                <c:pt idx="1605">
                  <c:v>21.493180458807757</c:v>
                </c:pt>
                <c:pt idx="1606">
                  <c:v>21.397146781990642</c:v>
                </c:pt>
                <c:pt idx="1607">
                  <c:v>21.707338332434063</c:v>
                </c:pt>
                <c:pt idx="1608">
                  <c:v>21.5083150832684</c:v>
                </c:pt>
                <c:pt idx="1609">
                  <c:v>21.116133651424917</c:v>
                </c:pt>
                <c:pt idx="1610">
                  <c:v>21.062857907812713</c:v>
                </c:pt>
                <c:pt idx="1611">
                  <c:v>21.142301011360047</c:v>
                </c:pt>
                <c:pt idx="1612">
                  <c:v>21.085009143796071</c:v>
                </c:pt>
                <c:pt idx="1613">
                  <c:v>20.896032215861112</c:v>
                </c:pt>
                <c:pt idx="1614">
                  <c:v>20.554454183853863</c:v>
                </c:pt>
                <c:pt idx="1615">
                  <c:v>20.284708368672881</c:v>
                </c:pt>
                <c:pt idx="1616">
                  <c:v>20.688256968783833</c:v>
                </c:pt>
                <c:pt idx="1617">
                  <c:v>20.950969121078856</c:v>
                </c:pt>
                <c:pt idx="1618">
                  <c:v>20.94690680263227</c:v>
                </c:pt>
                <c:pt idx="1619">
                  <c:v>20.900037282025465</c:v>
                </c:pt>
                <c:pt idx="1620">
                  <c:v>20.962634152331816</c:v>
                </c:pt>
                <c:pt idx="1621">
                  <c:v>20.50368621258167</c:v>
                </c:pt>
                <c:pt idx="1622">
                  <c:v>20.50590315959181</c:v>
                </c:pt>
                <c:pt idx="1623">
                  <c:v>20.554275633068983</c:v>
                </c:pt>
                <c:pt idx="1624">
                  <c:v>20.693866603146603</c:v>
                </c:pt>
                <c:pt idx="1625">
                  <c:v>20.710345209378914</c:v>
                </c:pt>
                <c:pt idx="1626">
                  <c:v>21.155523991051098</c:v>
                </c:pt>
                <c:pt idx="1627">
                  <c:v>21.343463908154035</c:v>
                </c:pt>
                <c:pt idx="1628">
                  <c:v>21.489377459251216</c:v>
                </c:pt>
                <c:pt idx="1629">
                  <c:v>21.248505866172309</c:v>
                </c:pt>
                <c:pt idx="1630">
                  <c:v>21.21584754840211</c:v>
                </c:pt>
                <c:pt idx="1631">
                  <c:v>21.236014979462027</c:v>
                </c:pt>
                <c:pt idx="1632">
                  <c:v>21.48564822767915</c:v>
                </c:pt>
                <c:pt idx="1633">
                  <c:v>21.474605173916586</c:v>
                </c:pt>
                <c:pt idx="1634">
                  <c:v>21.510238909706828</c:v>
                </c:pt>
                <c:pt idx="1635">
                  <c:v>21.681173317760795</c:v>
                </c:pt>
                <c:pt idx="1636">
                  <c:v>21.588470427226468</c:v>
                </c:pt>
                <c:pt idx="1637">
                  <c:v>21.572549959778456</c:v>
                </c:pt>
                <c:pt idx="1638">
                  <c:v>21.357619309078331</c:v>
                </c:pt>
                <c:pt idx="1639">
                  <c:v>20.580509865663998</c:v>
                </c:pt>
                <c:pt idx="1640">
                  <c:v>20.185169352529641</c:v>
                </c:pt>
                <c:pt idx="1641">
                  <c:v>19.701123441280174</c:v>
                </c:pt>
                <c:pt idx="1642">
                  <c:v>20.030217291771066</c:v>
                </c:pt>
                <c:pt idx="1643">
                  <c:v>20.001813105966477</c:v>
                </c:pt>
                <c:pt idx="1644">
                  <c:v>19.698361323485415</c:v>
                </c:pt>
                <c:pt idx="1645">
                  <c:v>20.213042799973323</c:v>
                </c:pt>
                <c:pt idx="1646">
                  <c:v>20.215104133451177</c:v>
                </c:pt>
                <c:pt idx="1647">
                  <c:v>20.05493431342984</c:v>
                </c:pt>
                <c:pt idx="1648">
                  <c:v>20.436250979961784</c:v>
                </c:pt>
                <c:pt idx="1649">
                  <c:v>20.524873605171024</c:v>
                </c:pt>
                <c:pt idx="1650">
                  <c:v>20.248152325350588</c:v>
                </c:pt>
                <c:pt idx="1651">
                  <c:v>20.131575183237885</c:v>
                </c:pt>
                <c:pt idx="1652">
                  <c:v>19.647289882103308</c:v>
                </c:pt>
                <c:pt idx="1653">
                  <c:v>19.385921051480949</c:v>
                </c:pt>
                <c:pt idx="1654">
                  <c:v>19.296990409873899</c:v>
                </c:pt>
                <c:pt idx="1655">
                  <c:v>19.38804424471158</c:v>
                </c:pt>
                <c:pt idx="1656">
                  <c:v>19.278335456534847</c:v>
                </c:pt>
                <c:pt idx="1657">
                  <c:v>19.283710355812218</c:v>
                </c:pt>
                <c:pt idx="1658">
                  <c:v>20.903877713782094</c:v>
                </c:pt>
                <c:pt idx="1659">
                  <c:v>19.25126367561802</c:v>
                </c:pt>
                <c:pt idx="1660">
                  <c:v>19.150685481112617</c:v>
                </c:pt>
                <c:pt idx="1661">
                  <c:v>18.912830798473294</c:v>
                </c:pt>
                <c:pt idx="1662">
                  <c:v>18.550247134943731</c:v>
                </c:pt>
                <c:pt idx="1663">
                  <c:v>18.469779078162418</c:v>
                </c:pt>
                <c:pt idx="1664">
                  <c:v>18.306718330398667</c:v>
                </c:pt>
                <c:pt idx="1665">
                  <c:v>16.858232298342756</c:v>
                </c:pt>
                <c:pt idx="1666">
                  <c:v>16.693438652902813</c:v>
                </c:pt>
                <c:pt idx="1667">
                  <c:v>15.732208661808443</c:v>
                </c:pt>
                <c:pt idx="1668">
                  <c:v>16.199459266427453</c:v>
                </c:pt>
                <c:pt idx="1669">
                  <c:v>16.718573288533321</c:v>
                </c:pt>
                <c:pt idx="1670">
                  <c:v>16.965880232652921</c:v>
                </c:pt>
                <c:pt idx="1671">
                  <c:v>17.119215465468983</c:v>
                </c:pt>
                <c:pt idx="1672">
                  <c:v>17.200241606343837</c:v>
                </c:pt>
                <c:pt idx="1673">
                  <c:v>16.984180236531586</c:v>
                </c:pt>
                <c:pt idx="1674">
                  <c:v>17.132913605452501</c:v>
                </c:pt>
                <c:pt idx="1675">
                  <c:v>17.439369256709739</c:v>
                </c:pt>
                <c:pt idx="1676">
                  <c:v>17.67552674644358</c:v>
                </c:pt>
                <c:pt idx="1677">
                  <c:v>17.947859017344825</c:v>
                </c:pt>
                <c:pt idx="1678">
                  <c:v>17.648347073227825</c:v>
                </c:pt>
                <c:pt idx="1679">
                  <c:v>17.842446047518735</c:v>
                </c:pt>
                <c:pt idx="1680">
                  <c:v>17.200314783400387</c:v>
                </c:pt>
                <c:pt idx="1681">
                  <c:v>17.222326836859281</c:v>
                </c:pt>
                <c:pt idx="1682">
                  <c:v>16.528687794590155</c:v>
                </c:pt>
                <c:pt idx="1683">
                  <c:v>16.327041632905377</c:v>
                </c:pt>
                <c:pt idx="1684">
                  <c:v>15.858905914193429</c:v>
                </c:pt>
                <c:pt idx="1685">
                  <c:v>15.288360217809924</c:v>
                </c:pt>
                <c:pt idx="1686">
                  <c:v>16.1393570145448</c:v>
                </c:pt>
                <c:pt idx="1687">
                  <c:v>16.238477266845479</c:v>
                </c:pt>
                <c:pt idx="1688">
                  <c:v>16.29288388702426</c:v>
                </c:pt>
                <c:pt idx="1689">
                  <c:v>16.501783474766341</c:v>
                </c:pt>
                <c:pt idx="1690">
                  <c:v>15.999141524393565</c:v>
                </c:pt>
                <c:pt idx="1691">
                  <c:v>16.241990697204756</c:v>
                </c:pt>
                <c:pt idx="1692">
                  <c:v>16.876503729348741</c:v>
                </c:pt>
                <c:pt idx="1693">
                  <c:v>16.923935772168733</c:v>
                </c:pt>
                <c:pt idx="1694">
                  <c:v>16.968733693605145</c:v>
                </c:pt>
                <c:pt idx="1695">
                  <c:v>16.798915530573197</c:v>
                </c:pt>
                <c:pt idx="1696">
                  <c:v>17.238637322009083</c:v>
                </c:pt>
                <c:pt idx="1697">
                  <c:v>17.238637322009083</c:v>
                </c:pt>
                <c:pt idx="1698">
                  <c:v>17.559616355635598</c:v>
                </c:pt>
                <c:pt idx="1699">
                  <c:v>17.394041040507489</c:v>
                </c:pt>
                <c:pt idx="1700">
                  <c:v>17.904649035917203</c:v>
                </c:pt>
                <c:pt idx="1701">
                  <c:v>17.435907540417929</c:v>
                </c:pt>
                <c:pt idx="1702">
                  <c:v>17.958128401941451</c:v>
                </c:pt>
                <c:pt idx="1703">
                  <c:v>17.380724207526356</c:v>
                </c:pt>
                <c:pt idx="1704">
                  <c:v>17.216436527352869</c:v>
                </c:pt>
                <c:pt idx="1705">
                  <c:v>17.381134544914232</c:v>
                </c:pt>
                <c:pt idx="1706">
                  <c:v>17.148087924205925</c:v>
                </c:pt>
                <c:pt idx="1707">
                  <c:v>17.067138306534133</c:v>
                </c:pt>
                <c:pt idx="1708">
                  <c:v>16.777057498150725</c:v>
                </c:pt>
                <c:pt idx="1709">
                  <c:v>16.926387236313758</c:v>
                </c:pt>
                <c:pt idx="1710">
                  <c:v>17.048517109155938</c:v>
                </c:pt>
                <c:pt idx="1711">
                  <c:v>16.98340521802109</c:v>
                </c:pt>
                <c:pt idx="1712">
                  <c:v>17.536325142829185</c:v>
                </c:pt>
                <c:pt idx="1713">
                  <c:v>17.583428983960147</c:v>
                </c:pt>
                <c:pt idx="1714">
                  <c:v>17.645072051180421</c:v>
                </c:pt>
                <c:pt idx="1715">
                  <c:v>17.701029977352306</c:v>
                </c:pt>
                <c:pt idx="1716">
                  <c:v>17.680689994372017</c:v>
                </c:pt>
                <c:pt idx="1717">
                  <c:v>17.697051511428668</c:v>
                </c:pt>
                <c:pt idx="1718">
                  <c:v>17.323633825754371</c:v>
                </c:pt>
                <c:pt idx="1719">
                  <c:v>16.639333164699167</c:v>
                </c:pt>
                <c:pt idx="1720">
                  <c:v>17.031555962805129</c:v>
                </c:pt>
                <c:pt idx="1721">
                  <c:v>17.317625160857517</c:v>
                </c:pt>
                <c:pt idx="1722">
                  <c:v>17.08711261740541</c:v>
                </c:pt>
                <c:pt idx="1723">
                  <c:v>17.39041485567472</c:v>
                </c:pt>
                <c:pt idx="1724">
                  <c:v>16.774650981860844</c:v>
                </c:pt>
                <c:pt idx="1725">
                  <c:v>17.468357149079822</c:v>
                </c:pt>
                <c:pt idx="1726">
                  <c:v>17.363500009070378</c:v>
                </c:pt>
                <c:pt idx="1727">
                  <c:v>17.490880720433807</c:v>
                </c:pt>
                <c:pt idx="1728">
                  <c:v>17.727293815369023</c:v>
                </c:pt>
                <c:pt idx="1729">
                  <c:v>18.26361767989755</c:v>
                </c:pt>
                <c:pt idx="1730">
                  <c:v>18.340566618485582</c:v>
                </c:pt>
                <c:pt idx="1731">
                  <c:v>18.484128102324803</c:v>
                </c:pt>
                <c:pt idx="1732">
                  <c:v>18.12169327749973</c:v>
                </c:pt>
                <c:pt idx="1733">
                  <c:v>17.818076799731074</c:v>
                </c:pt>
                <c:pt idx="1734">
                  <c:v>17.584123250628693</c:v>
                </c:pt>
                <c:pt idx="1735">
                  <c:v>18.326686112004182</c:v>
                </c:pt>
                <c:pt idx="1736">
                  <c:v>18.281053840985578</c:v>
                </c:pt>
                <c:pt idx="1737">
                  <c:v>18.391160377146861</c:v>
                </c:pt>
                <c:pt idx="1738">
                  <c:v>18.278222574084197</c:v>
                </c:pt>
                <c:pt idx="1739">
                  <c:v>18.411362686685862</c:v>
                </c:pt>
                <c:pt idx="1740">
                  <c:v>18.512210289243967</c:v>
                </c:pt>
                <c:pt idx="1741">
                  <c:v>18.643956235411906</c:v>
                </c:pt>
                <c:pt idx="1742">
                  <c:v>18.738028169843005</c:v>
                </c:pt>
                <c:pt idx="1743">
                  <c:v>18.473329412597764</c:v>
                </c:pt>
                <c:pt idx="1744">
                  <c:v>17.833751523775078</c:v>
                </c:pt>
                <c:pt idx="1745">
                  <c:v>18.244871516552394</c:v>
                </c:pt>
                <c:pt idx="1746">
                  <c:v>17.801549884424105</c:v>
                </c:pt>
                <c:pt idx="1747">
                  <c:v>18.050072024646369</c:v>
                </c:pt>
                <c:pt idx="1748">
                  <c:v>17.889394981151554</c:v>
                </c:pt>
                <c:pt idx="1749">
                  <c:v>17.514231156670007</c:v>
                </c:pt>
                <c:pt idx="1750">
                  <c:v>17.450473904424229</c:v>
                </c:pt>
                <c:pt idx="1751">
                  <c:v>17.354882198207918</c:v>
                </c:pt>
                <c:pt idx="1752">
                  <c:v>17.470639420254571</c:v>
                </c:pt>
                <c:pt idx="1753">
                  <c:v>17.661624769610086</c:v>
                </c:pt>
                <c:pt idx="1754">
                  <c:v>17.579387086044534</c:v>
                </c:pt>
                <c:pt idx="1755">
                  <c:v>17.599497887164318</c:v>
                </c:pt>
                <c:pt idx="1756">
                  <c:v>17.976622858688529</c:v>
                </c:pt>
                <c:pt idx="1757">
                  <c:v>18.055622238300572</c:v>
                </c:pt>
                <c:pt idx="1758">
                  <c:v>17.544090907014521</c:v>
                </c:pt>
                <c:pt idx="1759">
                  <c:v>17.654321961798587</c:v>
                </c:pt>
                <c:pt idx="1760">
                  <c:v>17.604603032587903</c:v>
                </c:pt>
                <c:pt idx="1761">
                  <c:v>18.035982073698136</c:v>
                </c:pt>
                <c:pt idx="1762">
                  <c:v>18.216920022730221</c:v>
                </c:pt>
                <c:pt idx="1763">
                  <c:v>18.086336973278009</c:v>
                </c:pt>
                <c:pt idx="1764">
                  <c:v>18.140281558518296</c:v>
                </c:pt>
                <c:pt idx="1765">
                  <c:v>18.583492035349195</c:v>
                </c:pt>
                <c:pt idx="1766">
                  <c:v>18.742931209588903</c:v>
                </c:pt>
                <c:pt idx="1767">
                  <c:v>19.149729777930219</c:v>
                </c:pt>
                <c:pt idx="1768">
                  <c:v>19.026182361717446</c:v>
                </c:pt>
                <c:pt idx="1769">
                  <c:v>19.186488409942712</c:v>
                </c:pt>
                <c:pt idx="1770">
                  <c:v>19.115816852260451</c:v>
                </c:pt>
                <c:pt idx="1771">
                  <c:v>19.036817271068116</c:v>
                </c:pt>
                <c:pt idx="1772">
                  <c:v>19.448491302086921</c:v>
                </c:pt>
                <c:pt idx="1773">
                  <c:v>19.531988991678418</c:v>
                </c:pt>
                <c:pt idx="1774">
                  <c:v>20.073752015075314</c:v>
                </c:pt>
                <c:pt idx="1775">
                  <c:v>20.353007447636855</c:v>
                </c:pt>
                <c:pt idx="1776">
                  <c:v>20.353007447636855</c:v>
                </c:pt>
                <c:pt idx="1777">
                  <c:v>20.354925106689677</c:v>
                </c:pt>
                <c:pt idx="1778">
                  <c:v>20.003539509587114</c:v>
                </c:pt>
                <c:pt idx="1779">
                  <c:v>19.684026509077398</c:v>
                </c:pt>
                <c:pt idx="1780">
                  <c:v>19.358935046302292</c:v>
                </c:pt>
                <c:pt idx="1781">
                  <c:v>18.899466242988382</c:v>
                </c:pt>
                <c:pt idx="1782">
                  <c:v>17.968595363513032</c:v>
                </c:pt>
                <c:pt idx="1783">
                  <c:v>17.931006459295304</c:v>
                </c:pt>
                <c:pt idx="1784">
                  <c:v>18.147311815635021</c:v>
                </c:pt>
                <c:pt idx="1785">
                  <c:v>18.488475975930584</c:v>
                </c:pt>
                <c:pt idx="1786">
                  <c:v>18.290928878703937</c:v>
                </c:pt>
                <c:pt idx="1787">
                  <c:v>18.290844555382336</c:v>
                </c:pt>
                <c:pt idx="1788">
                  <c:v>18.981461832808122</c:v>
                </c:pt>
                <c:pt idx="1789">
                  <c:v>18.790299196014047</c:v>
                </c:pt>
                <c:pt idx="1790">
                  <c:v>19.12367050945096</c:v>
                </c:pt>
                <c:pt idx="1791">
                  <c:v>18.967273843947225</c:v>
                </c:pt>
                <c:pt idx="1792">
                  <c:v>19.423279819186575</c:v>
                </c:pt>
                <c:pt idx="1793">
                  <c:v>19.790077194260533</c:v>
                </c:pt>
                <c:pt idx="1794">
                  <c:v>19.804777424143282</c:v>
                </c:pt>
                <c:pt idx="1795">
                  <c:v>19.48939992602152</c:v>
                </c:pt>
                <c:pt idx="1796">
                  <c:v>20.308469089205005</c:v>
                </c:pt>
                <c:pt idx="1797">
                  <c:v>20.318911908509875</c:v>
                </c:pt>
                <c:pt idx="1798">
                  <c:v>20.78310201990098</c:v>
                </c:pt>
                <c:pt idx="1799">
                  <c:v>20.976128844554609</c:v>
                </c:pt>
                <c:pt idx="1800">
                  <c:v>20.76074588048786</c:v>
                </c:pt>
                <c:pt idx="1801">
                  <c:v>21.269241430745865</c:v>
                </c:pt>
                <c:pt idx="1802">
                  <c:v>21.682840183318916</c:v>
                </c:pt>
                <c:pt idx="1803">
                  <c:v>21.638772106390064</c:v>
                </c:pt>
                <c:pt idx="1804">
                  <c:v>21.856214892417228</c:v>
                </c:pt>
                <c:pt idx="1805">
                  <c:v>21.902972032402573</c:v>
                </c:pt>
                <c:pt idx="1806">
                  <c:v>22.253206281663665</c:v>
                </c:pt>
                <c:pt idx="1807">
                  <c:v>22.24252124075565</c:v>
                </c:pt>
                <c:pt idx="1808">
                  <c:v>22.612354895587089</c:v>
                </c:pt>
                <c:pt idx="1809">
                  <c:v>22.931615722628436</c:v>
                </c:pt>
                <c:pt idx="1810">
                  <c:v>23.237932157688789</c:v>
                </c:pt>
                <c:pt idx="1811">
                  <c:v>22.980441735235104</c:v>
                </c:pt>
                <c:pt idx="1812">
                  <c:v>23.597950363160038</c:v>
                </c:pt>
                <c:pt idx="1813">
                  <c:v>23.381379260279516</c:v>
                </c:pt>
                <c:pt idx="1814">
                  <c:v>23.327450085560031</c:v>
                </c:pt>
                <c:pt idx="1815">
                  <c:v>22.804978897333058</c:v>
                </c:pt>
                <c:pt idx="1816">
                  <c:v>22.576666384684756</c:v>
                </c:pt>
                <c:pt idx="1817">
                  <c:v>22.419126235925148</c:v>
                </c:pt>
                <c:pt idx="1818">
                  <c:v>22.656581487911893</c:v>
                </c:pt>
                <c:pt idx="1819">
                  <c:v>23.125608951148479</c:v>
                </c:pt>
                <c:pt idx="1820">
                  <c:v>22.705091015533412</c:v>
                </c:pt>
                <c:pt idx="1821">
                  <c:v>23.001638644176126</c:v>
                </c:pt>
                <c:pt idx="1822">
                  <c:v>22.905373608520875</c:v>
                </c:pt>
                <c:pt idx="1823">
                  <c:v>22.80478883327919</c:v>
                </c:pt>
                <c:pt idx="1824">
                  <c:v>22.761551545378467</c:v>
                </c:pt>
                <c:pt idx="1825">
                  <c:v>22.640572279805667</c:v>
                </c:pt>
                <c:pt idx="1826">
                  <c:v>23.372758845815042</c:v>
                </c:pt>
                <c:pt idx="1827">
                  <c:v>22.296411665938166</c:v>
                </c:pt>
                <c:pt idx="1828">
                  <c:v>21.40925223260686</c:v>
                </c:pt>
                <c:pt idx="1829">
                  <c:v>20.956178264369356</c:v>
                </c:pt>
                <c:pt idx="1830">
                  <c:v>20.653834092395869</c:v>
                </c:pt>
                <c:pt idx="1831">
                  <c:v>21.150114638460394</c:v>
                </c:pt>
                <c:pt idx="1832">
                  <c:v>20.522703829545065</c:v>
                </c:pt>
                <c:pt idx="1833">
                  <c:v>20.411986792627289</c:v>
                </c:pt>
                <c:pt idx="1834">
                  <c:v>20.48342467603041</c:v>
                </c:pt>
                <c:pt idx="1835">
                  <c:v>19.865620831527679</c:v>
                </c:pt>
                <c:pt idx="1836">
                  <c:v>19.907432240832748</c:v>
                </c:pt>
                <c:pt idx="1837">
                  <c:v>20.028570106487336</c:v>
                </c:pt>
                <c:pt idx="1838">
                  <c:v>19.885477969224269</c:v>
                </c:pt>
                <c:pt idx="1839">
                  <c:v>20.455987578545006</c:v>
                </c:pt>
                <c:pt idx="1840">
                  <c:v>20.528858669928212</c:v>
                </c:pt>
                <c:pt idx="1841">
                  <c:v>20.936241960087443</c:v>
                </c:pt>
                <c:pt idx="1842">
                  <c:v>21.36307583877965</c:v>
                </c:pt>
                <c:pt idx="1843">
                  <c:v>21.502358515592363</c:v>
                </c:pt>
                <c:pt idx="1844">
                  <c:v>21.58679407362439</c:v>
                </c:pt>
                <c:pt idx="1845">
                  <c:v>21.425866665134805</c:v>
                </c:pt>
                <c:pt idx="1846">
                  <c:v>21.542919962479743</c:v>
                </c:pt>
                <c:pt idx="1847">
                  <c:v>20.935997842311423</c:v>
                </c:pt>
                <c:pt idx="1848">
                  <c:v>20.536378662305907</c:v>
                </c:pt>
                <c:pt idx="1849">
                  <c:v>21.100679942061277</c:v>
                </c:pt>
                <c:pt idx="1850">
                  <c:v>21.130907781510672</c:v>
                </c:pt>
                <c:pt idx="1851">
                  <c:v>20.595505618559145</c:v>
                </c:pt>
                <c:pt idx="1852">
                  <c:v>20.880516721322692</c:v>
                </c:pt>
                <c:pt idx="1853">
                  <c:v>20.855337237537128</c:v>
                </c:pt>
                <c:pt idx="1854">
                  <c:v>20.9305036504405</c:v>
                </c:pt>
                <c:pt idx="1855">
                  <c:v>20.689946365008609</c:v>
                </c:pt>
                <c:pt idx="1856">
                  <c:v>20.611292273700201</c:v>
                </c:pt>
                <c:pt idx="1857">
                  <c:v>20.428545000012065</c:v>
                </c:pt>
                <c:pt idx="1858">
                  <c:v>20.404916528573125</c:v>
                </c:pt>
                <c:pt idx="1859">
                  <c:v>20.83185487017218</c:v>
                </c:pt>
                <c:pt idx="1860">
                  <c:v>20.928330142293333</c:v>
                </c:pt>
                <c:pt idx="1861">
                  <c:v>20.673585500745844</c:v>
                </c:pt>
                <c:pt idx="1862">
                  <c:v>20.861860042710617</c:v>
                </c:pt>
                <c:pt idx="1863">
                  <c:v>20.417814597081332</c:v>
                </c:pt>
                <c:pt idx="1864">
                  <c:v>20.71088622986781</c:v>
                </c:pt>
                <c:pt idx="1865">
                  <c:v>21.19527231156988</c:v>
                </c:pt>
                <c:pt idx="1866">
                  <c:v>20.610281047106554</c:v>
                </c:pt>
                <c:pt idx="1867">
                  <c:v>20.824890452996243</c:v>
                </c:pt>
                <c:pt idx="1868">
                  <c:v>20.843793522229618</c:v>
                </c:pt>
                <c:pt idx="1869">
                  <c:v>20.972772102738702</c:v>
                </c:pt>
                <c:pt idx="1870">
                  <c:v>20.741513786680656</c:v>
                </c:pt>
                <c:pt idx="1871">
                  <c:v>20.583527787299857</c:v>
                </c:pt>
                <c:pt idx="1872">
                  <c:v>20.58037569296522</c:v>
                </c:pt>
                <c:pt idx="1873">
                  <c:v>20.571499194845444</c:v>
                </c:pt>
                <c:pt idx="1874">
                  <c:v>20.850554020479933</c:v>
                </c:pt>
                <c:pt idx="1875">
                  <c:v>21.072316688116388</c:v>
                </c:pt>
                <c:pt idx="1876">
                  <c:v>20.818344702519681</c:v>
                </c:pt>
                <c:pt idx="1877">
                  <c:v>20.592327932257632</c:v>
                </c:pt>
                <c:pt idx="1878">
                  <c:v>21.1257909720604</c:v>
                </c:pt>
                <c:pt idx="1879">
                  <c:v>21.006199769540132</c:v>
                </c:pt>
                <c:pt idx="1880">
                  <c:v>21.277646715546439</c:v>
                </c:pt>
                <c:pt idx="1881">
                  <c:v>21.150830137389534</c:v>
                </c:pt>
                <c:pt idx="1882">
                  <c:v>21.042002195616192</c:v>
                </c:pt>
                <c:pt idx="1883">
                  <c:v>20.498027899826866</c:v>
                </c:pt>
                <c:pt idx="1884">
                  <c:v>20.110201532311834</c:v>
                </c:pt>
                <c:pt idx="1885">
                  <c:v>19.861701634523484</c:v>
                </c:pt>
                <c:pt idx="1886">
                  <c:v>19.771557035948319</c:v>
                </c:pt>
                <c:pt idx="1887">
                  <c:v>19.943564438353633</c:v>
                </c:pt>
                <c:pt idx="1888">
                  <c:v>20.177473876007298</c:v>
                </c:pt>
                <c:pt idx="1889">
                  <c:v>20.246383586098489</c:v>
                </c:pt>
                <c:pt idx="1890">
                  <c:v>19.341054032425149</c:v>
                </c:pt>
                <c:pt idx="1891">
                  <c:v>19.369278051033746</c:v>
                </c:pt>
                <c:pt idx="1892">
                  <c:v>19.887334095113005</c:v>
                </c:pt>
                <c:pt idx="1893">
                  <c:v>20.020985576807703</c:v>
                </c:pt>
                <c:pt idx="1894">
                  <c:v>19.501866265812765</c:v>
                </c:pt>
                <c:pt idx="1895">
                  <c:v>19.483438338202546</c:v>
                </c:pt>
                <c:pt idx="1896">
                  <c:v>19.070901679509063</c:v>
                </c:pt>
                <c:pt idx="1897">
                  <c:v>19.219814399834718</c:v>
                </c:pt>
                <c:pt idx="1898">
                  <c:v>19.284961452087032</c:v>
                </c:pt>
                <c:pt idx="1899">
                  <c:v>18.991690285283795</c:v>
                </c:pt>
                <c:pt idx="1900">
                  <c:v>19.056617655435076</c:v>
                </c:pt>
                <c:pt idx="1901">
                  <c:v>18.826862483584023</c:v>
                </c:pt>
                <c:pt idx="1902">
                  <c:v>19.08232222999618</c:v>
                </c:pt>
                <c:pt idx="1903">
                  <c:v>19.343059282517345</c:v>
                </c:pt>
                <c:pt idx="1904">
                  <c:v>19.60364035038981</c:v>
                </c:pt>
                <c:pt idx="1905">
                  <c:v>19.652379718245612</c:v>
                </c:pt>
                <c:pt idx="1906">
                  <c:v>19.93611823184574</c:v>
                </c:pt>
                <c:pt idx="1907">
                  <c:v>19.780418473188831</c:v>
                </c:pt>
                <c:pt idx="1908">
                  <c:v>19.65494576743896</c:v>
                </c:pt>
                <c:pt idx="1909">
                  <c:v>19.343458334229126</c:v>
                </c:pt>
                <c:pt idx="1910">
                  <c:v>19.514269934058348</c:v>
                </c:pt>
                <c:pt idx="1911">
                  <c:v>19.603813232452524</c:v>
                </c:pt>
                <c:pt idx="1912">
                  <c:v>19.758629665950053</c:v>
                </c:pt>
                <c:pt idx="1913">
                  <c:v>19.305197250298619</c:v>
                </c:pt>
                <c:pt idx="1914">
                  <c:v>18.746807869296788</c:v>
                </c:pt>
                <c:pt idx="1915">
                  <c:v>18.827146013132648</c:v>
                </c:pt>
                <c:pt idx="1916">
                  <c:v>19.173522735328049</c:v>
                </c:pt>
                <c:pt idx="1917">
                  <c:v>19.365388837397887</c:v>
                </c:pt>
                <c:pt idx="1918">
                  <c:v>19.399645136943462</c:v>
                </c:pt>
                <c:pt idx="1919">
                  <c:v>18.164804432453991</c:v>
                </c:pt>
                <c:pt idx="1920">
                  <c:v>19.452143085701181</c:v>
                </c:pt>
                <c:pt idx="1921">
                  <c:v>19.600294510998765</c:v>
                </c:pt>
                <c:pt idx="1922">
                  <c:v>19.831200841510224</c:v>
                </c:pt>
                <c:pt idx="1923">
                  <c:v>19.842632628006726</c:v>
                </c:pt>
                <c:pt idx="1924">
                  <c:v>20.21486297082194</c:v>
                </c:pt>
                <c:pt idx="1925">
                  <c:v>20.21370437080995</c:v>
                </c:pt>
                <c:pt idx="1926">
                  <c:v>19.95502103016932</c:v>
                </c:pt>
                <c:pt idx="1927">
                  <c:v>19.680463065406968</c:v>
                </c:pt>
                <c:pt idx="1928">
                  <c:v>19.736595964766394</c:v>
                </c:pt>
                <c:pt idx="1929">
                  <c:v>19.239341350313055</c:v>
                </c:pt>
                <c:pt idx="1930">
                  <c:v>19.466430968207163</c:v>
                </c:pt>
                <c:pt idx="1931">
                  <c:v>19.107112753320536</c:v>
                </c:pt>
                <c:pt idx="1932">
                  <c:v>19.137918178059607</c:v>
                </c:pt>
                <c:pt idx="1933">
                  <c:v>18.954553292937931</c:v>
                </c:pt>
                <c:pt idx="1934">
                  <c:v>19.261303562864441</c:v>
                </c:pt>
                <c:pt idx="1935">
                  <c:v>19.378963664891586</c:v>
                </c:pt>
                <c:pt idx="1936">
                  <c:v>18.858297916354928</c:v>
                </c:pt>
                <c:pt idx="1937">
                  <c:v>18.856285522285162</c:v>
                </c:pt>
                <c:pt idx="1938">
                  <c:v>19.121728082425648</c:v>
                </c:pt>
                <c:pt idx="1939">
                  <c:v>19.091122175207005</c:v>
                </c:pt>
                <c:pt idx="1940">
                  <c:v>19.701216333019602</c:v>
                </c:pt>
                <c:pt idx="1941">
                  <c:v>20.127446772428812</c:v>
                </c:pt>
                <c:pt idx="1942">
                  <c:v>19.902122028245572</c:v>
                </c:pt>
                <c:pt idx="1943">
                  <c:v>20.336191410626952</c:v>
                </c:pt>
                <c:pt idx="1944">
                  <c:v>20.746959034853234</c:v>
                </c:pt>
                <c:pt idx="1945">
                  <c:v>20.746248200264205</c:v>
                </c:pt>
                <c:pt idx="1946">
                  <c:v>20.368036694510295</c:v>
                </c:pt>
                <c:pt idx="1947">
                  <c:v>20.344204122052446</c:v>
                </c:pt>
                <c:pt idx="1948">
                  <c:v>20.493724120628599</c:v>
                </c:pt>
                <c:pt idx="1949">
                  <c:v>19.909231695201072</c:v>
                </c:pt>
                <c:pt idx="1950">
                  <c:v>19.895578988668262</c:v>
                </c:pt>
                <c:pt idx="1951">
                  <c:v>19.661403565165472</c:v>
                </c:pt>
                <c:pt idx="1952">
                  <c:v>19.591719211910146</c:v>
                </c:pt>
                <c:pt idx="1953">
                  <c:v>19.765384874433323</c:v>
                </c:pt>
                <c:pt idx="1954">
                  <c:v>19.806825103673049</c:v>
                </c:pt>
                <c:pt idx="1955">
                  <c:v>19.698056322695123</c:v>
                </c:pt>
                <c:pt idx="1956">
                  <c:v>20.249075021031786</c:v>
                </c:pt>
                <c:pt idx="1957">
                  <c:v>20.249075021031786</c:v>
                </c:pt>
                <c:pt idx="1958">
                  <c:v>20.258410498886605</c:v>
                </c:pt>
                <c:pt idx="1959">
                  <c:v>20.465049098317564</c:v>
                </c:pt>
                <c:pt idx="1960">
                  <c:v>20.732544481867137</c:v>
                </c:pt>
                <c:pt idx="1961">
                  <c:v>20.861579414961</c:v>
                </c:pt>
                <c:pt idx="1962">
                  <c:v>20.861579414961</c:v>
                </c:pt>
                <c:pt idx="1963">
                  <c:v>21.218945749940076</c:v>
                </c:pt>
                <c:pt idx="1964">
                  <c:v>21.320560629380452</c:v>
                </c:pt>
                <c:pt idx="1965">
                  <c:v>20.925803836013415</c:v>
                </c:pt>
                <c:pt idx="1966">
                  <c:v>21.10124283586569</c:v>
                </c:pt>
                <c:pt idx="1967">
                  <c:v>21.054023367421706</c:v>
                </c:pt>
                <c:pt idx="1968">
                  <c:v>21.004305662882359</c:v>
                </c:pt>
                <c:pt idx="1969">
                  <c:v>20.158002234957223</c:v>
                </c:pt>
                <c:pt idx="1970">
                  <c:v>20.003561415793001</c:v>
                </c:pt>
                <c:pt idx="1971">
                  <c:v>19.941455587613461</c:v>
                </c:pt>
                <c:pt idx="1972">
                  <c:v>19.969004731566685</c:v>
                </c:pt>
                <c:pt idx="1973">
                  <c:v>20.196355143284848</c:v>
                </c:pt>
                <c:pt idx="1974">
                  <c:v>20.28539590077304</c:v>
                </c:pt>
                <c:pt idx="1975">
                  <c:v>20.048563047646581</c:v>
                </c:pt>
                <c:pt idx="1976">
                  <c:v>19.783163707749026</c:v>
                </c:pt>
                <c:pt idx="1977">
                  <c:v>20.019929881619987</c:v>
                </c:pt>
                <c:pt idx="1978">
                  <c:v>20.204309144937895</c:v>
                </c:pt>
                <c:pt idx="1979">
                  <c:v>19.691263369868636</c:v>
                </c:pt>
                <c:pt idx="1980">
                  <c:v>19.298684624266031</c:v>
                </c:pt>
                <c:pt idx="1981">
                  <c:v>19.354520792892089</c:v>
                </c:pt>
                <c:pt idx="1982">
                  <c:v>18.84152883807127</c:v>
                </c:pt>
                <c:pt idx="1983">
                  <c:v>18.725389694475155</c:v>
                </c:pt>
                <c:pt idx="1984">
                  <c:v>18.857200358195144</c:v>
                </c:pt>
              </c:numCache>
            </c:numRef>
          </c:val>
          <c:extLst xmlns:c16r2="http://schemas.microsoft.com/office/drawing/2015/06/chart">
            <c:ext xmlns:c16="http://schemas.microsoft.com/office/drawing/2014/chart" uri="{C3380CC4-5D6E-409C-BE32-E72D297353CC}">
              <c16:uniqueId val="{00000000-7127-4EE7-81B7-88A877082DDF}"/>
            </c:ext>
          </c:extLst>
        </c:ser>
        <c:dLbls>
          <c:showLegendKey val="0"/>
          <c:showVal val="0"/>
          <c:showCatName val="0"/>
          <c:showSerName val="0"/>
          <c:showPercent val="0"/>
          <c:showBubbleSize val="0"/>
        </c:dLbls>
        <c:axId val="235763968"/>
        <c:axId val="235762432"/>
      </c:areaChart>
      <c:lineChart>
        <c:grouping val="standard"/>
        <c:varyColors val="0"/>
        <c:ser>
          <c:idx val="0"/>
          <c:order val="0"/>
          <c:tx>
            <c:strRef>
              <c:f>'AFE Euro RP Brut'!$D$4</c:f>
              <c:strCache>
                <c:ptCount val="1"/>
                <c:pt idx="0">
                  <c:v>Amundi Funds Equity Euro Risk Parity</c:v>
                </c:pt>
              </c:strCache>
            </c:strRef>
          </c:tx>
          <c:spPr>
            <a:ln w="28575">
              <a:solidFill>
                <a:srgbClr val="001C4B"/>
              </a:solidFill>
              <a:prstDash val="solid"/>
            </a:ln>
          </c:spPr>
          <c:marker>
            <c:symbol val="none"/>
          </c:marker>
          <c:cat>
            <c:numRef>
              <c:f>'AFE Euro RP Brut'!$C$5:$C$1989</c:f>
              <c:numCache>
                <c:formatCode>m/d/yyyy</c:formatCode>
                <c:ptCount val="1985"/>
                <c:pt idx="0">
                  <c:v>40353</c:v>
                </c:pt>
                <c:pt idx="1">
                  <c:v>40354</c:v>
                </c:pt>
                <c:pt idx="2">
                  <c:v>40357</c:v>
                </c:pt>
                <c:pt idx="3">
                  <c:v>40358</c:v>
                </c:pt>
                <c:pt idx="4">
                  <c:v>40359</c:v>
                </c:pt>
                <c:pt idx="5">
                  <c:v>40360</c:v>
                </c:pt>
                <c:pt idx="6">
                  <c:v>40361</c:v>
                </c:pt>
                <c:pt idx="7">
                  <c:v>40364</c:v>
                </c:pt>
                <c:pt idx="8">
                  <c:v>40365</c:v>
                </c:pt>
                <c:pt idx="9">
                  <c:v>40366</c:v>
                </c:pt>
                <c:pt idx="10">
                  <c:v>40367</c:v>
                </c:pt>
                <c:pt idx="11">
                  <c:v>40368</c:v>
                </c:pt>
                <c:pt idx="12">
                  <c:v>40371</c:v>
                </c:pt>
                <c:pt idx="13">
                  <c:v>40372</c:v>
                </c:pt>
                <c:pt idx="14">
                  <c:v>40373</c:v>
                </c:pt>
                <c:pt idx="15">
                  <c:v>40374</c:v>
                </c:pt>
                <c:pt idx="16">
                  <c:v>40375</c:v>
                </c:pt>
                <c:pt idx="17">
                  <c:v>40378</c:v>
                </c:pt>
                <c:pt idx="18">
                  <c:v>40379</c:v>
                </c:pt>
                <c:pt idx="19">
                  <c:v>40380</c:v>
                </c:pt>
                <c:pt idx="20">
                  <c:v>40381</c:v>
                </c:pt>
                <c:pt idx="21">
                  <c:v>40382</c:v>
                </c:pt>
                <c:pt idx="22">
                  <c:v>40385</c:v>
                </c:pt>
                <c:pt idx="23">
                  <c:v>40386</c:v>
                </c:pt>
                <c:pt idx="24">
                  <c:v>40387</c:v>
                </c:pt>
                <c:pt idx="25">
                  <c:v>40388</c:v>
                </c:pt>
                <c:pt idx="26">
                  <c:v>40389</c:v>
                </c:pt>
                <c:pt idx="27">
                  <c:v>40392</c:v>
                </c:pt>
                <c:pt idx="28">
                  <c:v>40393</c:v>
                </c:pt>
                <c:pt idx="29">
                  <c:v>40394</c:v>
                </c:pt>
                <c:pt idx="30">
                  <c:v>40395</c:v>
                </c:pt>
                <c:pt idx="31">
                  <c:v>40396</c:v>
                </c:pt>
                <c:pt idx="32">
                  <c:v>40399</c:v>
                </c:pt>
                <c:pt idx="33">
                  <c:v>40400</c:v>
                </c:pt>
                <c:pt idx="34">
                  <c:v>40401</c:v>
                </c:pt>
                <c:pt idx="35">
                  <c:v>40402</c:v>
                </c:pt>
                <c:pt idx="36">
                  <c:v>40403</c:v>
                </c:pt>
                <c:pt idx="37">
                  <c:v>40406</c:v>
                </c:pt>
                <c:pt idx="38">
                  <c:v>40407</c:v>
                </c:pt>
                <c:pt idx="39">
                  <c:v>40408</c:v>
                </c:pt>
                <c:pt idx="40">
                  <c:v>40409</c:v>
                </c:pt>
                <c:pt idx="41">
                  <c:v>40410</c:v>
                </c:pt>
                <c:pt idx="42">
                  <c:v>40413</c:v>
                </c:pt>
                <c:pt idx="43">
                  <c:v>40414</c:v>
                </c:pt>
                <c:pt idx="44">
                  <c:v>40415</c:v>
                </c:pt>
                <c:pt idx="45">
                  <c:v>40416</c:v>
                </c:pt>
                <c:pt idx="46">
                  <c:v>40417</c:v>
                </c:pt>
                <c:pt idx="47">
                  <c:v>40420</c:v>
                </c:pt>
                <c:pt idx="48">
                  <c:v>40421</c:v>
                </c:pt>
                <c:pt idx="49">
                  <c:v>40422</c:v>
                </c:pt>
                <c:pt idx="50">
                  <c:v>40423</c:v>
                </c:pt>
                <c:pt idx="51">
                  <c:v>40424</c:v>
                </c:pt>
                <c:pt idx="52">
                  <c:v>40427</c:v>
                </c:pt>
                <c:pt idx="53">
                  <c:v>40428</c:v>
                </c:pt>
                <c:pt idx="54">
                  <c:v>40429</c:v>
                </c:pt>
                <c:pt idx="55">
                  <c:v>40430</c:v>
                </c:pt>
                <c:pt idx="56">
                  <c:v>40431</c:v>
                </c:pt>
                <c:pt idx="57">
                  <c:v>40434</c:v>
                </c:pt>
                <c:pt idx="58">
                  <c:v>40435</c:v>
                </c:pt>
                <c:pt idx="59">
                  <c:v>40436</c:v>
                </c:pt>
                <c:pt idx="60">
                  <c:v>40437</c:v>
                </c:pt>
                <c:pt idx="61">
                  <c:v>40438</c:v>
                </c:pt>
                <c:pt idx="62">
                  <c:v>40441</c:v>
                </c:pt>
                <c:pt idx="63">
                  <c:v>40442</c:v>
                </c:pt>
                <c:pt idx="64">
                  <c:v>40443</c:v>
                </c:pt>
                <c:pt idx="65">
                  <c:v>40444</c:v>
                </c:pt>
                <c:pt idx="66">
                  <c:v>40445</c:v>
                </c:pt>
                <c:pt idx="67">
                  <c:v>40448</c:v>
                </c:pt>
                <c:pt idx="68">
                  <c:v>40449</c:v>
                </c:pt>
                <c:pt idx="69">
                  <c:v>40450</c:v>
                </c:pt>
                <c:pt idx="70">
                  <c:v>40451</c:v>
                </c:pt>
                <c:pt idx="71">
                  <c:v>40452</c:v>
                </c:pt>
                <c:pt idx="72">
                  <c:v>40455</c:v>
                </c:pt>
                <c:pt idx="73">
                  <c:v>40456</c:v>
                </c:pt>
                <c:pt idx="74">
                  <c:v>40457</c:v>
                </c:pt>
                <c:pt idx="75">
                  <c:v>40458</c:v>
                </c:pt>
                <c:pt idx="76">
                  <c:v>40459</c:v>
                </c:pt>
                <c:pt idx="77">
                  <c:v>40462</c:v>
                </c:pt>
                <c:pt idx="78">
                  <c:v>40463</c:v>
                </c:pt>
                <c:pt idx="79">
                  <c:v>40464</c:v>
                </c:pt>
                <c:pt idx="80">
                  <c:v>40465</c:v>
                </c:pt>
                <c:pt idx="81">
                  <c:v>40466</c:v>
                </c:pt>
                <c:pt idx="82">
                  <c:v>40469</c:v>
                </c:pt>
                <c:pt idx="83">
                  <c:v>40470</c:v>
                </c:pt>
                <c:pt idx="84">
                  <c:v>40471</c:v>
                </c:pt>
                <c:pt idx="85">
                  <c:v>40472</c:v>
                </c:pt>
                <c:pt idx="86">
                  <c:v>40473</c:v>
                </c:pt>
                <c:pt idx="87">
                  <c:v>40476</c:v>
                </c:pt>
                <c:pt idx="88">
                  <c:v>40477</c:v>
                </c:pt>
                <c:pt idx="89">
                  <c:v>40478</c:v>
                </c:pt>
                <c:pt idx="90">
                  <c:v>40479</c:v>
                </c:pt>
                <c:pt idx="91">
                  <c:v>40480</c:v>
                </c:pt>
                <c:pt idx="92">
                  <c:v>40483</c:v>
                </c:pt>
                <c:pt idx="93">
                  <c:v>40484</c:v>
                </c:pt>
                <c:pt idx="94">
                  <c:v>40485</c:v>
                </c:pt>
                <c:pt idx="95">
                  <c:v>40486</c:v>
                </c:pt>
                <c:pt idx="96">
                  <c:v>40487</c:v>
                </c:pt>
                <c:pt idx="97">
                  <c:v>40490</c:v>
                </c:pt>
                <c:pt idx="98">
                  <c:v>40491</c:v>
                </c:pt>
                <c:pt idx="99">
                  <c:v>40492</c:v>
                </c:pt>
                <c:pt idx="100">
                  <c:v>40493</c:v>
                </c:pt>
                <c:pt idx="101">
                  <c:v>40494</c:v>
                </c:pt>
                <c:pt idx="102">
                  <c:v>40497</c:v>
                </c:pt>
                <c:pt idx="103">
                  <c:v>40498</c:v>
                </c:pt>
                <c:pt idx="104">
                  <c:v>40499</c:v>
                </c:pt>
                <c:pt idx="105">
                  <c:v>40500</c:v>
                </c:pt>
                <c:pt idx="106">
                  <c:v>40501</c:v>
                </c:pt>
                <c:pt idx="107">
                  <c:v>40504</c:v>
                </c:pt>
                <c:pt idx="108">
                  <c:v>40505</c:v>
                </c:pt>
                <c:pt idx="109">
                  <c:v>40506</c:v>
                </c:pt>
                <c:pt idx="110">
                  <c:v>40507</c:v>
                </c:pt>
                <c:pt idx="111">
                  <c:v>40508</c:v>
                </c:pt>
                <c:pt idx="112">
                  <c:v>40511</c:v>
                </c:pt>
                <c:pt idx="113">
                  <c:v>40512</c:v>
                </c:pt>
                <c:pt idx="114">
                  <c:v>40513</c:v>
                </c:pt>
                <c:pt idx="115">
                  <c:v>40514</c:v>
                </c:pt>
                <c:pt idx="116">
                  <c:v>40515</c:v>
                </c:pt>
                <c:pt idx="117">
                  <c:v>40518</c:v>
                </c:pt>
                <c:pt idx="118">
                  <c:v>40519</c:v>
                </c:pt>
                <c:pt idx="119">
                  <c:v>40520</c:v>
                </c:pt>
                <c:pt idx="120">
                  <c:v>40521</c:v>
                </c:pt>
                <c:pt idx="121">
                  <c:v>40522</c:v>
                </c:pt>
                <c:pt idx="122">
                  <c:v>40525</c:v>
                </c:pt>
                <c:pt idx="123">
                  <c:v>40526</c:v>
                </c:pt>
                <c:pt idx="124">
                  <c:v>40527</c:v>
                </c:pt>
                <c:pt idx="125">
                  <c:v>40528</c:v>
                </c:pt>
                <c:pt idx="126">
                  <c:v>40529</c:v>
                </c:pt>
                <c:pt idx="127">
                  <c:v>40532</c:v>
                </c:pt>
                <c:pt idx="128">
                  <c:v>40533</c:v>
                </c:pt>
                <c:pt idx="129">
                  <c:v>40534</c:v>
                </c:pt>
                <c:pt idx="130">
                  <c:v>40535</c:v>
                </c:pt>
                <c:pt idx="131">
                  <c:v>40536</c:v>
                </c:pt>
                <c:pt idx="132">
                  <c:v>40539</c:v>
                </c:pt>
                <c:pt idx="133">
                  <c:v>40540</c:v>
                </c:pt>
                <c:pt idx="134">
                  <c:v>40541</c:v>
                </c:pt>
                <c:pt idx="135">
                  <c:v>40542</c:v>
                </c:pt>
                <c:pt idx="136">
                  <c:v>40543</c:v>
                </c:pt>
                <c:pt idx="137">
                  <c:v>40546</c:v>
                </c:pt>
                <c:pt idx="138">
                  <c:v>40547</c:v>
                </c:pt>
                <c:pt idx="139">
                  <c:v>40548</c:v>
                </c:pt>
                <c:pt idx="140">
                  <c:v>40549</c:v>
                </c:pt>
                <c:pt idx="141">
                  <c:v>40550</c:v>
                </c:pt>
                <c:pt idx="142">
                  <c:v>40553</c:v>
                </c:pt>
                <c:pt idx="143">
                  <c:v>40554</c:v>
                </c:pt>
                <c:pt idx="144">
                  <c:v>40555</c:v>
                </c:pt>
                <c:pt idx="145">
                  <c:v>40556</c:v>
                </c:pt>
                <c:pt idx="146">
                  <c:v>40557</c:v>
                </c:pt>
                <c:pt idx="147">
                  <c:v>40560</c:v>
                </c:pt>
                <c:pt idx="148">
                  <c:v>40561</c:v>
                </c:pt>
                <c:pt idx="149">
                  <c:v>40562</c:v>
                </c:pt>
                <c:pt idx="150">
                  <c:v>40563</c:v>
                </c:pt>
                <c:pt idx="151">
                  <c:v>40564</c:v>
                </c:pt>
                <c:pt idx="152">
                  <c:v>40567</c:v>
                </c:pt>
                <c:pt idx="153">
                  <c:v>40568</c:v>
                </c:pt>
                <c:pt idx="154">
                  <c:v>40569</c:v>
                </c:pt>
                <c:pt idx="155">
                  <c:v>40570</c:v>
                </c:pt>
                <c:pt idx="156">
                  <c:v>40571</c:v>
                </c:pt>
                <c:pt idx="157">
                  <c:v>40574</c:v>
                </c:pt>
                <c:pt idx="158">
                  <c:v>40575</c:v>
                </c:pt>
                <c:pt idx="159">
                  <c:v>40576</c:v>
                </c:pt>
                <c:pt idx="160">
                  <c:v>40577</c:v>
                </c:pt>
                <c:pt idx="161">
                  <c:v>40578</c:v>
                </c:pt>
                <c:pt idx="162">
                  <c:v>40581</c:v>
                </c:pt>
                <c:pt idx="163">
                  <c:v>40582</c:v>
                </c:pt>
                <c:pt idx="164">
                  <c:v>40583</c:v>
                </c:pt>
                <c:pt idx="165">
                  <c:v>40584</c:v>
                </c:pt>
                <c:pt idx="166">
                  <c:v>40585</c:v>
                </c:pt>
                <c:pt idx="167">
                  <c:v>40588</c:v>
                </c:pt>
                <c:pt idx="168">
                  <c:v>40589</c:v>
                </c:pt>
                <c:pt idx="169">
                  <c:v>40590</c:v>
                </c:pt>
                <c:pt idx="170">
                  <c:v>40591</c:v>
                </c:pt>
                <c:pt idx="171">
                  <c:v>40592</c:v>
                </c:pt>
                <c:pt idx="172">
                  <c:v>40595</c:v>
                </c:pt>
                <c:pt idx="173">
                  <c:v>40596</c:v>
                </c:pt>
                <c:pt idx="174">
                  <c:v>40597</c:v>
                </c:pt>
                <c:pt idx="175">
                  <c:v>40598</c:v>
                </c:pt>
                <c:pt idx="176">
                  <c:v>40599</c:v>
                </c:pt>
                <c:pt idx="177">
                  <c:v>40602</c:v>
                </c:pt>
                <c:pt idx="178">
                  <c:v>40603</c:v>
                </c:pt>
                <c:pt idx="179">
                  <c:v>40604</c:v>
                </c:pt>
                <c:pt idx="180">
                  <c:v>40605</c:v>
                </c:pt>
                <c:pt idx="181">
                  <c:v>40606</c:v>
                </c:pt>
                <c:pt idx="182">
                  <c:v>40609</c:v>
                </c:pt>
                <c:pt idx="183">
                  <c:v>40610</c:v>
                </c:pt>
                <c:pt idx="184">
                  <c:v>40611</c:v>
                </c:pt>
                <c:pt idx="185">
                  <c:v>40612</c:v>
                </c:pt>
                <c:pt idx="186">
                  <c:v>40613</c:v>
                </c:pt>
                <c:pt idx="187">
                  <c:v>40616</c:v>
                </c:pt>
                <c:pt idx="188">
                  <c:v>40617</c:v>
                </c:pt>
                <c:pt idx="189">
                  <c:v>40618</c:v>
                </c:pt>
                <c:pt idx="190">
                  <c:v>40619</c:v>
                </c:pt>
                <c:pt idx="191">
                  <c:v>40620</c:v>
                </c:pt>
                <c:pt idx="192">
                  <c:v>40623</c:v>
                </c:pt>
                <c:pt idx="193">
                  <c:v>40624</c:v>
                </c:pt>
                <c:pt idx="194">
                  <c:v>40625</c:v>
                </c:pt>
                <c:pt idx="195">
                  <c:v>40626</c:v>
                </c:pt>
                <c:pt idx="196">
                  <c:v>40627</c:v>
                </c:pt>
                <c:pt idx="197">
                  <c:v>40630</c:v>
                </c:pt>
                <c:pt idx="198">
                  <c:v>40631</c:v>
                </c:pt>
                <c:pt idx="199">
                  <c:v>40632</c:v>
                </c:pt>
                <c:pt idx="200">
                  <c:v>40633</c:v>
                </c:pt>
                <c:pt idx="201">
                  <c:v>40634</c:v>
                </c:pt>
                <c:pt idx="202">
                  <c:v>40637</c:v>
                </c:pt>
                <c:pt idx="203">
                  <c:v>40638</c:v>
                </c:pt>
                <c:pt idx="204">
                  <c:v>40639</c:v>
                </c:pt>
                <c:pt idx="205">
                  <c:v>40640</c:v>
                </c:pt>
                <c:pt idx="206">
                  <c:v>40641</c:v>
                </c:pt>
                <c:pt idx="207">
                  <c:v>40644</c:v>
                </c:pt>
                <c:pt idx="208">
                  <c:v>40645</c:v>
                </c:pt>
                <c:pt idx="209">
                  <c:v>40646</c:v>
                </c:pt>
                <c:pt idx="210">
                  <c:v>40647</c:v>
                </c:pt>
                <c:pt idx="211">
                  <c:v>40648</c:v>
                </c:pt>
                <c:pt idx="212">
                  <c:v>40651</c:v>
                </c:pt>
                <c:pt idx="213">
                  <c:v>40652</c:v>
                </c:pt>
                <c:pt idx="214">
                  <c:v>40653</c:v>
                </c:pt>
                <c:pt idx="215">
                  <c:v>40654</c:v>
                </c:pt>
                <c:pt idx="216">
                  <c:v>40655</c:v>
                </c:pt>
                <c:pt idx="217">
                  <c:v>40658</c:v>
                </c:pt>
                <c:pt idx="218">
                  <c:v>40659</c:v>
                </c:pt>
                <c:pt idx="219">
                  <c:v>40660</c:v>
                </c:pt>
                <c:pt idx="220">
                  <c:v>40661</c:v>
                </c:pt>
                <c:pt idx="221">
                  <c:v>40662</c:v>
                </c:pt>
                <c:pt idx="222">
                  <c:v>40665</c:v>
                </c:pt>
                <c:pt idx="223">
                  <c:v>40666</c:v>
                </c:pt>
                <c:pt idx="224">
                  <c:v>40667</c:v>
                </c:pt>
                <c:pt idx="225">
                  <c:v>40668</c:v>
                </c:pt>
                <c:pt idx="226">
                  <c:v>40669</c:v>
                </c:pt>
                <c:pt idx="227">
                  <c:v>40672</c:v>
                </c:pt>
                <c:pt idx="228">
                  <c:v>40673</c:v>
                </c:pt>
                <c:pt idx="229">
                  <c:v>40674</c:v>
                </c:pt>
                <c:pt idx="230">
                  <c:v>40675</c:v>
                </c:pt>
                <c:pt idx="231">
                  <c:v>40676</c:v>
                </c:pt>
                <c:pt idx="232">
                  <c:v>40679</c:v>
                </c:pt>
                <c:pt idx="233">
                  <c:v>40680</c:v>
                </c:pt>
                <c:pt idx="234">
                  <c:v>40681</c:v>
                </c:pt>
                <c:pt idx="235">
                  <c:v>40682</c:v>
                </c:pt>
                <c:pt idx="236">
                  <c:v>40683</c:v>
                </c:pt>
                <c:pt idx="237">
                  <c:v>40686</c:v>
                </c:pt>
                <c:pt idx="238">
                  <c:v>40687</c:v>
                </c:pt>
                <c:pt idx="239">
                  <c:v>40688</c:v>
                </c:pt>
                <c:pt idx="240">
                  <c:v>40689</c:v>
                </c:pt>
                <c:pt idx="241">
                  <c:v>40690</c:v>
                </c:pt>
                <c:pt idx="242">
                  <c:v>40693</c:v>
                </c:pt>
                <c:pt idx="243">
                  <c:v>40694</c:v>
                </c:pt>
                <c:pt idx="244">
                  <c:v>40695</c:v>
                </c:pt>
                <c:pt idx="245">
                  <c:v>40696</c:v>
                </c:pt>
                <c:pt idx="246">
                  <c:v>40697</c:v>
                </c:pt>
                <c:pt idx="247">
                  <c:v>40700</c:v>
                </c:pt>
                <c:pt idx="248">
                  <c:v>40701</c:v>
                </c:pt>
                <c:pt idx="249">
                  <c:v>40702</c:v>
                </c:pt>
                <c:pt idx="250">
                  <c:v>40703</c:v>
                </c:pt>
                <c:pt idx="251">
                  <c:v>40704</c:v>
                </c:pt>
                <c:pt idx="252">
                  <c:v>40707</c:v>
                </c:pt>
                <c:pt idx="253">
                  <c:v>40708</c:v>
                </c:pt>
                <c:pt idx="254">
                  <c:v>40709</c:v>
                </c:pt>
                <c:pt idx="255">
                  <c:v>40710</c:v>
                </c:pt>
                <c:pt idx="256">
                  <c:v>40711</c:v>
                </c:pt>
                <c:pt idx="257">
                  <c:v>40714</c:v>
                </c:pt>
                <c:pt idx="258">
                  <c:v>40715</c:v>
                </c:pt>
                <c:pt idx="259">
                  <c:v>40716</c:v>
                </c:pt>
                <c:pt idx="260">
                  <c:v>40717</c:v>
                </c:pt>
                <c:pt idx="261">
                  <c:v>40718</c:v>
                </c:pt>
                <c:pt idx="262">
                  <c:v>40721</c:v>
                </c:pt>
                <c:pt idx="263">
                  <c:v>40722</c:v>
                </c:pt>
                <c:pt idx="264">
                  <c:v>40723</c:v>
                </c:pt>
                <c:pt idx="265">
                  <c:v>40724</c:v>
                </c:pt>
                <c:pt idx="266">
                  <c:v>40725</c:v>
                </c:pt>
                <c:pt idx="267">
                  <c:v>40728</c:v>
                </c:pt>
                <c:pt idx="268">
                  <c:v>40729</c:v>
                </c:pt>
                <c:pt idx="269">
                  <c:v>40730</c:v>
                </c:pt>
                <c:pt idx="270">
                  <c:v>40731</c:v>
                </c:pt>
                <c:pt idx="271">
                  <c:v>40732</c:v>
                </c:pt>
                <c:pt idx="272">
                  <c:v>40735</c:v>
                </c:pt>
                <c:pt idx="273">
                  <c:v>40736</c:v>
                </c:pt>
                <c:pt idx="274">
                  <c:v>40737</c:v>
                </c:pt>
                <c:pt idx="275">
                  <c:v>40738</c:v>
                </c:pt>
                <c:pt idx="276">
                  <c:v>40739</c:v>
                </c:pt>
                <c:pt idx="277">
                  <c:v>40742</c:v>
                </c:pt>
                <c:pt idx="278">
                  <c:v>40743</c:v>
                </c:pt>
                <c:pt idx="279">
                  <c:v>40744</c:v>
                </c:pt>
                <c:pt idx="280">
                  <c:v>40745</c:v>
                </c:pt>
                <c:pt idx="281">
                  <c:v>40746</c:v>
                </c:pt>
                <c:pt idx="282">
                  <c:v>40749</c:v>
                </c:pt>
                <c:pt idx="283">
                  <c:v>40750</c:v>
                </c:pt>
                <c:pt idx="284">
                  <c:v>40751</c:v>
                </c:pt>
                <c:pt idx="285">
                  <c:v>40752</c:v>
                </c:pt>
                <c:pt idx="286">
                  <c:v>40753</c:v>
                </c:pt>
                <c:pt idx="287">
                  <c:v>40756</c:v>
                </c:pt>
                <c:pt idx="288">
                  <c:v>40757</c:v>
                </c:pt>
                <c:pt idx="289">
                  <c:v>40758</c:v>
                </c:pt>
                <c:pt idx="290">
                  <c:v>40759</c:v>
                </c:pt>
                <c:pt idx="291">
                  <c:v>40760</c:v>
                </c:pt>
                <c:pt idx="292">
                  <c:v>40763</c:v>
                </c:pt>
                <c:pt idx="293">
                  <c:v>40764</c:v>
                </c:pt>
                <c:pt idx="294">
                  <c:v>40765</c:v>
                </c:pt>
                <c:pt idx="295">
                  <c:v>40766</c:v>
                </c:pt>
                <c:pt idx="296">
                  <c:v>40767</c:v>
                </c:pt>
                <c:pt idx="297">
                  <c:v>40770</c:v>
                </c:pt>
                <c:pt idx="298">
                  <c:v>40771</c:v>
                </c:pt>
                <c:pt idx="299">
                  <c:v>40772</c:v>
                </c:pt>
                <c:pt idx="300">
                  <c:v>40773</c:v>
                </c:pt>
                <c:pt idx="301">
                  <c:v>40774</c:v>
                </c:pt>
                <c:pt idx="302">
                  <c:v>40777</c:v>
                </c:pt>
                <c:pt idx="303">
                  <c:v>40778</c:v>
                </c:pt>
                <c:pt idx="304">
                  <c:v>40779</c:v>
                </c:pt>
                <c:pt idx="305">
                  <c:v>40780</c:v>
                </c:pt>
                <c:pt idx="306">
                  <c:v>40781</c:v>
                </c:pt>
                <c:pt idx="307">
                  <c:v>40784</c:v>
                </c:pt>
                <c:pt idx="308">
                  <c:v>40785</c:v>
                </c:pt>
                <c:pt idx="309">
                  <c:v>40786</c:v>
                </c:pt>
                <c:pt idx="310">
                  <c:v>40787</c:v>
                </c:pt>
                <c:pt idx="311">
                  <c:v>40788</c:v>
                </c:pt>
                <c:pt idx="312">
                  <c:v>40791</c:v>
                </c:pt>
                <c:pt idx="313">
                  <c:v>40792</c:v>
                </c:pt>
                <c:pt idx="314">
                  <c:v>40793</c:v>
                </c:pt>
                <c:pt idx="315">
                  <c:v>40794</c:v>
                </c:pt>
                <c:pt idx="316">
                  <c:v>40795</c:v>
                </c:pt>
                <c:pt idx="317">
                  <c:v>40798</c:v>
                </c:pt>
                <c:pt idx="318">
                  <c:v>40799</c:v>
                </c:pt>
                <c:pt idx="319">
                  <c:v>40800</c:v>
                </c:pt>
                <c:pt idx="320">
                  <c:v>40801</c:v>
                </c:pt>
                <c:pt idx="321">
                  <c:v>40802</c:v>
                </c:pt>
                <c:pt idx="322">
                  <c:v>40805</c:v>
                </c:pt>
                <c:pt idx="323">
                  <c:v>40806</c:v>
                </c:pt>
                <c:pt idx="324">
                  <c:v>40807</c:v>
                </c:pt>
                <c:pt idx="325">
                  <c:v>40808</c:v>
                </c:pt>
                <c:pt idx="326">
                  <c:v>40809</c:v>
                </c:pt>
                <c:pt idx="327">
                  <c:v>40812</c:v>
                </c:pt>
                <c:pt idx="328">
                  <c:v>40813</c:v>
                </c:pt>
                <c:pt idx="329">
                  <c:v>40814</c:v>
                </c:pt>
                <c:pt idx="330">
                  <c:v>40815</c:v>
                </c:pt>
                <c:pt idx="331">
                  <c:v>40816</c:v>
                </c:pt>
                <c:pt idx="332">
                  <c:v>40819</c:v>
                </c:pt>
                <c:pt idx="333">
                  <c:v>40820</c:v>
                </c:pt>
                <c:pt idx="334">
                  <c:v>40821</c:v>
                </c:pt>
                <c:pt idx="335">
                  <c:v>40822</c:v>
                </c:pt>
                <c:pt idx="336">
                  <c:v>40823</c:v>
                </c:pt>
                <c:pt idx="337">
                  <c:v>40826</c:v>
                </c:pt>
                <c:pt idx="338">
                  <c:v>40827</c:v>
                </c:pt>
                <c:pt idx="339">
                  <c:v>40828</c:v>
                </c:pt>
                <c:pt idx="340">
                  <c:v>40829</c:v>
                </c:pt>
                <c:pt idx="341">
                  <c:v>40830</c:v>
                </c:pt>
                <c:pt idx="342">
                  <c:v>40833</c:v>
                </c:pt>
                <c:pt idx="343">
                  <c:v>40834</c:v>
                </c:pt>
                <c:pt idx="344">
                  <c:v>40835</c:v>
                </c:pt>
                <c:pt idx="345">
                  <c:v>40836</c:v>
                </c:pt>
                <c:pt idx="346">
                  <c:v>40837</c:v>
                </c:pt>
                <c:pt idx="347">
                  <c:v>40840</c:v>
                </c:pt>
                <c:pt idx="348">
                  <c:v>40841</c:v>
                </c:pt>
                <c:pt idx="349">
                  <c:v>40842</c:v>
                </c:pt>
                <c:pt idx="350">
                  <c:v>40843</c:v>
                </c:pt>
                <c:pt idx="351">
                  <c:v>40844</c:v>
                </c:pt>
                <c:pt idx="352">
                  <c:v>40847</c:v>
                </c:pt>
                <c:pt idx="353">
                  <c:v>40848</c:v>
                </c:pt>
                <c:pt idx="354">
                  <c:v>40849</c:v>
                </c:pt>
                <c:pt idx="355">
                  <c:v>40850</c:v>
                </c:pt>
                <c:pt idx="356">
                  <c:v>40851</c:v>
                </c:pt>
                <c:pt idx="357">
                  <c:v>40854</c:v>
                </c:pt>
                <c:pt idx="358">
                  <c:v>40855</c:v>
                </c:pt>
                <c:pt idx="359">
                  <c:v>40856</c:v>
                </c:pt>
                <c:pt idx="360">
                  <c:v>40857</c:v>
                </c:pt>
                <c:pt idx="361">
                  <c:v>40858</c:v>
                </c:pt>
                <c:pt idx="362">
                  <c:v>40861</c:v>
                </c:pt>
                <c:pt idx="363">
                  <c:v>40862</c:v>
                </c:pt>
                <c:pt idx="364">
                  <c:v>40863</c:v>
                </c:pt>
                <c:pt idx="365">
                  <c:v>40864</c:v>
                </c:pt>
                <c:pt idx="366">
                  <c:v>40865</c:v>
                </c:pt>
                <c:pt idx="367">
                  <c:v>40868</c:v>
                </c:pt>
                <c:pt idx="368">
                  <c:v>40869</c:v>
                </c:pt>
                <c:pt idx="369">
                  <c:v>40870</c:v>
                </c:pt>
                <c:pt idx="370">
                  <c:v>40871</c:v>
                </c:pt>
                <c:pt idx="371">
                  <c:v>40872</c:v>
                </c:pt>
                <c:pt idx="372">
                  <c:v>40875</c:v>
                </c:pt>
                <c:pt idx="373">
                  <c:v>40876</c:v>
                </c:pt>
                <c:pt idx="374">
                  <c:v>40877</c:v>
                </c:pt>
                <c:pt idx="375">
                  <c:v>40878</c:v>
                </c:pt>
                <c:pt idx="376">
                  <c:v>40879</c:v>
                </c:pt>
                <c:pt idx="377">
                  <c:v>40882</c:v>
                </c:pt>
                <c:pt idx="378">
                  <c:v>40883</c:v>
                </c:pt>
                <c:pt idx="379">
                  <c:v>40884</c:v>
                </c:pt>
                <c:pt idx="380">
                  <c:v>40885</c:v>
                </c:pt>
                <c:pt idx="381">
                  <c:v>40886</c:v>
                </c:pt>
                <c:pt idx="382">
                  <c:v>40889</c:v>
                </c:pt>
                <c:pt idx="383">
                  <c:v>40890</c:v>
                </c:pt>
                <c:pt idx="384">
                  <c:v>40891</c:v>
                </c:pt>
                <c:pt idx="385">
                  <c:v>40892</c:v>
                </c:pt>
                <c:pt idx="386">
                  <c:v>40893</c:v>
                </c:pt>
                <c:pt idx="387">
                  <c:v>40896</c:v>
                </c:pt>
                <c:pt idx="388">
                  <c:v>40897</c:v>
                </c:pt>
                <c:pt idx="389">
                  <c:v>40898</c:v>
                </c:pt>
                <c:pt idx="390">
                  <c:v>40899</c:v>
                </c:pt>
                <c:pt idx="391">
                  <c:v>40900</c:v>
                </c:pt>
                <c:pt idx="392">
                  <c:v>40903</c:v>
                </c:pt>
                <c:pt idx="393">
                  <c:v>40904</c:v>
                </c:pt>
                <c:pt idx="394">
                  <c:v>40905</c:v>
                </c:pt>
                <c:pt idx="395">
                  <c:v>40906</c:v>
                </c:pt>
                <c:pt idx="396">
                  <c:v>40907</c:v>
                </c:pt>
                <c:pt idx="397">
                  <c:v>40910</c:v>
                </c:pt>
                <c:pt idx="398">
                  <c:v>40911</c:v>
                </c:pt>
                <c:pt idx="399">
                  <c:v>40912</c:v>
                </c:pt>
                <c:pt idx="400">
                  <c:v>40913</c:v>
                </c:pt>
                <c:pt idx="401">
                  <c:v>40914</c:v>
                </c:pt>
                <c:pt idx="402">
                  <c:v>40917</c:v>
                </c:pt>
                <c:pt idx="403">
                  <c:v>40918</c:v>
                </c:pt>
                <c:pt idx="404">
                  <c:v>40919</c:v>
                </c:pt>
                <c:pt idx="405">
                  <c:v>40920</c:v>
                </c:pt>
                <c:pt idx="406">
                  <c:v>40921</c:v>
                </c:pt>
                <c:pt idx="407">
                  <c:v>40924</c:v>
                </c:pt>
                <c:pt idx="408">
                  <c:v>40925</c:v>
                </c:pt>
                <c:pt idx="409">
                  <c:v>40926</c:v>
                </c:pt>
                <c:pt idx="410">
                  <c:v>40927</c:v>
                </c:pt>
                <c:pt idx="411">
                  <c:v>40928</c:v>
                </c:pt>
                <c:pt idx="412">
                  <c:v>40931</c:v>
                </c:pt>
                <c:pt idx="413">
                  <c:v>40932</c:v>
                </c:pt>
                <c:pt idx="414">
                  <c:v>40933</c:v>
                </c:pt>
                <c:pt idx="415">
                  <c:v>40934</c:v>
                </c:pt>
                <c:pt idx="416">
                  <c:v>40935</c:v>
                </c:pt>
                <c:pt idx="417">
                  <c:v>40938</c:v>
                </c:pt>
                <c:pt idx="418">
                  <c:v>40939</c:v>
                </c:pt>
                <c:pt idx="419">
                  <c:v>40940</c:v>
                </c:pt>
                <c:pt idx="420">
                  <c:v>40941</c:v>
                </c:pt>
                <c:pt idx="421">
                  <c:v>40942</c:v>
                </c:pt>
                <c:pt idx="422">
                  <c:v>40945</c:v>
                </c:pt>
                <c:pt idx="423">
                  <c:v>40946</c:v>
                </c:pt>
                <c:pt idx="424">
                  <c:v>40947</c:v>
                </c:pt>
                <c:pt idx="425">
                  <c:v>40948</c:v>
                </c:pt>
                <c:pt idx="426">
                  <c:v>40949</c:v>
                </c:pt>
                <c:pt idx="427">
                  <c:v>40952</c:v>
                </c:pt>
                <c:pt idx="428">
                  <c:v>40953</c:v>
                </c:pt>
                <c:pt idx="429">
                  <c:v>40954</c:v>
                </c:pt>
                <c:pt idx="430">
                  <c:v>40955</c:v>
                </c:pt>
                <c:pt idx="431">
                  <c:v>40956</c:v>
                </c:pt>
                <c:pt idx="432">
                  <c:v>40959</c:v>
                </c:pt>
                <c:pt idx="433">
                  <c:v>40960</c:v>
                </c:pt>
                <c:pt idx="434">
                  <c:v>40961</c:v>
                </c:pt>
                <c:pt idx="435">
                  <c:v>40962</c:v>
                </c:pt>
                <c:pt idx="436">
                  <c:v>40963</c:v>
                </c:pt>
                <c:pt idx="437">
                  <c:v>40966</c:v>
                </c:pt>
                <c:pt idx="438">
                  <c:v>40967</c:v>
                </c:pt>
                <c:pt idx="439">
                  <c:v>40968</c:v>
                </c:pt>
                <c:pt idx="440">
                  <c:v>40969</c:v>
                </c:pt>
                <c:pt idx="441">
                  <c:v>40970</c:v>
                </c:pt>
                <c:pt idx="442">
                  <c:v>40973</c:v>
                </c:pt>
                <c:pt idx="443">
                  <c:v>40974</c:v>
                </c:pt>
                <c:pt idx="444">
                  <c:v>40975</c:v>
                </c:pt>
                <c:pt idx="445">
                  <c:v>40976</c:v>
                </c:pt>
                <c:pt idx="446">
                  <c:v>40977</c:v>
                </c:pt>
                <c:pt idx="447">
                  <c:v>40980</c:v>
                </c:pt>
                <c:pt idx="448">
                  <c:v>40981</c:v>
                </c:pt>
                <c:pt idx="449">
                  <c:v>40982</c:v>
                </c:pt>
                <c:pt idx="450">
                  <c:v>40983</c:v>
                </c:pt>
                <c:pt idx="451">
                  <c:v>40984</c:v>
                </c:pt>
                <c:pt idx="452">
                  <c:v>40987</c:v>
                </c:pt>
                <c:pt idx="453">
                  <c:v>40988</c:v>
                </c:pt>
                <c:pt idx="454">
                  <c:v>40989</c:v>
                </c:pt>
                <c:pt idx="455">
                  <c:v>40990</c:v>
                </c:pt>
                <c:pt idx="456">
                  <c:v>40991</c:v>
                </c:pt>
                <c:pt idx="457">
                  <c:v>40994</c:v>
                </c:pt>
                <c:pt idx="458">
                  <c:v>40995</c:v>
                </c:pt>
                <c:pt idx="459">
                  <c:v>40996</c:v>
                </c:pt>
                <c:pt idx="460">
                  <c:v>40997</c:v>
                </c:pt>
                <c:pt idx="461">
                  <c:v>40998</c:v>
                </c:pt>
                <c:pt idx="462">
                  <c:v>41001</c:v>
                </c:pt>
                <c:pt idx="463">
                  <c:v>41002</c:v>
                </c:pt>
                <c:pt idx="464">
                  <c:v>41003</c:v>
                </c:pt>
                <c:pt idx="465">
                  <c:v>41004</c:v>
                </c:pt>
                <c:pt idx="466">
                  <c:v>41005</c:v>
                </c:pt>
                <c:pt idx="467">
                  <c:v>41008</c:v>
                </c:pt>
                <c:pt idx="468">
                  <c:v>41009</c:v>
                </c:pt>
                <c:pt idx="469">
                  <c:v>41010</c:v>
                </c:pt>
                <c:pt idx="470">
                  <c:v>41011</c:v>
                </c:pt>
                <c:pt idx="471">
                  <c:v>41012</c:v>
                </c:pt>
                <c:pt idx="472">
                  <c:v>41015</c:v>
                </c:pt>
                <c:pt idx="473">
                  <c:v>41016</c:v>
                </c:pt>
                <c:pt idx="474">
                  <c:v>41017</c:v>
                </c:pt>
                <c:pt idx="475">
                  <c:v>41018</c:v>
                </c:pt>
                <c:pt idx="476">
                  <c:v>41019</c:v>
                </c:pt>
                <c:pt idx="477">
                  <c:v>41022</c:v>
                </c:pt>
                <c:pt idx="478">
                  <c:v>41023</c:v>
                </c:pt>
                <c:pt idx="479">
                  <c:v>41024</c:v>
                </c:pt>
                <c:pt idx="480">
                  <c:v>41025</c:v>
                </c:pt>
                <c:pt idx="481">
                  <c:v>41026</c:v>
                </c:pt>
                <c:pt idx="482">
                  <c:v>41029</c:v>
                </c:pt>
                <c:pt idx="483">
                  <c:v>41030</c:v>
                </c:pt>
                <c:pt idx="484">
                  <c:v>41031</c:v>
                </c:pt>
                <c:pt idx="485">
                  <c:v>41032</c:v>
                </c:pt>
                <c:pt idx="486">
                  <c:v>41033</c:v>
                </c:pt>
                <c:pt idx="487">
                  <c:v>41036</c:v>
                </c:pt>
                <c:pt idx="488">
                  <c:v>41037</c:v>
                </c:pt>
                <c:pt idx="489">
                  <c:v>41038</c:v>
                </c:pt>
                <c:pt idx="490">
                  <c:v>41039</c:v>
                </c:pt>
                <c:pt idx="491">
                  <c:v>41040</c:v>
                </c:pt>
                <c:pt idx="492">
                  <c:v>41043</c:v>
                </c:pt>
                <c:pt idx="493">
                  <c:v>41044</c:v>
                </c:pt>
                <c:pt idx="494">
                  <c:v>41045</c:v>
                </c:pt>
                <c:pt idx="495">
                  <c:v>41046</c:v>
                </c:pt>
                <c:pt idx="496">
                  <c:v>41047</c:v>
                </c:pt>
                <c:pt idx="497">
                  <c:v>41050</c:v>
                </c:pt>
                <c:pt idx="498">
                  <c:v>41051</c:v>
                </c:pt>
                <c:pt idx="499">
                  <c:v>41052</c:v>
                </c:pt>
                <c:pt idx="500">
                  <c:v>41053</c:v>
                </c:pt>
                <c:pt idx="501">
                  <c:v>41054</c:v>
                </c:pt>
                <c:pt idx="502">
                  <c:v>41057</c:v>
                </c:pt>
                <c:pt idx="503">
                  <c:v>41058</c:v>
                </c:pt>
                <c:pt idx="504">
                  <c:v>41059</c:v>
                </c:pt>
                <c:pt idx="505">
                  <c:v>41060</c:v>
                </c:pt>
                <c:pt idx="506">
                  <c:v>41061</c:v>
                </c:pt>
                <c:pt idx="507">
                  <c:v>41064</c:v>
                </c:pt>
                <c:pt idx="508">
                  <c:v>41065</c:v>
                </c:pt>
                <c:pt idx="509">
                  <c:v>41066</c:v>
                </c:pt>
                <c:pt idx="510">
                  <c:v>41067</c:v>
                </c:pt>
                <c:pt idx="511">
                  <c:v>41068</c:v>
                </c:pt>
                <c:pt idx="512">
                  <c:v>41071</c:v>
                </c:pt>
                <c:pt idx="513">
                  <c:v>41072</c:v>
                </c:pt>
                <c:pt idx="514">
                  <c:v>41073</c:v>
                </c:pt>
                <c:pt idx="515">
                  <c:v>41074</c:v>
                </c:pt>
                <c:pt idx="516">
                  <c:v>41075</c:v>
                </c:pt>
                <c:pt idx="517">
                  <c:v>41078</c:v>
                </c:pt>
                <c:pt idx="518">
                  <c:v>41079</c:v>
                </c:pt>
                <c:pt idx="519">
                  <c:v>41080</c:v>
                </c:pt>
                <c:pt idx="520">
                  <c:v>41081</c:v>
                </c:pt>
                <c:pt idx="521">
                  <c:v>41082</c:v>
                </c:pt>
                <c:pt idx="522">
                  <c:v>41085</c:v>
                </c:pt>
                <c:pt idx="523">
                  <c:v>41086</c:v>
                </c:pt>
                <c:pt idx="524">
                  <c:v>41087</c:v>
                </c:pt>
                <c:pt idx="525">
                  <c:v>41088</c:v>
                </c:pt>
                <c:pt idx="526">
                  <c:v>41089</c:v>
                </c:pt>
                <c:pt idx="527">
                  <c:v>41092</c:v>
                </c:pt>
                <c:pt idx="528">
                  <c:v>41093</c:v>
                </c:pt>
                <c:pt idx="529">
                  <c:v>41094</c:v>
                </c:pt>
                <c:pt idx="530">
                  <c:v>41095</c:v>
                </c:pt>
                <c:pt idx="531">
                  <c:v>41096</c:v>
                </c:pt>
                <c:pt idx="532">
                  <c:v>41099</c:v>
                </c:pt>
                <c:pt idx="533">
                  <c:v>41100</c:v>
                </c:pt>
                <c:pt idx="534">
                  <c:v>41101</c:v>
                </c:pt>
                <c:pt idx="535">
                  <c:v>41102</c:v>
                </c:pt>
                <c:pt idx="536">
                  <c:v>41103</c:v>
                </c:pt>
                <c:pt idx="537">
                  <c:v>41106</c:v>
                </c:pt>
                <c:pt idx="538">
                  <c:v>41107</c:v>
                </c:pt>
                <c:pt idx="539">
                  <c:v>41108</c:v>
                </c:pt>
                <c:pt idx="540">
                  <c:v>41109</c:v>
                </c:pt>
                <c:pt idx="541">
                  <c:v>41110</c:v>
                </c:pt>
                <c:pt idx="542">
                  <c:v>41113</c:v>
                </c:pt>
                <c:pt idx="543">
                  <c:v>41114</c:v>
                </c:pt>
                <c:pt idx="544">
                  <c:v>41115</c:v>
                </c:pt>
                <c:pt idx="545">
                  <c:v>41116</c:v>
                </c:pt>
                <c:pt idx="546">
                  <c:v>41117</c:v>
                </c:pt>
                <c:pt idx="547">
                  <c:v>41120</c:v>
                </c:pt>
                <c:pt idx="548">
                  <c:v>41121</c:v>
                </c:pt>
                <c:pt idx="549">
                  <c:v>41122</c:v>
                </c:pt>
                <c:pt idx="550">
                  <c:v>41123</c:v>
                </c:pt>
                <c:pt idx="551">
                  <c:v>41124</c:v>
                </c:pt>
                <c:pt idx="552">
                  <c:v>41127</c:v>
                </c:pt>
                <c:pt idx="553">
                  <c:v>41128</c:v>
                </c:pt>
                <c:pt idx="554">
                  <c:v>41129</c:v>
                </c:pt>
                <c:pt idx="555">
                  <c:v>41130</c:v>
                </c:pt>
                <c:pt idx="556">
                  <c:v>41131</c:v>
                </c:pt>
                <c:pt idx="557">
                  <c:v>41134</c:v>
                </c:pt>
                <c:pt idx="558">
                  <c:v>41135</c:v>
                </c:pt>
                <c:pt idx="559">
                  <c:v>41136</c:v>
                </c:pt>
                <c:pt idx="560">
                  <c:v>41137</c:v>
                </c:pt>
                <c:pt idx="561">
                  <c:v>41138</c:v>
                </c:pt>
                <c:pt idx="562">
                  <c:v>41141</c:v>
                </c:pt>
                <c:pt idx="563">
                  <c:v>41142</c:v>
                </c:pt>
                <c:pt idx="564">
                  <c:v>41143</c:v>
                </c:pt>
                <c:pt idx="565">
                  <c:v>41144</c:v>
                </c:pt>
                <c:pt idx="566">
                  <c:v>41145</c:v>
                </c:pt>
                <c:pt idx="567">
                  <c:v>41148</c:v>
                </c:pt>
                <c:pt idx="568">
                  <c:v>41149</c:v>
                </c:pt>
                <c:pt idx="569">
                  <c:v>41150</c:v>
                </c:pt>
                <c:pt idx="570">
                  <c:v>41151</c:v>
                </c:pt>
                <c:pt idx="571">
                  <c:v>41152</c:v>
                </c:pt>
                <c:pt idx="572">
                  <c:v>41155</c:v>
                </c:pt>
                <c:pt idx="573">
                  <c:v>41156</c:v>
                </c:pt>
                <c:pt idx="574">
                  <c:v>41157</c:v>
                </c:pt>
                <c:pt idx="575">
                  <c:v>41158</c:v>
                </c:pt>
                <c:pt idx="576">
                  <c:v>41159</c:v>
                </c:pt>
                <c:pt idx="577">
                  <c:v>41162</c:v>
                </c:pt>
                <c:pt idx="578">
                  <c:v>41163</c:v>
                </c:pt>
                <c:pt idx="579">
                  <c:v>41164</c:v>
                </c:pt>
                <c:pt idx="580">
                  <c:v>41165</c:v>
                </c:pt>
                <c:pt idx="581">
                  <c:v>41166</c:v>
                </c:pt>
                <c:pt idx="582">
                  <c:v>41169</c:v>
                </c:pt>
                <c:pt idx="583">
                  <c:v>41170</c:v>
                </c:pt>
                <c:pt idx="584">
                  <c:v>41171</c:v>
                </c:pt>
                <c:pt idx="585">
                  <c:v>41172</c:v>
                </c:pt>
                <c:pt idx="586">
                  <c:v>41173</c:v>
                </c:pt>
                <c:pt idx="587">
                  <c:v>41176</c:v>
                </c:pt>
                <c:pt idx="588">
                  <c:v>41177</c:v>
                </c:pt>
                <c:pt idx="589">
                  <c:v>41178</c:v>
                </c:pt>
                <c:pt idx="590">
                  <c:v>41179</c:v>
                </c:pt>
                <c:pt idx="591">
                  <c:v>41180</c:v>
                </c:pt>
                <c:pt idx="592">
                  <c:v>41183</c:v>
                </c:pt>
                <c:pt idx="593">
                  <c:v>41184</c:v>
                </c:pt>
                <c:pt idx="594">
                  <c:v>41185</c:v>
                </c:pt>
                <c:pt idx="595">
                  <c:v>41186</c:v>
                </c:pt>
                <c:pt idx="596">
                  <c:v>41187</c:v>
                </c:pt>
                <c:pt idx="597">
                  <c:v>41190</c:v>
                </c:pt>
                <c:pt idx="598">
                  <c:v>41191</c:v>
                </c:pt>
                <c:pt idx="599">
                  <c:v>41192</c:v>
                </c:pt>
                <c:pt idx="600">
                  <c:v>41193</c:v>
                </c:pt>
                <c:pt idx="601">
                  <c:v>41194</c:v>
                </c:pt>
                <c:pt idx="602">
                  <c:v>41197</c:v>
                </c:pt>
                <c:pt idx="603">
                  <c:v>41198</c:v>
                </c:pt>
                <c:pt idx="604">
                  <c:v>41199</c:v>
                </c:pt>
                <c:pt idx="605">
                  <c:v>41200</c:v>
                </c:pt>
                <c:pt idx="606">
                  <c:v>41201</c:v>
                </c:pt>
                <c:pt idx="607">
                  <c:v>41204</c:v>
                </c:pt>
                <c:pt idx="608">
                  <c:v>41205</c:v>
                </c:pt>
                <c:pt idx="609">
                  <c:v>41206</c:v>
                </c:pt>
                <c:pt idx="610">
                  <c:v>41207</c:v>
                </c:pt>
                <c:pt idx="611">
                  <c:v>41208</c:v>
                </c:pt>
                <c:pt idx="612">
                  <c:v>41211</c:v>
                </c:pt>
                <c:pt idx="613">
                  <c:v>41212</c:v>
                </c:pt>
                <c:pt idx="614">
                  <c:v>41213</c:v>
                </c:pt>
                <c:pt idx="615">
                  <c:v>41214</c:v>
                </c:pt>
                <c:pt idx="616">
                  <c:v>41215</c:v>
                </c:pt>
                <c:pt idx="617">
                  <c:v>41218</c:v>
                </c:pt>
                <c:pt idx="618">
                  <c:v>41219</c:v>
                </c:pt>
                <c:pt idx="619">
                  <c:v>41220</c:v>
                </c:pt>
                <c:pt idx="620">
                  <c:v>41221</c:v>
                </c:pt>
                <c:pt idx="621">
                  <c:v>41222</c:v>
                </c:pt>
                <c:pt idx="622">
                  <c:v>41225</c:v>
                </c:pt>
                <c:pt idx="623">
                  <c:v>41226</c:v>
                </c:pt>
                <c:pt idx="624">
                  <c:v>41227</c:v>
                </c:pt>
                <c:pt idx="625">
                  <c:v>41228</c:v>
                </c:pt>
                <c:pt idx="626">
                  <c:v>41229</c:v>
                </c:pt>
                <c:pt idx="627">
                  <c:v>41232</c:v>
                </c:pt>
                <c:pt idx="628">
                  <c:v>41233</c:v>
                </c:pt>
                <c:pt idx="629">
                  <c:v>41234</c:v>
                </c:pt>
                <c:pt idx="630">
                  <c:v>41235</c:v>
                </c:pt>
                <c:pt idx="631">
                  <c:v>41236</c:v>
                </c:pt>
                <c:pt idx="632">
                  <c:v>41239</c:v>
                </c:pt>
                <c:pt idx="633">
                  <c:v>41240</c:v>
                </c:pt>
                <c:pt idx="634">
                  <c:v>41241</c:v>
                </c:pt>
                <c:pt idx="635">
                  <c:v>41242</c:v>
                </c:pt>
                <c:pt idx="636">
                  <c:v>41243</c:v>
                </c:pt>
                <c:pt idx="637">
                  <c:v>41246</c:v>
                </c:pt>
                <c:pt idx="638">
                  <c:v>41247</c:v>
                </c:pt>
                <c:pt idx="639">
                  <c:v>41248</c:v>
                </c:pt>
                <c:pt idx="640">
                  <c:v>41249</c:v>
                </c:pt>
                <c:pt idx="641">
                  <c:v>41250</c:v>
                </c:pt>
                <c:pt idx="642">
                  <c:v>41253</c:v>
                </c:pt>
                <c:pt idx="643">
                  <c:v>41254</c:v>
                </c:pt>
                <c:pt idx="644">
                  <c:v>41255</c:v>
                </c:pt>
                <c:pt idx="645">
                  <c:v>41256</c:v>
                </c:pt>
                <c:pt idx="646">
                  <c:v>41257</c:v>
                </c:pt>
                <c:pt idx="647">
                  <c:v>41260</c:v>
                </c:pt>
                <c:pt idx="648">
                  <c:v>41261</c:v>
                </c:pt>
                <c:pt idx="649">
                  <c:v>41262</c:v>
                </c:pt>
                <c:pt idx="650">
                  <c:v>41263</c:v>
                </c:pt>
                <c:pt idx="651">
                  <c:v>41264</c:v>
                </c:pt>
                <c:pt idx="652">
                  <c:v>41267</c:v>
                </c:pt>
                <c:pt idx="653">
                  <c:v>41268</c:v>
                </c:pt>
                <c:pt idx="654">
                  <c:v>41269</c:v>
                </c:pt>
                <c:pt idx="655">
                  <c:v>41270</c:v>
                </c:pt>
                <c:pt idx="656">
                  <c:v>41271</c:v>
                </c:pt>
                <c:pt idx="657">
                  <c:v>41274</c:v>
                </c:pt>
                <c:pt idx="658">
                  <c:v>41275</c:v>
                </c:pt>
                <c:pt idx="659">
                  <c:v>41276</c:v>
                </c:pt>
                <c:pt idx="660">
                  <c:v>41277</c:v>
                </c:pt>
                <c:pt idx="661">
                  <c:v>41278</c:v>
                </c:pt>
                <c:pt idx="662">
                  <c:v>41281</c:v>
                </c:pt>
                <c:pt idx="663">
                  <c:v>41282</c:v>
                </c:pt>
                <c:pt idx="664">
                  <c:v>41283</c:v>
                </c:pt>
                <c:pt idx="665">
                  <c:v>41284</c:v>
                </c:pt>
                <c:pt idx="666">
                  <c:v>41285</c:v>
                </c:pt>
                <c:pt idx="667">
                  <c:v>41288</c:v>
                </c:pt>
                <c:pt idx="668">
                  <c:v>41289</c:v>
                </c:pt>
                <c:pt idx="669">
                  <c:v>41290</c:v>
                </c:pt>
                <c:pt idx="670">
                  <c:v>41291</c:v>
                </c:pt>
                <c:pt idx="671">
                  <c:v>41292</c:v>
                </c:pt>
                <c:pt idx="672">
                  <c:v>41295</c:v>
                </c:pt>
                <c:pt idx="673">
                  <c:v>41296</c:v>
                </c:pt>
                <c:pt idx="674">
                  <c:v>41297</c:v>
                </c:pt>
                <c:pt idx="675">
                  <c:v>41298</c:v>
                </c:pt>
                <c:pt idx="676">
                  <c:v>41299</c:v>
                </c:pt>
                <c:pt idx="677">
                  <c:v>41302</c:v>
                </c:pt>
                <c:pt idx="678">
                  <c:v>41303</c:v>
                </c:pt>
                <c:pt idx="679">
                  <c:v>41304</c:v>
                </c:pt>
                <c:pt idx="680">
                  <c:v>41305</c:v>
                </c:pt>
                <c:pt idx="681">
                  <c:v>41306</c:v>
                </c:pt>
                <c:pt idx="682">
                  <c:v>41309</c:v>
                </c:pt>
                <c:pt idx="683">
                  <c:v>41310</c:v>
                </c:pt>
                <c:pt idx="684">
                  <c:v>41311</c:v>
                </c:pt>
                <c:pt idx="685">
                  <c:v>41312</c:v>
                </c:pt>
                <c:pt idx="686">
                  <c:v>41313</c:v>
                </c:pt>
                <c:pt idx="687">
                  <c:v>41316</c:v>
                </c:pt>
                <c:pt idx="688">
                  <c:v>41317</c:v>
                </c:pt>
                <c:pt idx="689">
                  <c:v>41318</c:v>
                </c:pt>
                <c:pt idx="690">
                  <c:v>41319</c:v>
                </c:pt>
                <c:pt idx="691">
                  <c:v>41320</c:v>
                </c:pt>
                <c:pt idx="692">
                  <c:v>41323</c:v>
                </c:pt>
                <c:pt idx="693">
                  <c:v>41324</c:v>
                </c:pt>
                <c:pt idx="694">
                  <c:v>41325</c:v>
                </c:pt>
                <c:pt idx="695">
                  <c:v>41326</c:v>
                </c:pt>
                <c:pt idx="696">
                  <c:v>41327</c:v>
                </c:pt>
                <c:pt idx="697">
                  <c:v>41330</c:v>
                </c:pt>
                <c:pt idx="698">
                  <c:v>41331</c:v>
                </c:pt>
                <c:pt idx="699">
                  <c:v>41332</c:v>
                </c:pt>
                <c:pt idx="700">
                  <c:v>41333</c:v>
                </c:pt>
                <c:pt idx="701">
                  <c:v>41334</c:v>
                </c:pt>
                <c:pt idx="702">
                  <c:v>41337</c:v>
                </c:pt>
                <c:pt idx="703">
                  <c:v>41338</c:v>
                </c:pt>
                <c:pt idx="704">
                  <c:v>41339</c:v>
                </c:pt>
                <c:pt idx="705">
                  <c:v>41340</c:v>
                </c:pt>
                <c:pt idx="706">
                  <c:v>41341</c:v>
                </c:pt>
                <c:pt idx="707">
                  <c:v>41344</c:v>
                </c:pt>
                <c:pt idx="708">
                  <c:v>41345</c:v>
                </c:pt>
                <c:pt idx="709">
                  <c:v>41346</c:v>
                </c:pt>
                <c:pt idx="710">
                  <c:v>41347</c:v>
                </c:pt>
                <c:pt idx="711">
                  <c:v>41348</c:v>
                </c:pt>
                <c:pt idx="712">
                  <c:v>41351</c:v>
                </c:pt>
                <c:pt idx="713">
                  <c:v>41352</c:v>
                </c:pt>
                <c:pt idx="714">
                  <c:v>41353</c:v>
                </c:pt>
                <c:pt idx="715">
                  <c:v>41354</c:v>
                </c:pt>
                <c:pt idx="716">
                  <c:v>41355</c:v>
                </c:pt>
                <c:pt idx="717">
                  <c:v>41358</c:v>
                </c:pt>
                <c:pt idx="718">
                  <c:v>41359</c:v>
                </c:pt>
                <c:pt idx="719">
                  <c:v>41360</c:v>
                </c:pt>
                <c:pt idx="720">
                  <c:v>41361</c:v>
                </c:pt>
                <c:pt idx="721">
                  <c:v>41362</c:v>
                </c:pt>
                <c:pt idx="722">
                  <c:v>41365</c:v>
                </c:pt>
                <c:pt idx="723">
                  <c:v>41366</c:v>
                </c:pt>
                <c:pt idx="724">
                  <c:v>41367</c:v>
                </c:pt>
                <c:pt idx="725">
                  <c:v>41368</c:v>
                </c:pt>
                <c:pt idx="726">
                  <c:v>41369</c:v>
                </c:pt>
                <c:pt idx="727">
                  <c:v>41372</c:v>
                </c:pt>
                <c:pt idx="728">
                  <c:v>41373</c:v>
                </c:pt>
                <c:pt idx="729">
                  <c:v>41374</c:v>
                </c:pt>
                <c:pt idx="730">
                  <c:v>41375</c:v>
                </c:pt>
                <c:pt idx="731">
                  <c:v>41376</c:v>
                </c:pt>
                <c:pt idx="732">
                  <c:v>41379</c:v>
                </c:pt>
                <c:pt idx="733">
                  <c:v>41380</c:v>
                </c:pt>
                <c:pt idx="734">
                  <c:v>41381</c:v>
                </c:pt>
                <c:pt idx="735">
                  <c:v>41382</c:v>
                </c:pt>
                <c:pt idx="736">
                  <c:v>41383</c:v>
                </c:pt>
                <c:pt idx="737">
                  <c:v>41386</c:v>
                </c:pt>
                <c:pt idx="738">
                  <c:v>41387</c:v>
                </c:pt>
                <c:pt idx="739">
                  <c:v>41388</c:v>
                </c:pt>
                <c:pt idx="740">
                  <c:v>41389</c:v>
                </c:pt>
                <c:pt idx="741">
                  <c:v>41390</c:v>
                </c:pt>
                <c:pt idx="742">
                  <c:v>41393</c:v>
                </c:pt>
                <c:pt idx="743">
                  <c:v>41394</c:v>
                </c:pt>
                <c:pt idx="744">
                  <c:v>41395</c:v>
                </c:pt>
                <c:pt idx="745">
                  <c:v>41396</c:v>
                </c:pt>
                <c:pt idx="746">
                  <c:v>41397</c:v>
                </c:pt>
                <c:pt idx="747">
                  <c:v>41400</c:v>
                </c:pt>
                <c:pt idx="748">
                  <c:v>41401</c:v>
                </c:pt>
                <c:pt idx="749">
                  <c:v>41402</c:v>
                </c:pt>
                <c:pt idx="750">
                  <c:v>41403</c:v>
                </c:pt>
                <c:pt idx="751">
                  <c:v>41404</c:v>
                </c:pt>
                <c:pt idx="752">
                  <c:v>41407</c:v>
                </c:pt>
                <c:pt idx="753">
                  <c:v>41408</c:v>
                </c:pt>
                <c:pt idx="754">
                  <c:v>41409</c:v>
                </c:pt>
                <c:pt idx="755">
                  <c:v>41410</c:v>
                </c:pt>
                <c:pt idx="756">
                  <c:v>41411</c:v>
                </c:pt>
                <c:pt idx="757">
                  <c:v>41414</c:v>
                </c:pt>
                <c:pt idx="758">
                  <c:v>41415</c:v>
                </c:pt>
                <c:pt idx="759">
                  <c:v>41416</c:v>
                </c:pt>
                <c:pt idx="760">
                  <c:v>41417</c:v>
                </c:pt>
                <c:pt idx="761">
                  <c:v>41418</c:v>
                </c:pt>
                <c:pt idx="762">
                  <c:v>41421</c:v>
                </c:pt>
                <c:pt idx="763">
                  <c:v>41422</c:v>
                </c:pt>
                <c:pt idx="764">
                  <c:v>41423</c:v>
                </c:pt>
                <c:pt idx="765">
                  <c:v>41424</c:v>
                </c:pt>
                <c:pt idx="766">
                  <c:v>41425</c:v>
                </c:pt>
                <c:pt idx="767">
                  <c:v>41428</c:v>
                </c:pt>
                <c:pt idx="768">
                  <c:v>41429</c:v>
                </c:pt>
                <c:pt idx="769">
                  <c:v>41430</c:v>
                </c:pt>
                <c:pt idx="770">
                  <c:v>41431</c:v>
                </c:pt>
                <c:pt idx="771">
                  <c:v>41432</c:v>
                </c:pt>
                <c:pt idx="772">
                  <c:v>41435</c:v>
                </c:pt>
                <c:pt idx="773">
                  <c:v>41436</c:v>
                </c:pt>
                <c:pt idx="774">
                  <c:v>41437</c:v>
                </c:pt>
                <c:pt idx="775">
                  <c:v>41438</c:v>
                </c:pt>
                <c:pt idx="776">
                  <c:v>41439</c:v>
                </c:pt>
                <c:pt idx="777">
                  <c:v>41442</c:v>
                </c:pt>
                <c:pt idx="778">
                  <c:v>41443</c:v>
                </c:pt>
                <c:pt idx="779">
                  <c:v>41444</c:v>
                </c:pt>
                <c:pt idx="780">
                  <c:v>41445</c:v>
                </c:pt>
                <c:pt idx="781">
                  <c:v>41446</c:v>
                </c:pt>
                <c:pt idx="782">
                  <c:v>41449</c:v>
                </c:pt>
                <c:pt idx="783">
                  <c:v>41450</c:v>
                </c:pt>
                <c:pt idx="784">
                  <c:v>41451</c:v>
                </c:pt>
                <c:pt idx="785">
                  <c:v>41452</c:v>
                </c:pt>
                <c:pt idx="786">
                  <c:v>41453</c:v>
                </c:pt>
                <c:pt idx="787">
                  <c:v>41456</c:v>
                </c:pt>
                <c:pt idx="788">
                  <c:v>41457</c:v>
                </c:pt>
                <c:pt idx="789">
                  <c:v>41458</c:v>
                </c:pt>
                <c:pt idx="790">
                  <c:v>41459</c:v>
                </c:pt>
                <c:pt idx="791">
                  <c:v>41460</c:v>
                </c:pt>
                <c:pt idx="792">
                  <c:v>41463</c:v>
                </c:pt>
                <c:pt idx="793">
                  <c:v>41464</c:v>
                </c:pt>
                <c:pt idx="794">
                  <c:v>41465</c:v>
                </c:pt>
                <c:pt idx="795">
                  <c:v>41466</c:v>
                </c:pt>
                <c:pt idx="796">
                  <c:v>41467</c:v>
                </c:pt>
                <c:pt idx="797">
                  <c:v>41470</c:v>
                </c:pt>
                <c:pt idx="798">
                  <c:v>41471</c:v>
                </c:pt>
                <c:pt idx="799">
                  <c:v>41472</c:v>
                </c:pt>
                <c:pt idx="800">
                  <c:v>41473</c:v>
                </c:pt>
                <c:pt idx="801">
                  <c:v>41474</c:v>
                </c:pt>
                <c:pt idx="802">
                  <c:v>41477</c:v>
                </c:pt>
                <c:pt idx="803">
                  <c:v>41478</c:v>
                </c:pt>
                <c:pt idx="804">
                  <c:v>41479</c:v>
                </c:pt>
                <c:pt idx="805">
                  <c:v>41480</c:v>
                </c:pt>
                <c:pt idx="806">
                  <c:v>41481</c:v>
                </c:pt>
                <c:pt idx="807">
                  <c:v>41484</c:v>
                </c:pt>
                <c:pt idx="808">
                  <c:v>41485</c:v>
                </c:pt>
                <c:pt idx="809">
                  <c:v>41486</c:v>
                </c:pt>
                <c:pt idx="810">
                  <c:v>41487</c:v>
                </c:pt>
                <c:pt idx="811">
                  <c:v>41488</c:v>
                </c:pt>
                <c:pt idx="812">
                  <c:v>41491</c:v>
                </c:pt>
                <c:pt idx="813">
                  <c:v>41492</c:v>
                </c:pt>
                <c:pt idx="814">
                  <c:v>41493</c:v>
                </c:pt>
                <c:pt idx="815">
                  <c:v>41494</c:v>
                </c:pt>
                <c:pt idx="816">
                  <c:v>41495</c:v>
                </c:pt>
                <c:pt idx="817">
                  <c:v>41498</c:v>
                </c:pt>
                <c:pt idx="818">
                  <c:v>41499</c:v>
                </c:pt>
                <c:pt idx="819">
                  <c:v>41500</c:v>
                </c:pt>
                <c:pt idx="820">
                  <c:v>41501</c:v>
                </c:pt>
                <c:pt idx="821">
                  <c:v>41502</c:v>
                </c:pt>
                <c:pt idx="822">
                  <c:v>41505</c:v>
                </c:pt>
                <c:pt idx="823">
                  <c:v>41506</c:v>
                </c:pt>
                <c:pt idx="824">
                  <c:v>41507</c:v>
                </c:pt>
                <c:pt idx="825">
                  <c:v>41508</c:v>
                </c:pt>
                <c:pt idx="826">
                  <c:v>41509</c:v>
                </c:pt>
                <c:pt idx="827">
                  <c:v>41512</c:v>
                </c:pt>
                <c:pt idx="828">
                  <c:v>41513</c:v>
                </c:pt>
                <c:pt idx="829">
                  <c:v>41514</c:v>
                </c:pt>
                <c:pt idx="830">
                  <c:v>41515</c:v>
                </c:pt>
                <c:pt idx="831">
                  <c:v>41516</c:v>
                </c:pt>
                <c:pt idx="832">
                  <c:v>41519</c:v>
                </c:pt>
                <c:pt idx="833">
                  <c:v>41520</c:v>
                </c:pt>
                <c:pt idx="834">
                  <c:v>41521</c:v>
                </c:pt>
                <c:pt idx="835">
                  <c:v>41522</c:v>
                </c:pt>
                <c:pt idx="836">
                  <c:v>41523</c:v>
                </c:pt>
                <c:pt idx="837">
                  <c:v>41526</c:v>
                </c:pt>
                <c:pt idx="838">
                  <c:v>41527</c:v>
                </c:pt>
                <c:pt idx="839">
                  <c:v>41528</c:v>
                </c:pt>
                <c:pt idx="840">
                  <c:v>41529</c:v>
                </c:pt>
                <c:pt idx="841">
                  <c:v>41530</c:v>
                </c:pt>
                <c:pt idx="842">
                  <c:v>41533</c:v>
                </c:pt>
                <c:pt idx="843">
                  <c:v>41534</c:v>
                </c:pt>
                <c:pt idx="844">
                  <c:v>41535</c:v>
                </c:pt>
                <c:pt idx="845">
                  <c:v>41536</c:v>
                </c:pt>
                <c:pt idx="846">
                  <c:v>41537</c:v>
                </c:pt>
                <c:pt idx="847">
                  <c:v>41540</c:v>
                </c:pt>
                <c:pt idx="848">
                  <c:v>41541</c:v>
                </c:pt>
                <c:pt idx="849">
                  <c:v>41542</c:v>
                </c:pt>
                <c:pt idx="850">
                  <c:v>41543</c:v>
                </c:pt>
                <c:pt idx="851">
                  <c:v>41544</c:v>
                </c:pt>
                <c:pt idx="852">
                  <c:v>41547</c:v>
                </c:pt>
                <c:pt idx="853">
                  <c:v>41548</c:v>
                </c:pt>
                <c:pt idx="854">
                  <c:v>41549</c:v>
                </c:pt>
                <c:pt idx="855">
                  <c:v>41550</c:v>
                </c:pt>
                <c:pt idx="856">
                  <c:v>41551</c:v>
                </c:pt>
                <c:pt idx="857">
                  <c:v>41554</c:v>
                </c:pt>
                <c:pt idx="858">
                  <c:v>41555</c:v>
                </c:pt>
                <c:pt idx="859">
                  <c:v>41556</c:v>
                </c:pt>
                <c:pt idx="860">
                  <c:v>41557</c:v>
                </c:pt>
                <c:pt idx="861">
                  <c:v>41558</c:v>
                </c:pt>
                <c:pt idx="862">
                  <c:v>41561</c:v>
                </c:pt>
                <c:pt idx="863">
                  <c:v>41562</c:v>
                </c:pt>
                <c:pt idx="864">
                  <c:v>41563</c:v>
                </c:pt>
                <c:pt idx="865">
                  <c:v>41564</c:v>
                </c:pt>
                <c:pt idx="866">
                  <c:v>41565</c:v>
                </c:pt>
                <c:pt idx="867">
                  <c:v>41568</c:v>
                </c:pt>
                <c:pt idx="868">
                  <c:v>41569</c:v>
                </c:pt>
                <c:pt idx="869">
                  <c:v>41570</c:v>
                </c:pt>
                <c:pt idx="870">
                  <c:v>41571</c:v>
                </c:pt>
                <c:pt idx="871">
                  <c:v>41572</c:v>
                </c:pt>
                <c:pt idx="872">
                  <c:v>41575</c:v>
                </c:pt>
                <c:pt idx="873">
                  <c:v>41576</c:v>
                </c:pt>
                <c:pt idx="874">
                  <c:v>41577</c:v>
                </c:pt>
                <c:pt idx="875">
                  <c:v>41578</c:v>
                </c:pt>
                <c:pt idx="876">
                  <c:v>41579</c:v>
                </c:pt>
                <c:pt idx="877">
                  <c:v>41582</c:v>
                </c:pt>
                <c:pt idx="878">
                  <c:v>41583</c:v>
                </c:pt>
                <c:pt idx="879">
                  <c:v>41584</c:v>
                </c:pt>
                <c:pt idx="880">
                  <c:v>41585</c:v>
                </c:pt>
                <c:pt idx="881">
                  <c:v>41586</c:v>
                </c:pt>
                <c:pt idx="882">
                  <c:v>41589</c:v>
                </c:pt>
                <c:pt idx="883">
                  <c:v>41590</c:v>
                </c:pt>
                <c:pt idx="884">
                  <c:v>41591</c:v>
                </c:pt>
                <c:pt idx="885">
                  <c:v>41592</c:v>
                </c:pt>
                <c:pt idx="886">
                  <c:v>41593</c:v>
                </c:pt>
                <c:pt idx="887">
                  <c:v>41596</c:v>
                </c:pt>
                <c:pt idx="888">
                  <c:v>41597</c:v>
                </c:pt>
                <c:pt idx="889">
                  <c:v>41598</c:v>
                </c:pt>
                <c:pt idx="890">
                  <c:v>41599</c:v>
                </c:pt>
                <c:pt idx="891">
                  <c:v>41600</c:v>
                </c:pt>
                <c:pt idx="892">
                  <c:v>41603</c:v>
                </c:pt>
                <c:pt idx="893">
                  <c:v>41604</c:v>
                </c:pt>
                <c:pt idx="894">
                  <c:v>41605</c:v>
                </c:pt>
                <c:pt idx="895">
                  <c:v>41606</c:v>
                </c:pt>
                <c:pt idx="896">
                  <c:v>41607</c:v>
                </c:pt>
                <c:pt idx="897">
                  <c:v>41610</c:v>
                </c:pt>
                <c:pt idx="898">
                  <c:v>41611</c:v>
                </c:pt>
                <c:pt idx="899">
                  <c:v>41612</c:v>
                </c:pt>
                <c:pt idx="900">
                  <c:v>41613</c:v>
                </c:pt>
                <c:pt idx="901">
                  <c:v>41614</c:v>
                </c:pt>
                <c:pt idx="902">
                  <c:v>41617</c:v>
                </c:pt>
                <c:pt idx="903">
                  <c:v>41618</c:v>
                </c:pt>
                <c:pt idx="904">
                  <c:v>41619</c:v>
                </c:pt>
                <c:pt idx="905">
                  <c:v>41620</c:v>
                </c:pt>
                <c:pt idx="906">
                  <c:v>41621</c:v>
                </c:pt>
                <c:pt idx="907">
                  <c:v>41624</c:v>
                </c:pt>
                <c:pt idx="908">
                  <c:v>41625</c:v>
                </c:pt>
                <c:pt idx="909">
                  <c:v>41626</c:v>
                </c:pt>
                <c:pt idx="910">
                  <c:v>41627</c:v>
                </c:pt>
                <c:pt idx="911">
                  <c:v>41628</c:v>
                </c:pt>
                <c:pt idx="912">
                  <c:v>41631</c:v>
                </c:pt>
                <c:pt idx="913">
                  <c:v>41632</c:v>
                </c:pt>
                <c:pt idx="914">
                  <c:v>41633</c:v>
                </c:pt>
                <c:pt idx="915">
                  <c:v>41634</c:v>
                </c:pt>
                <c:pt idx="916">
                  <c:v>41635</c:v>
                </c:pt>
                <c:pt idx="917">
                  <c:v>41638</c:v>
                </c:pt>
                <c:pt idx="918">
                  <c:v>41639</c:v>
                </c:pt>
                <c:pt idx="919">
                  <c:v>41640</c:v>
                </c:pt>
                <c:pt idx="920">
                  <c:v>41641</c:v>
                </c:pt>
                <c:pt idx="921">
                  <c:v>41642</c:v>
                </c:pt>
                <c:pt idx="922">
                  <c:v>41645</c:v>
                </c:pt>
                <c:pt idx="923">
                  <c:v>41646</c:v>
                </c:pt>
                <c:pt idx="924">
                  <c:v>41647</c:v>
                </c:pt>
                <c:pt idx="925">
                  <c:v>41648</c:v>
                </c:pt>
                <c:pt idx="926">
                  <c:v>41649</c:v>
                </c:pt>
                <c:pt idx="927">
                  <c:v>41652</c:v>
                </c:pt>
                <c:pt idx="928">
                  <c:v>41653</c:v>
                </c:pt>
                <c:pt idx="929">
                  <c:v>41654</c:v>
                </c:pt>
                <c:pt idx="930">
                  <c:v>41655</c:v>
                </c:pt>
                <c:pt idx="931">
                  <c:v>41656</c:v>
                </c:pt>
                <c:pt idx="932">
                  <c:v>41659</c:v>
                </c:pt>
                <c:pt idx="933">
                  <c:v>41660</c:v>
                </c:pt>
                <c:pt idx="934">
                  <c:v>41661</c:v>
                </c:pt>
                <c:pt idx="935">
                  <c:v>41662</c:v>
                </c:pt>
                <c:pt idx="936">
                  <c:v>41663</c:v>
                </c:pt>
                <c:pt idx="937">
                  <c:v>41666</c:v>
                </c:pt>
                <c:pt idx="938">
                  <c:v>41667</c:v>
                </c:pt>
                <c:pt idx="939">
                  <c:v>41668</c:v>
                </c:pt>
                <c:pt idx="940">
                  <c:v>41669</c:v>
                </c:pt>
                <c:pt idx="941">
                  <c:v>41670</c:v>
                </c:pt>
                <c:pt idx="942">
                  <c:v>41673</c:v>
                </c:pt>
                <c:pt idx="943">
                  <c:v>41674</c:v>
                </c:pt>
                <c:pt idx="944">
                  <c:v>41675</c:v>
                </c:pt>
                <c:pt idx="945">
                  <c:v>41676</c:v>
                </c:pt>
                <c:pt idx="946">
                  <c:v>41677</c:v>
                </c:pt>
                <c:pt idx="947">
                  <c:v>41680</c:v>
                </c:pt>
                <c:pt idx="948">
                  <c:v>41681</c:v>
                </c:pt>
                <c:pt idx="949">
                  <c:v>41682</c:v>
                </c:pt>
                <c:pt idx="950">
                  <c:v>41683</c:v>
                </c:pt>
                <c:pt idx="951">
                  <c:v>41684</c:v>
                </c:pt>
                <c:pt idx="952">
                  <c:v>41687</c:v>
                </c:pt>
                <c:pt idx="953">
                  <c:v>41688</c:v>
                </c:pt>
                <c:pt idx="954">
                  <c:v>41689</c:v>
                </c:pt>
                <c:pt idx="955">
                  <c:v>41690</c:v>
                </c:pt>
                <c:pt idx="956">
                  <c:v>41691</c:v>
                </c:pt>
                <c:pt idx="957">
                  <c:v>41694</c:v>
                </c:pt>
                <c:pt idx="958">
                  <c:v>41695</c:v>
                </c:pt>
                <c:pt idx="959">
                  <c:v>41696</c:v>
                </c:pt>
                <c:pt idx="960">
                  <c:v>41697</c:v>
                </c:pt>
                <c:pt idx="961">
                  <c:v>41698</c:v>
                </c:pt>
                <c:pt idx="962">
                  <c:v>41701</c:v>
                </c:pt>
                <c:pt idx="963">
                  <c:v>41702</c:v>
                </c:pt>
                <c:pt idx="964">
                  <c:v>41703</c:v>
                </c:pt>
                <c:pt idx="965">
                  <c:v>41704</c:v>
                </c:pt>
                <c:pt idx="966">
                  <c:v>41705</c:v>
                </c:pt>
                <c:pt idx="967">
                  <c:v>41708</c:v>
                </c:pt>
                <c:pt idx="968">
                  <c:v>41709</c:v>
                </c:pt>
                <c:pt idx="969">
                  <c:v>41710</c:v>
                </c:pt>
                <c:pt idx="970">
                  <c:v>41711</c:v>
                </c:pt>
                <c:pt idx="971">
                  <c:v>41712</c:v>
                </c:pt>
                <c:pt idx="972">
                  <c:v>41715</c:v>
                </c:pt>
                <c:pt idx="973">
                  <c:v>41716</c:v>
                </c:pt>
                <c:pt idx="974">
                  <c:v>41717</c:v>
                </c:pt>
                <c:pt idx="975">
                  <c:v>41718</c:v>
                </c:pt>
                <c:pt idx="976">
                  <c:v>41719</c:v>
                </c:pt>
                <c:pt idx="977">
                  <c:v>41722</c:v>
                </c:pt>
                <c:pt idx="978">
                  <c:v>41723</c:v>
                </c:pt>
                <c:pt idx="979">
                  <c:v>41724</c:v>
                </c:pt>
                <c:pt idx="980">
                  <c:v>41725</c:v>
                </c:pt>
                <c:pt idx="981">
                  <c:v>41726</c:v>
                </c:pt>
                <c:pt idx="982">
                  <c:v>41729</c:v>
                </c:pt>
                <c:pt idx="983">
                  <c:v>41730</c:v>
                </c:pt>
                <c:pt idx="984">
                  <c:v>41731</c:v>
                </c:pt>
                <c:pt idx="985">
                  <c:v>41732</c:v>
                </c:pt>
                <c:pt idx="986">
                  <c:v>41733</c:v>
                </c:pt>
                <c:pt idx="987">
                  <c:v>41736</c:v>
                </c:pt>
                <c:pt idx="988">
                  <c:v>41737</c:v>
                </c:pt>
                <c:pt idx="989">
                  <c:v>41738</c:v>
                </c:pt>
                <c:pt idx="990">
                  <c:v>41739</c:v>
                </c:pt>
                <c:pt idx="991">
                  <c:v>41740</c:v>
                </c:pt>
                <c:pt idx="992">
                  <c:v>41743</c:v>
                </c:pt>
                <c:pt idx="993">
                  <c:v>41744</c:v>
                </c:pt>
                <c:pt idx="994">
                  <c:v>41745</c:v>
                </c:pt>
                <c:pt idx="995">
                  <c:v>41746</c:v>
                </c:pt>
                <c:pt idx="996">
                  <c:v>41747</c:v>
                </c:pt>
                <c:pt idx="997">
                  <c:v>41750</c:v>
                </c:pt>
                <c:pt idx="998">
                  <c:v>41751</c:v>
                </c:pt>
                <c:pt idx="999">
                  <c:v>41752</c:v>
                </c:pt>
                <c:pt idx="1000">
                  <c:v>41753</c:v>
                </c:pt>
                <c:pt idx="1001">
                  <c:v>41754</c:v>
                </c:pt>
                <c:pt idx="1002">
                  <c:v>41757</c:v>
                </c:pt>
                <c:pt idx="1003">
                  <c:v>41758</c:v>
                </c:pt>
                <c:pt idx="1004">
                  <c:v>41759</c:v>
                </c:pt>
                <c:pt idx="1005">
                  <c:v>41760</c:v>
                </c:pt>
                <c:pt idx="1006">
                  <c:v>41761</c:v>
                </c:pt>
                <c:pt idx="1007">
                  <c:v>41764</c:v>
                </c:pt>
                <c:pt idx="1008">
                  <c:v>41765</c:v>
                </c:pt>
                <c:pt idx="1009">
                  <c:v>41766</c:v>
                </c:pt>
                <c:pt idx="1010">
                  <c:v>41767</c:v>
                </c:pt>
                <c:pt idx="1011">
                  <c:v>41768</c:v>
                </c:pt>
                <c:pt idx="1012">
                  <c:v>41771</c:v>
                </c:pt>
                <c:pt idx="1013">
                  <c:v>41772</c:v>
                </c:pt>
                <c:pt idx="1014">
                  <c:v>41773</c:v>
                </c:pt>
                <c:pt idx="1015">
                  <c:v>41774</c:v>
                </c:pt>
                <c:pt idx="1016">
                  <c:v>41775</c:v>
                </c:pt>
                <c:pt idx="1017">
                  <c:v>41778</c:v>
                </c:pt>
                <c:pt idx="1018">
                  <c:v>41779</c:v>
                </c:pt>
                <c:pt idx="1019">
                  <c:v>41780</c:v>
                </c:pt>
                <c:pt idx="1020">
                  <c:v>41781</c:v>
                </c:pt>
                <c:pt idx="1021">
                  <c:v>41782</c:v>
                </c:pt>
                <c:pt idx="1022">
                  <c:v>41785</c:v>
                </c:pt>
                <c:pt idx="1023">
                  <c:v>41786</c:v>
                </c:pt>
                <c:pt idx="1024">
                  <c:v>41787</c:v>
                </c:pt>
                <c:pt idx="1025">
                  <c:v>41788</c:v>
                </c:pt>
                <c:pt idx="1026">
                  <c:v>41789</c:v>
                </c:pt>
                <c:pt idx="1027">
                  <c:v>41792</c:v>
                </c:pt>
                <c:pt idx="1028">
                  <c:v>41793</c:v>
                </c:pt>
                <c:pt idx="1029">
                  <c:v>41794</c:v>
                </c:pt>
                <c:pt idx="1030">
                  <c:v>41795</c:v>
                </c:pt>
                <c:pt idx="1031">
                  <c:v>41796</c:v>
                </c:pt>
                <c:pt idx="1032">
                  <c:v>41799</c:v>
                </c:pt>
                <c:pt idx="1033">
                  <c:v>41800</c:v>
                </c:pt>
                <c:pt idx="1034">
                  <c:v>41801</c:v>
                </c:pt>
                <c:pt idx="1035">
                  <c:v>41802</c:v>
                </c:pt>
                <c:pt idx="1036">
                  <c:v>41803</c:v>
                </c:pt>
                <c:pt idx="1037">
                  <c:v>41806</c:v>
                </c:pt>
                <c:pt idx="1038">
                  <c:v>41807</c:v>
                </c:pt>
                <c:pt idx="1039">
                  <c:v>41808</c:v>
                </c:pt>
                <c:pt idx="1040">
                  <c:v>41809</c:v>
                </c:pt>
                <c:pt idx="1041">
                  <c:v>41810</c:v>
                </c:pt>
                <c:pt idx="1042">
                  <c:v>41813</c:v>
                </c:pt>
                <c:pt idx="1043">
                  <c:v>41814</c:v>
                </c:pt>
                <c:pt idx="1044">
                  <c:v>41815</c:v>
                </c:pt>
                <c:pt idx="1045">
                  <c:v>41816</c:v>
                </c:pt>
                <c:pt idx="1046">
                  <c:v>41817</c:v>
                </c:pt>
                <c:pt idx="1047">
                  <c:v>41820</c:v>
                </c:pt>
                <c:pt idx="1048">
                  <c:v>41821</c:v>
                </c:pt>
                <c:pt idx="1049">
                  <c:v>41822</c:v>
                </c:pt>
                <c:pt idx="1050">
                  <c:v>41823</c:v>
                </c:pt>
                <c:pt idx="1051">
                  <c:v>41824</c:v>
                </c:pt>
                <c:pt idx="1052">
                  <c:v>41827</c:v>
                </c:pt>
                <c:pt idx="1053">
                  <c:v>41828</c:v>
                </c:pt>
                <c:pt idx="1054">
                  <c:v>41829</c:v>
                </c:pt>
                <c:pt idx="1055">
                  <c:v>41830</c:v>
                </c:pt>
                <c:pt idx="1056">
                  <c:v>41831</c:v>
                </c:pt>
                <c:pt idx="1057">
                  <c:v>41834</c:v>
                </c:pt>
                <c:pt idx="1058">
                  <c:v>41835</c:v>
                </c:pt>
                <c:pt idx="1059">
                  <c:v>41836</c:v>
                </c:pt>
                <c:pt idx="1060">
                  <c:v>41837</c:v>
                </c:pt>
                <c:pt idx="1061">
                  <c:v>41838</c:v>
                </c:pt>
                <c:pt idx="1062">
                  <c:v>41841</c:v>
                </c:pt>
                <c:pt idx="1063">
                  <c:v>41842</c:v>
                </c:pt>
                <c:pt idx="1064">
                  <c:v>41843</c:v>
                </c:pt>
                <c:pt idx="1065">
                  <c:v>41844</c:v>
                </c:pt>
                <c:pt idx="1066">
                  <c:v>41845</c:v>
                </c:pt>
                <c:pt idx="1067">
                  <c:v>41848</c:v>
                </c:pt>
                <c:pt idx="1068">
                  <c:v>41849</c:v>
                </c:pt>
                <c:pt idx="1069">
                  <c:v>41850</c:v>
                </c:pt>
                <c:pt idx="1070">
                  <c:v>41851</c:v>
                </c:pt>
                <c:pt idx="1071">
                  <c:v>41852</c:v>
                </c:pt>
                <c:pt idx="1072">
                  <c:v>41855</c:v>
                </c:pt>
                <c:pt idx="1073">
                  <c:v>41856</c:v>
                </c:pt>
                <c:pt idx="1074">
                  <c:v>41857</c:v>
                </c:pt>
                <c:pt idx="1075">
                  <c:v>41858</c:v>
                </c:pt>
                <c:pt idx="1076">
                  <c:v>41859</c:v>
                </c:pt>
                <c:pt idx="1077">
                  <c:v>41862</c:v>
                </c:pt>
                <c:pt idx="1078">
                  <c:v>41863</c:v>
                </c:pt>
                <c:pt idx="1079">
                  <c:v>41864</c:v>
                </c:pt>
                <c:pt idx="1080">
                  <c:v>41865</c:v>
                </c:pt>
                <c:pt idx="1081">
                  <c:v>41866</c:v>
                </c:pt>
                <c:pt idx="1082">
                  <c:v>41869</c:v>
                </c:pt>
                <c:pt idx="1083">
                  <c:v>41870</c:v>
                </c:pt>
                <c:pt idx="1084">
                  <c:v>41871</c:v>
                </c:pt>
                <c:pt idx="1085">
                  <c:v>41872</c:v>
                </c:pt>
                <c:pt idx="1086">
                  <c:v>41873</c:v>
                </c:pt>
                <c:pt idx="1087">
                  <c:v>41876</c:v>
                </c:pt>
                <c:pt idx="1088">
                  <c:v>41877</c:v>
                </c:pt>
                <c:pt idx="1089">
                  <c:v>41878</c:v>
                </c:pt>
                <c:pt idx="1090">
                  <c:v>41879</c:v>
                </c:pt>
                <c:pt idx="1091">
                  <c:v>41880</c:v>
                </c:pt>
                <c:pt idx="1092">
                  <c:v>41883</c:v>
                </c:pt>
                <c:pt idx="1093">
                  <c:v>41884</c:v>
                </c:pt>
                <c:pt idx="1094">
                  <c:v>41885</c:v>
                </c:pt>
                <c:pt idx="1095">
                  <c:v>41886</c:v>
                </c:pt>
                <c:pt idx="1096">
                  <c:v>41887</c:v>
                </c:pt>
                <c:pt idx="1097">
                  <c:v>41890</c:v>
                </c:pt>
                <c:pt idx="1098">
                  <c:v>41891</c:v>
                </c:pt>
                <c:pt idx="1099">
                  <c:v>41892</c:v>
                </c:pt>
                <c:pt idx="1100">
                  <c:v>41893</c:v>
                </c:pt>
                <c:pt idx="1101">
                  <c:v>41894</c:v>
                </c:pt>
                <c:pt idx="1102">
                  <c:v>41897</c:v>
                </c:pt>
                <c:pt idx="1103">
                  <c:v>41898</c:v>
                </c:pt>
                <c:pt idx="1104">
                  <c:v>41899</c:v>
                </c:pt>
                <c:pt idx="1105">
                  <c:v>41900</c:v>
                </c:pt>
                <c:pt idx="1106">
                  <c:v>41901</c:v>
                </c:pt>
                <c:pt idx="1107">
                  <c:v>41904</c:v>
                </c:pt>
                <c:pt idx="1108">
                  <c:v>41905</c:v>
                </c:pt>
                <c:pt idx="1109">
                  <c:v>41906</c:v>
                </c:pt>
                <c:pt idx="1110">
                  <c:v>41907</c:v>
                </c:pt>
                <c:pt idx="1111">
                  <c:v>41908</c:v>
                </c:pt>
                <c:pt idx="1112">
                  <c:v>41911</c:v>
                </c:pt>
                <c:pt idx="1113">
                  <c:v>41912</c:v>
                </c:pt>
                <c:pt idx="1114">
                  <c:v>41913</c:v>
                </c:pt>
                <c:pt idx="1115">
                  <c:v>41914</c:v>
                </c:pt>
                <c:pt idx="1116">
                  <c:v>41915</c:v>
                </c:pt>
                <c:pt idx="1117">
                  <c:v>41918</c:v>
                </c:pt>
                <c:pt idx="1118">
                  <c:v>41919</c:v>
                </c:pt>
                <c:pt idx="1119">
                  <c:v>41920</c:v>
                </c:pt>
                <c:pt idx="1120">
                  <c:v>41921</c:v>
                </c:pt>
                <c:pt idx="1121">
                  <c:v>41922</c:v>
                </c:pt>
                <c:pt idx="1122">
                  <c:v>41925</c:v>
                </c:pt>
                <c:pt idx="1123">
                  <c:v>41926</c:v>
                </c:pt>
                <c:pt idx="1124">
                  <c:v>41927</c:v>
                </c:pt>
                <c:pt idx="1125">
                  <c:v>41928</c:v>
                </c:pt>
                <c:pt idx="1126">
                  <c:v>41929</c:v>
                </c:pt>
                <c:pt idx="1127">
                  <c:v>41932</c:v>
                </c:pt>
                <c:pt idx="1128">
                  <c:v>41933</c:v>
                </c:pt>
                <c:pt idx="1129">
                  <c:v>41934</c:v>
                </c:pt>
                <c:pt idx="1130">
                  <c:v>41935</c:v>
                </c:pt>
                <c:pt idx="1131">
                  <c:v>41936</c:v>
                </c:pt>
                <c:pt idx="1132">
                  <c:v>41939</c:v>
                </c:pt>
                <c:pt idx="1133">
                  <c:v>41940</c:v>
                </c:pt>
                <c:pt idx="1134">
                  <c:v>41941</c:v>
                </c:pt>
                <c:pt idx="1135">
                  <c:v>41942</c:v>
                </c:pt>
                <c:pt idx="1136">
                  <c:v>41943</c:v>
                </c:pt>
                <c:pt idx="1137">
                  <c:v>41946</c:v>
                </c:pt>
                <c:pt idx="1138">
                  <c:v>41947</c:v>
                </c:pt>
                <c:pt idx="1139">
                  <c:v>41948</c:v>
                </c:pt>
                <c:pt idx="1140">
                  <c:v>41949</c:v>
                </c:pt>
                <c:pt idx="1141">
                  <c:v>41950</c:v>
                </c:pt>
                <c:pt idx="1142">
                  <c:v>41953</c:v>
                </c:pt>
                <c:pt idx="1143">
                  <c:v>41954</c:v>
                </c:pt>
                <c:pt idx="1144">
                  <c:v>41955</c:v>
                </c:pt>
                <c:pt idx="1145">
                  <c:v>41956</c:v>
                </c:pt>
                <c:pt idx="1146">
                  <c:v>41957</c:v>
                </c:pt>
                <c:pt idx="1147">
                  <c:v>41960</c:v>
                </c:pt>
                <c:pt idx="1148">
                  <c:v>41961</c:v>
                </c:pt>
                <c:pt idx="1149">
                  <c:v>41962</c:v>
                </c:pt>
                <c:pt idx="1150">
                  <c:v>41963</c:v>
                </c:pt>
                <c:pt idx="1151">
                  <c:v>41964</c:v>
                </c:pt>
                <c:pt idx="1152">
                  <c:v>41967</c:v>
                </c:pt>
                <c:pt idx="1153">
                  <c:v>41968</c:v>
                </c:pt>
                <c:pt idx="1154">
                  <c:v>41969</c:v>
                </c:pt>
                <c:pt idx="1155">
                  <c:v>41970</c:v>
                </c:pt>
                <c:pt idx="1156">
                  <c:v>41971</c:v>
                </c:pt>
                <c:pt idx="1157">
                  <c:v>41974</c:v>
                </c:pt>
                <c:pt idx="1158">
                  <c:v>41975</c:v>
                </c:pt>
                <c:pt idx="1159">
                  <c:v>41976</c:v>
                </c:pt>
                <c:pt idx="1160">
                  <c:v>41977</c:v>
                </c:pt>
                <c:pt idx="1161">
                  <c:v>41978</c:v>
                </c:pt>
                <c:pt idx="1162">
                  <c:v>41981</c:v>
                </c:pt>
                <c:pt idx="1163">
                  <c:v>41982</c:v>
                </c:pt>
                <c:pt idx="1164">
                  <c:v>41983</c:v>
                </c:pt>
                <c:pt idx="1165">
                  <c:v>41984</c:v>
                </c:pt>
                <c:pt idx="1166">
                  <c:v>41985</c:v>
                </c:pt>
                <c:pt idx="1167">
                  <c:v>41988</c:v>
                </c:pt>
                <c:pt idx="1168">
                  <c:v>41989</c:v>
                </c:pt>
                <c:pt idx="1169">
                  <c:v>41990</c:v>
                </c:pt>
                <c:pt idx="1170">
                  <c:v>41991</c:v>
                </c:pt>
                <c:pt idx="1171">
                  <c:v>41992</c:v>
                </c:pt>
                <c:pt idx="1172">
                  <c:v>41995</c:v>
                </c:pt>
                <c:pt idx="1173">
                  <c:v>41996</c:v>
                </c:pt>
                <c:pt idx="1174">
                  <c:v>41997</c:v>
                </c:pt>
                <c:pt idx="1175">
                  <c:v>41998</c:v>
                </c:pt>
                <c:pt idx="1176">
                  <c:v>41999</c:v>
                </c:pt>
                <c:pt idx="1177">
                  <c:v>42002</c:v>
                </c:pt>
                <c:pt idx="1178">
                  <c:v>42003</c:v>
                </c:pt>
                <c:pt idx="1179">
                  <c:v>42004</c:v>
                </c:pt>
                <c:pt idx="1180">
                  <c:v>42005</c:v>
                </c:pt>
                <c:pt idx="1181">
                  <c:v>42006</c:v>
                </c:pt>
                <c:pt idx="1182">
                  <c:v>42009</c:v>
                </c:pt>
                <c:pt idx="1183">
                  <c:v>42010</c:v>
                </c:pt>
                <c:pt idx="1184">
                  <c:v>42011</c:v>
                </c:pt>
                <c:pt idx="1185">
                  <c:v>42012</c:v>
                </c:pt>
                <c:pt idx="1186">
                  <c:v>42013</c:v>
                </c:pt>
                <c:pt idx="1187">
                  <c:v>42016</c:v>
                </c:pt>
                <c:pt idx="1188">
                  <c:v>42017</c:v>
                </c:pt>
                <c:pt idx="1189">
                  <c:v>42018</c:v>
                </c:pt>
                <c:pt idx="1190">
                  <c:v>42019</c:v>
                </c:pt>
                <c:pt idx="1191">
                  <c:v>42020</c:v>
                </c:pt>
                <c:pt idx="1192">
                  <c:v>42023</c:v>
                </c:pt>
                <c:pt idx="1193">
                  <c:v>42024</c:v>
                </c:pt>
                <c:pt idx="1194">
                  <c:v>42025</c:v>
                </c:pt>
                <c:pt idx="1195">
                  <c:v>42026</c:v>
                </c:pt>
                <c:pt idx="1196">
                  <c:v>42027</c:v>
                </c:pt>
                <c:pt idx="1197">
                  <c:v>42030</c:v>
                </c:pt>
                <c:pt idx="1198">
                  <c:v>42031</c:v>
                </c:pt>
                <c:pt idx="1199">
                  <c:v>42032</c:v>
                </c:pt>
                <c:pt idx="1200">
                  <c:v>42033</c:v>
                </c:pt>
                <c:pt idx="1201">
                  <c:v>42034</c:v>
                </c:pt>
                <c:pt idx="1202">
                  <c:v>42037</c:v>
                </c:pt>
                <c:pt idx="1203">
                  <c:v>42038</c:v>
                </c:pt>
                <c:pt idx="1204">
                  <c:v>42039</c:v>
                </c:pt>
                <c:pt idx="1205">
                  <c:v>42040</c:v>
                </c:pt>
                <c:pt idx="1206">
                  <c:v>42041</c:v>
                </c:pt>
                <c:pt idx="1207">
                  <c:v>42044</c:v>
                </c:pt>
                <c:pt idx="1208">
                  <c:v>42045</c:v>
                </c:pt>
                <c:pt idx="1209">
                  <c:v>42046</c:v>
                </c:pt>
                <c:pt idx="1210">
                  <c:v>42047</c:v>
                </c:pt>
                <c:pt idx="1211">
                  <c:v>42048</c:v>
                </c:pt>
                <c:pt idx="1212">
                  <c:v>42051</c:v>
                </c:pt>
                <c:pt idx="1213">
                  <c:v>42052</c:v>
                </c:pt>
                <c:pt idx="1214">
                  <c:v>42053</c:v>
                </c:pt>
                <c:pt idx="1215">
                  <c:v>42054</c:v>
                </c:pt>
                <c:pt idx="1216">
                  <c:v>42055</c:v>
                </c:pt>
                <c:pt idx="1217">
                  <c:v>42058</c:v>
                </c:pt>
                <c:pt idx="1218">
                  <c:v>42059</c:v>
                </c:pt>
                <c:pt idx="1219">
                  <c:v>42060</c:v>
                </c:pt>
                <c:pt idx="1220">
                  <c:v>42061</c:v>
                </c:pt>
                <c:pt idx="1221">
                  <c:v>42062</c:v>
                </c:pt>
                <c:pt idx="1222">
                  <c:v>42065</c:v>
                </c:pt>
                <c:pt idx="1223">
                  <c:v>42066</c:v>
                </c:pt>
                <c:pt idx="1224">
                  <c:v>42067</c:v>
                </c:pt>
                <c:pt idx="1225">
                  <c:v>42068</c:v>
                </c:pt>
                <c:pt idx="1226">
                  <c:v>42069</c:v>
                </c:pt>
                <c:pt idx="1227">
                  <c:v>42072</c:v>
                </c:pt>
                <c:pt idx="1228">
                  <c:v>42073</c:v>
                </c:pt>
                <c:pt idx="1229">
                  <c:v>42074</c:v>
                </c:pt>
                <c:pt idx="1230">
                  <c:v>42075</c:v>
                </c:pt>
                <c:pt idx="1231">
                  <c:v>42076</c:v>
                </c:pt>
                <c:pt idx="1232">
                  <c:v>42079</c:v>
                </c:pt>
                <c:pt idx="1233">
                  <c:v>42080</c:v>
                </c:pt>
                <c:pt idx="1234">
                  <c:v>42081</c:v>
                </c:pt>
                <c:pt idx="1235">
                  <c:v>42082</c:v>
                </c:pt>
                <c:pt idx="1236">
                  <c:v>42083</c:v>
                </c:pt>
                <c:pt idx="1237">
                  <c:v>42086</c:v>
                </c:pt>
                <c:pt idx="1238">
                  <c:v>42087</c:v>
                </c:pt>
                <c:pt idx="1239">
                  <c:v>42088</c:v>
                </c:pt>
                <c:pt idx="1240">
                  <c:v>42089</c:v>
                </c:pt>
                <c:pt idx="1241">
                  <c:v>42090</c:v>
                </c:pt>
                <c:pt idx="1242">
                  <c:v>42093</c:v>
                </c:pt>
                <c:pt idx="1243">
                  <c:v>42094</c:v>
                </c:pt>
                <c:pt idx="1244">
                  <c:v>42095</c:v>
                </c:pt>
                <c:pt idx="1245">
                  <c:v>42096</c:v>
                </c:pt>
                <c:pt idx="1246">
                  <c:v>42097</c:v>
                </c:pt>
                <c:pt idx="1247">
                  <c:v>42100</c:v>
                </c:pt>
                <c:pt idx="1248">
                  <c:v>42101</c:v>
                </c:pt>
                <c:pt idx="1249">
                  <c:v>42102</c:v>
                </c:pt>
                <c:pt idx="1250">
                  <c:v>42103</c:v>
                </c:pt>
                <c:pt idx="1251">
                  <c:v>42104</c:v>
                </c:pt>
                <c:pt idx="1252">
                  <c:v>42107</c:v>
                </c:pt>
                <c:pt idx="1253">
                  <c:v>42108</c:v>
                </c:pt>
                <c:pt idx="1254">
                  <c:v>42109</c:v>
                </c:pt>
                <c:pt idx="1255">
                  <c:v>42110</c:v>
                </c:pt>
                <c:pt idx="1256">
                  <c:v>42111</c:v>
                </c:pt>
                <c:pt idx="1257">
                  <c:v>42114</c:v>
                </c:pt>
                <c:pt idx="1258">
                  <c:v>42115</c:v>
                </c:pt>
                <c:pt idx="1259">
                  <c:v>42116</c:v>
                </c:pt>
                <c:pt idx="1260">
                  <c:v>42117</c:v>
                </c:pt>
                <c:pt idx="1261">
                  <c:v>42118</c:v>
                </c:pt>
                <c:pt idx="1262">
                  <c:v>42121</c:v>
                </c:pt>
                <c:pt idx="1263">
                  <c:v>42122</c:v>
                </c:pt>
                <c:pt idx="1264">
                  <c:v>42123</c:v>
                </c:pt>
                <c:pt idx="1265">
                  <c:v>42124</c:v>
                </c:pt>
                <c:pt idx="1266">
                  <c:v>42125</c:v>
                </c:pt>
                <c:pt idx="1267">
                  <c:v>42128</c:v>
                </c:pt>
                <c:pt idx="1268">
                  <c:v>42129</c:v>
                </c:pt>
                <c:pt idx="1269">
                  <c:v>42130</c:v>
                </c:pt>
                <c:pt idx="1270">
                  <c:v>42131</c:v>
                </c:pt>
                <c:pt idx="1271">
                  <c:v>42132</c:v>
                </c:pt>
                <c:pt idx="1272">
                  <c:v>42135</c:v>
                </c:pt>
                <c:pt idx="1273">
                  <c:v>42136</c:v>
                </c:pt>
                <c:pt idx="1274">
                  <c:v>42137</c:v>
                </c:pt>
                <c:pt idx="1275">
                  <c:v>42138</c:v>
                </c:pt>
                <c:pt idx="1276">
                  <c:v>42139</c:v>
                </c:pt>
                <c:pt idx="1277">
                  <c:v>42142</c:v>
                </c:pt>
                <c:pt idx="1278">
                  <c:v>42143</c:v>
                </c:pt>
                <c:pt idx="1279">
                  <c:v>42144</c:v>
                </c:pt>
                <c:pt idx="1280">
                  <c:v>42145</c:v>
                </c:pt>
                <c:pt idx="1281">
                  <c:v>42146</c:v>
                </c:pt>
                <c:pt idx="1282">
                  <c:v>42149</c:v>
                </c:pt>
                <c:pt idx="1283">
                  <c:v>42150</c:v>
                </c:pt>
                <c:pt idx="1284">
                  <c:v>42151</c:v>
                </c:pt>
                <c:pt idx="1285">
                  <c:v>42152</c:v>
                </c:pt>
                <c:pt idx="1286">
                  <c:v>42153</c:v>
                </c:pt>
                <c:pt idx="1287">
                  <c:v>42156</c:v>
                </c:pt>
                <c:pt idx="1288">
                  <c:v>42157</c:v>
                </c:pt>
                <c:pt idx="1289">
                  <c:v>42158</c:v>
                </c:pt>
                <c:pt idx="1290">
                  <c:v>42159</c:v>
                </c:pt>
                <c:pt idx="1291">
                  <c:v>42160</c:v>
                </c:pt>
                <c:pt idx="1292">
                  <c:v>42163</c:v>
                </c:pt>
                <c:pt idx="1293">
                  <c:v>42164</c:v>
                </c:pt>
                <c:pt idx="1294">
                  <c:v>42165</c:v>
                </c:pt>
                <c:pt idx="1295">
                  <c:v>42166</c:v>
                </c:pt>
                <c:pt idx="1296">
                  <c:v>42167</c:v>
                </c:pt>
                <c:pt idx="1297">
                  <c:v>42170</c:v>
                </c:pt>
                <c:pt idx="1298">
                  <c:v>42171</c:v>
                </c:pt>
                <c:pt idx="1299">
                  <c:v>42172</c:v>
                </c:pt>
                <c:pt idx="1300">
                  <c:v>42173</c:v>
                </c:pt>
                <c:pt idx="1301">
                  <c:v>42174</c:v>
                </c:pt>
                <c:pt idx="1302">
                  <c:v>42177</c:v>
                </c:pt>
                <c:pt idx="1303">
                  <c:v>42178</c:v>
                </c:pt>
                <c:pt idx="1304">
                  <c:v>42179</c:v>
                </c:pt>
                <c:pt idx="1305">
                  <c:v>42180</c:v>
                </c:pt>
                <c:pt idx="1306">
                  <c:v>42181</c:v>
                </c:pt>
                <c:pt idx="1307">
                  <c:v>42184</c:v>
                </c:pt>
                <c:pt idx="1308">
                  <c:v>42185</c:v>
                </c:pt>
                <c:pt idx="1309">
                  <c:v>42186</c:v>
                </c:pt>
                <c:pt idx="1310">
                  <c:v>42187</c:v>
                </c:pt>
                <c:pt idx="1311">
                  <c:v>42188</c:v>
                </c:pt>
                <c:pt idx="1312">
                  <c:v>42191</c:v>
                </c:pt>
                <c:pt idx="1313">
                  <c:v>42192</c:v>
                </c:pt>
                <c:pt idx="1314">
                  <c:v>42193</c:v>
                </c:pt>
                <c:pt idx="1315">
                  <c:v>42194</c:v>
                </c:pt>
                <c:pt idx="1316">
                  <c:v>42195</c:v>
                </c:pt>
                <c:pt idx="1317">
                  <c:v>42198</c:v>
                </c:pt>
                <c:pt idx="1318">
                  <c:v>42199</c:v>
                </c:pt>
                <c:pt idx="1319">
                  <c:v>42200</c:v>
                </c:pt>
                <c:pt idx="1320">
                  <c:v>42201</c:v>
                </c:pt>
                <c:pt idx="1321">
                  <c:v>42202</c:v>
                </c:pt>
                <c:pt idx="1322">
                  <c:v>42205</c:v>
                </c:pt>
                <c:pt idx="1323">
                  <c:v>42206</c:v>
                </c:pt>
                <c:pt idx="1324">
                  <c:v>42207</c:v>
                </c:pt>
                <c:pt idx="1325">
                  <c:v>42208</c:v>
                </c:pt>
                <c:pt idx="1326">
                  <c:v>42209</c:v>
                </c:pt>
                <c:pt idx="1327">
                  <c:v>42212</c:v>
                </c:pt>
                <c:pt idx="1328">
                  <c:v>42213</c:v>
                </c:pt>
                <c:pt idx="1329">
                  <c:v>42214</c:v>
                </c:pt>
                <c:pt idx="1330">
                  <c:v>42215</c:v>
                </c:pt>
                <c:pt idx="1331">
                  <c:v>42216</c:v>
                </c:pt>
                <c:pt idx="1332">
                  <c:v>42219</c:v>
                </c:pt>
                <c:pt idx="1333">
                  <c:v>42220</c:v>
                </c:pt>
                <c:pt idx="1334">
                  <c:v>42221</c:v>
                </c:pt>
                <c:pt idx="1335">
                  <c:v>42222</c:v>
                </c:pt>
                <c:pt idx="1336">
                  <c:v>42223</c:v>
                </c:pt>
                <c:pt idx="1337">
                  <c:v>42226</c:v>
                </c:pt>
                <c:pt idx="1338">
                  <c:v>42227</c:v>
                </c:pt>
                <c:pt idx="1339">
                  <c:v>42228</c:v>
                </c:pt>
                <c:pt idx="1340">
                  <c:v>42229</c:v>
                </c:pt>
                <c:pt idx="1341">
                  <c:v>42230</c:v>
                </c:pt>
                <c:pt idx="1342">
                  <c:v>42233</c:v>
                </c:pt>
                <c:pt idx="1343">
                  <c:v>42234</c:v>
                </c:pt>
                <c:pt idx="1344">
                  <c:v>42235</c:v>
                </c:pt>
                <c:pt idx="1345">
                  <c:v>42236</c:v>
                </c:pt>
                <c:pt idx="1346">
                  <c:v>42237</c:v>
                </c:pt>
                <c:pt idx="1347">
                  <c:v>42240</c:v>
                </c:pt>
                <c:pt idx="1348">
                  <c:v>42241</c:v>
                </c:pt>
                <c:pt idx="1349">
                  <c:v>42242</c:v>
                </c:pt>
                <c:pt idx="1350">
                  <c:v>42243</c:v>
                </c:pt>
                <c:pt idx="1351">
                  <c:v>42244</c:v>
                </c:pt>
                <c:pt idx="1352">
                  <c:v>42247</c:v>
                </c:pt>
                <c:pt idx="1353">
                  <c:v>42248</c:v>
                </c:pt>
                <c:pt idx="1354">
                  <c:v>42249</c:v>
                </c:pt>
                <c:pt idx="1355">
                  <c:v>42250</c:v>
                </c:pt>
                <c:pt idx="1356">
                  <c:v>42251</c:v>
                </c:pt>
                <c:pt idx="1357">
                  <c:v>42254</c:v>
                </c:pt>
                <c:pt idx="1358">
                  <c:v>42255</c:v>
                </c:pt>
                <c:pt idx="1359">
                  <c:v>42256</c:v>
                </c:pt>
                <c:pt idx="1360">
                  <c:v>42257</c:v>
                </c:pt>
                <c:pt idx="1361">
                  <c:v>42258</c:v>
                </c:pt>
                <c:pt idx="1362">
                  <c:v>42261</c:v>
                </c:pt>
                <c:pt idx="1363">
                  <c:v>42262</c:v>
                </c:pt>
                <c:pt idx="1364">
                  <c:v>42263</c:v>
                </c:pt>
                <c:pt idx="1365">
                  <c:v>42264</c:v>
                </c:pt>
                <c:pt idx="1366">
                  <c:v>42265</c:v>
                </c:pt>
                <c:pt idx="1367">
                  <c:v>42268</c:v>
                </c:pt>
                <c:pt idx="1368">
                  <c:v>42269</c:v>
                </c:pt>
                <c:pt idx="1369">
                  <c:v>42270</c:v>
                </c:pt>
                <c:pt idx="1370">
                  <c:v>42271</c:v>
                </c:pt>
                <c:pt idx="1371">
                  <c:v>42272</c:v>
                </c:pt>
                <c:pt idx="1372">
                  <c:v>42275</c:v>
                </c:pt>
                <c:pt idx="1373">
                  <c:v>42276</c:v>
                </c:pt>
                <c:pt idx="1374">
                  <c:v>42277</c:v>
                </c:pt>
                <c:pt idx="1375">
                  <c:v>42278</c:v>
                </c:pt>
                <c:pt idx="1376">
                  <c:v>42279</c:v>
                </c:pt>
                <c:pt idx="1377">
                  <c:v>42282</c:v>
                </c:pt>
                <c:pt idx="1378">
                  <c:v>42283</c:v>
                </c:pt>
                <c:pt idx="1379">
                  <c:v>42284</c:v>
                </c:pt>
                <c:pt idx="1380">
                  <c:v>42285</c:v>
                </c:pt>
                <c:pt idx="1381">
                  <c:v>42286</c:v>
                </c:pt>
                <c:pt idx="1382">
                  <c:v>42289</c:v>
                </c:pt>
                <c:pt idx="1383">
                  <c:v>42290</c:v>
                </c:pt>
                <c:pt idx="1384">
                  <c:v>42291</c:v>
                </c:pt>
                <c:pt idx="1385">
                  <c:v>42292</c:v>
                </c:pt>
                <c:pt idx="1386">
                  <c:v>42293</c:v>
                </c:pt>
                <c:pt idx="1387">
                  <c:v>42296</c:v>
                </c:pt>
                <c:pt idx="1388">
                  <c:v>42297</c:v>
                </c:pt>
                <c:pt idx="1389">
                  <c:v>42298</c:v>
                </c:pt>
                <c:pt idx="1390">
                  <c:v>42299</c:v>
                </c:pt>
                <c:pt idx="1391">
                  <c:v>42300</c:v>
                </c:pt>
                <c:pt idx="1392">
                  <c:v>42303</c:v>
                </c:pt>
                <c:pt idx="1393">
                  <c:v>42304</c:v>
                </c:pt>
                <c:pt idx="1394">
                  <c:v>42305</c:v>
                </c:pt>
                <c:pt idx="1395">
                  <c:v>42306</c:v>
                </c:pt>
                <c:pt idx="1396">
                  <c:v>42307</c:v>
                </c:pt>
                <c:pt idx="1397">
                  <c:v>42310</c:v>
                </c:pt>
                <c:pt idx="1398">
                  <c:v>42311</c:v>
                </c:pt>
                <c:pt idx="1399">
                  <c:v>42312</c:v>
                </c:pt>
                <c:pt idx="1400">
                  <c:v>42313</c:v>
                </c:pt>
                <c:pt idx="1401">
                  <c:v>42314</c:v>
                </c:pt>
                <c:pt idx="1402">
                  <c:v>42317</c:v>
                </c:pt>
                <c:pt idx="1403">
                  <c:v>42318</c:v>
                </c:pt>
                <c:pt idx="1404">
                  <c:v>42319</c:v>
                </c:pt>
                <c:pt idx="1405">
                  <c:v>42320</c:v>
                </c:pt>
                <c:pt idx="1406">
                  <c:v>42321</c:v>
                </c:pt>
                <c:pt idx="1407">
                  <c:v>42324</c:v>
                </c:pt>
                <c:pt idx="1408">
                  <c:v>42325</c:v>
                </c:pt>
                <c:pt idx="1409">
                  <c:v>42326</c:v>
                </c:pt>
                <c:pt idx="1410">
                  <c:v>42327</c:v>
                </c:pt>
                <c:pt idx="1411">
                  <c:v>42328</c:v>
                </c:pt>
                <c:pt idx="1412">
                  <c:v>42331</c:v>
                </c:pt>
                <c:pt idx="1413">
                  <c:v>42332</c:v>
                </c:pt>
                <c:pt idx="1414">
                  <c:v>42333</c:v>
                </c:pt>
                <c:pt idx="1415">
                  <c:v>42334</c:v>
                </c:pt>
                <c:pt idx="1416">
                  <c:v>42335</c:v>
                </c:pt>
                <c:pt idx="1417">
                  <c:v>42338</c:v>
                </c:pt>
                <c:pt idx="1418">
                  <c:v>42339</c:v>
                </c:pt>
                <c:pt idx="1419">
                  <c:v>42340</c:v>
                </c:pt>
                <c:pt idx="1420">
                  <c:v>42341</c:v>
                </c:pt>
                <c:pt idx="1421">
                  <c:v>42342</c:v>
                </c:pt>
                <c:pt idx="1422">
                  <c:v>42345</c:v>
                </c:pt>
                <c:pt idx="1423">
                  <c:v>42346</c:v>
                </c:pt>
                <c:pt idx="1424">
                  <c:v>42347</c:v>
                </c:pt>
                <c:pt idx="1425">
                  <c:v>42348</c:v>
                </c:pt>
                <c:pt idx="1426">
                  <c:v>42349</c:v>
                </c:pt>
                <c:pt idx="1427">
                  <c:v>42352</c:v>
                </c:pt>
                <c:pt idx="1428">
                  <c:v>42353</c:v>
                </c:pt>
                <c:pt idx="1429">
                  <c:v>42354</c:v>
                </c:pt>
                <c:pt idx="1430">
                  <c:v>42355</c:v>
                </c:pt>
                <c:pt idx="1431">
                  <c:v>42356</c:v>
                </c:pt>
                <c:pt idx="1432">
                  <c:v>42359</c:v>
                </c:pt>
                <c:pt idx="1433">
                  <c:v>42360</c:v>
                </c:pt>
                <c:pt idx="1434">
                  <c:v>42361</c:v>
                </c:pt>
                <c:pt idx="1435">
                  <c:v>42362</c:v>
                </c:pt>
                <c:pt idx="1436">
                  <c:v>42363</c:v>
                </c:pt>
                <c:pt idx="1437">
                  <c:v>42366</c:v>
                </c:pt>
                <c:pt idx="1438">
                  <c:v>42367</c:v>
                </c:pt>
                <c:pt idx="1439">
                  <c:v>42368</c:v>
                </c:pt>
                <c:pt idx="1440">
                  <c:v>42369</c:v>
                </c:pt>
                <c:pt idx="1441">
                  <c:v>42370</c:v>
                </c:pt>
                <c:pt idx="1442">
                  <c:v>42373</c:v>
                </c:pt>
                <c:pt idx="1443">
                  <c:v>42374</c:v>
                </c:pt>
                <c:pt idx="1444">
                  <c:v>42375</c:v>
                </c:pt>
                <c:pt idx="1445">
                  <c:v>42376</c:v>
                </c:pt>
                <c:pt idx="1446">
                  <c:v>42377</c:v>
                </c:pt>
                <c:pt idx="1447">
                  <c:v>42380</c:v>
                </c:pt>
                <c:pt idx="1448">
                  <c:v>42381</c:v>
                </c:pt>
                <c:pt idx="1449">
                  <c:v>42382</c:v>
                </c:pt>
                <c:pt idx="1450">
                  <c:v>42383</c:v>
                </c:pt>
                <c:pt idx="1451">
                  <c:v>42384</c:v>
                </c:pt>
                <c:pt idx="1452">
                  <c:v>42387</c:v>
                </c:pt>
                <c:pt idx="1453">
                  <c:v>42388</c:v>
                </c:pt>
                <c:pt idx="1454">
                  <c:v>42389</c:v>
                </c:pt>
                <c:pt idx="1455">
                  <c:v>42390</c:v>
                </c:pt>
                <c:pt idx="1456">
                  <c:v>42391</c:v>
                </c:pt>
                <c:pt idx="1457">
                  <c:v>42394</c:v>
                </c:pt>
                <c:pt idx="1458">
                  <c:v>42395</c:v>
                </c:pt>
                <c:pt idx="1459">
                  <c:v>42396</c:v>
                </c:pt>
                <c:pt idx="1460">
                  <c:v>42397</c:v>
                </c:pt>
                <c:pt idx="1461">
                  <c:v>42398</c:v>
                </c:pt>
                <c:pt idx="1462">
                  <c:v>42401</c:v>
                </c:pt>
                <c:pt idx="1463">
                  <c:v>42402</c:v>
                </c:pt>
                <c:pt idx="1464">
                  <c:v>42403</c:v>
                </c:pt>
                <c:pt idx="1465">
                  <c:v>42404</c:v>
                </c:pt>
                <c:pt idx="1466">
                  <c:v>42405</c:v>
                </c:pt>
                <c:pt idx="1467">
                  <c:v>42408</c:v>
                </c:pt>
                <c:pt idx="1468">
                  <c:v>42409</c:v>
                </c:pt>
                <c:pt idx="1469">
                  <c:v>42410</c:v>
                </c:pt>
                <c:pt idx="1470">
                  <c:v>42411</c:v>
                </c:pt>
                <c:pt idx="1471">
                  <c:v>42412</c:v>
                </c:pt>
                <c:pt idx="1472">
                  <c:v>42415</c:v>
                </c:pt>
                <c:pt idx="1473">
                  <c:v>42416</c:v>
                </c:pt>
                <c:pt idx="1474">
                  <c:v>42417</c:v>
                </c:pt>
                <c:pt idx="1475">
                  <c:v>42418</c:v>
                </c:pt>
                <c:pt idx="1476">
                  <c:v>42419</c:v>
                </c:pt>
                <c:pt idx="1477">
                  <c:v>42422</c:v>
                </c:pt>
                <c:pt idx="1478">
                  <c:v>42423</c:v>
                </c:pt>
                <c:pt idx="1479">
                  <c:v>42424</c:v>
                </c:pt>
                <c:pt idx="1480">
                  <c:v>42425</c:v>
                </c:pt>
                <c:pt idx="1481">
                  <c:v>42426</c:v>
                </c:pt>
                <c:pt idx="1482">
                  <c:v>42429</c:v>
                </c:pt>
                <c:pt idx="1483">
                  <c:v>42430</c:v>
                </c:pt>
                <c:pt idx="1484">
                  <c:v>42431</c:v>
                </c:pt>
                <c:pt idx="1485">
                  <c:v>42432</c:v>
                </c:pt>
                <c:pt idx="1486">
                  <c:v>42433</c:v>
                </c:pt>
                <c:pt idx="1487">
                  <c:v>42436</c:v>
                </c:pt>
                <c:pt idx="1488">
                  <c:v>42437</c:v>
                </c:pt>
                <c:pt idx="1489">
                  <c:v>42438</c:v>
                </c:pt>
                <c:pt idx="1490">
                  <c:v>42439</c:v>
                </c:pt>
                <c:pt idx="1491">
                  <c:v>42440</c:v>
                </c:pt>
                <c:pt idx="1492">
                  <c:v>42443</c:v>
                </c:pt>
                <c:pt idx="1493">
                  <c:v>42444</c:v>
                </c:pt>
                <c:pt idx="1494">
                  <c:v>42445</c:v>
                </c:pt>
                <c:pt idx="1495">
                  <c:v>42446</c:v>
                </c:pt>
                <c:pt idx="1496">
                  <c:v>42447</c:v>
                </c:pt>
                <c:pt idx="1497">
                  <c:v>42450</c:v>
                </c:pt>
                <c:pt idx="1498">
                  <c:v>42451</c:v>
                </c:pt>
                <c:pt idx="1499">
                  <c:v>42452</c:v>
                </c:pt>
                <c:pt idx="1500">
                  <c:v>42453</c:v>
                </c:pt>
                <c:pt idx="1501">
                  <c:v>42454</c:v>
                </c:pt>
                <c:pt idx="1502">
                  <c:v>42457</c:v>
                </c:pt>
                <c:pt idx="1503">
                  <c:v>42458</c:v>
                </c:pt>
                <c:pt idx="1504">
                  <c:v>42459</c:v>
                </c:pt>
                <c:pt idx="1505">
                  <c:v>42460</c:v>
                </c:pt>
                <c:pt idx="1506">
                  <c:v>42461</c:v>
                </c:pt>
                <c:pt idx="1507">
                  <c:v>42464</c:v>
                </c:pt>
                <c:pt idx="1508">
                  <c:v>42465</c:v>
                </c:pt>
                <c:pt idx="1509">
                  <c:v>42466</c:v>
                </c:pt>
                <c:pt idx="1510">
                  <c:v>42467</c:v>
                </c:pt>
                <c:pt idx="1511">
                  <c:v>42468</c:v>
                </c:pt>
                <c:pt idx="1512">
                  <c:v>42471</c:v>
                </c:pt>
                <c:pt idx="1513">
                  <c:v>42472</c:v>
                </c:pt>
                <c:pt idx="1514">
                  <c:v>42473</c:v>
                </c:pt>
                <c:pt idx="1515">
                  <c:v>42474</c:v>
                </c:pt>
                <c:pt idx="1516">
                  <c:v>42475</c:v>
                </c:pt>
                <c:pt idx="1517">
                  <c:v>42478</c:v>
                </c:pt>
                <c:pt idx="1518">
                  <c:v>42479</c:v>
                </c:pt>
                <c:pt idx="1519">
                  <c:v>42480</c:v>
                </c:pt>
                <c:pt idx="1520">
                  <c:v>42481</c:v>
                </c:pt>
                <c:pt idx="1521">
                  <c:v>42482</c:v>
                </c:pt>
                <c:pt idx="1522">
                  <c:v>42485</c:v>
                </c:pt>
                <c:pt idx="1523">
                  <c:v>42486</c:v>
                </c:pt>
                <c:pt idx="1524">
                  <c:v>42487</c:v>
                </c:pt>
                <c:pt idx="1525">
                  <c:v>42488</c:v>
                </c:pt>
                <c:pt idx="1526">
                  <c:v>42489</c:v>
                </c:pt>
                <c:pt idx="1527">
                  <c:v>42492</c:v>
                </c:pt>
                <c:pt idx="1528">
                  <c:v>42493</c:v>
                </c:pt>
                <c:pt idx="1529">
                  <c:v>42494</c:v>
                </c:pt>
                <c:pt idx="1530">
                  <c:v>42495</c:v>
                </c:pt>
                <c:pt idx="1531">
                  <c:v>42496</c:v>
                </c:pt>
                <c:pt idx="1532">
                  <c:v>42499</c:v>
                </c:pt>
                <c:pt idx="1533">
                  <c:v>42500</c:v>
                </c:pt>
                <c:pt idx="1534">
                  <c:v>42501</c:v>
                </c:pt>
                <c:pt idx="1535">
                  <c:v>42502</c:v>
                </c:pt>
                <c:pt idx="1536">
                  <c:v>42503</c:v>
                </c:pt>
                <c:pt idx="1537">
                  <c:v>42506</c:v>
                </c:pt>
                <c:pt idx="1538">
                  <c:v>42507</c:v>
                </c:pt>
                <c:pt idx="1539">
                  <c:v>42508</c:v>
                </c:pt>
                <c:pt idx="1540">
                  <c:v>42509</c:v>
                </c:pt>
                <c:pt idx="1541">
                  <c:v>42510</c:v>
                </c:pt>
                <c:pt idx="1542">
                  <c:v>42513</c:v>
                </c:pt>
                <c:pt idx="1543">
                  <c:v>42514</c:v>
                </c:pt>
                <c:pt idx="1544">
                  <c:v>42515</c:v>
                </c:pt>
                <c:pt idx="1545">
                  <c:v>42516</c:v>
                </c:pt>
                <c:pt idx="1546">
                  <c:v>42517</c:v>
                </c:pt>
                <c:pt idx="1547">
                  <c:v>42520</c:v>
                </c:pt>
                <c:pt idx="1548">
                  <c:v>42521</c:v>
                </c:pt>
                <c:pt idx="1549">
                  <c:v>42522</c:v>
                </c:pt>
                <c:pt idx="1550">
                  <c:v>42523</c:v>
                </c:pt>
                <c:pt idx="1551">
                  <c:v>42524</c:v>
                </c:pt>
                <c:pt idx="1552">
                  <c:v>42527</c:v>
                </c:pt>
                <c:pt idx="1553">
                  <c:v>42528</c:v>
                </c:pt>
                <c:pt idx="1554">
                  <c:v>42529</c:v>
                </c:pt>
                <c:pt idx="1555">
                  <c:v>42530</c:v>
                </c:pt>
                <c:pt idx="1556">
                  <c:v>42531</c:v>
                </c:pt>
                <c:pt idx="1557">
                  <c:v>42534</c:v>
                </c:pt>
                <c:pt idx="1558">
                  <c:v>42535</c:v>
                </c:pt>
                <c:pt idx="1559">
                  <c:v>42536</c:v>
                </c:pt>
                <c:pt idx="1560">
                  <c:v>42537</c:v>
                </c:pt>
                <c:pt idx="1561">
                  <c:v>42538</c:v>
                </c:pt>
                <c:pt idx="1562">
                  <c:v>42541</c:v>
                </c:pt>
                <c:pt idx="1563">
                  <c:v>42542</c:v>
                </c:pt>
                <c:pt idx="1564">
                  <c:v>42543</c:v>
                </c:pt>
                <c:pt idx="1565">
                  <c:v>42544</c:v>
                </c:pt>
                <c:pt idx="1566">
                  <c:v>42545</c:v>
                </c:pt>
                <c:pt idx="1567">
                  <c:v>42548</c:v>
                </c:pt>
                <c:pt idx="1568">
                  <c:v>42549</c:v>
                </c:pt>
                <c:pt idx="1569">
                  <c:v>42550</c:v>
                </c:pt>
                <c:pt idx="1570">
                  <c:v>42551</c:v>
                </c:pt>
                <c:pt idx="1571">
                  <c:v>42552</c:v>
                </c:pt>
                <c:pt idx="1572">
                  <c:v>42555</c:v>
                </c:pt>
                <c:pt idx="1573">
                  <c:v>42556</c:v>
                </c:pt>
                <c:pt idx="1574">
                  <c:v>42557</c:v>
                </c:pt>
                <c:pt idx="1575">
                  <c:v>42558</c:v>
                </c:pt>
                <c:pt idx="1576">
                  <c:v>42559</c:v>
                </c:pt>
                <c:pt idx="1577">
                  <c:v>42562</c:v>
                </c:pt>
                <c:pt idx="1578">
                  <c:v>42563</c:v>
                </c:pt>
                <c:pt idx="1579">
                  <c:v>42564</c:v>
                </c:pt>
                <c:pt idx="1580">
                  <c:v>42565</c:v>
                </c:pt>
                <c:pt idx="1581">
                  <c:v>42566</c:v>
                </c:pt>
                <c:pt idx="1582">
                  <c:v>42569</c:v>
                </c:pt>
                <c:pt idx="1583">
                  <c:v>42570</c:v>
                </c:pt>
                <c:pt idx="1584">
                  <c:v>42571</c:v>
                </c:pt>
                <c:pt idx="1585">
                  <c:v>42572</c:v>
                </c:pt>
                <c:pt idx="1586">
                  <c:v>42573</c:v>
                </c:pt>
                <c:pt idx="1587">
                  <c:v>42576</c:v>
                </c:pt>
                <c:pt idx="1588">
                  <c:v>42577</c:v>
                </c:pt>
                <c:pt idx="1589">
                  <c:v>42578</c:v>
                </c:pt>
                <c:pt idx="1590">
                  <c:v>42579</c:v>
                </c:pt>
                <c:pt idx="1591">
                  <c:v>42580</c:v>
                </c:pt>
                <c:pt idx="1592">
                  <c:v>42583</c:v>
                </c:pt>
                <c:pt idx="1593">
                  <c:v>42584</c:v>
                </c:pt>
                <c:pt idx="1594">
                  <c:v>42585</c:v>
                </c:pt>
                <c:pt idx="1595">
                  <c:v>42586</c:v>
                </c:pt>
                <c:pt idx="1596">
                  <c:v>42587</c:v>
                </c:pt>
                <c:pt idx="1597">
                  <c:v>42590</c:v>
                </c:pt>
                <c:pt idx="1598">
                  <c:v>42591</c:v>
                </c:pt>
                <c:pt idx="1599">
                  <c:v>42592</c:v>
                </c:pt>
                <c:pt idx="1600">
                  <c:v>42593</c:v>
                </c:pt>
                <c:pt idx="1601">
                  <c:v>42594</c:v>
                </c:pt>
                <c:pt idx="1602">
                  <c:v>42597</c:v>
                </c:pt>
                <c:pt idx="1603">
                  <c:v>42598</c:v>
                </c:pt>
                <c:pt idx="1604">
                  <c:v>42599</c:v>
                </c:pt>
                <c:pt idx="1605">
                  <c:v>42600</c:v>
                </c:pt>
                <c:pt idx="1606">
                  <c:v>42601</c:v>
                </c:pt>
                <c:pt idx="1607">
                  <c:v>42604</c:v>
                </c:pt>
                <c:pt idx="1608">
                  <c:v>42605</c:v>
                </c:pt>
                <c:pt idx="1609">
                  <c:v>42606</c:v>
                </c:pt>
                <c:pt idx="1610">
                  <c:v>42607</c:v>
                </c:pt>
                <c:pt idx="1611">
                  <c:v>42608</c:v>
                </c:pt>
                <c:pt idx="1612">
                  <c:v>42611</c:v>
                </c:pt>
                <c:pt idx="1613">
                  <c:v>42612</c:v>
                </c:pt>
                <c:pt idx="1614">
                  <c:v>42613</c:v>
                </c:pt>
                <c:pt idx="1615">
                  <c:v>42614</c:v>
                </c:pt>
                <c:pt idx="1616">
                  <c:v>42615</c:v>
                </c:pt>
                <c:pt idx="1617">
                  <c:v>42618</c:v>
                </c:pt>
                <c:pt idx="1618">
                  <c:v>42619</c:v>
                </c:pt>
                <c:pt idx="1619">
                  <c:v>42620</c:v>
                </c:pt>
                <c:pt idx="1620">
                  <c:v>42621</c:v>
                </c:pt>
                <c:pt idx="1621">
                  <c:v>42622</c:v>
                </c:pt>
                <c:pt idx="1622">
                  <c:v>42625</c:v>
                </c:pt>
                <c:pt idx="1623">
                  <c:v>42626</c:v>
                </c:pt>
                <c:pt idx="1624">
                  <c:v>42627</c:v>
                </c:pt>
                <c:pt idx="1625">
                  <c:v>42628</c:v>
                </c:pt>
                <c:pt idx="1626">
                  <c:v>42629</c:v>
                </c:pt>
                <c:pt idx="1627">
                  <c:v>42632</c:v>
                </c:pt>
                <c:pt idx="1628">
                  <c:v>42633</c:v>
                </c:pt>
                <c:pt idx="1629">
                  <c:v>42634</c:v>
                </c:pt>
                <c:pt idx="1630">
                  <c:v>42635</c:v>
                </c:pt>
                <c:pt idx="1631">
                  <c:v>42636</c:v>
                </c:pt>
                <c:pt idx="1632">
                  <c:v>42639</c:v>
                </c:pt>
                <c:pt idx="1633">
                  <c:v>42640</c:v>
                </c:pt>
                <c:pt idx="1634">
                  <c:v>42641</c:v>
                </c:pt>
                <c:pt idx="1635">
                  <c:v>42642</c:v>
                </c:pt>
                <c:pt idx="1636">
                  <c:v>42643</c:v>
                </c:pt>
                <c:pt idx="1637">
                  <c:v>42646</c:v>
                </c:pt>
                <c:pt idx="1638">
                  <c:v>42647</c:v>
                </c:pt>
                <c:pt idx="1639">
                  <c:v>42648</c:v>
                </c:pt>
                <c:pt idx="1640">
                  <c:v>42649</c:v>
                </c:pt>
                <c:pt idx="1641">
                  <c:v>42650</c:v>
                </c:pt>
                <c:pt idx="1642">
                  <c:v>42653</c:v>
                </c:pt>
                <c:pt idx="1643">
                  <c:v>42654</c:v>
                </c:pt>
                <c:pt idx="1644">
                  <c:v>42655</c:v>
                </c:pt>
                <c:pt idx="1645">
                  <c:v>42656</c:v>
                </c:pt>
                <c:pt idx="1646">
                  <c:v>42657</c:v>
                </c:pt>
                <c:pt idx="1647">
                  <c:v>42660</c:v>
                </c:pt>
                <c:pt idx="1648">
                  <c:v>42661</c:v>
                </c:pt>
                <c:pt idx="1649">
                  <c:v>42662</c:v>
                </c:pt>
                <c:pt idx="1650">
                  <c:v>42663</c:v>
                </c:pt>
                <c:pt idx="1651">
                  <c:v>42664</c:v>
                </c:pt>
                <c:pt idx="1652">
                  <c:v>42667</c:v>
                </c:pt>
                <c:pt idx="1653">
                  <c:v>42668</c:v>
                </c:pt>
                <c:pt idx="1654">
                  <c:v>42669</c:v>
                </c:pt>
                <c:pt idx="1655">
                  <c:v>42670</c:v>
                </c:pt>
                <c:pt idx="1656">
                  <c:v>42671</c:v>
                </c:pt>
                <c:pt idx="1657">
                  <c:v>42674</c:v>
                </c:pt>
                <c:pt idx="1658">
                  <c:v>42675</c:v>
                </c:pt>
                <c:pt idx="1659">
                  <c:v>42676</c:v>
                </c:pt>
                <c:pt idx="1660">
                  <c:v>42677</c:v>
                </c:pt>
                <c:pt idx="1661">
                  <c:v>42678</c:v>
                </c:pt>
                <c:pt idx="1662">
                  <c:v>42681</c:v>
                </c:pt>
                <c:pt idx="1663">
                  <c:v>42682</c:v>
                </c:pt>
                <c:pt idx="1664">
                  <c:v>42683</c:v>
                </c:pt>
                <c:pt idx="1665">
                  <c:v>42684</c:v>
                </c:pt>
                <c:pt idx="1666">
                  <c:v>42685</c:v>
                </c:pt>
                <c:pt idx="1667">
                  <c:v>42688</c:v>
                </c:pt>
                <c:pt idx="1668">
                  <c:v>42689</c:v>
                </c:pt>
                <c:pt idx="1669">
                  <c:v>42690</c:v>
                </c:pt>
                <c:pt idx="1670">
                  <c:v>42691</c:v>
                </c:pt>
                <c:pt idx="1671">
                  <c:v>42692</c:v>
                </c:pt>
                <c:pt idx="1672">
                  <c:v>42695</c:v>
                </c:pt>
                <c:pt idx="1673">
                  <c:v>42696</c:v>
                </c:pt>
                <c:pt idx="1674">
                  <c:v>42697</c:v>
                </c:pt>
                <c:pt idx="1675">
                  <c:v>42698</c:v>
                </c:pt>
                <c:pt idx="1676">
                  <c:v>42699</c:v>
                </c:pt>
                <c:pt idx="1677">
                  <c:v>42702</c:v>
                </c:pt>
                <c:pt idx="1678">
                  <c:v>42703</c:v>
                </c:pt>
                <c:pt idx="1679">
                  <c:v>42704</c:v>
                </c:pt>
                <c:pt idx="1680">
                  <c:v>42705</c:v>
                </c:pt>
                <c:pt idx="1681">
                  <c:v>42706</c:v>
                </c:pt>
                <c:pt idx="1682">
                  <c:v>42709</c:v>
                </c:pt>
                <c:pt idx="1683">
                  <c:v>42710</c:v>
                </c:pt>
                <c:pt idx="1684">
                  <c:v>42711</c:v>
                </c:pt>
                <c:pt idx="1685">
                  <c:v>42712</c:v>
                </c:pt>
                <c:pt idx="1686">
                  <c:v>42713</c:v>
                </c:pt>
                <c:pt idx="1687">
                  <c:v>42716</c:v>
                </c:pt>
                <c:pt idx="1688">
                  <c:v>42717</c:v>
                </c:pt>
                <c:pt idx="1689">
                  <c:v>42718</c:v>
                </c:pt>
                <c:pt idx="1690">
                  <c:v>42719</c:v>
                </c:pt>
                <c:pt idx="1691">
                  <c:v>42720</c:v>
                </c:pt>
                <c:pt idx="1692">
                  <c:v>42723</c:v>
                </c:pt>
                <c:pt idx="1693">
                  <c:v>42724</c:v>
                </c:pt>
                <c:pt idx="1694">
                  <c:v>42725</c:v>
                </c:pt>
                <c:pt idx="1695">
                  <c:v>42726</c:v>
                </c:pt>
                <c:pt idx="1696">
                  <c:v>42727</c:v>
                </c:pt>
                <c:pt idx="1697">
                  <c:v>42730</c:v>
                </c:pt>
                <c:pt idx="1698">
                  <c:v>42731</c:v>
                </c:pt>
                <c:pt idx="1699">
                  <c:v>42732</c:v>
                </c:pt>
                <c:pt idx="1700">
                  <c:v>42733</c:v>
                </c:pt>
                <c:pt idx="1701">
                  <c:v>42734</c:v>
                </c:pt>
                <c:pt idx="1702">
                  <c:v>42737</c:v>
                </c:pt>
                <c:pt idx="1703">
                  <c:v>42738</c:v>
                </c:pt>
                <c:pt idx="1704">
                  <c:v>42739</c:v>
                </c:pt>
                <c:pt idx="1705">
                  <c:v>42740</c:v>
                </c:pt>
                <c:pt idx="1706">
                  <c:v>42741</c:v>
                </c:pt>
                <c:pt idx="1707">
                  <c:v>42744</c:v>
                </c:pt>
                <c:pt idx="1708">
                  <c:v>42745</c:v>
                </c:pt>
                <c:pt idx="1709">
                  <c:v>42746</c:v>
                </c:pt>
                <c:pt idx="1710">
                  <c:v>42747</c:v>
                </c:pt>
                <c:pt idx="1711">
                  <c:v>42748</c:v>
                </c:pt>
                <c:pt idx="1712">
                  <c:v>42751</c:v>
                </c:pt>
                <c:pt idx="1713">
                  <c:v>42752</c:v>
                </c:pt>
                <c:pt idx="1714">
                  <c:v>42753</c:v>
                </c:pt>
                <c:pt idx="1715">
                  <c:v>42754</c:v>
                </c:pt>
                <c:pt idx="1716">
                  <c:v>42755</c:v>
                </c:pt>
                <c:pt idx="1717">
                  <c:v>42758</c:v>
                </c:pt>
                <c:pt idx="1718">
                  <c:v>42759</c:v>
                </c:pt>
                <c:pt idx="1719">
                  <c:v>42760</c:v>
                </c:pt>
                <c:pt idx="1720">
                  <c:v>42761</c:v>
                </c:pt>
                <c:pt idx="1721">
                  <c:v>42762</c:v>
                </c:pt>
                <c:pt idx="1722">
                  <c:v>42765</c:v>
                </c:pt>
                <c:pt idx="1723">
                  <c:v>42766</c:v>
                </c:pt>
                <c:pt idx="1724">
                  <c:v>42767</c:v>
                </c:pt>
                <c:pt idx="1725">
                  <c:v>42768</c:v>
                </c:pt>
                <c:pt idx="1726">
                  <c:v>42769</c:v>
                </c:pt>
                <c:pt idx="1727">
                  <c:v>42772</c:v>
                </c:pt>
                <c:pt idx="1728">
                  <c:v>42773</c:v>
                </c:pt>
                <c:pt idx="1729">
                  <c:v>42774</c:v>
                </c:pt>
                <c:pt idx="1730">
                  <c:v>42775</c:v>
                </c:pt>
                <c:pt idx="1731">
                  <c:v>42776</c:v>
                </c:pt>
                <c:pt idx="1732">
                  <c:v>42779</c:v>
                </c:pt>
                <c:pt idx="1733">
                  <c:v>42780</c:v>
                </c:pt>
                <c:pt idx="1734">
                  <c:v>42781</c:v>
                </c:pt>
                <c:pt idx="1735">
                  <c:v>42782</c:v>
                </c:pt>
                <c:pt idx="1736">
                  <c:v>42783</c:v>
                </c:pt>
                <c:pt idx="1737">
                  <c:v>42786</c:v>
                </c:pt>
                <c:pt idx="1738">
                  <c:v>42787</c:v>
                </c:pt>
                <c:pt idx="1739">
                  <c:v>42788</c:v>
                </c:pt>
                <c:pt idx="1740">
                  <c:v>42789</c:v>
                </c:pt>
                <c:pt idx="1741">
                  <c:v>42790</c:v>
                </c:pt>
                <c:pt idx="1742">
                  <c:v>42793</c:v>
                </c:pt>
                <c:pt idx="1743">
                  <c:v>42794</c:v>
                </c:pt>
                <c:pt idx="1744">
                  <c:v>42795</c:v>
                </c:pt>
                <c:pt idx="1745">
                  <c:v>42796</c:v>
                </c:pt>
                <c:pt idx="1746">
                  <c:v>42797</c:v>
                </c:pt>
                <c:pt idx="1747">
                  <c:v>42800</c:v>
                </c:pt>
                <c:pt idx="1748">
                  <c:v>42801</c:v>
                </c:pt>
                <c:pt idx="1749">
                  <c:v>42802</c:v>
                </c:pt>
                <c:pt idx="1750">
                  <c:v>42803</c:v>
                </c:pt>
                <c:pt idx="1751">
                  <c:v>42804</c:v>
                </c:pt>
                <c:pt idx="1752">
                  <c:v>42807</c:v>
                </c:pt>
                <c:pt idx="1753">
                  <c:v>42808</c:v>
                </c:pt>
                <c:pt idx="1754">
                  <c:v>42809</c:v>
                </c:pt>
                <c:pt idx="1755">
                  <c:v>42810</c:v>
                </c:pt>
                <c:pt idx="1756">
                  <c:v>42811</c:v>
                </c:pt>
                <c:pt idx="1757">
                  <c:v>42814</c:v>
                </c:pt>
                <c:pt idx="1758">
                  <c:v>42815</c:v>
                </c:pt>
                <c:pt idx="1759">
                  <c:v>42816</c:v>
                </c:pt>
                <c:pt idx="1760">
                  <c:v>42817</c:v>
                </c:pt>
                <c:pt idx="1761">
                  <c:v>42818</c:v>
                </c:pt>
                <c:pt idx="1762">
                  <c:v>42821</c:v>
                </c:pt>
                <c:pt idx="1763">
                  <c:v>42822</c:v>
                </c:pt>
                <c:pt idx="1764">
                  <c:v>42823</c:v>
                </c:pt>
                <c:pt idx="1765">
                  <c:v>42824</c:v>
                </c:pt>
                <c:pt idx="1766">
                  <c:v>42825</c:v>
                </c:pt>
                <c:pt idx="1767">
                  <c:v>42828</c:v>
                </c:pt>
                <c:pt idx="1768">
                  <c:v>42829</c:v>
                </c:pt>
                <c:pt idx="1769">
                  <c:v>42830</c:v>
                </c:pt>
                <c:pt idx="1770">
                  <c:v>42831</c:v>
                </c:pt>
                <c:pt idx="1771">
                  <c:v>42832</c:v>
                </c:pt>
                <c:pt idx="1772">
                  <c:v>42835</c:v>
                </c:pt>
                <c:pt idx="1773">
                  <c:v>42836</c:v>
                </c:pt>
                <c:pt idx="1774">
                  <c:v>42837</c:v>
                </c:pt>
                <c:pt idx="1775">
                  <c:v>42838</c:v>
                </c:pt>
                <c:pt idx="1776">
                  <c:v>42839</c:v>
                </c:pt>
                <c:pt idx="1777">
                  <c:v>42842</c:v>
                </c:pt>
                <c:pt idx="1778">
                  <c:v>42843</c:v>
                </c:pt>
                <c:pt idx="1779">
                  <c:v>42844</c:v>
                </c:pt>
                <c:pt idx="1780">
                  <c:v>42845</c:v>
                </c:pt>
                <c:pt idx="1781">
                  <c:v>42846</c:v>
                </c:pt>
                <c:pt idx="1782">
                  <c:v>42849</c:v>
                </c:pt>
                <c:pt idx="1783">
                  <c:v>42850</c:v>
                </c:pt>
                <c:pt idx="1784">
                  <c:v>42851</c:v>
                </c:pt>
                <c:pt idx="1785">
                  <c:v>42852</c:v>
                </c:pt>
                <c:pt idx="1786">
                  <c:v>42853</c:v>
                </c:pt>
                <c:pt idx="1787">
                  <c:v>42856</c:v>
                </c:pt>
                <c:pt idx="1788">
                  <c:v>42857</c:v>
                </c:pt>
                <c:pt idx="1789">
                  <c:v>42858</c:v>
                </c:pt>
                <c:pt idx="1790">
                  <c:v>42859</c:v>
                </c:pt>
                <c:pt idx="1791">
                  <c:v>42860</c:v>
                </c:pt>
                <c:pt idx="1792">
                  <c:v>42863</c:v>
                </c:pt>
                <c:pt idx="1793">
                  <c:v>42864</c:v>
                </c:pt>
                <c:pt idx="1794">
                  <c:v>42865</c:v>
                </c:pt>
                <c:pt idx="1795">
                  <c:v>42866</c:v>
                </c:pt>
                <c:pt idx="1796">
                  <c:v>42867</c:v>
                </c:pt>
                <c:pt idx="1797">
                  <c:v>42870</c:v>
                </c:pt>
                <c:pt idx="1798">
                  <c:v>42871</c:v>
                </c:pt>
                <c:pt idx="1799">
                  <c:v>42872</c:v>
                </c:pt>
                <c:pt idx="1800">
                  <c:v>42873</c:v>
                </c:pt>
                <c:pt idx="1801">
                  <c:v>42874</c:v>
                </c:pt>
                <c:pt idx="1802">
                  <c:v>42877</c:v>
                </c:pt>
                <c:pt idx="1803">
                  <c:v>42878</c:v>
                </c:pt>
                <c:pt idx="1804">
                  <c:v>42879</c:v>
                </c:pt>
                <c:pt idx="1805">
                  <c:v>42880</c:v>
                </c:pt>
                <c:pt idx="1806">
                  <c:v>42881</c:v>
                </c:pt>
                <c:pt idx="1807">
                  <c:v>42884</c:v>
                </c:pt>
                <c:pt idx="1808">
                  <c:v>42885</c:v>
                </c:pt>
                <c:pt idx="1809">
                  <c:v>42886</c:v>
                </c:pt>
                <c:pt idx="1810">
                  <c:v>42887</c:v>
                </c:pt>
                <c:pt idx="1811">
                  <c:v>42888</c:v>
                </c:pt>
                <c:pt idx="1812">
                  <c:v>42891</c:v>
                </c:pt>
                <c:pt idx="1813">
                  <c:v>42892</c:v>
                </c:pt>
                <c:pt idx="1814">
                  <c:v>42893</c:v>
                </c:pt>
                <c:pt idx="1815">
                  <c:v>42894</c:v>
                </c:pt>
                <c:pt idx="1816">
                  <c:v>42895</c:v>
                </c:pt>
                <c:pt idx="1817">
                  <c:v>42898</c:v>
                </c:pt>
                <c:pt idx="1818">
                  <c:v>42899</c:v>
                </c:pt>
                <c:pt idx="1819">
                  <c:v>42900</c:v>
                </c:pt>
                <c:pt idx="1820">
                  <c:v>42901</c:v>
                </c:pt>
                <c:pt idx="1821">
                  <c:v>42902</c:v>
                </c:pt>
                <c:pt idx="1822">
                  <c:v>42905</c:v>
                </c:pt>
                <c:pt idx="1823">
                  <c:v>42906</c:v>
                </c:pt>
                <c:pt idx="1824">
                  <c:v>42907</c:v>
                </c:pt>
                <c:pt idx="1825">
                  <c:v>42908</c:v>
                </c:pt>
                <c:pt idx="1826">
                  <c:v>42909</c:v>
                </c:pt>
                <c:pt idx="1827">
                  <c:v>42912</c:v>
                </c:pt>
                <c:pt idx="1828">
                  <c:v>42913</c:v>
                </c:pt>
                <c:pt idx="1829">
                  <c:v>42914</c:v>
                </c:pt>
                <c:pt idx="1830">
                  <c:v>42915</c:v>
                </c:pt>
                <c:pt idx="1831">
                  <c:v>42916</c:v>
                </c:pt>
                <c:pt idx="1832">
                  <c:v>42919</c:v>
                </c:pt>
                <c:pt idx="1833">
                  <c:v>42920</c:v>
                </c:pt>
                <c:pt idx="1834">
                  <c:v>42921</c:v>
                </c:pt>
                <c:pt idx="1835">
                  <c:v>42922</c:v>
                </c:pt>
                <c:pt idx="1836">
                  <c:v>42923</c:v>
                </c:pt>
                <c:pt idx="1837">
                  <c:v>42926</c:v>
                </c:pt>
                <c:pt idx="1838">
                  <c:v>42927</c:v>
                </c:pt>
                <c:pt idx="1839">
                  <c:v>42928</c:v>
                </c:pt>
                <c:pt idx="1840">
                  <c:v>42929</c:v>
                </c:pt>
                <c:pt idx="1841">
                  <c:v>42930</c:v>
                </c:pt>
                <c:pt idx="1842">
                  <c:v>42933</c:v>
                </c:pt>
                <c:pt idx="1843">
                  <c:v>42934</c:v>
                </c:pt>
                <c:pt idx="1844">
                  <c:v>42935</c:v>
                </c:pt>
                <c:pt idx="1845">
                  <c:v>42936</c:v>
                </c:pt>
                <c:pt idx="1846">
                  <c:v>42937</c:v>
                </c:pt>
                <c:pt idx="1847">
                  <c:v>42940</c:v>
                </c:pt>
                <c:pt idx="1848">
                  <c:v>42941</c:v>
                </c:pt>
                <c:pt idx="1849">
                  <c:v>42942</c:v>
                </c:pt>
                <c:pt idx="1850">
                  <c:v>42943</c:v>
                </c:pt>
                <c:pt idx="1851">
                  <c:v>42944</c:v>
                </c:pt>
                <c:pt idx="1852">
                  <c:v>42947</c:v>
                </c:pt>
                <c:pt idx="1853">
                  <c:v>42948</c:v>
                </c:pt>
                <c:pt idx="1854">
                  <c:v>42949</c:v>
                </c:pt>
                <c:pt idx="1855">
                  <c:v>42950</c:v>
                </c:pt>
                <c:pt idx="1856">
                  <c:v>42951</c:v>
                </c:pt>
                <c:pt idx="1857">
                  <c:v>42954</c:v>
                </c:pt>
                <c:pt idx="1858">
                  <c:v>42955</c:v>
                </c:pt>
                <c:pt idx="1859">
                  <c:v>42956</c:v>
                </c:pt>
                <c:pt idx="1860">
                  <c:v>42957</c:v>
                </c:pt>
                <c:pt idx="1861">
                  <c:v>42958</c:v>
                </c:pt>
                <c:pt idx="1862">
                  <c:v>42961</c:v>
                </c:pt>
                <c:pt idx="1863">
                  <c:v>42962</c:v>
                </c:pt>
                <c:pt idx="1864">
                  <c:v>42963</c:v>
                </c:pt>
                <c:pt idx="1865">
                  <c:v>42964</c:v>
                </c:pt>
                <c:pt idx="1866">
                  <c:v>42965</c:v>
                </c:pt>
                <c:pt idx="1867">
                  <c:v>42968</c:v>
                </c:pt>
                <c:pt idx="1868">
                  <c:v>42969</c:v>
                </c:pt>
                <c:pt idx="1869">
                  <c:v>42970</c:v>
                </c:pt>
                <c:pt idx="1870">
                  <c:v>42971</c:v>
                </c:pt>
                <c:pt idx="1871">
                  <c:v>42972</c:v>
                </c:pt>
                <c:pt idx="1872">
                  <c:v>42975</c:v>
                </c:pt>
                <c:pt idx="1873">
                  <c:v>42976</c:v>
                </c:pt>
                <c:pt idx="1874">
                  <c:v>42977</c:v>
                </c:pt>
                <c:pt idx="1875">
                  <c:v>42978</c:v>
                </c:pt>
                <c:pt idx="1876">
                  <c:v>42979</c:v>
                </c:pt>
                <c:pt idx="1877">
                  <c:v>42982</c:v>
                </c:pt>
                <c:pt idx="1878">
                  <c:v>42983</c:v>
                </c:pt>
                <c:pt idx="1879">
                  <c:v>42984</c:v>
                </c:pt>
                <c:pt idx="1880">
                  <c:v>42985</c:v>
                </c:pt>
                <c:pt idx="1881">
                  <c:v>42986</c:v>
                </c:pt>
                <c:pt idx="1882">
                  <c:v>42989</c:v>
                </c:pt>
                <c:pt idx="1883">
                  <c:v>42990</c:v>
                </c:pt>
                <c:pt idx="1884">
                  <c:v>42991</c:v>
                </c:pt>
                <c:pt idx="1885">
                  <c:v>42992</c:v>
                </c:pt>
                <c:pt idx="1886">
                  <c:v>42993</c:v>
                </c:pt>
                <c:pt idx="1887">
                  <c:v>42996</c:v>
                </c:pt>
                <c:pt idx="1888">
                  <c:v>42997</c:v>
                </c:pt>
                <c:pt idx="1889">
                  <c:v>42998</c:v>
                </c:pt>
                <c:pt idx="1890">
                  <c:v>42999</c:v>
                </c:pt>
                <c:pt idx="1891">
                  <c:v>43000</c:v>
                </c:pt>
                <c:pt idx="1892">
                  <c:v>43003</c:v>
                </c:pt>
                <c:pt idx="1893">
                  <c:v>43004</c:v>
                </c:pt>
                <c:pt idx="1894">
                  <c:v>43005</c:v>
                </c:pt>
                <c:pt idx="1895">
                  <c:v>43006</c:v>
                </c:pt>
                <c:pt idx="1896">
                  <c:v>43007</c:v>
                </c:pt>
                <c:pt idx="1897">
                  <c:v>43010</c:v>
                </c:pt>
                <c:pt idx="1898">
                  <c:v>43011</c:v>
                </c:pt>
                <c:pt idx="1899">
                  <c:v>43012</c:v>
                </c:pt>
                <c:pt idx="1900">
                  <c:v>43013</c:v>
                </c:pt>
                <c:pt idx="1901">
                  <c:v>43014</c:v>
                </c:pt>
                <c:pt idx="1902">
                  <c:v>43017</c:v>
                </c:pt>
                <c:pt idx="1903">
                  <c:v>43018</c:v>
                </c:pt>
                <c:pt idx="1904">
                  <c:v>43019</c:v>
                </c:pt>
                <c:pt idx="1905">
                  <c:v>43020</c:v>
                </c:pt>
                <c:pt idx="1906">
                  <c:v>43021</c:v>
                </c:pt>
                <c:pt idx="1907">
                  <c:v>43024</c:v>
                </c:pt>
                <c:pt idx="1908">
                  <c:v>43025</c:v>
                </c:pt>
                <c:pt idx="1909">
                  <c:v>43026</c:v>
                </c:pt>
                <c:pt idx="1910">
                  <c:v>43027</c:v>
                </c:pt>
                <c:pt idx="1911">
                  <c:v>43028</c:v>
                </c:pt>
                <c:pt idx="1912">
                  <c:v>43031</c:v>
                </c:pt>
                <c:pt idx="1913">
                  <c:v>43032</c:v>
                </c:pt>
                <c:pt idx="1914">
                  <c:v>43033</c:v>
                </c:pt>
                <c:pt idx="1915">
                  <c:v>43034</c:v>
                </c:pt>
                <c:pt idx="1916">
                  <c:v>43035</c:v>
                </c:pt>
                <c:pt idx="1917">
                  <c:v>43038</c:v>
                </c:pt>
                <c:pt idx="1918">
                  <c:v>43039</c:v>
                </c:pt>
                <c:pt idx="1919">
                  <c:v>43040</c:v>
                </c:pt>
                <c:pt idx="1920">
                  <c:v>43041</c:v>
                </c:pt>
                <c:pt idx="1921">
                  <c:v>43042</c:v>
                </c:pt>
                <c:pt idx="1922">
                  <c:v>43045</c:v>
                </c:pt>
                <c:pt idx="1923">
                  <c:v>43046</c:v>
                </c:pt>
                <c:pt idx="1924">
                  <c:v>43047</c:v>
                </c:pt>
                <c:pt idx="1925">
                  <c:v>43048</c:v>
                </c:pt>
                <c:pt idx="1926">
                  <c:v>43049</c:v>
                </c:pt>
                <c:pt idx="1927">
                  <c:v>43052</c:v>
                </c:pt>
                <c:pt idx="1928">
                  <c:v>43053</c:v>
                </c:pt>
                <c:pt idx="1929">
                  <c:v>43054</c:v>
                </c:pt>
                <c:pt idx="1930">
                  <c:v>43055</c:v>
                </c:pt>
                <c:pt idx="1931">
                  <c:v>43056</c:v>
                </c:pt>
                <c:pt idx="1932">
                  <c:v>43059</c:v>
                </c:pt>
                <c:pt idx="1933">
                  <c:v>43060</c:v>
                </c:pt>
                <c:pt idx="1934">
                  <c:v>43061</c:v>
                </c:pt>
                <c:pt idx="1935">
                  <c:v>43062</c:v>
                </c:pt>
                <c:pt idx="1936">
                  <c:v>43063</c:v>
                </c:pt>
                <c:pt idx="1937">
                  <c:v>43066</c:v>
                </c:pt>
                <c:pt idx="1938">
                  <c:v>43067</c:v>
                </c:pt>
                <c:pt idx="1939">
                  <c:v>43068</c:v>
                </c:pt>
                <c:pt idx="1940">
                  <c:v>43069</c:v>
                </c:pt>
                <c:pt idx="1941">
                  <c:v>43070</c:v>
                </c:pt>
                <c:pt idx="1942">
                  <c:v>43073</c:v>
                </c:pt>
                <c:pt idx="1943">
                  <c:v>43074</c:v>
                </c:pt>
                <c:pt idx="1944">
                  <c:v>43075</c:v>
                </c:pt>
                <c:pt idx="1945">
                  <c:v>43076</c:v>
                </c:pt>
                <c:pt idx="1946">
                  <c:v>43077</c:v>
                </c:pt>
                <c:pt idx="1947">
                  <c:v>43080</c:v>
                </c:pt>
                <c:pt idx="1948">
                  <c:v>43081</c:v>
                </c:pt>
                <c:pt idx="1949">
                  <c:v>43082</c:v>
                </c:pt>
                <c:pt idx="1950">
                  <c:v>43083</c:v>
                </c:pt>
                <c:pt idx="1951">
                  <c:v>43084</c:v>
                </c:pt>
                <c:pt idx="1952">
                  <c:v>43087</c:v>
                </c:pt>
                <c:pt idx="1953">
                  <c:v>43088</c:v>
                </c:pt>
                <c:pt idx="1954">
                  <c:v>43089</c:v>
                </c:pt>
                <c:pt idx="1955">
                  <c:v>43090</c:v>
                </c:pt>
                <c:pt idx="1956">
                  <c:v>43091</c:v>
                </c:pt>
                <c:pt idx="1957">
                  <c:v>43094</c:v>
                </c:pt>
                <c:pt idx="1958">
                  <c:v>43095</c:v>
                </c:pt>
                <c:pt idx="1959">
                  <c:v>43096</c:v>
                </c:pt>
                <c:pt idx="1960">
                  <c:v>43097</c:v>
                </c:pt>
                <c:pt idx="1961">
                  <c:v>43098</c:v>
                </c:pt>
                <c:pt idx="1962">
                  <c:v>43101</c:v>
                </c:pt>
                <c:pt idx="1963">
                  <c:v>43102</c:v>
                </c:pt>
                <c:pt idx="1964">
                  <c:v>43103</c:v>
                </c:pt>
                <c:pt idx="1965">
                  <c:v>43104</c:v>
                </c:pt>
                <c:pt idx="1966">
                  <c:v>43105</c:v>
                </c:pt>
                <c:pt idx="1967">
                  <c:v>43108</c:v>
                </c:pt>
                <c:pt idx="1968">
                  <c:v>43109</c:v>
                </c:pt>
                <c:pt idx="1969">
                  <c:v>43110</c:v>
                </c:pt>
                <c:pt idx="1970">
                  <c:v>43111</c:v>
                </c:pt>
                <c:pt idx="1971">
                  <c:v>43112</c:v>
                </c:pt>
                <c:pt idx="1972">
                  <c:v>43115</c:v>
                </c:pt>
                <c:pt idx="1973">
                  <c:v>43116</c:v>
                </c:pt>
                <c:pt idx="1974">
                  <c:v>43117</c:v>
                </c:pt>
                <c:pt idx="1975">
                  <c:v>43118</c:v>
                </c:pt>
                <c:pt idx="1976">
                  <c:v>43119</c:v>
                </c:pt>
                <c:pt idx="1977">
                  <c:v>43122</c:v>
                </c:pt>
                <c:pt idx="1978">
                  <c:v>43123</c:v>
                </c:pt>
                <c:pt idx="1979">
                  <c:v>43124</c:v>
                </c:pt>
                <c:pt idx="1980">
                  <c:v>43125</c:v>
                </c:pt>
                <c:pt idx="1981">
                  <c:v>43126</c:v>
                </c:pt>
                <c:pt idx="1982">
                  <c:v>43129</c:v>
                </c:pt>
                <c:pt idx="1983">
                  <c:v>43130</c:v>
                </c:pt>
                <c:pt idx="1984">
                  <c:v>43131</c:v>
                </c:pt>
              </c:numCache>
            </c:numRef>
          </c:cat>
          <c:val>
            <c:numRef>
              <c:f>'AFE Euro RP Brut'!$D$5:$D$1989</c:f>
              <c:numCache>
                <c:formatCode>#,##0.00_);[Red]\(#,##0.00\)</c:formatCode>
                <c:ptCount val="1985"/>
                <c:pt idx="0">
                  <c:v>100</c:v>
                </c:pt>
                <c:pt idx="1">
                  <c:v>99.352580000000003</c:v>
                </c:pt>
                <c:pt idx="2">
                  <c:v>100.275919999999</c:v>
                </c:pt>
                <c:pt idx="3">
                  <c:v>97.321019999999905</c:v>
                </c:pt>
                <c:pt idx="4">
                  <c:v>97.175519999999906</c:v>
                </c:pt>
                <c:pt idx="5">
                  <c:v>95.630496289143593</c:v>
                </c:pt>
                <c:pt idx="6">
                  <c:v>95.786795720565394</c:v>
                </c:pt>
                <c:pt idx="7">
                  <c:v>95.681843969363101</c:v>
                </c:pt>
                <c:pt idx="8">
                  <c:v>97.850113789179503</c:v>
                </c:pt>
                <c:pt idx="9">
                  <c:v>98.738475928075204</c:v>
                </c:pt>
                <c:pt idx="10">
                  <c:v>99.491445030910597</c:v>
                </c:pt>
                <c:pt idx="11">
                  <c:v>99.853133261232202</c:v>
                </c:pt>
                <c:pt idx="12">
                  <c:v>100.14544441987501</c:v>
                </c:pt>
                <c:pt idx="13">
                  <c:v>101.69183207037401</c:v>
                </c:pt>
                <c:pt idx="14">
                  <c:v>101.844070746653</c:v>
                </c:pt>
                <c:pt idx="15">
                  <c:v>101.17212558815901</c:v>
                </c:pt>
                <c:pt idx="16">
                  <c:v>99.592777740197306</c:v>
                </c:pt>
                <c:pt idx="17">
                  <c:v>99.259260180608194</c:v>
                </c:pt>
                <c:pt idx="18">
                  <c:v>98.765111151562905</c:v>
                </c:pt>
                <c:pt idx="19">
                  <c:v>99.575353248706705</c:v>
                </c:pt>
                <c:pt idx="20">
                  <c:v>101.460074516981</c:v>
                </c:pt>
                <c:pt idx="21">
                  <c:v>101.568014430731</c:v>
                </c:pt>
                <c:pt idx="22">
                  <c:v>101.94268061204301</c:v>
                </c:pt>
                <c:pt idx="23">
                  <c:v>102.174363996498</c:v>
                </c:pt>
                <c:pt idx="24">
                  <c:v>101.879700738848</c:v>
                </c:pt>
                <c:pt idx="25">
                  <c:v>101.778929204246</c:v>
                </c:pt>
                <c:pt idx="26">
                  <c:v>101.301279472015</c:v>
                </c:pt>
                <c:pt idx="27">
                  <c:v>103.42740310542399</c:v>
                </c:pt>
                <c:pt idx="28">
                  <c:v>103.611779576304</c:v>
                </c:pt>
                <c:pt idx="29">
                  <c:v>104.03752412356502</c:v>
                </c:pt>
                <c:pt idx="30">
                  <c:v>103.63203822966301</c:v>
                </c:pt>
                <c:pt idx="31">
                  <c:v>102.54753299311901</c:v>
                </c:pt>
                <c:pt idx="32">
                  <c:v>103.60735234206399</c:v>
                </c:pt>
                <c:pt idx="33">
                  <c:v>102.83929221714099</c:v>
                </c:pt>
                <c:pt idx="34">
                  <c:v>100.64909754260401</c:v>
                </c:pt>
                <c:pt idx="35">
                  <c:v>100.641620414634</c:v>
                </c:pt>
                <c:pt idx="36">
                  <c:v>100.639525422654</c:v>
                </c:pt>
                <c:pt idx="37">
                  <c:v>100.632439990227</c:v>
                </c:pt>
                <c:pt idx="38">
                  <c:v>102.04368692744401</c:v>
                </c:pt>
                <c:pt idx="39">
                  <c:v>101.812012698301</c:v>
                </c:pt>
                <c:pt idx="40">
                  <c:v>100.57322675857398</c:v>
                </c:pt>
                <c:pt idx="41">
                  <c:v>99.431925981491105</c:v>
                </c:pt>
                <c:pt idx="42">
                  <c:v>99.891717362015299</c:v>
                </c:pt>
                <c:pt idx="43">
                  <c:v>98.6478860365835</c:v>
                </c:pt>
                <c:pt idx="44">
                  <c:v>97.908974844788602</c:v>
                </c:pt>
                <c:pt idx="45">
                  <c:v>98.587223171649597</c:v>
                </c:pt>
                <c:pt idx="46">
                  <c:v>99.511129078473999</c:v>
                </c:pt>
                <c:pt idx="47">
                  <c:v>99.335944895588398</c:v>
                </c:pt>
                <c:pt idx="48">
                  <c:v>99.550957327647595</c:v>
                </c:pt>
                <c:pt idx="49">
                  <c:v>101.79864003116099</c:v>
                </c:pt>
                <c:pt idx="50">
                  <c:v>102.023340462859</c:v>
                </c:pt>
                <c:pt idx="51">
                  <c:v>102.573135929381</c:v>
                </c:pt>
                <c:pt idx="52">
                  <c:v>103.04813295788</c:v>
                </c:pt>
                <c:pt idx="53">
                  <c:v>102.23624372010001</c:v>
                </c:pt>
                <c:pt idx="54">
                  <c:v>102.92878923268501</c:v>
                </c:pt>
                <c:pt idx="55">
                  <c:v>103.877910728518</c:v>
                </c:pt>
                <c:pt idx="56">
                  <c:v>103.862137460436</c:v>
                </c:pt>
                <c:pt idx="57">
                  <c:v>104.42603390835301</c:v>
                </c:pt>
                <c:pt idx="58">
                  <c:v>104.570287059694</c:v>
                </c:pt>
                <c:pt idx="59">
                  <c:v>104.228273207795</c:v>
                </c:pt>
                <c:pt idx="60">
                  <c:v>103.76953424301398</c:v>
                </c:pt>
                <c:pt idx="61">
                  <c:v>103.63978848319</c:v>
                </c:pt>
                <c:pt idx="62">
                  <c:v>104.853411881713</c:v>
                </c:pt>
                <c:pt idx="63">
                  <c:v>104.88202335026099</c:v>
                </c:pt>
                <c:pt idx="64">
                  <c:v>103.852183616792</c:v>
                </c:pt>
                <c:pt idx="65">
                  <c:v>103.577467028149</c:v>
                </c:pt>
                <c:pt idx="66">
                  <c:v>104.679572867123</c:v>
                </c:pt>
                <c:pt idx="67">
                  <c:v>104.48761914256399</c:v>
                </c:pt>
                <c:pt idx="68">
                  <c:v>104.701816676508</c:v>
                </c:pt>
                <c:pt idx="69">
                  <c:v>104.45353571351002</c:v>
                </c:pt>
                <c:pt idx="70">
                  <c:v>104.37028230492101</c:v>
                </c:pt>
                <c:pt idx="71">
                  <c:v>104.39078370486898</c:v>
                </c:pt>
                <c:pt idx="72">
                  <c:v>103.49609144479402</c:v>
                </c:pt>
                <c:pt idx="73">
                  <c:v>104.911831749062</c:v>
                </c:pt>
                <c:pt idx="74">
                  <c:v>105.457764611565</c:v>
                </c:pt>
                <c:pt idx="75">
                  <c:v>105.48914864279899</c:v>
                </c:pt>
                <c:pt idx="76">
                  <c:v>105.49596921407</c:v>
                </c:pt>
                <c:pt idx="77">
                  <c:v>105.76386206391399</c:v>
                </c:pt>
                <c:pt idx="78">
                  <c:v>105.589280069933</c:v>
                </c:pt>
                <c:pt idx="79">
                  <c:v>107.227767610237</c:v>
                </c:pt>
                <c:pt idx="80">
                  <c:v>107.18675601200501</c:v>
                </c:pt>
                <c:pt idx="81">
                  <c:v>107.38589658391</c:v>
                </c:pt>
                <c:pt idx="82">
                  <c:v>107.678672144923</c:v>
                </c:pt>
                <c:pt idx="83">
                  <c:v>107.15507453553698</c:v>
                </c:pt>
                <c:pt idx="84">
                  <c:v>107.406002229251</c:v>
                </c:pt>
                <c:pt idx="85">
                  <c:v>108.42232860827798</c:v>
                </c:pt>
                <c:pt idx="86">
                  <c:v>108.29130414719501</c:v>
                </c:pt>
                <c:pt idx="87">
                  <c:v>108.66201772075399</c:v>
                </c:pt>
                <c:pt idx="88">
                  <c:v>108.402360122519</c:v>
                </c:pt>
                <c:pt idx="89">
                  <c:v>107.662171681206</c:v>
                </c:pt>
                <c:pt idx="90">
                  <c:v>108.324873811808</c:v>
                </c:pt>
                <c:pt idx="91">
                  <c:v>108.291095308983</c:v>
                </c:pt>
                <c:pt idx="92">
                  <c:v>108.291095308983</c:v>
                </c:pt>
                <c:pt idx="93">
                  <c:v>108.984149151849</c:v>
                </c:pt>
                <c:pt idx="94">
                  <c:v>108.39594911617701</c:v>
                </c:pt>
                <c:pt idx="95">
                  <c:v>109.18709968594999</c:v>
                </c:pt>
                <c:pt idx="96">
                  <c:v>108.86300210975</c:v>
                </c:pt>
                <c:pt idx="97">
                  <c:v>108.680148155574</c:v>
                </c:pt>
                <c:pt idx="98">
                  <c:v>109.58653197202</c:v>
                </c:pt>
                <c:pt idx="99">
                  <c:v>108.90601463007199</c:v>
                </c:pt>
                <c:pt idx="100">
                  <c:v>108.06681394816799</c:v>
                </c:pt>
                <c:pt idx="101">
                  <c:v>107.70865651446199</c:v>
                </c:pt>
                <c:pt idx="102">
                  <c:v>108.48475978610298</c:v>
                </c:pt>
                <c:pt idx="103">
                  <c:v>106.77507750104</c:v>
                </c:pt>
                <c:pt idx="104">
                  <c:v>107.341646853309</c:v>
                </c:pt>
                <c:pt idx="105">
                  <c:v>108.888452453955</c:v>
                </c:pt>
                <c:pt idx="106">
                  <c:v>108.80275963331701</c:v>
                </c:pt>
                <c:pt idx="107">
                  <c:v>107.905733680027</c:v>
                </c:pt>
                <c:pt idx="108">
                  <c:v>106.27918283907201</c:v>
                </c:pt>
                <c:pt idx="109">
                  <c:v>107.066769078015</c:v>
                </c:pt>
                <c:pt idx="110">
                  <c:v>107.503397481772</c:v>
                </c:pt>
                <c:pt idx="111">
                  <c:v>107.28062250236698</c:v>
                </c:pt>
                <c:pt idx="112">
                  <c:v>105.13813242686601</c:v>
                </c:pt>
                <c:pt idx="113">
                  <c:v>104.67734401384598</c:v>
                </c:pt>
                <c:pt idx="114">
                  <c:v>106.67000872299499</c:v>
                </c:pt>
                <c:pt idx="115">
                  <c:v>108.27612069396699</c:v>
                </c:pt>
                <c:pt idx="116">
                  <c:v>108.52584800746502</c:v>
                </c:pt>
                <c:pt idx="117">
                  <c:v>108.52633951056301</c:v>
                </c:pt>
                <c:pt idx="118">
                  <c:v>109.434905420758</c:v>
                </c:pt>
                <c:pt idx="119">
                  <c:v>109.629408846842</c:v>
                </c:pt>
                <c:pt idx="120">
                  <c:v>109.80480547520499</c:v>
                </c:pt>
                <c:pt idx="121">
                  <c:v>109.86073229495901</c:v>
                </c:pt>
                <c:pt idx="122">
                  <c:v>110.394983713672</c:v>
                </c:pt>
                <c:pt idx="123">
                  <c:v>110.53994639040501</c:v>
                </c:pt>
                <c:pt idx="124">
                  <c:v>110.142906872254</c:v>
                </c:pt>
                <c:pt idx="125">
                  <c:v>110.29832761295299</c:v>
                </c:pt>
                <c:pt idx="126">
                  <c:v>110.062950913725</c:v>
                </c:pt>
                <c:pt idx="127">
                  <c:v>110.659373487484</c:v>
                </c:pt>
                <c:pt idx="128">
                  <c:v>111.79314131316799</c:v>
                </c:pt>
                <c:pt idx="129">
                  <c:v>111.95101228364102</c:v>
                </c:pt>
                <c:pt idx="130">
                  <c:v>111.97266783382101</c:v>
                </c:pt>
                <c:pt idx="131">
                  <c:v>111.835664149465</c:v>
                </c:pt>
                <c:pt idx="132">
                  <c:v>111.001698261966</c:v>
                </c:pt>
                <c:pt idx="133">
                  <c:v>111.12909600966002</c:v>
                </c:pt>
                <c:pt idx="134">
                  <c:v>111.640833460675</c:v>
                </c:pt>
                <c:pt idx="135">
                  <c:v>110.66811355130601</c:v>
                </c:pt>
                <c:pt idx="136">
                  <c:v>110.162110469528</c:v>
                </c:pt>
                <c:pt idx="137">
                  <c:v>111.541853012312</c:v>
                </c:pt>
                <c:pt idx="138">
                  <c:v>111.580257074267</c:v>
                </c:pt>
                <c:pt idx="139">
                  <c:v>111.23423060041399</c:v>
                </c:pt>
                <c:pt idx="140">
                  <c:v>111.37929070976899</c:v>
                </c:pt>
                <c:pt idx="141">
                  <c:v>111.09935881486402</c:v>
                </c:pt>
                <c:pt idx="142">
                  <c:v>109.75919814007899</c:v>
                </c:pt>
                <c:pt idx="143">
                  <c:v>110.976260186286</c:v>
                </c:pt>
                <c:pt idx="144">
                  <c:v>112.706493195379</c:v>
                </c:pt>
                <c:pt idx="145">
                  <c:v>112.56380243388099</c:v>
                </c:pt>
                <c:pt idx="146">
                  <c:v>112.380850467624</c:v>
                </c:pt>
                <c:pt idx="147">
                  <c:v>112.33348190022801</c:v>
                </c:pt>
                <c:pt idx="148">
                  <c:v>113.228037350579</c:v>
                </c:pt>
                <c:pt idx="149">
                  <c:v>112.490196301517</c:v>
                </c:pt>
                <c:pt idx="150">
                  <c:v>111.71983514420198</c:v>
                </c:pt>
                <c:pt idx="151">
                  <c:v>112.458117207209</c:v>
                </c:pt>
                <c:pt idx="152">
                  <c:v>112.65113881818401</c:v>
                </c:pt>
                <c:pt idx="153">
                  <c:v>112.458426917743</c:v>
                </c:pt>
                <c:pt idx="154">
                  <c:v>113.33658305815599</c:v>
                </c:pt>
                <c:pt idx="155">
                  <c:v>113.759912904106</c:v>
                </c:pt>
                <c:pt idx="156">
                  <c:v>113.021267190703</c:v>
                </c:pt>
                <c:pt idx="157">
                  <c:v>113.03881989073199</c:v>
                </c:pt>
                <c:pt idx="158">
                  <c:v>114.689903041024</c:v>
                </c:pt>
                <c:pt idx="159">
                  <c:v>114.914405054341</c:v>
                </c:pt>
                <c:pt idx="160">
                  <c:v>114.620543621473</c:v>
                </c:pt>
                <c:pt idx="161">
                  <c:v>114.90355520150798</c:v>
                </c:pt>
                <c:pt idx="162">
                  <c:v>115.72480363498401</c:v>
                </c:pt>
                <c:pt idx="163">
                  <c:v>115.88230308327398</c:v>
                </c:pt>
                <c:pt idx="164">
                  <c:v>115.69029709026202</c:v>
                </c:pt>
                <c:pt idx="165">
                  <c:v>115.499790591189</c:v>
                </c:pt>
                <c:pt idx="166">
                  <c:v>115.60886512817299</c:v>
                </c:pt>
                <c:pt idx="167">
                  <c:v>116.00403485047302</c:v>
                </c:pt>
                <c:pt idx="168">
                  <c:v>115.892179342744</c:v>
                </c:pt>
                <c:pt idx="169">
                  <c:v>116.39988862073101</c:v>
                </c:pt>
                <c:pt idx="170">
                  <c:v>116.536441430235</c:v>
                </c:pt>
                <c:pt idx="171">
                  <c:v>116.55955708893599</c:v>
                </c:pt>
                <c:pt idx="172">
                  <c:v>115.115894144983</c:v>
                </c:pt>
                <c:pt idx="173">
                  <c:v>114.6003078052</c:v>
                </c:pt>
                <c:pt idx="174">
                  <c:v>113.61717818565499</c:v>
                </c:pt>
                <c:pt idx="175">
                  <c:v>113.36860942099301</c:v>
                </c:pt>
                <c:pt idx="176">
                  <c:v>114.71877692832999</c:v>
                </c:pt>
                <c:pt idx="177">
                  <c:v>115.482634963357</c:v>
                </c:pt>
                <c:pt idx="178">
                  <c:v>115.401150198054</c:v>
                </c:pt>
                <c:pt idx="179">
                  <c:v>114.67978597660201</c:v>
                </c:pt>
                <c:pt idx="180">
                  <c:v>115.064058773551</c:v>
                </c:pt>
                <c:pt idx="181">
                  <c:v>114.760845955623</c:v>
                </c:pt>
                <c:pt idx="182">
                  <c:v>114.626488138688</c:v>
                </c:pt>
                <c:pt idx="183">
                  <c:v>115.08705545747399</c:v>
                </c:pt>
                <c:pt idx="184">
                  <c:v>115.160675484499</c:v>
                </c:pt>
                <c:pt idx="185">
                  <c:v>114.173711799554</c:v>
                </c:pt>
                <c:pt idx="186">
                  <c:v>113.210387728054</c:v>
                </c:pt>
                <c:pt idx="187">
                  <c:v>112.12933384893799</c:v>
                </c:pt>
                <c:pt idx="188">
                  <c:v>109.716703409958</c:v>
                </c:pt>
                <c:pt idx="189">
                  <c:v>108.357089119153</c:v>
                </c:pt>
                <c:pt idx="190">
                  <c:v>109.84900633013402</c:v>
                </c:pt>
                <c:pt idx="191">
                  <c:v>110.28260736903199</c:v>
                </c:pt>
                <c:pt idx="192">
                  <c:v>112.42120265329601</c:v>
                </c:pt>
                <c:pt idx="193">
                  <c:v>111.97867692844801</c:v>
                </c:pt>
                <c:pt idx="194">
                  <c:v>112.56315886933299</c:v>
                </c:pt>
                <c:pt idx="195">
                  <c:v>113.97058241423102</c:v>
                </c:pt>
                <c:pt idx="196">
                  <c:v>114.220044813922</c:v>
                </c:pt>
                <c:pt idx="197">
                  <c:v>114.41250170010599</c:v>
                </c:pt>
                <c:pt idx="198">
                  <c:v>114.56445107695301</c:v>
                </c:pt>
                <c:pt idx="199">
                  <c:v>115.612736195484</c:v>
                </c:pt>
                <c:pt idx="200">
                  <c:v>114.89932129043601</c:v>
                </c:pt>
                <c:pt idx="201">
                  <c:v>116.13660420216002</c:v>
                </c:pt>
                <c:pt idx="202">
                  <c:v>116.53338102226101</c:v>
                </c:pt>
                <c:pt idx="203">
                  <c:v>116.46387284489801</c:v>
                </c:pt>
                <c:pt idx="204">
                  <c:v>116.73150985026402</c:v>
                </c:pt>
                <c:pt idx="205">
                  <c:v>116.19956658015499</c:v>
                </c:pt>
                <c:pt idx="206">
                  <c:v>116.72483973006</c:v>
                </c:pt>
                <c:pt idx="207">
                  <c:v>116.55036342365402</c:v>
                </c:pt>
                <c:pt idx="208">
                  <c:v>115.030916325747</c:v>
                </c:pt>
                <c:pt idx="209">
                  <c:v>116.03180590608999</c:v>
                </c:pt>
                <c:pt idx="210">
                  <c:v>115.24273020271301</c:v>
                </c:pt>
                <c:pt idx="211">
                  <c:v>115.560727427594</c:v>
                </c:pt>
                <c:pt idx="212">
                  <c:v>113.685138807611</c:v>
                </c:pt>
                <c:pt idx="213">
                  <c:v>114.175766474125</c:v>
                </c:pt>
                <c:pt idx="214">
                  <c:v>116.135713955992</c:v>
                </c:pt>
                <c:pt idx="215">
                  <c:v>116.164938752095</c:v>
                </c:pt>
                <c:pt idx="216">
                  <c:v>116.164938752095</c:v>
                </c:pt>
                <c:pt idx="217">
                  <c:v>116.164938752095</c:v>
                </c:pt>
                <c:pt idx="218">
                  <c:v>116.958413232062</c:v>
                </c:pt>
                <c:pt idx="219">
                  <c:v>117.33485521376601</c:v>
                </c:pt>
                <c:pt idx="220">
                  <c:v>117.92808971726301</c:v>
                </c:pt>
                <c:pt idx="221">
                  <c:v>118.28842102416202</c:v>
                </c:pt>
                <c:pt idx="222">
                  <c:v>118.71791286950099</c:v>
                </c:pt>
                <c:pt idx="223">
                  <c:v>118.17352796703101</c:v>
                </c:pt>
                <c:pt idx="224">
                  <c:v>117.098841631076</c:v>
                </c:pt>
                <c:pt idx="225">
                  <c:v>116.70527918100998</c:v>
                </c:pt>
                <c:pt idx="226">
                  <c:v>117.86507739550301</c:v>
                </c:pt>
                <c:pt idx="227">
                  <c:v>117.36309230016499</c:v>
                </c:pt>
                <c:pt idx="228">
                  <c:v>118.26309139289999</c:v>
                </c:pt>
                <c:pt idx="229">
                  <c:v>118.71495535346801</c:v>
                </c:pt>
                <c:pt idx="230">
                  <c:v>118.11629118832001</c:v>
                </c:pt>
                <c:pt idx="231">
                  <c:v>118.045527179175</c:v>
                </c:pt>
                <c:pt idx="232">
                  <c:v>117.67635090490201</c:v>
                </c:pt>
                <c:pt idx="233">
                  <c:v>116.351422896353</c:v>
                </c:pt>
                <c:pt idx="234">
                  <c:v>116.88110634433799</c:v>
                </c:pt>
                <c:pt idx="235">
                  <c:v>117.70054723419901</c:v>
                </c:pt>
                <c:pt idx="236">
                  <c:v>117.11944025542</c:v>
                </c:pt>
                <c:pt idx="237">
                  <c:v>115.315209911439</c:v>
                </c:pt>
                <c:pt idx="238">
                  <c:v>115.58116186851299</c:v>
                </c:pt>
                <c:pt idx="239">
                  <c:v>115.71500781468301</c:v>
                </c:pt>
                <c:pt idx="240">
                  <c:v>115.478867174939</c:v>
                </c:pt>
                <c:pt idx="241">
                  <c:v>115.97659311955699</c:v>
                </c:pt>
                <c:pt idx="242">
                  <c:v>116.08387623937702</c:v>
                </c:pt>
                <c:pt idx="243">
                  <c:v>117.34435195480599</c:v>
                </c:pt>
                <c:pt idx="244">
                  <c:v>116.710455760949</c:v>
                </c:pt>
                <c:pt idx="245">
                  <c:v>116.710455760949</c:v>
                </c:pt>
                <c:pt idx="246">
                  <c:v>115.295473286907</c:v>
                </c:pt>
                <c:pt idx="247">
                  <c:v>115.00642866584198</c:v>
                </c:pt>
                <c:pt idx="248">
                  <c:v>114.90251888795</c:v>
                </c:pt>
                <c:pt idx="249">
                  <c:v>113.658232876867</c:v>
                </c:pt>
                <c:pt idx="250">
                  <c:v>114.61472075235399</c:v>
                </c:pt>
                <c:pt idx="251">
                  <c:v>113.08267315606599</c:v>
                </c:pt>
                <c:pt idx="252">
                  <c:v>113.08267315606599</c:v>
                </c:pt>
                <c:pt idx="253">
                  <c:v>114.40492751309299</c:v>
                </c:pt>
                <c:pt idx="254">
                  <c:v>113.00963310575001</c:v>
                </c:pt>
                <c:pt idx="255">
                  <c:v>112.14669521182998</c:v>
                </c:pt>
                <c:pt idx="256">
                  <c:v>112.611211632709</c:v>
                </c:pt>
                <c:pt idx="257">
                  <c:v>111.731325216253</c:v>
                </c:pt>
                <c:pt idx="258">
                  <c:v>113.43859820706901</c:v>
                </c:pt>
                <c:pt idx="259">
                  <c:v>113.06249853247301</c:v>
                </c:pt>
                <c:pt idx="260">
                  <c:v>113.06249853247301</c:v>
                </c:pt>
                <c:pt idx="261">
                  <c:v>111.02608912000301</c:v>
                </c:pt>
                <c:pt idx="262">
                  <c:v>111.16928165067598</c:v>
                </c:pt>
                <c:pt idx="263">
                  <c:v>111.48843744868799</c:v>
                </c:pt>
                <c:pt idx="264">
                  <c:v>113.57007838999399</c:v>
                </c:pt>
                <c:pt idx="265">
                  <c:v>115.20180289585301</c:v>
                </c:pt>
                <c:pt idx="266">
                  <c:v>115.73643762846399</c:v>
                </c:pt>
                <c:pt idx="267">
                  <c:v>116.156503800251</c:v>
                </c:pt>
                <c:pt idx="268">
                  <c:v>115.582609302932</c:v>
                </c:pt>
                <c:pt idx="269">
                  <c:v>114.86612197828102</c:v>
                </c:pt>
                <c:pt idx="270">
                  <c:v>115.75747366488001</c:v>
                </c:pt>
                <c:pt idx="271">
                  <c:v>114.30805936882599</c:v>
                </c:pt>
                <c:pt idx="272">
                  <c:v>111.87955633526701</c:v>
                </c:pt>
                <c:pt idx="273">
                  <c:v>111.118321762702</c:v>
                </c:pt>
                <c:pt idx="274">
                  <c:v>111.96544651888701</c:v>
                </c:pt>
                <c:pt idx="275">
                  <c:v>110.84545651263599</c:v>
                </c:pt>
                <c:pt idx="276">
                  <c:v>110.761686910298</c:v>
                </c:pt>
                <c:pt idx="277">
                  <c:v>109.11417391846598</c:v>
                </c:pt>
                <c:pt idx="278">
                  <c:v>110.21386677107002</c:v>
                </c:pt>
                <c:pt idx="279">
                  <c:v>111.586819858326</c:v>
                </c:pt>
                <c:pt idx="280">
                  <c:v>113.067149734919</c:v>
                </c:pt>
                <c:pt idx="281">
                  <c:v>113.85104987590999</c:v>
                </c:pt>
                <c:pt idx="282">
                  <c:v>113.40531661946301</c:v>
                </c:pt>
                <c:pt idx="283">
                  <c:v>113.13546464380899</c:v>
                </c:pt>
                <c:pt idx="284">
                  <c:v>111.69989557841899</c:v>
                </c:pt>
                <c:pt idx="285">
                  <c:v>111.071570063899</c:v>
                </c:pt>
                <c:pt idx="286">
                  <c:v>110.480055106512</c:v>
                </c:pt>
                <c:pt idx="287">
                  <c:v>108.167317919985</c:v>
                </c:pt>
                <c:pt idx="288">
                  <c:v>106.00252682995898</c:v>
                </c:pt>
                <c:pt idx="289">
                  <c:v>104.000588748501</c:v>
                </c:pt>
                <c:pt idx="290">
                  <c:v>100.196531864967</c:v>
                </c:pt>
                <c:pt idx="291">
                  <c:v>98.7973984376641</c:v>
                </c:pt>
                <c:pt idx="292">
                  <c:v>94.724551427890702</c:v>
                </c:pt>
                <c:pt idx="293">
                  <c:v>95.573549682378797</c:v>
                </c:pt>
                <c:pt idx="294">
                  <c:v>92.716067796125202</c:v>
                </c:pt>
                <c:pt idx="295">
                  <c:v>95.514345774486401</c:v>
                </c:pt>
                <c:pt idx="296">
                  <c:v>98.766022530189701</c:v>
                </c:pt>
                <c:pt idx="297">
                  <c:v>98.766022530189701</c:v>
                </c:pt>
                <c:pt idx="298">
                  <c:v>98.488389574689805</c:v>
                </c:pt>
                <c:pt idx="299">
                  <c:v>98.869844087784401</c:v>
                </c:pt>
                <c:pt idx="300">
                  <c:v>94.254261985881001</c:v>
                </c:pt>
                <c:pt idx="301">
                  <c:v>93.036360755128499</c:v>
                </c:pt>
                <c:pt idx="302">
                  <c:v>94.008481385700193</c:v>
                </c:pt>
                <c:pt idx="303">
                  <c:v>94.420142278812605</c:v>
                </c:pt>
                <c:pt idx="304">
                  <c:v>95.836753767528293</c:v>
                </c:pt>
                <c:pt idx="305">
                  <c:v>94.904414320117098</c:v>
                </c:pt>
                <c:pt idx="306">
                  <c:v>94.317153451559903</c:v>
                </c:pt>
                <c:pt idx="307">
                  <c:v>96.369521136273903</c:v>
                </c:pt>
                <c:pt idx="308">
                  <c:v>96.518105740255706</c:v>
                </c:pt>
                <c:pt idx="309">
                  <c:v>99.002053766332807</c:v>
                </c:pt>
                <c:pt idx="310">
                  <c:v>99.284570982863499</c:v>
                </c:pt>
                <c:pt idx="311">
                  <c:v>97.018339845236596</c:v>
                </c:pt>
                <c:pt idx="312">
                  <c:v>93.123695617625302</c:v>
                </c:pt>
                <c:pt idx="313">
                  <c:v>92.441912666836501</c:v>
                </c:pt>
                <c:pt idx="314">
                  <c:v>95.497023930304294</c:v>
                </c:pt>
                <c:pt idx="315">
                  <c:v>96.099398629168107</c:v>
                </c:pt>
                <c:pt idx="316">
                  <c:v>93.113858435894301</c:v>
                </c:pt>
                <c:pt idx="317">
                  <c:v>90.465434077349499</c:v>
                </c:pt>
                <c:pt idx="318">
                  <c:v>91.072509203233594</c:v>
                </c:pt>
                <c:pt idx="319">
                  <c:v>93.038507841415793</c:v>
                </c:pt>
                <c:pt idx="320">
                  <c:v>94.914092751180803</c:v>
                </c:pt>
                <c:pt idx="321">
                  <c:v>95.689105467449494</c:v>
                </c:pt>
                <c:pt idx="322">
                  <c:v>93.539763319531204</c:v>
                </c:pt>
                <c:pt idx="323">
                  <c:v>95.142887216117202</c:v>
                </c:pt>
                <c:pt idx="324">
                  <c:v>93.996665391601297</c:v>
                </c:pt>
                <c:pt idx="325">
                  <c:v>89.5553155583803</c:v>
                </c:pt>
                <c:pt idx="326">
                  <c:v>89.636849266222598</c:v>
                </c:pt>
                <c:pt idx="327">
                  <c:v>91.027533178901706</c:v>
                </c:pt>
                <c:pt idx="328">
                  <c:v>94.723186457393695</c:v>
                </c:pt>
                <c:pt idx="329">
                  <c:v>94.088477028247297</c:v>
                </c:pt>
                <c:pt idx="330">
                  <c:v>94.867562758490294</c:v>
                </c:pt>
                <c:pt idx="331">
                  <c:v>93.582003466701494</c:v>
                </c:pt>
                <c:pt idx="332">
                  <c:v>92.018813576477498</c:v>
                </c:pt>
                <c:pt idx="333">
                  <c:v>89.623638929871007</c:v>
                </c:pt>
                <c:pt idx="334">
                  <c:v>92.333615570688295</c:v>
                </c:pt>
                <c:pt idx="335">
                  <c:v>94.866541286657494</c:v>
                </c:pt>
                <c:pt idx="336">
                  <c:v>95.221625159167303</c:v>
                </c:pt>
                <c:pt idx="337">
                  <c:v>97.028202989354298</c:v>
                </c:pt>
                <c:pt idx="338">
                  <c:v>96.583623864957602</c:v>
                </c:pt>
                <c:pt idx="339">
                  <c:v>98.811259459177407</c:v>
                </c:pt>
                <c:pt idx="340">
                  <c:v>97.951448579927302</c:v>
                </c:pt>
                <c:pt idx="341">
                  <c:v>99.334108955587794</c:v>
                </c:pt>
                <c:pt idx="342">
                  <c:v>97.902914785704198</c:v>
                </c:pt>
                <c:pt idx="343">
                  <c:v>97.890666202908506</c:v>
                </c:pt>
                <c:pt idx="344">
                  <c:v>97.871511493452601</c:v>
                </c:pt>
                <c:pt idx="345">
                  <c:v>96.323248141756395</c:v>
                </c:pt>
                <c:pt idx="346">
                  <c:v>98.837789726782603</c:v>
                </c:pt>
                <c:pt idx="347">
                  <c:v>99.969726332637805</c:v>
                </c:pt>
                <c:pt idx="348">
                  <c:v>99.340250701015606</c:v>
                </c:pt>
                <c:pt idx="349">
                  <c:v>99.483461222247101</c:v>
                </c:pt>
                <c:pt idx="350">
                  <c:v>103.22793737235301</c:v>
                </c:pt>
                <c:pt idx="351">
                  <c:v>102.72520074579099</c:v>
                </c:pt>
                <c:pt idx="352">
                  <c:v>100.24109690736501</c:v>
                </c:pt>
                <c:pt idx="353">
                  <c:v>100.24109690736501</c:v>
                </c:pt>
                <c:pt idx="354">
                  <c:v>97.056113451450599</c:v>
                </c:pt>
                <c:pt idx="355">
                  <c:v>99.584155928839394</c:v>
                </c:pt>
                <c:pt idx="356">
                  <c:v>98.222972065763003</c:v>
                </c:pt>
                <c:pt idx="357">
                  <c:v>98.022487446406998</c:v>
                </c:pt>
                <c:pt idx="358">
                  <c:v>98.643837707603197</c:v>
                </c:pt>
                <c:pt idx="359">
                  <c:v>96.627168662301997</c:v>
                </c:pt>
                <c:pt idx="360">
                  <c:v>96.416557249686207</c:v>
                </c:pt>
                <c:pt idx="361">
                  <c:v>98.693828896214896</c:v>
                </c:pt>
                <c:pt idx="362">
                  <c:v>97.549154620045499</c:v>
                </c:pt>
                <c:pt idx="363">
                  <c:v>96.511364374786197</c:v>
                </c:pt>
                <c:pt idx="364">
                  <c:v>96.490882994781501</c:v>
                </c:pt>
                <c:pt idx="365">
                  <c:v>95.225868255416401</c:v>
                </c:pt>
                <c:pt idx="366">
                  <c:v>94.644758258370103</c:v>
                </c:pt>
                <c:pt idx="367">
                  <c:v>91.618945328774799</c:v>
                </c:pt>
                <c:pt idx="368">
                  <c:v>90.855076072637502</c:v>
                </c:pt>
                <c:pt idx="369">
                  <c:v>89.678956350714699</c:v>
                </c:pt>
                <c:pt idx="370">
                  <c:v>89.575586949529907</c:v>
                </c:pt>
                <c:pt idx="371">
                  <c:v>90.108010598204601</c:v>
                </c:pt>
                <c:pt idx="372">
                  <c:v>93.782069299486594</c:v>
                </c:pt>
                <c:pt idx="373">
                  <c:v>94.261828359408895</c:v>
                </c:pt>
                <c:pt idx="374">
                  <c:v>97.989751317038497</c:v>
                </c:pt>
                <c:pt idx="375">
                  <c:v>97.181508301036899</c:v>
                </c:pt>
                <c:pt idx="376">
                  <c:v>97.8083305600789</c:v>
                </c:pt>
                <c:pt idx="377">
                  <c:v>98.872239506144098</c:v>
                </c:pt>
                <c:pt idx="378">
                  <c:v>98.131540959889705</c:v>
                </c:pt>
                <c:pt idx="379">
                  <c:v>97.7133705394468</c:v>
                </c:pt>
                <c:pt idx="380">
                  <c:v>95.816093041324095</c:v>
                </c:pt>
                <c:pt idx="381">
                  <c:v>97.161886068911997</c:v>
                </c:pt>
                <c:pt idx="382">
                  <c:v>95.003252556893997</c:v>
                </c:pt>
                <c:pt idx="383">
                  <c:v>94.998110622507099</c:v>
                </c:pt>
                <c:pt idx="384">
                  <c:v>93.023223060859493</c:v>
                </c:pt>
                <c:pt idx="385">
                  <c:v>93.6882880023376</c:v>
                </c:pt>
                <c:pt idx="386">
                  <c:v>93.539854187257106</c:v>
                </c:pt>
                <c:pt idx="387">
                  <c:v>93.499350845341198</c:v>
                </c:pt>
                <c:pt idx="388">
                  <c:v>95.783317006246506</c:v>
                </c:pt>
                <c:pt idx="389">
                  <c:v>95.005257862279905</c:v>
                </c:pt>
                <c:pt idx="390">
                  <c:v>95.997264496379003</c:v>
                </c:pt>
                <c:pt idx="391">
                  <c:v>96.875638354691503</c:v>
                </c:pt>
                <c:pt idx="392">
                  <c:v>96.875638354691503</c:v>
                </c:pt>
                <c:pt idx="393">
                  <c:v>96.824879117145002</c:v>
                </c:pt>
                <c:pt idx="394">
                  <c:v>96.195744127253803</c:v>
                </c:pt>
                <c:pt idx="395">
                  <c:v>97.225030405683995</c:v>
                </c:pt>
                <c:pt idx="396">
                  <c:v>97.987651856946499</c:v>
                </c:pt>
                <c:pt idx="397">
                  <c:v>99.902556767324995</c:v>
                </c:pt>
                <c:pt idx="398">
                  <c:v>100.769277214697</c:v>
                </c:pt>
                <c:pt idx="399">
                  <c:v>99.719009372739706</c:v>
                </c:pt>
                <c:pt idx="400">
                  <c:v>98.497028294607006</c:v>
                </c:pt>
                <c:pt idx="401">
                  <c:v>98.563670327464905</c:v>
                </c:pt>
                <c:pt idx="402">
                  <c:v>98.260955829064599</c:v>
                </c:pt>
                <c:pt idx="403">
                  <c:v>99.951535916981499</c:v>
                </c:pt>
                <c:pt idx="404">
                  <c:v>99.760139319184802</c:v>
                </c:pt>
                <c:pt idx="405">
                  <c:v>99.924012669883794</c:v>
                </c:pt>
                <c:pt idx="406">
                  <c:v>99.322417133565807</c:v>
                </c:pt>
                <c:pt idx="407">
                  <c:v>99.975196978830596</c:v>
                </c:pt>
                <c:pt idx="408">
                  <c:v>101.14643236175999</c:v>
                </c:pt>
                <c:pt idx="409">
                  <c:v>101.12769401094698</c:v>
                </c:pt>
                <c:pt idx="410">
                  <c:v>102.273302069666</c:v>
                </c:pt>
                <c:pt idx="411">
                  <c:v>102.05479842391098</c:v>
                </c:pt>
                <c:pt idx="412">
                  <c:v>102.55897219601999</c:v>
                </c:pt>
                <c:pt idx="413">
                  <c:v>101.689061056141</c:v>
                </c:pt>
                <c:pt idx="414">
                  <c:v>101.65574457905599</c:v>
                </c:pt>
                <c:pt idx="415">
                  <c:v>103.34239273615999</c:v>
                </c:pt>
                <c:pt idx="416">
                  <c:v>102.58220291704102</c:v>
                </c:pt>
                <c:pt idx="417">
                  <c:v>101.348270391612</c:v>
                </c:pt>
                <c:pt idx="418">
                  <c:v>101.982535450382</c:v>
                </c:pt>
                <c:pt idx="419">
                  <c:v>103.93422211365602</c:v>
                </c:pt>
                <c:pt idx="420">
                  <c:v>104.151736289838</c:v>
                </c:pt>
                <c:pt idx="421">
                  <c:v>105.53541888487401</c:v>
                </c:pt>
                <c:pt idx="422">
                  <c:v>105.271188956667</c:v>
                </c:pt>
                <c:pt idx="423">
                  <c:v>105.31325771916499</c:v>
                </c:pt>
                <c:pt idx="424">
                  <c:v>105.41531320556</c:v>
                </c:pt>
                <c:pt idx="425">
                  <c:v>105.47486524537099</c:v>
                </c:pt>
                <c:pt idx="426">
                  <c:v>104.52717042133199</c:v>
                </c:pt>
                <c:pt idx="427">
                  <c:v>105.04222802814</c:v>
                </c:pt>
                <c:pt idx="428">
                  <c:v>104.94731927846898</c:v>
                </c:pt>
                <c:pt idx="429">
                  <c:v>105.433862682767</c:v>
                </c:pt>
                <c:pt idx="430">
                  <c:v>105.210545023449</c:v>
                </c:pt>
                <c:pt idx="431">
                  <c:v>106.19447449724602</c:v>
                </c:pt>
                <c:pt idx="432">
                  <c:v>107.399376007611</c:v>
                </c:pt>
                <c:pt idx="433">
                  <c:v>106.882072309772</c:v>
                </c:pt>
                <c:pt idx="434">
                  <c:v>106.246259250976</c:v>
                </c:pt>
                <c:pt idx="435">
                  <c:v>105.692159472318</c:v>
                </c:pt>
                <c:pt idx="436">
                  <c:v>106.30846705002099</c:v>
                </c:pt>
                <c:pt idx="437">
                  <c:v>105.90691249436502</c:v>
                </c:pt>
                <c:pt idx="438">
                  <c:v>106.11658311232701</c:v>
                </c:pt>
                <c:pt idx="439">
                  <c:v>105.92902367314301</c:v>
                </c:pt>
                <c:pt idx="440">
                  <c:v>106.81765518089701</c:v>
                </c:pt>
                <c:pt idx="441">
                  <c:v>107.11388387070899</c:v>
                </c:pt>
                <c:pt idx="442">
                  <c:v>106.64219444624202</c:v>
                </c:pt>
                <c:pt idx="443">
                  <c:v>103.70376474527198</c:v>
                </c:pt>
                <c:pt idx="444">
                  <c:v>104.47177346827301</c:v>
                </c:pt>
                <c:pt idx="445">
                  <c:v>106.203666937592</c:v>
                </c:pt>
                <c:pt idx="446">
                  <c:v>106.643445449437</c:v>
                </c:pt>
                <c:pt idx="447">
                  <c:v>106.51066967189399</c:v>
                </c:pt>
                <c:pt idx="448">
                  <c:v>108.120071216523</c:v>
                </c:pt>
                <c:pt idx="449">
                  <c:v>108.28484136381999</c:v>
                </c:pt>
                <c:pt idx="450">
                  <c:v>108.827147879785</c:v>
                </c:pt>
                <c:pt idx="451">
                  <c:v>109.07996403042898</c:v>
                </c:pt>
                <c:pt idx="452">
                  <c:v>109.340893154184</c:v>
                </c:pt>
                <c:pt idx="453">
                  <c:v>108.76521582655801</c:v>
                </c:pt>
                <c:pt idx="454">
                  <c:v>108.609022752641</c:v>
                </c:pt>
                <c:pt idx="455">
                  <c:v>107.55303521406302</c:v>
                </c:pt>
                <c:pt idx="456">
                  <c:v>107.781513651373</c:v>
                </c:pt>
                <c:pt idx="457">
                  <c:v>108.892149834682</c:v>
                </c:pt>
                <c:pt idx="458">
                  <c:v>108.37785265212601</c:v>
                </c:pt>
                <c:pt idx="459">
                  <c:v>107.564970073148</c:v>
                </c:pt>
                <c:pt idx="460">
                  <c:v>106.18524160028599</c:v>
                </c:pt>
                <c:pt idx="461">
                  <c:v>107.36186246162001</c:v>
                </c:pt>
                <c:pt idx="462">
                  <c:v>108.39277526824</c:v>
                </c:pt>
                <c:pt idx="463">
                  <c:v>107.35922571851899</c:v>
                </c:pt>
                <c:pt idx="464">
                  <c:v>104.469297791614</c:v>
                </c:pt>
                <c:pt idx="465">
                  <c:v>104.398908573027</c:v>
                </c:pt>
                <c:pt idx="466">
                  <c:v>104.398908573027</c:v>
                </c:pt>
                <c:pt idx="467">
                  <c:v>104.398908573027</c:v>
                </c:pt>
                <c:pt idx="468">
                  <c:v>101.756029120181</c:v>
                </c:pt>
                <c:pt idx="469">
                  <c:v>102.47887776119499</c:v>
                </c:pt>
                <c:pt idx="470">
                  <c:v>103.42930916122299</c:v>
                </c:pt>
                <c:pt idx="471">
                  <c:v>101.60865860383498</c:v>
                </c:pt>
                <c:pt idx="472">
                  <c:v>101.868608158822</c:v>
                </c:pt>
                <c:pt idx="473">
                  <c:v>103.922422948752</c:v>
                </c:pt>
                <c:pt idx="474">
                  <c:v>102.603458837381</c:v>
                </c:pt>
                <c:pt idx="475">
                  <c:v>101.61139224545602</c:v>
                </c:pt>
                <c:pt idx="476">
                  <c:v>102.11896488342501</c:v>
                </c:pt>
                <c:pt idx="477">
                  <c:v>99.523218086236895</c:v>
                </c:pt>
                <c:pt idx="478">
                  <c:v>101.16787669112199</c:v>
                </c:pt>
                <c:pt idx="479">
                  <c:v>102.95635184779599</c:v>
                </c:pt>
                <c:pt idx="480">
                  <c:v>102.81810652595399</c:v>
                </c:pt>
                <c:pt idx="481">
                  <c:v>103.80547606072199</c:v>
                </c:pt>
                <c:pt idx="482">
                  <c:v>103.18417568965998</c:v>
                </c:pt>
                <c:pt idx="483">
                  <c:v>103.18417568965998</c:v>
                </c:pt>
                <c:pt idx="484">
                  <c:v>102.77690540180299</c:v>
                </c:pt>
                <c:pt idx="485">
                  <c:v>102.78340953801199</c:v>
                </c:pt>
                <c:pt idx="486">
                  <c:v>101.24966973246801</c:v>
                </c:pt>
                <c:pt idx="487">
                  <c:v>102.199090008421</c:v>
                </c:pt>
                <c:pt idx="488">
                  <c:v>100.990108643177</c:v>
                </c:pt>
                <c:pt idx="489">
                  <c:v>100.64101243683501</c:v>
                </c:pt>
                <c:pt idx="490">
                  <c:v>101.61000675721698</c:v>
                </c:pt>
                <c:pt idx="491">
                  <c:v>101.87163078873201</c:v>
                </c:pt>
                <c:pt idx="492">
                  <c:v>99.617627791542802</c:v>
                </c:pt>
                <c:pt idx="493">
                  <c:v>98.739317794639106</c:v>
                </c:pt>
                <c:pt idx="494">
                  <c:v>98.226968668184398</c:v>
                </c:pt>
                <c:pt idx="495">
                  <c:v>98.226968668184398</c:v>
                </c:pt>
                <c:pt idx="496">
                  <c:v>96.860211833492201</c:v>
                </c:pt>
                <c:pt idx="497">
                  <c:v>97.585546597042594</c:v>
                </c:pt>
                <c:pt idx="498">
                  <c:v>99.315553489148101</c:v>
                </c:pt>
                <c:pt idx="499">
                  <c:v>96.749506706252902</c:v>
                </c:pt>
                <c:pt idx="500">
                  <c:v>97.483216434085406</c:v>
                </c:pt>
                <c:pt idx="501">
                  <c:v>97.655199609093103</c:v>
                </c:pt>
                <c:pt idx="502">
                  <c:v>97.655199609093103</c:v>
                </c:pt>
                <c:pt idx="503">
                  <c:v>98.076452065161902</c:v>
                </c:pt>
                <c:pt idx="504">
                  <c:v>96.467095531805796</c:v>
                </c:pt>
                <c:pt idx="505">
                  <c:v>96.076513985216295</c:v>
                </c:pt>
                <c:pt idx="506">
                  <c:v>94.039035434388197</c:v>
                </c:pt>
                <c:pt idx="507">
                  <c:v>93.782697051297106</c:v>
                </c:pt>
                <c:pt idx="508">
                  <c:v>94.152827013503199</c:v>
                </c:pt>
                <c:pt idx="509">
                  <c:v>96.209471751852206</c:v>
                </c:pt>
                <c:pt idx="510">
                  <c:v>96.931774487179595</c:v>
                </c:pt>
                <c:pt idx="511">
                  <c:v>97.169561104118301</c:v>
                </c:pt>
                <c:pt idx="512">
                  <c:v>96.729296149316497</c:v>
                </c:pt>
                <c:pt idx="513">
                  <c:v>96.7237777642856</c:v>
                </c:pt>
                <c:pt idx="514">
                  <c:v>96.337978644052995</c:v>
                </c:pt>
                <c:pt idx="515">
                  <c:v>96.611425567722705</c:v>
                </c:pt>
                <c:pt idx="516">
                  <c:v>97.966484484133701</c:v>
                </c:pt>
                <c:pt idx="517">
                  <c:v>97.810714748226602</c:v>
                </c:pt>
                <c:pt idx="518">
                  <c:v>99.591979683637405</c:v>
                </c:pt>
                <c:pt idx="519">
                  <c:v>100.359497588083</c:v>
                </c:pt>
                <c:pt idx="520">
                  <c:v>99.890507306828098</c:v>
                </c:pt>
                <c:pt idx="521">
                  <c:v>99.3214250068838</c:v>
                </c:pt>
                <c:pt idx="522">
                  <c:v>97.376847562116396</c:v>
                </c:pt>
                <c:pt idx="523">
                  <c:v>96.856212440590497</c:v>
                </c:pt>
                <c:pt idx="524">
                  <c:v>98.552925588426305</c:v>
                </c:pt>
                <c:pt idx="525">
                  <c:v>98.291922768657997</c:v>
                </c:pt>
                <c:pt idx="526">
                  <c:v>102.041947880842</c:v>
                </c:pt>
                <c:pt idx="527">
                  <c:v>103.295591665876</c:v>
                </c:pt>
                <c:pt idx="528">
                  <c:v>104.42055617214201</c:v>
                </c:pt>
                <c:pt idx="529">
                  <c:v>104.450027358063</c:v>
                </c:pt>
                <c:pt idx="530">
                  <c:v>103.47231063490401</c:v>
                </c:pt>
                <c:pt idx="531">
                  <c:v>101.83645350316502</c:v>
                </c:pt>
                <c:pt idx="532">
                  <c:v>101.54491985268798</c:v>
                </c:pt>
                <c:pt idx="533">
                  <c:v>102.45270996363701</c:v>
                </c:pt>
                <c:pt idx="534">
                  <c:v>102.22421708367099</c:v>
                </c:pt>
                <c:pt idx="535">
                  <c:v>101.23070630728598</c:v>
                </c:pt>
                <c:pt idx="536">
                  <c:v>102.727139930124</c:v>
                </c:pt>
                <c:pt idx="537">
                  <c:v>102.81824944806699</c:v>
                </c:pt>
                <c:pt idx="538">
                  <c:v>102.78567473434499</c:v>
                </c:pt>
                <c:pt idx="539">
                  <c:v>103.969282744764</c:v>
                </c:pt>
                <c:pt idx="540">
                  <c:v>104.894921357759</c:v>
                </c:pt>
                <c:pt idx="541">
                  <c:v>102.70590138793601</c:v>
                </c:pt>
                <c:pt idx="542">
                  <c:v>99.808509654180398</c:v>
                </c:pt>
                <c:pt idx="543">
                  <c:v>98.914019301850601</c:v>
                </c:pt>
                <c:pt idx="544">
                  <c:v>99.233792691159707</c:v>
                </c:pt>
                <c:pt idx="545">
                  <c:v>102.573225239848</c:v>
                </c:pt>
                <c:pt idx="546">
                  <c:v>104.15514738838098</c:v>
                </c:pt>
                <c:pt idx="547">
                  <c:v>105.39554879385599</c:v>
                </c:pt>
                <c:pt idx="548">
                  <c:v>104.823238773569</c:v>
                </c:pt>
                <c:pt idx="549">
                  <c:v>104.82585887587499</c:v>
                </c:pt>
                <c:pt idx="550">
                  <c:v>102.396878113059</c:v>
                </c:pt>
                <c:pt idx="551">
                  <c:v>105.516827977844</c:v>
                </c:pt>
                <c:pt idx="552">
                  <c:v>106.73971284794499</c:v>
                </c:pt>
                <c:pt idx="553">
                  <c:v>107.47719860141601</c:v>
                </c:pt>
                <c:pt idx="554">
                  <c:v>106.99960959232699</c:v>
                </c:pt>
                <c:pt idx="555">
                  <c:v>107.338414008415</c:v>
                </c:pt>
                <c:pt idx="556">
                  <c:v>106.99340231938402</c:v>
                </c:pt>
                <c:pt idx="557">
                  <c:v>106.66525923730302</c:v>
                </c:pt>
                <c:pt idx="558">
                  <c:v>107.31585811173501</c:v>
                </c:pt>
                <c:pt idx="559">
                  <c:v>107.31585811173501</c:v>
                </c:pt>
                <c:pt idx="560">
                  <c:v>108.571065313476</c:v>
                </c:pt>
                <c:pt idx="561">
                  <c:v>109.35576835051802</c:v>
                </c:pt>
                <c:pt idx="562">
                  <c:v>108.768369456904</c:v>
                </c:pt>
                <c:pt idx="563">
                  <c:v>109.53379804616701</c:v>
                </c:pt>
                <c:pt idx="564">
                  <c:v>108.24579465898201</c:v>
                </c:pt>
                <c:pt idx="565">
                  <c:v>107.42555813181201</c:v>
                </c:pt>
                <c:pt idx="566">
                  <c:v>107.502764467744</c:v>
                </c:pt>
                <c:pt idx="567">
                  <c:v>108.38845904037599</c:v>
                </c:pt>
                <c:pt idx="568">
                  <c:v>107.625711427708</c:v>
                </c:pt>
                <c:pt idx="569">
                  <c:v>107.608524734979</c:v>
                </c:pt>
                <c:pt idx="570">
                  <c:v>106.67826092625398</c:v>
                </c:pt>
                <c:pt idx="571">
                  <c:v>107.65969356717299</c:v>
                </c:pt>
                <c:pt idx="572">
                  <c:v>108.541294627632</c:v>
                </c:pt>
                <c:pt idx="573">
                  <c:v>107.79132243775899</c:v>
                </c:pt>
                <c:pt idx="574">
                  <c:v>107.638946883057</c:v>
                </c:pt>
                <c:pt idx="575">
                  <c:v>110.36275068608002</c:v>
                </c:pt>
                <c:pt idx="576">
                  <c:v>111.049457333509</c:v>
                </c:pt>
                <c:pt idx="577">
                  <c:v>110.814396122639</c:v>
                </c:pt>
                <c:pt idx="578">
                  <c:v>111.366257405761</c:v>
                </c:pt>
                <c:pt idx="579">
                  <c:v>112.13109714943698</c:v>
                </c:pt>
                <c:pt idx="580">
                  <c:v>111.615761430571</c:v>
                </c:pt>
                <c:pt idx="581">
                  <c:v>113.427287921985</c:v>
                </c:pt>
                <c:pt idx="582">
                  <c:v>112.842066104994</c:v>
                </c:pt>
                <c:pt idx="583">
                  <c:v>111.83908991095699</c:v>
                </c:pt>
                <c:pt idx="584">
                  <c:v>112.29651140623899</c:v>
                </c:pt>
                <c:pt idx="585">
                  <c:v>112.218034121548</c:v>
                </c:pt>
                <c:pt idx="586">
                  <c:v>113.170074648153</c:v>
                </c:pt>
                <c:pt idx="587">
                  <c:v>112.319034930391</c:v>
                </c:pt>
                <c:pt idx="588">
                  <c:v>112.78750090996601</c:v>
                </c:pt>
                <c:pt idx="589">
                  <c:v>110.48179900116099</c:v>
                </c:pt>
                <c:pt idx="590">
                  <c:v>110.83707774108001</c:v>
                </c:pt>
                <c:pt idx="591">
                  <c:v>109.649105236054</c:v>
                </c:pt>
                <c:pt idx="592">
                  <c:v>111.16048026772</c:v>
                </c:pt>
                <c:pt idx="593">
                  <c:v>111.21381700214398</c:v>
                </c:pt>
                <c:pt idx="594">
                  <c:v>111.24831809215601</c:v>
                </c:pt>
                <c:pt idx="595">
                  <c:v>110.92383322726201</c:v>
                </c:pt>
                <c:pt idx="596">
                  <c:v>112.291650797286</c:v>
                </c:pt>
                <c:pt idx="597">
                  <c:v>111.045914819868</c:v>
                </c:pt>
                <c:pt idx="598">
                  <c:v>110.458834789842</c:v>
                </c:pt>
                <c:pt idx="599">
                  <c:v>109.87908150522301</c:v>
                </c:pt>
                <c:pt idx="600">
                  <c:v>110.66828865764799</c:v>
                </c:pt>
                <c:pt idx="601">
                  <c:v>110.00171201577899</c:v>
                </c:pt>
                <c:pt idx="602">
                  <c:v>110.53362754288601</c:v>
                </c:pt>
                <c:pt idx="603">
                  <c:v>112.08844353141301</c:v>
                </c:pt>
                <c:pt idx="604">
                  <c:v>112.69045113901699</c:v>
                </c:pt>
                <c:pt idx="605">
                  <c:v>112.739334630462</c:v>
                </c:pt>
                <c:pt idx="606">
                  <c:v>111.854882050669</c:v>
                </c:pt>
                <c:pt idx="607">
                  <c:v>111.320328609673</c:v>
                </c:pt>
                <c:pt idx="608">
                  <c:v>109.43850981688399</c:v>
                </c:pt>
                <c:pt idx="609">
                  <c:v>109.94206444907499</c:v>
                </c:pt>
                <c:pt idx="610">
                  <c:v>109.780198992189</c:v>
                </c:pt>
                <c:pt idx="611">
                  <c:v>110.11507571452599</c:v>
                </c:pt>
                <c:pt idx="612">
                  <c:v>109.513872013949</c:v>
                </c:pt>
                <c:pt idx="613">
                  <c:v>110.45742857309899</c:v>
                </c:pt>
                <c:pt idx="614">
                  <c:v>110.04489228369</c:v>
                </c:pt>
                <c:pt idx="615">
                  <c:v>110.04489228369</c:v>
                </c:pt>
                <c:pt idx="616">
                  <c:v>111.56822131291599</c:v>
                </c:pt>
                <c:pt idx="617">
                  <c:v>110.71651948437902</c:v>
                </c:pt>
                <c:pt idx="618">
                  <c:v>111.295713145939</c:v>
                </c:pt>
                <c:pt idx="619">
                  <c:v>109.65448999383101</c:v>
                </c:pt>
                <c:pt idx="620">
                  <c:v>108.99752793870098</c:v>
                </c:pt>
                <c:pt idx="621">
                  <c:v>109.204410843357</c:v>
                </c:pt>
                <c:pt idx="622">
                  <c:v>109.04771970649901</c:v>
                </c:pt>
                <c:pt idx="623">
                  <c:v>109.27793661954099</c:v>
                </c:pt>
                <c:pt idx="624">
                  <c:v>108.80436202665599</c:v>
                </c:pt>
                <c:pt idx="625">
                  <c:v>107.743136427075</c:v>
                </c:pt>
                <c:pt idx="626">
                  <c:v>106.41664546245299</c:v>
                </c:pt>
                <c:pt idx="627">
                  <c:v>108.361717568497</c:v>
                </c:pt>
                <c:pt idx="628">
                  <c:v>108.810706555008</c:v>
                </c:pt>
                <c:pt idx="629">
                  <c:v>109.28133019330699</c:v>
                </c:pt>
                <c:pt idx="630">
                  <c:v>110.26869449687599</c:v>
                </c:pt>
                <c:pt idx="631">
                  <c:v>110.967839238892</c:v>
                </c:pt>
                <c:pt idx="632">
                  <c:v>110.45349189660601</c:v>
                </c:pt>
                <c:pt idx="633">
                  <c:v>110.747283271509</c:v>
                </c:pt>
                <c:pt idx="634">
                  <c:v>110.83020350284501</c:v>
                </c:pt>
                <c:pt idx="635">
                  <c:v>112.274116097361</c:v>
                </c:pt>
                <c:pt idx="636">
                  <c:v>111.970275761626</c:v>
                </c:pt>
                <c:pt idx="637">
                  <c:v>112.14029537058001</c:v>
                </c:pt>
                <c:pt idx="638">
                  <c:v>112.143438967763</c:v>
                </c:pt>
                <c:pt idx="639">
                  <c:v>112.53111577424799</c:v>
                </c:pt>
                <c:pt idx="640">
                  <c:v>112.979958269807</c:v>
                </c:pt>
                <c:pt idx="641">
                  <c:v>112.943915878626</c:v>
                </c:pt>
                <c:pt idx="642">
                  <c:v>112.85976580469099</c:v>
                </c:pt>
                <c:pt idx="643">
                  <c:v>113.92849178631099</c:v>
                </c:pt>
                <c:pt idx="644">
                  <c:v>114.095298464913</c:v>
                </c:pt>
                <c:pt idx="645">
                  <c:v>113.942837345981</c:v>
                </c:pt>
                <c:pt idx="646">
                  <c:v>113.99076193830399</c:v>
                </c:pt>
                <c:pt idx="647">
                  <c:v>113.830098496622</c:v>
                </c:pt>
                <c:pt idx="648">
                  <c:v>114.43833127334599</c:v>
                </c:pt>
                <c:pt idx="649">
                  <c:v>115.179200691278</c:v>
                </c:pt>
                <c:pt idx="650">
                  <c:v>115.139023036875</c:v>
                </c:pt>
                <c:pt idx="651">
                  <c:v>114.80151585571198</c:v>
                </c:pt>
                <c:pt idx="652">
                  <c:v>114.80151585571198</c:v>
                </c:pt>
                <c:pt idx="653">
                  <c:v>114.80151585571198</c:v>
                </c:pt>
                <c:pt idx="654">
                  <c:v>114.80151585571198</c:v>
                </c:pt>
                <c:pt idx="655">
                  <c:v>114.765403457435</c:v>
                </c:pt>
                <c:pt idx="656">
                  <c:v>113.96304117454601</c:v>
                </c:pt>
                <c:pt idx="657">
                  <c:v>114.20545217601898</c:v>
                </c:pt>
                <c:pt idx="658">
                  <c:v>114.20545217601898</c:v>
                </c:pt>
                <c:pt idx="659">
                  <c:v>116.748664508123</c:v>
                </c:pt>
                <c:pt idx="660">
                  <c:v>116.859181102691</c:v>
                </c:pt>
                <c:pt idx="661">
                  <c:v>117.02159053907802</c:v>
                </c:pt>
                <c:pt idx="662">
                  <c:v>116.36574910626901</c:v>
                </c:pt>
                <c:pt idx="663">
                  <c:v>116.31393059200801</c:v>
                </c:pt>
                <c:pt idx="664">
                  <c:v>117.11152995879802</c:v>
                </c:pt>
                <c:pt idx="665">
                  <c:v>116.72661965091899</c:v>
                </c:pt>
                <c:pt idx="666">
                  <c:v>116.54739977385</c:v>
                </c:pt>
                <c:pt idx="667">
                  <c:v>116.253573730949</c:v>
                </c:pt>
                <c:pt idx="668">
                  <c:v>116.143803850002</c:v>
                </c:pt>
                <c:pt idx="669">
                  <c:v>116.542413354017</c:v>
                </c:pt>
                <c:pt idx="670">
                  <c:v>117.797789252559</c:v>
                </c:pt>
                <c:pt idx="671">
                  <c:v>117.565095447845</c:v>
                </c:pt>
                <c:pt idx="672">
                  <c:v>118.14004296109202</c:v>
                </c:pt>
                <c:pt idx="673">
                  <c:v>117.843530442602</c:v>
                </c:pt>
                <c:pt idx="674">
                  <c:v>117.970831075858</c:v>
                </c:pt>
                <c:pt idx="675">
                  <c:v>118.273585350283</c:v>
                </c:pt>
                <c:pt idx="676">
                  <c:v>118.917808957492</c:v>
                </c:pt>
                <c:pt idx="677">
                  <c:v>118.75560418033999</c:v>
                </c:pt>
                <c:pt idx="678">
                  <c:v>118.835782787806</c:v>
                </c:pt>
                <c:pt idx="679">
                  <c:v>118.03465762401602</c:v>
                </c:pt>
                <c:pt idx="680">
                  <c:v>117.29233977745102</c:v>
                </c:pt>
                <c:pt idx="681">
                  <c:v>118.26213690798998</c:v>
                </c:pt>
                <c:pt idx="682">
                  <c:v>115.96059891649702</c:v>
                </c:pt>
                <c:pt idx="683">
                  <c:v>116.35163050764498</c:v>
                </c:pt>
                <c:pt idx="684">
                  <c:v>115.609663542018</c:v>
                </c:pt>
                <c:pt idx="685">
                  <c:v>115.259580410415</c:v>
                </c:pt>
                <c:pt idx="686">
                  <c:v>116.12077123143098</c:v>
                </c:pt>
                <c:pt idx="687">
                  <c:v>115.781602131334</c:v>
                </c:pt>
                <c:pt idx="688">
                  <c:v>116.504501783113</c:v>
                </c:pt>
                <c:pt idx="689">
                  <c:v>117.42219941827</c:v>
                </c:pt>
                <c:pt idx="690">
                  <c:v>116.974248643845</c:v>
                </c:pt>
                <c:pt idx="691">
                  <c:v>116.847453309725</c:v>
                </c:pt>
                <c:pt idx="692">
                  <c:v>116.70730169906601</c:v>
                </c:pt>
                <c:pt idx="693">
                  <c:v>118.117596302362</c:v>
                </c:pt>
                <c:pt idx="694">
                  <c:v>117.90592210103701</c:v>
                </c:pt>
                <c:pt idx="695">
                  <c:v>115.976582741607</c:v>
                </c:pt>
                <c:pt idx="696">
                  <c:v>117.638783233735</c:v>
                </c:pt>
                <c:pt idx="697">
                  <c:v>118.15204397146699</c:v>
                </c:pt>
                <c:pt idx="698">
                  <c:v>116.245706929509</c:v>
                </c:pt>
                <c:pt idx="699">
                  <c:v>117.405946855061</c:v>
                </c:pt>
                <c:pt idx="700">
                  <c:v>118.32979212961099</c:v>
                </c:pt>
                <c:pt idx="701">
                  <c:v>117.75365476008599</c:v>
                </c:pt>
                <c:pt idx="702">
                  <c:v>117.81268087140499</c:v>
                </c:pt>
                <c:pt idx="703">
                  <c:v>119.87179238959999</c:v>
                </c:pt>
                <c:pt idx="704">
                  <c:v>119.774376725962</c:v>
                </c:pt>
                <c:pt idx="705">
                  <c:v>120.04133713112202</c:v>
                </c:pt>
                <c:pt idx="706">
                  <c:v>121.253212921144</c:v>
                </c:pt>
                <c:pt idx="707">
                  <c:v>121.077090040283</c:v>
                </c:pt>
                <c:pt idx="708">
                  <c:v>121.11344018929499</c:v>
                </c:pt>
                <c:pt idx="709">
                  <c:v>121.002776023569</c:v>
                </c:pt>
                <c:pt idx="710">
                  <c:v>122.18760400277</c:v>
                </c:pt>
                <c:pt idx="711">
                  <c:v>121.739112544386</c:v>
                </c:pt>
                <c:pt idx="712">
                  <c:v>121.568027998554</c:v>
                </c:pt>
                <c:pt idx="713">
                  <c:v>120.91438882366002</c:v>
                </c:pt>
                <c:pt idx="714">
                  <c:v>121.642503699142</c:v>
                </c:pt>
                <c:pt idx="715">
                  <c:v>120.95532376640202</c:v>
                </c:pt>
                <c:pt idx="716">
                  <c:v>120.791718869273</c:v>
                </c:pt>
                <c:pt idx="717">
                  <c:v>119.962519793295</c:v>
                </c:pt>
                <c:pt idx="718">
                  <c:v>119.84097200934501</c:v>
                </c:pt>
                <c:pt idx="719">
                  <c:v>118.735675518878</c:v>
                </c:pt>
                <c:pt idx="720">
                  <c:v>119.515598326934</c:v>
                </c:pt>
                <c:pt idx="721">
                  <c:v>119.515598326934</c:v>
                </c:pt>
                <c:pt idx="722">
                  <c:v>119.515598326934</c:v>
                </c:pt>
                <c:pt idx="723">
                  <c:v>121.009692200435</c:v>
                </c:pt>
                <c:pt idx="724">
                  <c:v>120.09785932119298</c:v>
                </c:pt>
                <c:pt idx="725">
                  <c:v>119.32678053605402</c:v>
                </c:pt>
                <c:pt idx="726">
                  <c:v>117.61517251152</c:v>
                </c:pt>
                <c:pt idx="727">
                  <c:v>117.848402098143</c:v>
                </c:pt>
                <c:pt idx="728">
                  <c:v>118.14873519515801</c:v>
                </c:pt>
                <c:pt idx="729">
                  <c:v>120.428219036456</c:v>
                </c:pt>
                <c:pt idx="730">
                  <c:v>121.247596372191</c:v>
                </c:pt>
                <c:pt idx="731">
                  <c:v>120.29936306550599</c:v>
                </c:pt>
                <c:pt idx="732">
                  <c:v>119.33416643182299</c:v>
                </c:pt>
                <c:pt idx="733">
                  <c:v>118.403648936434</c:v>
                </c:pt>
                <c:pt idx="734">
                  <c:v>116.63729361906201</c:v>
                </c:pt>
                <c:pt idx="735">
                  <c:v>116.548214388706</c:v>
                </c:pt>
                <c:pt idx="736">
                  <c:v>117.18607559132698</c:v>
                </c:pt>
                <c:pt idx="737">
                  <c:v>117.69360799707</c:v>
                </c:pt>
                <c:pt idx="738">
                  <c:v>120.372122561035</c:v>
                </c:pt>
                <c:pt idx="739">
                  <c:v>121.32319632573298</c:v>
                </c:pt>
                <c:pt idx="740">
                  <c:v>121.95722503818098</c:v>
                </c:pt>
                <c:pt idx="741">
                  <c:v>121.224508177293</c:v>
                </c:pt>
                <c:pt idx="742">
                  <c:v>122.34422948707299</c:v>
                </c:pt>
                <c:pt idx="743">
                  <c:v>122.12147792179799</c:v>
                </c:pt>
                <c:pt idx="744">
                  <c:v>122.12147792179799</c:v>
                </c:pt>
                <c:pt idx="745">
                  <c:v>122.28947742321698</c:v>
                </c:pt>
                <c:pt idx="746">
                  <c:v>123.665830809469</c:v>
                </c:pt>
                <c:pt idx="747">
                  <c:v>123.875849086147</c:v>
                </c:pt>
                <c:pt idx="748">
                  <c:v>124.18802853945698</c:v>
                </c:pt>
                <c:pt idx="749">
                  <c:v>125.009395104636</c:v>
                </c:pt>
                <c:pt idx="750">
                  <c:v>125.009395104636</c:v>
                </c:pt>
                <c:pt idx="751">
                  <c:v>125.70537018213102</c:v>
                </c:pt>
                <c:pt idx="752">
                  <c:v>125.57930545931499</c:v>
                </c:pt>
                <c:pt idx="753">
                  <c:v>126.04533394426201</c:v>
                </c:pt>
                <c:pt idx="754">
                  <c:v>126.517227074994</c:v>
                </c:pt>
                <c:pt idx="755">
                  <c:v>126.52670722047901</c:v>
                </c:pt>
                <c:pt idx="756">
                  <c:v>126.574414762758</c:v>
                </c:pt>
                <c:pt idx="757">
                  <c:v>126.574414762758</c:v>
                </c:pt>
                <c:pt idx="758">
                  <c:v>127.36640218919599</c:v>
                </c:pt>
                <c:pt idx="759">
                  <c:v>127.95812081743601</c:v>
                </c:pt>
                <c:pt idx="760">
                  <c:v>125.810623054095</c:v>
                </c:pt>
                <c:pt idx="761">
                  <c:v>125.50241992643201</c:v>
                </c:pt>
                <c:pt idx="762">
                  <c:v>126.30888244366901</c:v>
                </c:pt>
                <c:pt idx="763">
                  <c:v>127.535595677372</c:v>
                </c:pt>
                <c:pt idx="764">
                  <c:v>125.55088780528401</c:v>
                </c:pt>
                <c:pt idx="765">
                  <c:v>125.771983920669</c:v>
                </c:pt>
                <c:pt idx="766">
                  <c:v>124.429757346001</c:v>
                </c:pt>
                <c:pt idx="767">
                  <c:v>123.695678446413</c:v>
                </c:pt>
                <c:pt idx="768">
                  <c:v>123.80224184739302</c:v>
                </c:pt>
                <c:pt idx="769">
                  <c:v>122.32714335135802</c:v>
                </c:pt>
                <c:pt idx="770">
                  <c:v>121.582880359226</c:v>
                </c:pt>
                <c:pt idx="771">
                  <c:v>122.783451543723</c:v>
                </c:pt>
                <c:pt idx="772">
                  <c:v>122.909164477556</c:v>
                </c:pt>
                <c:pt idx="773">
                  <c:v>121.743579475934</c:v>
                </c:pt>
                <c:pt idx="774">
                  <c:v>121.36305600033998</c:v>
                </c:pt>
                <c:pt idx="775">
                  <c:v>121.170395421839</c:v>
                </c:pt>
                <c:pt idx="776">
                  <c:v>121.563108892522</c:v>
                </c:pt>
                <c:pt idx="777">
                  <c:v>122.513645607679</c:v>
                </c:pt>
                <c:pt idx="778">
                  <c:v>122.78607813090801</c:v>
                </c:pt>
                <c:pt idx="779">
                  <c:v>122.59149893844202</c:v>
                </c:pt>
                <c:pt idx="780">
                  <c:v>119.43270177713701</c:v>
                </c:pt>
                <c:pt idx="781">
                  <c:v>118.024400006872</c:v>
                </c:pt>
                <c:pt idx="782">
                  <c:v>115.761827190842</c:v>
                </c:pt>
                <c:pt idx="783">
                  <c:v>116.97487994480899</c:v>
                </c:pt>
                <c:pt idx="784">
                  <c:v>119.00705336248801</c:v>
                </c:pt>
                <c:pt idx="785">
                  <c:v>120.198597997775</c:v>
                </c:pt>
                <c:pt idx="786">
                  <c:v>119.709694487908</c:v>
                </c:pt>
                <c:pt idx="787">
                  <c:v>120.70042618363701</c:v>
                </c:pt>
                <c:pt idx="788">
                  <c:v>120.17306155244101</c:v>
                </c:pt>
                <c:pt idx="789">
                  <c:v>119.16484333296199</c:v>
                </c:pt>
                <c:pt idx="790">
                  <c:v>121.46253094074</c:v>
                </c:pt>
                <c:pt idx="791">
                  <c:v>120.081094649767</c:v>
                </c:pt>
                <c:pt idx="792">
                  <c:v>121.601987522773</c:v>
                </c:pt>
                <c:pt idx="793">
                  <c:v>122.51771636201498</c:v>
                </c:pt>
                <c:pt idx="794">
                  <c:v>122.66854468247401</c:v>
                </c:pt>
                <c:pt idx="795">
                  <c:v>123.47622935330899</c:v>
                </c:pt>
                <c:pt idx="796">
                  <c:v>123.105339132762</c:v>
                </c:pt>
                <c:pt idx="797">
                  <c:v>123.622024466074</c:v>
                </c:pt>
                <c:pt idx="798">
                  <c:v>123.08448226304</c:v>
                </c:pt>
                <c:pt idx="799">
                  <c:v>123.414401793263</c:v>
                </c:pt>
                <c:pt idx="800">
                  <c:v>124.57796129175</c:v>
                </c:pt>
                <c:pt idx="801">
                  <c:v>124.29034661684099</c:v>
                </c:pt>
                <c:pt idx="802">
                  <c:v>124.402201714955</c:v>
                </c:pt>
                <c:pt idx="803">
                  <c:v>124.48786026183301</c:v>
                </c:pt>
                <c:pt idx="804">
                  <c:v>125.42687315086101</c:v>
                </c:pt>
                <c:pt idx="805">
                  <c:v>125.177691121652</c:v>
                </c:pt>
                <c:pt idx="806">
                  <c:v>124.99718107211399</c:v>
                </c:pt>
                <c:pt idx="807">
                  <c:v>125.12498105484899</c:v>
                </c:pt>
                <c:pt idx="808">
                  <c:v>125.686121419286</c:v>
                </c:pt>
                <c:pt idx="809">
                  <c:v>125.729581842486</c:v>
                </c:pt>
                <c:pt idx="810">
                  <c:v>127.595091116676</c:v>
                </c:pt>
                <c:pt idx="811">
                  <c:v>127.724405083498</c:v>
                </c:pt>
                <c:pt idx="812">
                  <c:v>127.77505688000099</c:v>
                </c:pt>
                <c:pt idx="813">
                  <c:v>127.088324639511</c:v>
                </c:pt>
                <c:pt idx="814">
                  <c:v>126.95829470865098</c:v>
                </c:pt>
                <c:pt idx="815">
                  <c:v>128.06165715221201</c:v>
                </c:pt>
                <c:pt idx="816">
                  <c:v>128.76332442796101</c:v>
                </c:pt>
                <c:pt idx="817">
                  <c:v>128.96287450209499</c:v>
                </c:pt>
                <c:pt idx="818">
                  <c:v>129.61919186215999</c:v>
                </c:pt>
                <c:pt idx="819">
                  <c:v>129.98335109832399</c:v>
                </c:pt>
                <c:pt idx="820">
                  <c:v>129.98335109832399</c:v>
                </c:pt>
                <c:pt idx="821">
                  <c:v>129.569802800806</c:v>
                </c:pt>
                <c:pt idx="822">
                  <c:v>128.85051620188599</c:v>
                </c:pt>
                <c:pt idx="823">
                  <c:v>127.46168205814502</c:v>
                </c:pt>
                <c:pt idx="824">
                  <c:v>127.16159293418798</c:v>
                </c:pt>
                <c:pt idx="825">
                  <c:v>128.50156263758399</c:v>
                </c:pt>
                <c:pt idx="826">
                  <c:v>128.91287856946599</c:v>
                </c:pt>
                <c:pt idx="827">
                  <c:v>128.65271774470801</c:v>
                </c:pt>
                <c:pt idx="828">
                  <c:v>126.08948058998899</c:v>
                </c:pt>
                <c:pt idx="829">
                  <c:v>125.57476054795499</c:v>
                </c:pt>
                <c:pt idx="830">
                  <c:v>126.355960677683</c:v>
                </c:pt>
                <c:pt idx="831">
                  <c:v>125.334895531656</c:v>
                </c:pt>
                <c:pt idx="832">
                  <c:v>127.05748959063502</c:v>
                </c:pt>
                <c:pt idx="833">
                  <c:v>126.950798563323</c:v>
                </c:pt>
                <c:pt idx="834">
                  <c:v>126.888188297458</c:v>
                </c:pt>
                <c:pt idx="835">
                  <c:v>127.770801024848</c:v>
                </c:pt>
                <c:pt idx="836">
                  <c:v>128.33497664928899</c:v>
                </c:pt>
                <c:pt idx="837">
                  <c:v>128.20050459878601</c:v>
                </c:pt>
                <c:pt idx="838">
                  <c:v>129.979651327151</c:v>
                </c:pt>
                <c:pt idx="839">
                  <c:v>130.385431058591</c:v>
                </c:pt>
                <c:pt idx="840">
                  <c:v>130.58524579892801</c:v>
                </c:pt>
                <c:pt idx="841">
                  <c:v>130.83871000957399</c:v>
                </c:pt>
                <c:pt idx="842">
                  <c:v>132.155194510987</c:v>
                </c:pt>
                <c:pt idx="843">
                  <c:v>131.834728075295</c:v>
                </c:pt>
                <c:pt idx="844">
                  <c:v>132.248465462517</c:v>
                </c:pt>
                <c:pt idx="845">
                  <c:v>132.72504725094299</c:v>
                </c:pt>
                <c:pt idx="846">
                  <c:v>132.77578536737201</c:v>
                </c:pt>
                <c:pt idx="847">
                  <c:v>132.10001037389799</c:v>
                </c:pt>
                <c:pt idx="848">
                  <c:v>132.46161181233501</c:v>
                </c:pt>
                <c:pt idx="849">
                  <c:v>132.559130892647</c:v>
                </c:pt>
                <c:pt idx="850">
                  <c:v>132.704270798431</c:v>
                </c:pt>
                <c:pt idx="851">
                  <c:v>132.45843137499901</c:v>
                </c:pt>
                <c:pt idx="852">
                  <c:v>131.74774606939101</c:v>
                </c:pt>
                <c:pt idx="853">
                  <c:v>133.069582533926</c:v>
                </c:pt>
                <c:pt idx="854">
                  <c:v>132.32779764178099</c:v>
                </c:pt>
                <c:pt idx="855">
                  <c:v>131.88728027411699</c:v>
                </c:pt>
                <c:pt idx="856">
                  <c:v>132.18327050151501</c:v>
                </c:pt>
                <c:pt idx="857">
                  <c:v>131.811866189874</c:v>
                </c:pt>
                <c:pt idx="858">
                  <c:v>131.506444886579</c:v>
                </c:pt>
                <c:pt idx="859">
                  <c:v>131.249787917285</c:v>
                </c:pt>
                <c:pt idx="860">
                  <c:v>133.14224732784001</c:v>
                </c:pt>
                <c:pt idx="861">
                  <c:v>133.48380603150699</c:v>
                </c:pt>
                <c:pt idx="862">
                  <c:v>133.364735176907</c:v>
                </c:pt>
                <c:pt idx="863">
                  <c:v>134.43779122087</c:v>
                </c:pt>
                <c:pt idx="864">
                  <c:v>135.056528837173</c:v>
                </c:pt>
                <c:pt idx="865">
                  <c:v>134.98709462153101</c:v>
                </c:pt>
                <c:pt idx="866">
                  <c:v>136.26950262621801</c:v>
                </c:pt>
                <c:pt idx="867">
                  <c:v>136.787049269222</c:v>
                </c:pt>
                <c:pt idx="868">
                  <c:v>137.140659906254</c:v>
                </c:pt>
                <c:pt idx="869">
                  <c:v>136.34061232750901</c:v>
                </c:pt>
                <c:pt idx="870">
                  <c:v>136.54688001286601</c:v>
                </c:pt>
                <c:pt idx="871">
                  <c:v>136.16151709169901</c:v>
                </c:pt>
                <c:pt idx="872">
                  <c:v>136.446163154787</c:v>
                </c:pt>
                <c:pt idx="873">
                  <c:v>137.24845148164499</c:v>
                </c:pt>
                <c:pt idx="874">
                  <c:v>137.174983176583</c:v>
                </c:pt>
                <c:pt idx="875">
                  <c:v>137.646243626841</c:v>
                </c:pt>
                <c:pt idx="876">
                  <c:v>137.646243626841</c:v>
                </c:pt>
                <c:pt idx="877">
                  <c:v>137.888664118148</c:v>
                </c:pt>
                <c:pt idx="878">
                  <c:v>137.578888329667</c:v>
                </c:pt>
                <c:pt idx="879">
                  <c:v>138.41896178163699</c:v>
                </c:pt>
                <c:pt idx="880">
                  <c:v>137.724216304794</c:v>
                </c:pt>
                <c:pt idx="881">
                  <c:v>137.557648278676</c:v>
                </c:pt>
                <c:pt idx="882">
                  <c:v>138.32538274403601</c:v>
                </c:pt>
                <c:pt idx="883">
                  <c:v>137.634135174969</c:v>
                </c:pt>
                <c:pt idx="884">
                  <c:v>137.16230644040601</c:v>
                </c:pt>
                <c:pt idx="885">
                  <c:v>138.00665346294701</c:v>
                </c:pt>
                <c:pt idx="886">
                  <c:v>138.261507520734</c:v>
                </c:pt>
                <c:pt idx="887">
                  <c:v>138.88509297243201</c:v>
                </c:pt>
                <c:pt idx="888">
                  <c:v>138.1942665668</c:v>
                </c:pt>
                <c:pt idx="889">
                  <c:v>137.99441307347399</c:v>
                </c:pt>
                <c:pt idx="890">
                  <c:v>137.780976502973</c:v>
                </c:pt>
                <c:pt idx="891">
                  <c:v>137.97768455503501</c:v>
                </c:pt>
                <c:pt idx="892">
                  <c:v>138.765120981519</c:v>
                </c:pt>
                <c:pt idx="893">
                  <c:v>138.09166835049899</c:v>
                </c:pt>
                <c:pt idx="894">
                  <c:v>138.775263175764</c:v>
                </c:pt>
                <c:pt idx="895">
                  <c:v>139.19598558990401</c:v>
                </c:pt>
                <c:pt idx="896">
                  <c:v>139.29786296321001</c:v>
                </c:pt>
                <c:pt idx="897">
                  <c:v>138.589213623646</c:v>
                </c:pt>
                <c:pt idx="898">
                  <c:v>136.29047219247801</c:v>
                </c:pt>
                <c:pt idx="899">
                  <c:v>135.53867226729</c:v>
                </c:pt>
                <c:pt idx="900">
                  <c:v>134.838894164435</c:v>
                </c:pt>
                <c:pt idx="901">
                  <c:v>135.309005514668</c:v>
                </c:pt>
                <c:pt idx="902">
                  <c:v>135.77178244584999</c:v>
                </c:pt>
                <c:pt idx="903">
                  <c:v>135.19307265719701</c:v>
                </c:pt>
                <c:pt idx="904">
                  <c:v>134.57631794086601</c:v>
                </c:pt>
                <c:pt idx="905">
                  <c:v>133.774645172308</c:v>
                </c:pt>
                <c:pt idx="906">
                  <c:v>133.445260709514</c:v>
                </c:pt>
                <c:pt idx="907">
                  <c:v>134.95767689961599</c:v>
                </c:pt>
                <c:pt idx="908">
                  <c:v>134.00748803823399</c:v>
                </c:pt>
                <c:pt idx="909">
                  <c:v>134.90772492029799</c:v>
                </c:pt>
                <c:pt idx="910">
                  <c:v>136.90531152089</c:v>
                </c:pt>
                <c:pt idx="911">
                  <c:v>137.46046001508299</c:v>
                </c:pt>
                <c:pt idx="912">
                  <c:v>138.380329379931</c:v>
                </c:pt>
                <c:pt idx="913">
                  <c:v>138.68116167221001</c:v>
                </c:pt>
                <c:pt idx="914">
                  <c:v>138.68116167221001</c:v>
                </c:pt>
                <c:pt idx="915">
                  <c:v>138.68116167221001</c:v>
                </c:pt>
                <c:pt idx="916">
                  <c:v>139.99086919171901</c:v>
                </c:pt>
                <c:pt idx="917">
                  <c:v>139.99514751316599</c:v>
                </c:pt>
                <c:pt idx="918">
                  <c:v>140.23295026347</c:v>
                </c:pt>
                <c:pt idx="919">
                  <c:v>140.23295026347</c:v>
                </c:pt>
                <c:pt idx="920">
                  <c:v>138.825732984567</c:v>
                </c:pt>
                <c:pt idx="921">
                  <c:v>139.92409841859401</c:v>
                </c:pt>
                <c:pt idx="922">
                  <c:v>139.76238550709201</c:v>
                </c:pt>
                <c:pt idx="923">
                  <c:v>140.46089729889201</c:v>
                </c:pt>
                <c:pt idx="924">
                  <c:v>140.97458166632501</c:v>
                </c:pt>
                <c:pt idx="925">
                  <c:v>140.79792193131499</c:v>
                </c:pt>
                <c:pt idx="926">
                  <c:v>141.30879984139901</c:v>
                </c:pt>
                <c:pt idx="927">
                  <c:v>141.76564407189801</c:v>
                </c:pt>
                <c:pt idx="928">
                  <c:v>141.84430127789199</c:v>
                </c:pt>
                <c:pt idx="929">
                  <c:v>143.19392247422601</c:v>
                </c:pt>
                <c:pt idx="930">
                  <c:v>143.161282539366</c:v>
                </c:pt>
                <c:pt idx="931">
                  <c:v>143.33074938261001</c:v>
                </c:pt>
                <c:pt idx="932">
                  <c:v>143.392572028323</c:v>
                </c:pt>
                <c:pt idx="933">
                  <c:v>143.26390327533099</c:v>
                </c:pt>
                <c:pt idx="934">
                  <c:v>143.37281502237801</c:v>
                </c:pt>
                <c:pt idx="935">
                  <c:v>142.660672170461</c:v>
                </c:pt>
                <c:pt idx="936">
                  <c:v>139.53666404567099</c:v>
                </c:pt>
                <c:pt idx="937">
                  <c:v>138.39962905519801</c:v>
                </c:pt>
                <c:pt idx="938">
                  <c:v>139.08554634890899</c:v>
                </c:pt>
                <c:pt idx="939">
                  <c:v>138.57478067821299</c:v>
                </c:pt>
                <c:pt idx="940">
                  <c:v>138.719184774078</c:v>
                </c:pt>
                <c:pt idx="941">
                  <c:v>137.95259933840299</c:v>
                </c:pt>
                <c:pt idx="942">
                  <c:v>136.84463635759101</c:v>
                </c:pt>
                <c:pt idx="943">
                  <c:v>136.62646999698299</c:v>
                </c:pt>
                <c:pt idx="944">
                  <c:v>136.662565464691</c:v>
                </c:pt>
                <c:pt idx="945">
                  <c:v>138.84903078137199</c:v>
                </c:pt>
                <c:pt idx="946">
                  <c:v>139.74591787145599</c:v>
                </c:pt>
                <c:pt idx="947">
                  <c:v>140.047739032696</c:v>
                </c:pt>
                <c:pt idx="948">
                  <c:v>141.55771116287099</c:v>
                </c:pt>
                <c:pt idx="949">
                  <c:v>142.15837875835999</c:v>
                </c:pt>
                <c:pt idx="950">
                  <c:v>142.39361750102299</c:v>
                </c:pt>
                <c:pt idx="951">
                  <c:v>143.25331556447199</c:v>
                </c:pt>
                <c:pt idx="952">
                  <c:v>143.63569486989999</c:v>
                </c:pt>
                <c:pt idx="953">
                  <c:v>143.569898133376</c:v>
                </c:pt>
                <c:pt idx="954">
                  <c:v>143.679696115365</c:v>
                </c:pt>
                <c:pt idx="955">
                  <c:v>143.69974353954299</c:v>
                </c:pt>
                <c:pt idx="956">
                  <c:v>144.25036709306201</c:v>
                </c:pt>
                <c:pt idx="957">
                  <c:v>145.24872781421101</c:v>
                </c:pt>
                <c:pt idx="958">
                  <c:v>145.17060262983799</c:v>
                </c:pt>
                <c:pt idx="959">
                  <c:v>144.53604254072101</c:v>
                </c:pt>
                <c:pt idx="960">
                  <c:v>144.099333098779</c:v>
                </c:pt>
                <c:pt idx="961">
                  <c:v>144.78846432365501</c:v>
                </c:pt>
                <c:pt idx="962">
                  <c:v>141.22903267677299</c:v>
                </c:pt>
                <c:pt idx="963">
                  <c:v>144.19387711606601</c:v>
                </c:pt>
                <c:pt idx="964">
                  <c:v>144.33147630453101</c:v>
                </c:pt>
                <c:pt idx="965">
                  <c:v>145.13684402374599</c:v>
                </c:pt>
                <c:pt idx="966">
                  <c:v>143.84066905288799</c:v>
                </c:pt>
                <c:pt idx="967">
                  <c:v>143.61946659409301</c:v>
                </c:pt>
                <c:pt idx="968">
                  <c:v>143.551598149955</c:v>
                </c:pt>
                <c:pt idx="969">
                  <c:v>142.20900865541799</c:v>
                </c:pt>
                <c:pt idx="970">
                  <c:v>140.45575763001099</c:v>
                </c:pt>
                <c:pt idx="971">
                  <c:v>139.67251601309201</c:v>
                </c:pt>
                <c:pt idx="972">
                  <c:v>141.348880955445</c:v>
                </c:pt>
                <c:pt idx="973">
                  <c:v>142.531965662749</c:v>
                </c:pt>
                <c:pt idx="974">
                  <c:v>142.46926246311099</c:v>
                </c:pt>
                <c:pt idx="975">
                  <c:v>142.63499095816701</c:v>
                </c:pt>
                <c:pt idx="976">
                  <c:v>142.71008679006499</c:v>
                </c:pt>
                <c:pt idx="977">
                  <c:v>141.113468100511</c:v>
                </c:pt>
                <c:pt idx="978">
                  <c:v>142.68540909706201</c:v>
                </c:pt>
                <c:pt idx="979">
                  <c:v>144.125621164606</c:v>
                </c:pt>
                <c:pt idx="980">
                  <c:v>144.26477436718301</c:v>
                </c:pt>
                <c:pt idx="981">
                  <c:v>145.60360362300699</c:v>
                </c:pt>
                <c:pt idx="982">
                  <c:v>145.64736356974399</c:v>
                </c:pt>
                <c:pt idx="983">
                  <c:v>146.27834878120001</c:v>
                </c:pt>
                <c:pt idx="984">
                  <c:v>146.30083641152299</c:v>
                </c:pt>
                <c:pt idx="985">
                  <c:v>146.552089359788</c:v>
                </c:pt>
                <c:pt idx="986">
                  <c:v>147.25116239482401</c:v>
                </c:pt>
                <c:pt idx="987">
                  <c:v>146.004564123427</c:v>
                </c:pt>
                <c:pt idx="988">
                  <c:v>144.82809641255599</c:v>
                </c:pt>
                <c:pt idx="989">
                  <c:v>145.572362687988</c:v>
                </c:pt>
                <c:pt idx="990">
                  <c:v>144.73054498986599</c:v>
                </c:pt>
                <c:pt idx="991">
                  <c:v>142.85686861907399</c:v>
                </c:pt>
                <c:pt idx="992">
                  <c:v>143.03414255531899</c:v>
                </c:pt>
                <c:pt idx="993">
                  <c:v>141.75556700706301</c:v>
                </c:pt>
                <c:pt idx="994">
                  <c:v>143.60364217503101</c:v>
                </c:pt>
                <c:pt idx="995">
                  <c:v>144.091127547219</c:v>
                </c:pt>
                <c:pt idx="996">
                  <c:v>144.091127547219</c:v>
                </c:pt>
                <c:pt idx="997">
                  <c:v>144.091127547219</c:v>
                </c:pt>
                <c:pt idx="998">
                  <c:v>146.23632773539799</c:v>
                </c:pt>
                <c:pt idx="999">
                  <c:v>145.735631886043</c:v>
                </c:pt>
                <c:pt idx="1000">
                  <c:v>146.231456523839</c:v>
                </c:pt>
                <c:pt idx="1001">
                  <c:v>144.89321642360099</c:v>
                </c:pt>
                <c:pt idx="1002">
                  <c:v>145.204868664098</c:v>
                </c:pt>
                <c:pt idx="1003">
                  <c:v>146.77447861489799</c:v>
                </c:pt>
                <c:pt idx="1004">
                  <c:v>146.73284922965601</c:v>
                </c:pt>
                <c:pt idx="1005">
                  <c:v>146.73284922965601</c:v>
                </c:pt>
                <c:pt idx="1006">
                  <c:v>146.54915543836401</c:v>
                </c:pt>
                <c:pt idx="1007">
                  <c:v>146.46650533754499</c:v>
                </c:pt>
                <c:pt idx="1008">
                  <c:v>146.05222608931899</c:v>
                </c:pt>
                <c:pt idx="1009">
                  <c:v>146.232702500329</c:v>
                </c:pt>
                <c:pt idx="1010">
                  <c:v>147.52751236562199</c:v>
                </c:pt>
                <c:pt idx="1011">
                  <c:v>147.38535699706401</c:v>
                </c:pt>
                <c:pt idx="1012">
                  <c:v>148.713449415535</c:v>
                </c:pt>
                <c:pt idx="1013">
                  <c:v>148.72603947505999</c:v>
                </c:pt>
                <c:pt idx="1014">
                  <c:v>148.63569403572799</c:v>
                </c:pt>
                <c:pt idx="1015">
                  <c:v>147.038055968869</c:v>
                </c:pt>
                <c:pt idx="1016">
                  <c:v>147.00800628392699</c:v>
                </c:pt>
                <c:pt idx="1017">
                  <c:v>147.63527221541699</c:v>
                </c:pt>
                <c:pt idx="1018">
                  <c:v>147.413944544495</c:v>
                </c:pt>
                <c:pt idx="1019">
                  <c:v>148.049159270237</c:v>
                </c:pt>
                <c:pt idx="1020">
                  <c:v>148.311046973972</c:v>
                </c:pt>
                <c:pt idx="1021">
                  <c:v>148.91481041183701</c:v>
                </c:pt>
                <c:pt idx="1022">
                  <c:v>150.519913985958</c:v>
                </c:pt>
                <c:pt idx="1023">
                  <c:v>150.60006217022999</c:v>
                </c:pt>
                <c:pt idx="1024">
                  <c:v>150.70575097533199</c:v>
                </c:pt>
                <c:pt idx="1025">
                  <c:v>150.70575097533199</c:v>
                </c:pt>
                <c:pt idx="1026">
                  <c:v>151.09956805648599</c:v>
                </c:pt>
                <c:pt idx="1027">
                  <c:v>151.662334588867</c:v>
                </c:pt>
                <c:pt idx="1028">
                  <c:v>150.89291539981701</c:v>
                </c:pt>
                <c:pt idx="1029">
                  <c:v>150.992617370445</c:v>
                </c:pt>
                <c:pt idx="1030">
                  <c:v>151.853331597356</c:v>
                </c:pt>
                <c:pt idx="1031">
                  <c:v>152.87307705835201</c:v>
                </c:pt>
                <c:pt idx="1032">
                  <c:v>152.87307705835201</c:v>
                </c:pt>
                <c:pt idx="1033">
                  <c:v>153.90986008959399</c:v>
                </c:pt>
                <c:pt idx="1034">
                  <c:v>152.89056210052499</c:v>
                </c:pt>
                <c:pt idx="1035">
                  <c:v>153.31277087549799</c:v>
                </c:pt>
                <c:pt idx="1036">
                  <c:v>152.79301489176299</c:v>
                </c:pt>
                <c:pt idx="1037">
                  <c:v>152.10382396703</c:v>
                </c:pt>
                <c:pt idx="1038">
                  <c:v>152.879853317792</c:v>
                </c:pt>
                <c:pt idx="1039">
                  <c:v>152.98405012185401</c:v>
                </c:pt>
                <c:pt idx="1040">
                  <c:v>153.624666667349</c:v>
                </c:pt>
                <c:pt idx="1041">
                  <c:v>153.38466973760299</c:v>
                </c:pt>
                <c:pt idx="1042">
                  <c:v>153.38466973760299</c:v>
                </c:pt>
                <c:pt idx="1043">
                  <c:v>152.659773813783</c:v>
                </c:pt>
                <c:pt idx="1044">
                  <c:v>150.92194599336301</c:v>
                </c:pt>
                <c:pt idx="1045">
                  <c:v>151.05716886990999</c:v>
                </c:pt>
                <c:pt idx="1046">
                  <c:v>150.962448284489</c:v>
                </c:pt>
                <c:pt idx="1047">
                  <c:v>150.79980255709401</c:v>
                </c:pt>
                <c:pt idx="1048">
                  <c:v>151.77126767862001</c:v>
                </c:pt>
                <c:pt idx="1049">
                  <c:v>152.05013814859601</c:v>
                </c:pt>
                <c:pt idx="1050">
                  <c:v>153.370487837729</c:v>
                </c:pt>
                <c:pt idx="1051">
                  <c:v>152.757718508924</c:v>
                </c:pt>
                <c:pt idx="1052">
                  <c:v>151.221269790859</c:v>
                </c:pt>
                <c:pt idx="1053">
                  <c:v>149.20775039062499</c:v>
                </c:pt>
                <c:pt idx="1054">
                  <c:v>149.341448856657</c:v>
                </c:pt>
                <c:pt idx="1055">
                  <c:v>147.18432737347999</c:v>
                </c:pt>
                <c:pt idx="1056">
                  <c:v>147.33024684554599</c:v>
                </c:pt>
                <c:pt idx="1057">
                  <c:v>148.538864622657</c:v>
                </c:pt>
                <c:pt idx="1058">
                  <c:v>147.49634021877799</c:v>
                </c:pt>
                <c:pt idx="1059">
                  <c:v>149.597863641554</c:v>
                </c:pt>
                <c:pt idx="1060">
                  <c:v>148.20866234943199</c:v>
                </c:pt>
                <c:pt idx="1061">
                  <c:v>148.220726349176</c:v>
                </c:pt>
                <c:pt idx="1062">
                  <c:v>147.54073754830401</c:v>
                </c:pt>
                <c:pt idx="1063">
                  <c:v>149.129512905063</c:v>
                </c:pt>
                <c:pt idx="1064">
                  <c:v>149.30346671421299</c:v>
                </c:pt>
                <c:pt idx="1065">
                  <c:v>150.11069144714699</c:v>
                </c:pt>
                <c:pt idx="1066">
                  <c:v>148.62645931325201</c:v>
                </c:pt>
                <c:pt idx="1067">
                  <c:v>148.44117785416901</c:v>
                </c:pt>
                <c:pt idx="1068">
                  <c:v>149.01956934154501</c:v>
                </c:pt>
                <c:pt idx="1069">
                  <c:v>148.53441988229301</c:v>
                </c:pt>
                <c:pt idx="1070">
                  <c:v>146.37799331738699</c:v>
                </c:pt>
                <c:pt idx="1071">
                  <c:v>144.28906737083199</c:v>
                </c:pt>
                <c:pt idx="1072">
                  <c:v>143.912653625047</c:v>
                </c:pt>
                <c:pt idx="1073">
                  <c:v>143.96586178872201</c:v>
                </c:pt>
                <c:pt idx="1074">
                  <c:v>142.78328116895599</c:v>
                </c:pt>
                <c:pt idx="1075">
                  <c:v>141.46996368977699</c:v>
                </c:pt>
                <c:pt idx="1076">
                  <c:v>140.80452521149201</c:v>
                </c:pt>
                <c:pt idx="1077">
                  <c:v>142.894325199006</c:v>
                </c:pt>
                <c:pt idx="1078">
                  <c:v>142.10911984086499</c:v>
                </c:pt>
                <c:pt idx="1079">
                  <c:v>142.96464501638599</c:v>
                </c:pt>
                <c:pt idx="1080">
                  <c:v>143.60358840218601</c:v>
                </c:pt>
                <c:pt idx="1081">
                  <c:v>143.60358840218601</c:v>
                </c:pt>
                <c:pt idx="1082">
                  <c:v>144.56760463752599</c:v>
                </c:pt>
                <c:pt idx="1083">
                  <c:v>145.41461424502199</c:v>
                </c:pt>
                <c:pt idx="1084">
                  <c:v>145.61911954358601</c:v>
                </c:pt>
                <c:pt idx="1085">
                  <c:v>146.763254825557</c:v>
                </c:pt>
                <c:pt idx="1086">
                  <c:v>146.21683036432501</c:v>
                </c:pt>
                <c:pt idx="1087">
                  <c:v>148.06134232233501</c:v>
                </c:pt>
                <c:pt idx="1088">
                  <c:v>149.12729604757899</c:v>
                </c:pt>
                <c:pt idx="1089">
                  <c:v>149.42567529894299</c:v>
                </c:pt>
                <c:pt idx="1090">
                  <c:v>148.36245900148401</c:v>
                </c:pt>
                <c:pt idx="1091">
                  <c:v>148.66188705244301</c:v>
                </c:pt>
                <c:pt idx="1092">
                  <c:v>148.64995156004099</c:v>
                </c:pt>
                <c:pt idx="1093">
                  <c:v>148.83584700489001</c:v>
                </c:pt>
                <c:pt idx="1094">
                  <c:v>149.94811943237499</c:v>
                </c:pt>
                <c:pt idx="1095">
                  <c:v>151.43984144394901</c:v>
                </c:pt>
                <c:pt idx="1096">
                  <c:v>151.36596412348899</c:v>
                </c:pt>
                <c:pt idx="1097">
                  <c:v>151.26430352371199</c:v>
                </c:pt>
                <c:pt idx="1098">
                  <c:v>150.66444206876201</c:v>
                </c:pt>
                <c:pt idx="1099">
                  <c:v>150.20045350630599</c:v>
                </c:pt>
                <c:pt idx="1100">
                  <c:v>150.00806615757099</c:v>
                </c:pt>
                <c:pt idx="1101">
                  <c:v>149.829144266062</c:v>
                </c:pt>
                <c:pt idx="1102">
                  <c:v>149.37549166688899</c:v>
                </c:pt>
                <c:pt idx="1103">
                  <c:v>148.552356743182</c:v>
                </c:pt>
                <c:pt idx="1104">
                  <c:v>149.241052423914</c:v>
                </c:pt>
                <c:pt idx="1105">
                  <c:v>150.16197580502501</c:v>
                </c:pt>
                <c:pt idx="1106">
                  <c:v>150.26683368408899</c:v>
                </c:pt>
                <c:pt idx="1107">
                  <c:v>149.70734207734299</c:v>
                </c:pt>
                <c:pt idx="1108">
                  <c:v>147.82673199698101</c:v>
                </c:pt>
                <c:pt idx="1109">
                  <c:v>148.68801873296701</c:v>
                </c:pt>
                <c:pt idx="1110">
                  <c:v>147.25128379345</c:v>
                </c:pt>
                <c:pt idx="1111">
                  <c:v>147.97152448814299</c:v>
                </c:pt>
                <c:pt idx="1112">
                  <c:v>147.40162060988899</c:v>
                </c:pt>
                <c:pt idx="1113">
                  <c:v>148.41331359764101</c:v>
                </c:pt>
                <c:pt idx="1114">
                  <c:v>147.03944712995599</c:v>
                </c:pt>
                <c:pt idx="1115">
                  <c:v>143.91015829718</c:v>
                </c:pt>
                <c:pt idx="1116">
                  <c:v>144.83744027909799</c:v>
                </c:pt>
                <c:pt idx="1117">
                  <c:v>145.212195866614</c:v>
                </c:pt>
                <c:pt idx="1118">
                  <c:v>143.097744132614</c:v>
                </c:pt>
                <c:pt idx="1119">
                  <c:v>141.84929937061901</c:v>
                </c:pt>
                <c:pt idx="1120">
                  <c:v>141.325905885163</c:v>
                </c:pt>
                <c:pt idx="1121">
                  <c:v>139.089753624331</c:v>
                </c:pt>
                <c:pt idx="1122">
                  <c:v>138.52930623600599</c:v>
                </c:pt>
                <c:pt idx="1123">
                  <c:v>138.79427400165699</c:v>
                </c:pt>
                <c:pt idx="1124">
                  <c:v>134.784550029304</c:v>
                </c:pt>
                <c:pt idx="1125">
                  <c:v>133.96288499678701</c:v>
                </c:pt>
                <c:pt idx="1126">
                  <c:v>137.65111776234201</c:v>
                </c:pt>
                <c:pt idx="1127">
                  <c:v>136.60610894913299</c:v>
                </c:pt>
                <c:pt idx="1128">
                  <c:v>139.35635662390499</c:v>
                </c:pt>
                <c:pt idx="1129">
                  <c:v>140.448450853678</c:v>
                </c:pt>
                <c:pt idx="1130">
                  <c:v>141.381986978599</c:v>
                </c:pt>
                <c:pt idx="1131">
                  <c:v>141.05707887420701</c:v>
                </c:pt>
                <c:pt idx="1132">
                  <c:v>140.16438964338499</c:v>
                </c:pt>
                <c:pt idx="1133">
                  <c:v>142.26148638632401</c:v>
                </c:pt>
                <c:pt idx="1134">
                  <c:v>142.14575133047899</c:v>
                </c:pt>
                <c:pt idx="1135">
                  <c:v>142.78778498704</c:v>
                </c:pt>
                <c:pt idx="1136">
                  <c:v>145.17855891987099</c:v>
                </c:pt>
                <c:pt idx="1137">
                  <c:v>144.36408874280701</c:v>
                </c:pt>
                <c:pt idx="1138">
                  <c:v>142.91894883794501</c:v>
                </c:pt>
                <c:pt idx="1139">
                  <c:v>145.151390362059</c:v>
                </c:pt>
                <c:pt idx="1140">
                  <c:v>145.88172493375001</c:v>
                </c:pt>
                <c:pt idx="1141">
                  <c:v>145.007877911713</c:v>
                </c:pt>
                <c:pt idx="1142">
                  <c:v>146.542925595589</c:v>
                </c:pt>
                <c:pt idx="1143">
                  <c:v>147.20060368714499</c:v>
                </c:pt>
                <c:pt idx="1144">
                  <c:v>145.531411172763</c:v>
                </c:pt>
                <c:pt idx="1145">
                  <c:v>145.84698895842499</c:v>
                </c:pt>
                <c:pt idx="1146">
                  <c:v>146.468035823679</c:v>
                </c:pt>
                <c:pt idx="1147">
                  <c:v>147.19357313300699</c:v>
                </c:pt>
                <c:pt idx="1148">
                  <c:v>148.663329521337</c:v>
                </c:pt>
                <c:pt idx="1149">
                  <c:v>148.74629719134001</c:v>
                </c:pt>
                <c:pt idx="1150">
                  <c:v>148.385839225144</c:v>
                </c:pt>
                <c:pt idx="1151">
                  <c:v>151.266471399495</c:v>
                </c:pt>
                <c:pt idx="1152">
                  <c:v>151.69396251146799</c:v>
                </c:pt>
                <c:pt idx="1153">
                  <c:v>152.05474890951601</c:v>
                </c:pt>
                <c:pt idx="1154">
                  <c:v>152.05708205107501</c:v>
                </c:pt>
                <c:pt idx="1155">
                  <c:v>152.702098745434</c:v>
                </c:pt>
                <c:pt idx="1156">
                  <c:v>152.645769016218</c:v>
                </c:pt>
                <c:pt idx="1157">
                  <c:v>152.35388702478801</c:v>
                </c:pt>
                <c:pt idx="1158">
                  <c:v>152.411508741663</c:v>
                </c:pt>
                <c:pt idx="1159">
                  <c:v>153.03507174787899</c:v>
                </c:pt>
                <c:pt idx="1160">
                  <c:v>151.70840626760301</c:v>
                </c:pt>
                <c:pt idx="1161">
                  <c:v>154.31853778330799</c:v>
                </c:pt>
                <c:pt idx="1162">
                  <c:v>153.46563270394</c:v>
                </c:pt>
                <c:pt idx="1163">
                  <c:v>150.13288182908701</c:v>
                </c:pt>
                <c:pt idx="1164">
                  <c:v>149.625295690592</c:v>
                </c:pt>
                <c:pt idx="1165">
                  <c:v>149.737595583548</c:v>
                </c:pt>
                <c:pt idx="1166">
                  <c:v>146.150870114832</c:v>
                </c:pt>
                <c:pt idx="1167">
                  <c:v>142.954406122112</c:v>
                </c:pt>
                <c:pt idx="1168">
                  <c:v>145.61001782722201</c:v>
                </c:pt>
                <c:pt idx="1169">
                  <c:v>145.508919651659</c:v>
                </c:pt>
                <c:pt idx="1170">
                  <c:v>149.56512908048001</c:v>
                </c:pt>
                <c:pt idx="1171">
                  <c:v>150.03229877011299</c:v>
                </c:pt>
                <c:pt idx="1172">
                  <c:v>150.959278580546</c:v>
                </c:pt>
                <c:pt idx="1173">
                  <c:v>152.27000682452001</c:v>
                </c:pt>
                <c:pt idx="1174">
                  <c:v>152.27000682452001</c:v>
                </c:pt>
                <c:pt idx="1175">
                  <c:v>152.27000682452001</c:v>
                </c:pt>
                <c:pt idx="1176">
                  <c:v>152.27000682452001</c:v>
                </c:pt>
                <c:pt idx="1177">
                  <c:v>151.98769267332199</c:v>
                </c:pt>
                <c:pt idx="1178">
                  <c:v>150.49471379537999</c:v>
                </c:pt>
                <c:pt idx="1179">
                  <c:v>150.83791823314101</c:v>
                </c:pt>
                <c:pt idx="1180">
                  <c:v>150.83791823314101</c:v>
                </c:pt>
                <c:pt idx="1181">
                  <c:v>150.54021860665799</c:v>
                </c:pt>
                <c:pt idx="1182">
                  <c:v>146.83732009366199</c:v>
                </c:pt>
                <c:pt idx="1183">
                  <c:v>146.02808664245401</c:v>
                </c:pt>
                <c:pt idx="1184">
                  <c:v>146.545482052187</c:v>
                </c:pt>
                <c:pt idx="1185">
                  <c:v>150.58988007495199</c:v>
                </c:pt>
                <c:pt idx="1186">
                  <c:v>148.87725031388101</c:v>
                </c:pt>
                <c:pt idx="1187">
                  <c:v>149.982472195535</c:v>
                </c:pt>
                <c:pt idx="1188">
                  <c:v>152.04729679466101</c:v>
                </c:pt>
                <c:pt idx="1189">
                  <c:v>150.45807372122701</c:v>
                </c:pt>
                <c:pt idx="1190">
                  <c:v>153.235325191551</c:v>
                </c:pt>
                <c:pt idx="1191">
                  <c:v>155.068894690831</c:v>
                </c:pt>
                <c:pt idx="1192">
                  <c:v>156.18950408896799</c:v>
                </c:pt>
                <c:pt idx="1193">
                  <c:v>156.92080904804999</c:v>
                </c:pt>
                <c:pt idx="1194">
                  <c:v>158.04170525183901</c:v>
                </c:pt>
                <c:pt idx="1195">
                  <c:v>160.02355113593899</c:v>
                </c:pt>
                <c:pt idx="1196">
                  <c:v>162.82638446465</c:v>
                </c:pt>
                <c:pt idx="1197">
                  <c:v>164.710281904884</c:v>
                </c:pt>
                <c:pt idx="1198">
                  <c:v>163.311744082883</c:v>
                </c:pt>
                <c:pt idx="1199">
                  <c:v>163.66300544335999</c:v>
                </c:pt>
                <c:pt idx="1200">
                  <c:v>164.01482758618701</c:v>
                </c:pt>
                <c:pt idx="1201">
                  <c:v>163.230246162382</c:v>
                </c:pt>
                <c:pt idx="1202">
                  <c:v>163.33191736303999</c:v>
                </c:pt>
                <c:pt idx="1203">
                  <c:v>164.735263888031</c:v>
                </c:pt>
                <c:pt idx="1204">
                  <c:v>164.89176071986901</c:v>
                </c:pt>
                <c:pt idx="1205">
                  <c:v>165.247835803877</c:v>
                </c:pt>
                <c:pt idx="1206">
                  <c:v>164.86260108421001</c:v>
                </c:pt>
                <c:pt idx="1207">
                  <c:v>162.99445112927199</c:v>
                </c:pt>
                <c:pt idx="1208">
                  <c:v>164.58007085494199</c:v>
                </c:pt>
                <c:pt idx="1209">
                  <c:v>164.32128149259799</c:v>
                </c:pt>
                <c:pt idx="1210">
                  <c:v>166.15166598552</c:v>
                </c:pt>
                <c:pt idx="1211">
                  <c:v>166.72897313379599</c:v>
                </c:pt>
                <c:pt idx="1212">
                  <c:v>166.42432192558701</c:v>
                </c:pt>
                <c:pt idx="1213">
                  <c:v>166.448366565821</c:v>
                </c:pt>
                <c:pt idx="1214">
                  <c:v>167.67529809179899</c:v>
                </c:pt>
                <c:pt idx="1215">
                  <c:v>168.49352042115399</c:v>
                </c:pt>
                <c:pt idx="1216">
                  <c:v>168.44258357441501</c:v>
                </c:pt>
                <c:pt idx="1217">
                  <c:v>169.938259650878</c:v>
                </c:pt>
                <c:pt idx="1218">
                  <c:v>170.98439387000499</c:v>
                </c:pt>
                <c:pt idx="1219">
                  <c:v>171.14973437908</c:v>
                </c:pt>
                <c:pt idx="1220">
                  <c:v>172.42098584666701</c:v>
                </c:pt>
                <c:pt idx="1221">
                  <c:v>173.00123022615699</c:v>
                </c:pt>
                <c:pt idx="1222">
                  <c:v>172.994517651401</c:v>
                </c:pt>
                <c:pt idx="1223">
                  <c:v>171.50104964977601</c:v>
                </c:pt>
                <c:pt idx="1224">
                  <c:v>172.26270437282801</c:v>
                </c:pt>
                <c:pt idx="1225">
                  <c:v>174.00210737277101</c:v>
                </c:pt>
                <c:pt idx="1226">
                  <c:v>174.23655956251801</c:v>
                </c:pt>
                <c:pt idx="1227">
                  <c:v>173.83396566384201</c:v>
                </c:pt>
                <c:pt idx="1228">
                  <c:v>172.34510000097299</c:v>
                </c:pt>
                <c:pt idx="1229">
                  <c:v>175.544543387098</c:v>
                </c:pt>
                <c:pt idx="1230">
                  <c:v>175.58443618753299</c:v>
                </c:pt>
                <c:pt idx="1231">
                  <c:v>176.12754767296099</c:v>
                </c:pt>
                <c:pt idx="1232">
                  <c:v>177.93023929119099</c:v>
                </c:pt>
                <c:pt idx="1233">
                  <c:v>176.52777241632299</c:v>
                </c:pt>
                <c:pt idx="1234">
                  <c:v>176.51693275397099</c:v>
                </c:pt>
                <c:pt idx="1235">
                  <c:v>176.978303795166</c:v>
                </c:pt>
                <c:pt idx="1236">
                  <c:v>178.68912375992801</c:v>
                </c:pt>
                <c:pt idx="1237">
                  <c:v>178.085459248821</c:v>
                </c:pt>
                <c:pt idx="1238">
                  <c:v>178.93947192665499</c:v>
                </c:pt>
                <c:pt idx="1239">
                  <c:v>177.108230190456</c:v>
                </c:pt>
                <c:pt idx="1240">
                  <c:v>175.94259158679</c:v>
                </c:pt>
                <c:pt idx="1241">
                  <c:v>176.37623567514399</c:v>
                </c:pt>
                <c:pt idx="1242">
                  <c:v>178.56870896973601</c:v>
                </c:pt>
                <c:pt idx="1243">
                  <c:v>177.12010105112199</c:v>
                </c:pt>
                <c:pt idx="1244">
                  <c:v>177.815222697975</c:v>
                </c:pt>
                <c:pt idx="1245">
                  <c:v>178.26329925658601</c:v>
                </c:pt>
                <c:pt idx="1246">
                  <c:v>178.26329925658601</c:v>
                </c:pt>
                <c:pt idx="1247">
                  <c:v>178.26329925658601</c:v>
                </c:pt>
                <c:pt idx="1248">
                  <c:v>181.07953754291</c:v>
                </c:pt>
                <c:pt idx="1249">
                  <c:v>180.589491355462</c:v>
                </c:pt>
                <c:pt idx="1250">
                  <c:v>182.77230707592599</c:v>
                </c:pt>
                <c:pt idx="1251">
                  <c:v>184.66887974090699</c:v>
                </c:pt>
                <c:pt idx="1252">
                  <c:v>185.31062165039199</c:v>
                </c:pt>
                <c:pt idx="1253">
                  <c:v>184.71050717288</c:v>
                </c:pt>
                <c:pt idx="1254">
                  <c:v>185.02986983175001</c:v>
                </c:pt>
                <c:pt idx="1255">
                  <c:v>183.35510774756</c:v>
                </c:pt>
                <c:pt idx="1256">
                  <c:v>180.074322375864</c:v>
                </c:pt>
                <c:pt idx="1257">
                  <c:v>181.65678599775799</c:v>
                </c:pt>
                <c:pt idx="1258">
                  <c:v>182.947532689583</c:v>
                </c:pt>
                <c:pt idx="1259">
                  <c:v>182.30066640676799</c:v>
                </c:pt>
                <c:pt idx="1260">
                  <c:v>181.433692198389</c:v>
                </c:pt>
                <c:pt idx="1261">
                  <c:v>182.58314410106999</c:v>
                </c:pt>
                <c:pt idx="1262">
                  <c:v>184.771458692061</c:v>
                </c:pt>
                <c:pt idx="1263">
                  <c:v>181.92042608686</c:v>
                </c:pt>
                <c:pt idx="1264">
                  <c:v>177.256275170734</c:v>
                </c:pt>
                <c:pt idx="1265">
                  <c:v>177.353167679504</c:v>
                </c:pt>
                <c:pt idx="1266">
                  <c:v>177.353167679504</c:v>
                </c:pt>
                <c:pt idx="1267">
                  <c:v>179.223939639961</c:v>
                </c:pt>
                <c:pt idx="1268">
                  <c:v>175.45989806264299</c:v>
                </c:pt>
                <c:pt idx="1269">
                  <c:v>174.96511728350001</c:v>
                </c:pt>
                <c:pt idx="1270">
                  <c:v>175.19006799403999</c:v>
                </c:pt>
                <c:pt idx="1271">
                  <c:v>178.99940736378201</c:v>
                </c:pt>
                <c:pt idx="1272">
                  <c:v>178.998900127989</c:v>
                </c:pt>
                <c:pt idx="1273">
                  <c:v>177.48155254620301</c:v>
                </c:pt>
                <c:pt idx="1274">
                  <c:v>177.13195415242001</c:v>
                </c:pt>
                <c:pt idx="1275">
                  <c:v>177.13195415242001</c:v>
                </c:pt>
                <c:pt idx="1276">
                  <c:v>178.33026782212599</c:v>
                </c:pt>
                <c:pt idx="1277">
                  <c:v>179.22442481041699</c:v>
                </c:pt>
                <c:pt idx="1278">
                  <c:v>182.040035975699</c:v>
                </c:pt>
                <c:pt idx="1279">
                  <c:v>182.319851008943</c:v>
                </c:pt>
                <c:pt idx="1280">
                  <c:v>182.697987417657</c:v>
                </c:pt>
                <c:pt idx="1281">
                  <c:v>182.40413252125299</c:v>
                </c:pt>
                <c:pt idx="1282">
                  <c:v>182.40413252125299</c:v>
                </c:pt>
                <c:pt idx="1283">
                  <c:v>179.80872319129401</c:v>
                </c:pt>
                <c:pt idx="1284">
                  <c:v>182.29785023809001</c:v>
                </c:pt>
                <c:pt idx="1285">
                  <c:v>181.77935648846099</c:v>
                </c:pt>
                <c:pt idx="1286">
                  <c:v>179.14541274893199</c:v>
                </c:pt>
                <c:pt idx="1287">
                  <c:v>179.579034872058</c:v>
                </c:pt>
                <c:pt idx="1288">
                  <c:v>178.92542958432699</c:v>
                </c:pt>
                <c:pt idx="1289">
                  <c:v>179.56019551724901</c:v>
                </c:pt>
                <c:pt idx="1290">
                  <c:v>178.01472601336499</c:v>
                </c:pt>
                <c:pt idx="1291">
                  <c:v>175.76400871789201</c:v>
                </c:pt>
                <c:pt idx="1292">
                  <c:v>174.04758623500899</c:v>
                </c:pt>
                <c:pt idx="1293">
                  <c:v>173.27688237130499</c:v>
                </c:pt>
                <c:pt idx="1294">
                  <c:v>176.19278486528901</c:v>
                </c:pt>
                <c:pt idx="1295">
                  <c:v>177.103695719548</c:v>
                </c:pt>
                <c:pt idx="1296">
                  <c:v>175.156961338549</c:v>
                </c:pt>
                <c:pt idx="1297">
                  <c:v>172.291702993814</c:v>
                </c:pt>
                <c:pt idx="1298">
                  <c:v>173.17249381238599</c:v>
                </c:pt>
                <c:pt idx="1299">
                  <c:v>171.99623460566801</c:v>
                </c:pt>
                <c:pt idx="1300">
                  <c:v>173.20819257782699</c:v>
                </c:pt>
                <c:pt idx="1301">
                  <c:v>173.336082469258</c:v>
                </c:pt>
                <c:pt idx="1302">
                  <c:v>178.450337665722</c:v>
                </c:pt>
                <c:pt idx="1303">
                  <c:v>178.450337665722</c:v>
                </c:pt>
                <c:pt idx="1304">
                  <c:v>179.42416190660299</c:v>
                </c:pt>
                <c:pt idx="1305">
                  <c:v>179.410029626659</c:v>
                </c:pt>
                <c:pt idx="1306">
                  <c:v>180.01318532810299</c:v>
                </c:pt>
                <c:pt idx="1307">
                  <c:v>174.41785712177801</c:v>
                </c:pt>
                <c:pt idx="1308">
                  <c:v>172.37075931780001</c:v>
                </c:pt>
                <c:pt idx="1309">
                  <c:v>175.05405441006499</c:v>
                </c:pt>
                <c:pt idx="1310">
                  <c:v>173.95339453218801</c:v>
                </c:pt>
                <c:pt idx="1311">
                  <c:v>173.05923890416199</c:v>
                </c:pt>
                <c:pt idx="1312">
                  <c:v>170.22249384661899</c:v>
                </c:pt>
                <c:pt idx="1313">
                  <c:v>167.11710727998999</c:v>
                </c:pt>
                <c:pt idx="1314">
                  <c:v>168.559490739279</c:v>
                </c:pt>
                <c:pt idx="1315">
                  <c:v>172.51617426529</c:v>
                </c:pt>
                <c:pt idx="1316">
                  <c:v>176.81615453950599</c:v>
                </c:pt>
                <c:pt idx="1317">
                  <c:v>179.42221064672</c:v>
                </c:pt>
                <c:pt idx="1318">
                  <c:v>180.091473299428</c:v>
                </c:pt>
                <c:pt idx="1319">
                  <c:v>181.16219006904601</c:v>
                </c:pt>
                <c:pt idx="1320">
                  <c:v>183.39924518925301</c:v>
                </c:pt>
                <c:pt idx="1321">
                  <c:v>183.41183137196001</c:v>
                </c:pt>
                <c:pt idx="1322">
                  <c:v>184.638344079018</c:v>
                </c:pt>
                <c:pt idx="1323">
                  <c:v>182.90639655029199</c:v>
                </c:pt>
                <c:pt idx="1324">
                  <c:v>182.08437647554999</c:v>
                </c:pt>
                <c:pt idx="1325">
                  <c:v>181.94703571772499</c:v>
                </c:pt>
                <c:pt idx="1326">
                  <c:v>180.69742936388201</c:v>
                </c:pt>
                <c:pt idx="1327">
                  <c:v>176.93853833771701</c:v>
                </c:pt>
                <c:pt idx="1328">
                  <c:v>178.45277177897</c:v>
                </c:pt>
                <c:pt idx="1329">
                  <c:v>179.433818681161</c:v>
                </c:pt>
                <c:pt idx="1330">
                  <c:v>179.814905952678</c:v>
                </c:pt>
                <c:pt idx="1331">
                  <c:v>180.49369008610401</c:v>
                </c:pt>
                <c:pt idx="1332">
                  <c:v>182.228463713173</c:v>
                </c:pt>
                <c:pt idx="1333">
                  <c:v>182.28354588236201</c:v>
                </c:pt>
                <c:pt idx="1334">
                  <c:v>183.981975939318</c:v>
                </c:pt>
                <c:pt idx="1335">
                  <c:v>183.18167025384901</c:v>
                </c:pt>
                <c:pt idx="1336">
                  <c:v>181.768387784548</c:v>
                </c:pt>
                <c:pt idx="1337">
                  <c:v>183.184452970796</c:v>
                </c:pt>
                <c:pt idx="1338">
                  <c:v>180.36013444539799</c:v>
                </c:pt>
                <c:pt idx="1339">
                  <c:v>175.605766325753</c:v>
                </c:pt>
                <c:pt idx="1340">
                  <c:v>177.50576583461299</c:v>
                </c:pt>
                <c:pt idx="1341">
                  <c:v>177.12055236807799</c:v>
                </c:pt>
                <c:pt idx="1342">
                  <c:v>177.21358114098601</c:v>
                </c:pt>
                <c:pt idx="1343">
                  <c:v>177.28905874655999</c:v>
                </c:pt>
                <c:pt idx="1344">
                  <c:v>174.25964673127299</c:v>
                </c:pt>
                <c:pt idx="1345">
                  <c:v>170.67333291499901</c:v>
                </c:pt>
                <c:pt idx="1346">
                  <c:v>165.635710529714</c:v>
                </c:pt>
                <c:pt idx="1347">
                  <c:v>157.61822506750499</c:v>
                </c:pt>
                <c:pt idx="1348">
                  <c:v>163.90544143806</c:v>
                </c:pt>
                <c:pt idx="1349">
                  <c:v>162.11988336548501</c:v>
                </c:pt>
                <c:pt idx="1350">
                  <c:v>166.84262668393799</c:v>
                </c:pt>
                <c:pt idx="1351">
                  <c:v>167.18151459144499</c:v>
                </c:pt>
                <c:pt idx="1352">
                  <c:v>166.537827312231</c:v>
                </c:pt>
                <c:pt idx="1353">
                  <c:v>162.95259537955499</c:v>
                </c:pt>
                <c:pt idx="1354">
                  <c:v>163.13199968399499</c:v>
                </c:pt>
                <c:pt idx="1355">
                  <c:v>166.652643728388</c:v>
                </c:pt>
                <c:pt idx="1356">
                  <c:v>162.85083585695301</c:v>
                </c:pt>
                <c:pt idx="1357">
                  <c:v>163.54764238883601</c:v>
                </c:pt>
                <c:pt idx="1358">
                  <c:v>165.48850100815301</c:v>
                </c:pt>
                <c:pt idx="1359">
                  <c:v>167.25803224678</c:v>
                </c:pt>
                <c:pt idx="1360">
                  <c:v>165.32107081647101</c:v>
                </c:pt>
                <c:pt idx="1361">
                  <c:v>163.44770276136501</c:v>
                </c:pt>
                <c:pt idx="1362">
                  <c:v>162.72461019719901</c:v>
                </c:pt>
                <c:pt idx="1363">
                  <c:v>163.83507683247399</c:v>
                </c:pt>
                <c:pt idx="1364">
                  <c:v>165.850171089133</c:v>
                </c:pt>
                <c:pt idx="1365">
                  <c:v>166.25556113968199</c:v>
                </c:pt>
                <c:pt idx="1366">
                  <c:v>163.410577221784</c:v>
                </c:pt>
                <c:pt idx="1367">
                  <c:v>164.80263603129001</c:v>
                </c:pt>
                <c:pt idx="1368">
                  <c:v>159.776619275896</c:v>
                </c:pt>
                <c:pt idx="1369">
                  <c:v>160.00709525394001</c:v>
                </c:pt>
                <c:pt idx="1370">
                  <c:v>156.777143015983</c:v>
                </c:pt>
                <c:pt idx="1371">
                  <c:v>161.11429784367999</c:v>
                </c:pt>
                <c:pt idx="1372">
                  <c:v>157.906085516312</c:v>
                </c:pt>
                <c:pt idx="1373">
                  <c:v>157.001501865629</c:v>
                </c:pt>
                <c:pt idx="1374">
                  <c:v>160.568925992423</c:v>
                </c:pt>
                <c:pt idx="1375">
                  <c:v>159.26276332544199</c:v>
                </c:pt>
                <c:pt idx="1376">
                  <c:v>160.42119116731899</c:v>
                </c:pt>
                <c:pt idx="1377">
                  <c:v>165.414193203146</c:v>
                </c:pt>
                <c:pt idx="1378">
                  <c:v>166.79906466817201</c:v>
                </c:pt>
                <c:pt idx="1379">
                  <c:v>166.64108836314099</c:v>
                </c:pt>
                <c:pt idx="1380">
                  <c:v>167.212513018946</c:v>
                </c:pt>
                <c:pt idx="1381">
                  <c:v>168.04286577588601</c:v>
                </c:pt>
                <c:pt idx="1382">
                  <c:v>167.401757865608</c:v>
                </c:pt>
                <c:pt idx="1383">
                  <c:v>166.25702932256999</c:v>
                </c:pt>
                <c:pt idx="1384">
                  <c:v>164.91032686995101</c:v>
                </c:pt>
                <c:pt idx="1385">
                  <c:v>167.22326376844299</c:v>
                </c:pt>
                <c:pt idx="1386">
                  <c:v>168.02479927253299</c:v>
                </c:pt>
                <c:pt idx="1387">
                  <c:v>168.58988518829</c:v>
                </c:pt>
                <c:pt idx="1388">
                  <c:v>168.02274265762799</c:v>
                </c:pt>
                <c:pt idx="1389">
                  <c:v>168.62180410410701</c:v>
                </c:pt>
                <c:pt idx="1390">
                  <c:v>171.935677042446</c:v>
                </c:pt>
                <c:pt idx="1391">
                  <c:v>175.16274441039101</c:v>
                </c:pt>
                <c:pt idx="1392">
                  <c:v>174.968153615484</c:v>
                </c:pt>
                <c:pt idx="1393">
                  <c:v>172.53281363826099</c:v>
                </c:pt>
                <c:pt idx="1394">
                  <c:v>174.588647545817</c:v>
                </c:pt>
                <c:pt idx="1395">
                  <c:v>174.88562035097999</c:v>
                </c:pt>
                <c:pt idx="1396">
                  <c:v>175.151182582449</c:v>
                </c:pt>
                <c:pt idx="1397">
                  <c:v>176.21669517486799</c:v>
                </c:pt>
                <c:pt idx="1398">
                  <c:v>176.77478619689001</c:v>
                </c:pt>
                <c:pt idx="1399">
                  <c:v>176.791390432485</c:v>
                </c:pt>
                <c:pt idx="1400">
                  <c:v>176.78711718282901</c:v>
                </c:pt>
                <c:pt idx="1401">
                  <c:v>177.639035210126</c:v>
                </c:pt>
                <c:pt idx="1402">
                  <c:v>175.22211773644301</c:v>
                </c:pt>
                <c:pt idx="1403">
                  <c:v>175.49438613544001</c:v>
                </c:pt>
                <c:pt idx="1404">
                  <c:v>176.71086540600299</c:v>
                </c:pt>
                <c:pt idx="1405">
                  <c:v>174.15879745035701</c:v>
                </c:pt>
                <c:pt idx="1406">
                  <c:v>173.160171339014</c:v>
                </c:pt>
                <c:pt idx="1407">
                  <c:v>173.696910035304</c:v>
                </c:pt>
                <c:pt idx="1408">
                  <c:v>177.846985792813</c:v>
                </c:pt>
                <c:pt idx="1409">
                  <c:v>177.422366640935</c:v>
                </c:pt>
                <c:pt idx="1410">
                  <c:v>178.453701416255</c:v>
                </c:pt>
                <c:pt idx="1411">
                  <c:v>178.39197053351401</c:v>
                </c:pt>
                <c:pt idx="1412">
                  <c:v>178.158866991541</c:v>
                </c:pt>
                <c:pt idx="1413">
                  <c:v>175.72258740283701</c:v>
                </c:pt>
                <c:pt idx="1414">
                  <c:v>178.258253350633</c:v>
                </c:pt>
                <c:pt idx="1415">
                  <c:v>180.38049425823999</c:v>
                </c:pt>
                <c:pt idx="1416">
                  <c:v>180.28736126984899</c:v>
                </c:pt>
                <c:pt idx="1417">
                  <c:v>181.025566103887</c:v>
                </c:pt>
                <c:pt idx="1418">
                  <c:v>180.050513319581</c:v>
                </c:pt>
                <c:pt idx="1419">
                  <c:v>179.76949802468101</c:v>
                </c:pt>
                <c:pt idx="1420">
                  <c:v>175.07509788898699</c:v>
                </c:pt>
                <c:pt idx="1421">
                  <c:v>174.31194633604699</c:v>
                </c:pt>
                <c:pt idx="1422">
                  <c:v>175.477105283334</c:v>
                </c:pt>
                <c:pt idx="1423">
                  <c:v>172.65513753093899</c:v>
                </c:pt>
                <c:pt idx="1424">
                  <c:v>171.598814769114</c:v>
                </c:pt>
                <c:pt idx="1425">
                  <c:v>171.37543329323401</c:v>
                </c:pt>
                <c:pt idx="1426">
                  <c:v>168.19918536369201</c:v>
                </c:pt>
                <c:pt idx="1427">
                  <c:v>165.301534523507</c:v>
                </c:pt>
                <c:pt idx="1428">
                  <c:v>169.98080390687099</c:v>
                </c:pt>
                <c:pt idx="1429">
                  <c:v>170.58484342560399</c:v>
                </c:pt>
                <c:pt idx="1430">
                  <c:v>172.850353281504</c:v>
                </c:pt>
                <c:pt idx="1431">
                  <c:v>170.96007</c:v>
                </c:pt>
                <c:pt idx="1432">
                  <c:v>168.806976962015</c:v>
                </c:pt>
                <c:pt idx="1433">
                  <c:v>168.939038835009</c:v>
                </c:pt>
                <c:pt idx="1434">
                  <c:v>172.87660644500801</c:v>
                </c:pt>
                <c:pt idx="1435">
                  <c:v>172.87660644500801</c:v>
                </c:pt>
                <c:pt idx="1436">
                  <c:v>172.87660644500801</c:v>
                </c:pt>
                <c:pt idx="1437">
                  <c:v>171.98683132423801</c:v>
                </c:pt>
                <c:pt idx="1438">
                  <c:v>174.679888520698</c:v>
                </c:pt>
                <c:pt idx="1439">
                  <c:v>173.75052123439099</c:v>
                </c:pt>
                <c:pt idx="1440">
                  <c:v>172.93654302859801</c:v>
                </c:pt>
                <c:pt idx="1441">
                  <c:v>172.93654302859801</c:v>
                </c:pt>
                <c:pt idx="1442">
                  <c:v>168.35823184224901</c:v>
                </c:pt>
                <c:pt idx="1443">
                  <c:v>169.18968312872599</c:v>
                </c:pt>
                <c:pt idx="1444">
                  <c:v>167.24180801747201</c:v>
                </c:pt>
                <c:pt idx="1445">
                  <c:v>164.65690764271301</c:v>
                </c:pt>
                <c:pt idx="1446">
                  <c:v>162.58669716774099</c:v>
                </c:pt>
                <c:pt idx="1447">
                  <c:v>161.79835506365001</c:v>
                </c:pt>
                <c:pt idx="1448">
                  <c:v>163.78577318571001</c:v>
                </c:pt>
                <c:pt idx="1449">
                  <c:v>164.19534357537299</c:v>
                </c:pt>
                <c:pt idx="1450">
                  <c:v>161.29741679312801</c:v>
                </c:pt>
                <c:pt idx="1451">
                  <c:v>157.20353735829099</c:v>
                </c:pt>
                <c:pt idx="1452">
                  <c:v>155.902880418808</c:v>
                </c:pt>
                <c:pt idx="1453">
                  <c:v>158.62491691176101</c:v>
                </c:pt>
                <c:pt idx="1454">
                  <c:v>153.737943085534</c:v>
                </c:pt>
                <c:pt idx="1455">
                  <c:v>157.06116913383801</c:v>
                </c:pt>
                <c:pt idx="1456">
                  <c:v>161.32228896082299</c:v>
                </c:pt>
                <c:pt idx="1457">
                  <c:v>160.82360187634299</c:v>
                </c:pt>
                <c:pt idx="1458">
                  <c:v>162.03550830730501</c:v>
                </c:pt>
                <c:pt idx="1459">
                  <c:v>162.93362079361401</c:v>
                </c:pt>
                <c:pt idx="1460">
                  <c:v>160.48248406467101</c:v>
                </c:pt>
                <c:pt idx="1461">
                  <c:v>164.12647389851401</c:v>
                </c:pt>
                <c:pt idx="1462">
                  <c:v>163.90910083595199</c:v>
                </c:pt>
                <c:pt idx="1463">
                  <c:v>160.78101934554499</c:v>
                </c:pt>
                <c:pt idx="1464">
                  <c:v>158.22858314740401</c:v>
                </c:pt>
                <c:pt idx="1465">
                  <c:v>158.07166102124</c:v>
                </c:pt>
                <c:pt idx="1466">
                  <c:v>156.339609310806</c:v>
                </c:pt>
                <c:pt idx="1467">
                  <c:v>150.45047652954401</c:v>
                </c:pt>
                <c:pt idx="1468">
                  <c:v>148.398230572008</c:v>
                </c:pt>
                <c:pt idx="1469">
                  <c:v>150.34005054656299</c:v>
                </c:pt>
                <c:pt idx="1470">
                  <c:v>145.154920600879</c:v>
                </c:pt>
                <c:pt idx="1471">
                  <c:v>148.29015246084501</c:v>
                </c:pt>
                <c:pt idx="1472">
                  <c:v>152.70991998685801</c:v>
                </c:pt>
                <c:pt idx="1473">
                  <c:v>152.22450977136899</c:v>
                </c:pt>
                <c:pt idx="1474">
                  <c:v>156.00760003126601</c:v>
                </c:pt>
                <c:pt idx="1475">
                  <c:v>156.62073752751999</c:v>
                </c:pt>
                <c:pt idx="1476">
                  <c:v>155.38311839527501</c:v>
                </c:pt>
                <c:pt idx="1477">
                  <c:v>158.469024216554</c:v>
                </c:pt>
                <c:pt idx="1478">
                  <c:v>156.47614601788999</c:v>
                </c:pt>
                <c:pt idx="1479">
                  <c:v>153.101481739566</c:v>
                </c:pt>
                <c:pt idx="1480">
                  <c:v>155.905290457262</c:v>
                </c:pt>
                <c:pt idx="1481">
                  <c:v>157.89417728830301</c:v>
                </c:pt>
                <c:pt idx="1482">
                  <c:v>158.79684514884201</c:v>
                </c:pt>
                <c:pt idx="1483">
                  <c:v>161.77793881670101</c:v>
                </c:pt>
                <c:pt idx="1484">
                  <c:v>161.71544796151599</c:v>
                </c:pt>
                <c:pt idx="1485">
                  <c:v>161.51108000273501</c:v>
                </c:pt>
                <c:pt idx="1486">
                  <c:v>162.59224907941299</c:v>
                </c:pt>
                <c:pt idx="1487">
                  <c:v>161.900518986528</c:v>
                </c:pt>
                <c:pt idx="1488">
                  <c:v>160.52079047817199</c:v>
                </c:pt>
                <c:pt idx="1489">
                  <c:v>161.36251978673999</c:v>
                </c:pt>
                <c:pt idx="1490">
                  <c:v>159.32093620323701</c:v>
                </c:pt>
                <c:pt idx="1491">
                  <c:v>163.81002681988801</c:v>
                </c:pt>
                <c:pt idx="1492">
                  <c:v>165.23415769351999</c:v>
                </c:pt>
                <c:pt idx="1493">
                  <c:v>164.079634018869</c:v>
                </c:pt>
                <c:pt idx="1494">
                  <c:v>164.28839829765599</c:v>
                </c:pt>
                <c:pt idx="1495">
                  <c:v>164.148888721372</c:v>
                </c:pt>
                <c:pt idx="1496">
                  <c:v>164.78134956289401</c:v>
                </c:pt>
                <c:pt idx="1497">
                  <c:v>164.75033747405399</c:v>
                </c:pt>
                <c:pt idx="1498">
                  <c:v>164.99603500866601</c:v>
                </c:pt>
                <c:pt idx="1499">
                  <c:v>165.04570233582001</c:v>
                </c:pt>
                <c:pt idx="1500">
                  <c:v>162.45048326738899</c:v>
                </c:pt>
                <c:pt idx="1501">
                  <c:v>162.45048326738899</c:v>
                </c:pt>
                <c:pt idx="1502">
                  <c:v>162.45048326738899</c:v>
                </c:pt>
                <c:pt idx="1503">
                  <c:v>163.35530583196501</c:v>
                </c:pt>
                <c:pt idx="1504">
                  <c:v>165.83167822828</c:v>
                </c:pt>
                <c:pt idx="1505">
                  <c:v>163.94697071062399</c:v>
                </c:pt>
                <c:pt idx="1506">
                  <c:v>162.123664869994</c:v>
                </c:pt>
                <c:pt idx="1507">
                  <c:v>162.18100007739</c:v>
                </c:pt>
                <c:pt idx="1508">
                  <c:v>159.12111854059199</c:v>
                </c:pt>
                <c:pt idx="1509">
                  <c:v>160.14430161873699</c:v>
                </c:pt>
                <c:pt idx="1510">
                  <c:v>158.845443791299</c:v>
                </c:pt>
                <c:pt idx="1511">
                  <c:v>161.159474741374</c:v>
                </c:pt>
                <c:pt idx="1512">
                  <c:v>161.81157679871899</c:v>
                </c:pt>
                <c:pt idx="1513">
                  <c:v>162.30514561639399</c:v>
                </c:pt>
                <c:pt idx="1514">
                  <c:v>165.54904008420601</c:v>
                </c:pt>
                <c:pt idx="1515">
                  <c:v>166.218616663098</c:v>
                </c:pt>
                <c:pt idx="1516">
                  <c:v>165.877618180306</c:v>
                </c:pt>
                <c:pt idx="1517">
                  <c:v>166.37772455875799</c:v>
                </c:pt>
                <c:pt idx="1518">
                  <c:v>168.94850378904701</c:v>
                </c:pt>
                <c:pt idx="1519">
                  <c:v>169.50683072763499</c:v>
                </c:pt>
                <c:pt idx="1520">
                  <c:v>168.766776937484</c:v>
                </c:pt>
                <c:pt idx="1521">
                  <c:v>168.40457084722499</c:v>
                </c:pt>
                <c:pt idx="1522">
                  <c:v>167.182893410476</c:v>
                </c:pt>
                <c:pt idx="1523">
                  <c:v>167.439012284049</c:v>
                </c:pt>
                <c:pt idx="1524">
                  <c:v>168.53098558695899</c:v>
                </c:pt>
                <c:pt idx="1525">
                  <c:v>168.82981993617</c:v>
                </c:pt>
                <c:pt idx="1526">
                  <c:v>165.90342149129299</c:v>
                </c:pt>
                <c:pt idx="1527">
                  <c:v>166.23526132717399</c:v>
                </c:pt>
                <c:pt idx="1528">
                  <c:v>163.959817254282</c:v>
                </c:pt>
                <c:pt idx="1529">
                  <c:v>162.35744132933101</c:v>
                </c:pt>
                <c:pt idx="1530">
                  <c:v>162.35744132933101</c:v>
                </c:pt>
                <c:pt idx="1531">
                  <c:v>162.81253601091001</c:v>
                </c:pt>
                <c:pt idx="1532">
                  <c:v>163.570277889474</c:v>
                </c:pt>
                <c:pt idx="1533">
                  <c:v>164.6240341573</c:v>
                </c:pt>
                <c:pt idx="1534">
                  <c:v>163.64194534190801</c:v>
                </c:pt>
                <c:pt idx="1535">
                  <c:v>162.99031610675701</c:v>
                </c:pt>
                <c:pt idx="1536">
                  <c:v>163.689815675267</c:v>
                </c:pt>
                <c:pt idx="1537">
                  <c:v>163.689815675267</c:v>
                </c:pt>
                <c:pt idx="1538">
                  <c:v>163.50755465604499</c:v>
                </c:pt>
                <c:pt idx="1539">
                  <c:v>164.11156185528</c:v>
                </c:pt>
                <c:pt idx="1540">
                  <c:v>162.39348139921199</c:v>
                </c:pt>
                <c:pt idx="1541">
                  <c:v>164.50093181803399</c:v>
                </c:pt>
                <c:pt idx="1542">
                  <c:v>163.75557565320199</c:v>
                </c:pt>
                <c:pt idx="1543">
                  <c:v>166.33887011414001</c:v>
                </c:pt>
                <c:pt idx="1544">
                  <c:v>168.081190321061</c:v>
                </c:pt>
                <c:pt idx="1545">
                  <c:v>169.11936162441501</c:v>
                </c:pt>
                <c:pt idx="1546">
                  <c:v>169.25955632888801</c:v>
                </c:pt>
                <c:pt idx="1547">
                  <c:v>169.68456940786601</c:v>
                </c:pt>
                <c:pt idx="1548">
                  <c:v>169.042771952316</c:v>
                </c:pt>
                <c:pt idx="1549">
                  <c:v>168.15957642248901</c:v>
                </c:pt>
                <c:pt idx="1550">
                  <c:v>168.38722064049</c:v>
                </c:pt>
                <c:pt idx="1551">
                  <c:v>167.31028415317101</c:v>
                </c:pt>
                <c:pt idx="1552">
                  <c:v>168.022309899362</c:v>
                </c:pt>
                <c:pt idx="1553">
                  <c:v>170.10655114264699</c:v>
                </c:pt>
                <c:pt idx="1554">
                  <c:v>169.405247935978</c:v>
                </c:pt>
                <c:pt idx="1555">
                  <c:v>167.79746235397499</c:v>
                </c:pt>
                <c:pt idx="1556">
                  <c:v>163.84612322522699</c:v>
                </c:pt>
                <c:pt idx="1557">
                  <c:v>161.01044599755099</c:v>
                </c:pt>
                <c:pt idx="1558">
                  <c:v>158.09988738263101</c:v>
                </c:pt>
                <c:pt idx="1559">
                  <c:v>159.38119347252899</c:v>
                </c:pt>
                <c:pt idx="1560">
                  <c:v>158.12668380898199</c:v>
                </c:pt>
                <c:pt idx="1561">
                  <c:v>159.749461009622</c:v>
                </c:pt>
                <c:pt idx="1562">
                  <c:v>164.68183818289401</c:v>
                </c:pt>
                <c:pt idx="1563">
                  <c:v>165.20091212501001</c:v>
                </c:pt>
                <c:pt idx="1564">
                  <c:v>165.40830992169199</c:v>
                </c:pt>
                <c:pt idx="1565">
                  <c:v>165.40830992169199</c:v>
                </c:pt>
                <c:pt idx="1566">
                  <c:v>158.32146422360501</c:v>
                </c:pt>
                <c:pt idx="1567">
                  <c:v>153.033265515876</c:v>
                </c:pt>
                <c:pt idx="1568">
                  <c:v>156.66990237745301</c:v>
                </c:pt>
                <c:pt idx="1569">
                  <c:v>160.984493208148</c:v>
                </c:pt>
                <c:pt idx="1570">
                  <c:v>162.94152201589699</c:v>
                </c:pt>
                <c:pt idx="1571">
                  <c:v>164.51587553567799</c:v>
                </c:pt>
                <c:pt idx="1572">
                  <c:v>163.46128708388099</c:v>
                </c:pt>
                <c:pt idx="1573">
                  <c:v>160.670279880229</c:v>
                </c:pt>
                <c:pt idx="1574">
                  <c:v>157.87245223011899</c:v>
                </c:pt>
                <c:pt idx="1575">
                  <c:v>159.15671300215399</c:v>
                </c:pt>
                <c:pt idx="1576">
                  <c:v>162.069294758051</c:v>
                </c:pt>
                <c:pt idx="1577">
                  <c:v>164.64790847730001</c:v>
                </c:pt>
                <c:pt idx="1578">
                  <c:v>166.140576149841</c:v>
                </c:pt>
                <c:pt idx="1579">
                  <c:v>166.090806433528</c:v>
                </c:pt>
                <c:pt idx="1580">
                  <c:v>167.33697920081801</c:v>
                </c:pt>
                <c:pt idx="1581">
                  <c:v>166.97847497876</c:v>
                </c:pt>
                <c:pt idx="1582">
                  <c:v>167.24660091854801</c:v>
                </c:pt>
                <c:pt idx="1583">
                  <c:v>166.659905127359</c:v>
                </c:pt>
                <c:pt idx="1584">
                  <c:v>168.052542559324</c:v>
                </c:pt>
                <c:pt idx="1585">
                  <c:v>167.80797280537001</c:v>
                </c:pt>
                <c:pt idx="1586">
                  <c:v>168.31365861732601</c:v>
                </c:pt>
                <c:pt idx="1587">
                  <c:v>168.585382313091</c:v>
                </c:pt>
                <c:pt idx="1588">
                  <c:v>168.83961944895</c:v>
                </c:pt>
                <c:pt idx="1589">
                  <c:v>169.940801744238</c:v>
                </c:pt>
                <c:pt idx="1590">
                  <c:v>168.80173325835199</c:v>
                </c:pt>
                <c:pt idx="1591">
                  <c:v>169.97962642655401</c:v>
                </c:pt>
                <c:pt idx="1592">
                  <c:v>169.24494200778199</c:v>
                </c:pt>
                <c:pt idx="1593">
                  <c:v>166.49286195348199</c:v>
                </c:pt>
                <c:pt idx="1594">
                  <c:v>166.312523722393</c:v>
                </c:pt>
                <c:pt idx="1595">
                  <c:v>167.36142848857801</c:v>
                </c:pt>
                <c:pt idx="1596">
                  <c:v>169.47058505269001</c:v>
                </c:pt>
                <c:pt idx="1597">
                  <c:v>169.82567706924101</c:v>
                </c:pt>
                <c:pt idx="1598">
                  <c:v>172.078118166877</c:v>
                </c:pt>
                <c:pt idx="1599">
                  <c:v>171.57454830075801</c:v>
                </c:pt>
                <c:pt idx="1600">
                  <c:v>173.34767196522401</c:v>
                </c:pt>
                <c:pt idx="1601">
                  <c:v>173.23219673370099</c:v>
                </c:pt>
                <c:pt idx="1602">
                  <c:v>173.23219673370099</c:v>
                </c:pt>
                <c:pt idx="1603">
                  <c:v>172.06501436009</c:v>
                </c:pt>
                <c:pt idx="1604">
                  <c:v>170.180565303935</c:v>
                </c:pt>
                <c:pt idx="1605">
                  <c:v>171.204079443816</c:v>
                </c:pt>
                <c:pt idx="1606">
                  <c:v>169.97481356539299</c:v>
                </c:pt>
                <c:pt idx="1607">
                  <c:v>170.00804646016499</c:v>
                </c:pt>
                <c:pt idx="1608">
                  <c:v>171.31568579837099</c:v>
                </c:pt>
                <c:pt idx="1609">
                  <c:v>171.420070518887</c:v>
                </c:pt>
                <c:pt idx="1610">
                  <c:v>170.35745755260999</c:v>
                </c:pt>
                <c:pt idx="1611">
                  <c:v>171.425712547073</c:v>
                </c:pt>
                <c:pt idx="1612">
                  <c:v>170.863118011637</c:v>
                </c:pt>
                <c:pt idx="1613">
                  <c:v>171.846814692339</c:v>
                </c:pt>
                <c:pt idx="1614">
                  <c:v>171.05366115135001</c:v>
                </c:pt>
                <c:pt idx="1615">
                  <c:v>170.721571078507</c:v>
                </c:pt>
                <c:pt idx="1616">
                  <c:v>173.86925623224201</c:v>
                </c:pt>
                <c:pt idx="1617">
                  <c:v>174.15572392808801</c:v>
                </c:pt>
                <c:pt idx="1618">
                  <c:v>173.66990092580701</c:v>
                </c:pt>
                <c:pt idx="1619">
                  <c:v>174.636524816058</c:v>
                </c:pt>
                <c:pt idx="1620">
                  <c:v>174.20545464578601</c:v>
                </c:pt>
                <c:pt idx="1621">
                  <c:v>172.02725009298101</c:v>
                </c:pt>
                <c:pt idx="1622">
                  <c:v>170.23789586471801</c:v>
                </c:pt>
                <c:pt idx="1623">
                  <c:v>168.87615926262299</c:v>
                </c:pt>
                <c:pt idx="1624">
                  <c:v>168.62992964269401</c:v>
                </c:pt>
                <c:pt idx="1625">
                  <c:v>169.21975826195001</c:v>
                </c:pt>
                <c:pt idx="1626">
                  <c:v>168.07558553708401</c:v>
                </c:pt>
                <c:pt idx="1627">
                  <c:v>169.899107352947</c:v>
                </c:pt>
                <c:pt idx="1628">
                  <c:v>169.97474635942001</c:v>
                </c:pt>
                <c:pt idx="1629">
                  <c:v>170.536032441961</c:v>
                </c:pt>
                <c:pt idx="1630">
                  <c:v>173.558186241893</c:v>
                </c:pt>
                <c:pt idx="1631">
                  <c:v>172.70511941809201</c:v>
                </c:pt>
                <c:pt idx="1632">
                  <c:v>170.418922503467</c:v>
                </c:pt>
                <c:pt idx="1633">
                  <c:v>170.17290063455599</c:v>
                </c:pt>
                <c:pt idx="1634">
                  <c:v>171.28000218079299</c:v>
                </c:pt>
                <c:pt idx="1635">
                  <c:v>171.53073732253301</c:v>
                </c:pt>
                <c:pt idx="1636">
                  <c:v>172.10934844291</c:v>
                </c:pt>
                <c:pt idx="1637">
                  <c:v>171.99846639256199</c:v>
                </c:pt>
                <c:pt idx="1638">
                  <c:v>173.070721837787</c:v>
                </c:pt>
                <c:pt idx="1639">
                  <c:v>171.90757747228599</c:v>
                </c:pt>
                <c:pt idx="1640">
                  <c:v>171.254667410325</c:v>
                </c:pt>
                <c:pt idx="1641">
                  <c:v>169.386941710088</c:v>
                </c:pt>
                <c:pt idx="1642">
                  <c:v>171.33925164613299</c:v>
                </c:pt>
                <c:pt idx="1643">
                  <c:v>170.65457090869</c:v>
                </c:pt>
                <c:pt idx="1644">
                  <c:v>169.84652137028101</c:v>
                </c:pt>
                <c:pt idx="1645">
                  <c:v>168.887458554554</c:v>
                </c:pt>
                <c:pt idx="1646">
                  <c:v>171.17151994568101</c:v>
                </c:pt>
                <c:pt idx="1647">
                  <c:v>170.32257367892399</c:v>
                </c:pt>
                <c:pt idx="1648">
                  <c:v>172.62015853428699</c:v>
                </c:pt>
                <c:pt idx="1649">
                  <c:v>173.20437045642799</c:v>
                </c:pt>
                <c:pt idx="1650">
                  <c:v>173.63424564719</c:v>
                </c:pt>
                <c:pt idx="1651">
                  <c:v>173.548958891799</c:v>
                </c:pt>
                <c:pt idx="1652">
                  <c:v>173.82423690412301</c:v>
                </c:pt>
                <c:pt idx="1653">
                  <c:v>173.08969130532901</c:v>
                </c:pt>
                <c:pt idx="1654">
                  <c:v>172.639423006752</c:v>
                </c:pt>
                <c:pt idx="1655">
                  <c:v>172.95341107048799</c:v>
                </c:pt>
                <c:pt idx="1656">
                  <c:v>172.73221543744299</c:v>
                </c:pt>
                <c:pt idx="1657">
                  <c:v>171.798509369155</c:v>
                </c:pt>
                <c:pt idx="1658">
                  <c:v>171.798509369155</c:v>
                </c:pt>
                <c:pt idx="1659">
                  <c:v>168.02848059663501</c:v>
                </c:pt>
                <c:pt idx="1660">
                  <c:v>167.59031523028699</c:v>
                </c:pt>
                <c:pt idx="1661">
                  <c:v>166.32424621207801</c:v>
                </c:pt>
                <c:pt idx="1662">
                  <c:v>168.458249868683</c:v>
                </c:pt>
                <c:pt idx="1663">
                  <c:v>168.966548792682</c:v>
                </c:pt>
                <c:pt idx="1664">
                  <c:v>170.21346053973099</c:v>
                </c:pt>
                <c:pt idx="1665">
                  <c:v>167.88393361663699</c:v>
                </c:pt>
                <c:pt idx="1666">
                  <c:v>167.07930986067601</c:v>
                </c:pt>
                <c:pt idx="1667">
                  <c:v>166.230801359183</c:v>
                </c:pt>
                <c:pt idx="1668">
                  <c:v>167.45302164609501</c:v>
                </c:pt>
                <c:pt idx="1669">
                  <c:v>167.150615878672</c:v>
                </c:pt>
                <c:pt idx="1670">
                  <c:v>168.09860674801601</c:v>
                </c:pt>
                <c:pt idx="1671">
                  <c:v>167.50232591218301</c:v>
                </c:pt>
                <c:pt idx="1672">
                  <c:v>168.04558332210499</c:v>
                </c:pt>
                <c:pt idx="1673">
                  <c:v>168.52186241578801</c:v>
                </c:pt>
                <c:pt idx="1674">
                  <c:v>168.19808810016801</c:v>
                </c:pt>
                <c:pt idx="1675">
                  <c:v>168.879327880022</c:v>
                </c:pt>
                <c:pt idx="1676">
                  <c:v>169.457767464635</c:v>
                </c:pt>
                <c:pt idx="1677">
                  <c:v>168.29553539985</c:v>
                </c:pt>
                <c:pt idx="1678">
                  <c:v>168.927603832854</c:v>
                </c:pt>
                <c:pt idx="1679">
                  <c:v>169.88419445929199</c:v>
                </c:pt>
                <c:pt idx="1680">
                  <c:v>168.22962143498</c:v>
                </c:pt>
                <c:pt idx="1681">
                  <c:v>167.51122319563601</c:v>
                </c:pt>
                <c:pt idx="1682">
                  <c:v>168.350012616512</c:v>
                </c:pt>
                <c:pt idx="1683">
                  <c:v>170.31911183258299</c:v>
                </c:pt>
                <c:pt idx="1684">
                  <c:v>171.89966560874501</c:v>
                </c:pt>
                <c:pt idx="1685">
                  <c:v>173.319308037833</c:v>
                </c:pt>
                <c:pt idx="1686">
                  <c:v>174.79418465041601</c:v>
                </c:pt>
                <c:pt idx="1687">
                  <c:v>174.83778271701101</c:v>
                </c:pt>
                <c:pt idx="1688">
                  <c:v>176.52963849944501</c:v>
                </c:pt>
                <c:pt idx="1689">
                  <c:v>175.67201546563999</c:v>
                </c:pt>
                <c:pt idx="1690">
                  <c:v>176.888553193993</c:v>
                </c:pt>
                <c:pt idx="1691">
                  <c:v>177.60768285660799</c:v>
                </c:pt>
                <c:pt idx="1692">
                  <c:v>178.23924844030901</c:v>
                </c:pt>
                <c:pt idx="1693">
                  <c:v>179.22803063548599</c:v>
                </c:pt>
                <c:pt idx="1694">
                  <c:v>179.08929639177401</c:v>
                </c:pt>
                <c:pt idx="1695">
                  <c:v>178.73211656893699</c:v>
                </c:pt>
                <c:pt idx="1696">
                  <c:v>179.53486956767699</c:v>
                </c:pt>
                <c:pt idx="1697">
                  <c:v>179.53486956767699</c:v>
                </c:pt>
                <c:pt idx="1698">
                  <c:v>180.15126971833499</c:v>
                </c:pt>
                <c:pt idx="1699">
                  <c:v>179.835065567714</c:v>
                </c:pt>
                <c:pt idx="1700">
                  <c:v>180.02929854096399</c:v>
                </c:pt>
                <c:pt idx="1701">
                  <c:v>180.03444026422201</c:v>
                </c:pt>
                <c:pt idx="1702">
                  <c:v>181.811003855656</c:v>
                </c:pt>
                <c:pt idx="1703">
                  <c:v>181.62578853730199</c:v>
                </c:pt>
                <c:pt idx="1704">
                  <c:v>181.35217248063299</c:v>
                </c:pt>
                <c:pt idx="1705">
                  <c:v>181.575913351683</c:v>
                </c:pt>
                <c:pt idx="1706">
                  <c:v>181.50854510903599</c:v>
                </c:pt>
                <c:pt idx="1707">
                  <c:v>180.80758962654099</c:v>
                </c:pt>
                <c:pt idx="1708">
                  <c:v>180.47386392972899</c:v>
                </c:pt>
                <c:pt idx="1709">
                  <c:v>180.90749498821</c:v>
                </c:pt>
                <c:pt idx="1710">
                  <c:v>179.837391629168</c:v>
                </c:pt>
                <c:pt idx="1711">
                  <c:v>181.559413765882</c:v>
                </c:pt>
                <c:pt idx="1712">
                  <c:v>180.82325484728699</c:v>
                </c:pt>
                <c:pt idx="1713">
                  <c:v>180.40652217330401</c:v>
                </c:pt>
                <c:pt idx="1714">
                  <c:v>180.828506271154</c:v>
                </c:pt>
                <c:pt idx="1715">
                  <c:v>180.987362777165</c:v>
                </c:pt>
                <c:pt idx="1716">
                  <c:v>181.28625197329399</c:v>
                </c:pt>
                <c:pt idx="1717">
                  <c:v>180.209991601241</c:v>
                </c:pt>
                <c:pt idx="1718">
                  <c:v>180.460195777119</c:v>
                </c:pt>
                <c:pt idx="1719">
                  <c:v>181.81117555998699</c:v>
                </c:pt>
                <c:pt idx="1720">
                  <c:v>182.001020313656</c:v>
                </c:pt>
                <c:pt idx="1721">
                  <c:v>181.772792382407</c:v>
                </c:pt>
                <c:pt idx="1722">
                  <c:v>179.49794143558799</c:v>
                </c:pt>
                <c:pt idx="1723">
                  <c:v>178.376117327336</c:v>
                </c:pt>
                <c:pt idx="1724">
                  <c:v>178.980087019747</c:v>
                </c:pt>
                <c:pt idx="1725">
                  <c:v>179.979477921214</c:v>
                </c:pt>
                <c:pt idx="1726">
                  <c:v>180.70586136823499</c:v>
                </c:pt>
                <c:pt idx="1727">
                  <c:v>179.04351788045801</c:v>
                </c:pt>
                <c:pt idx="1728">
                  <c:v>179.321078351658</c:v>
                </c:pt>
                <c:pt idx="1729">
                  <c:v>180.05675693550299</c:v>
                </c:pt>
                <c:pt idx="1730">
                  <c:v>181.761959711212</c:v>
                </c:pt>
                <c:pt idx="1731">
                  <c:v>181.864942314328</c:v>
                </c:pt>
                <c:pt idx="1732">
                  <c:v>183.10032329696199</c:v>
                </c:pt>
                <c:pt idx="1733">
                  <c:v>183.00769251957399</c:v>
                </c:pt>
                <c:pt idx="1734">
                  <c:v>183.333802223622</c:v>
                </c:pt>
                <c:pt idx="1735">
                  <c:v>183.628888525913</c:v>
                </c:pt>
                <c:pt idx="1736">
                  <c:v>183.42602141756299</c:v>
                </c:pt>
                <c:pt idx="1737">
                  <c:v>183.695226331447</c:v>
                </c:pt>
                <c:pt idx="1738">
                  <c:v>184.68665849419401</c:v>
                </c:pt>
                <c:pt idx="1739">
                  <c:v>184.77664426696199</c:v>
                </c:pt>
                <c:pt idx="1740">
                  <c:v>184.525616994925</c:v>
                </c:pt>
                <c:pt idx="1741">
                  <c:v>183.17225697749399</c:v>
                </c:pt>
                <c:pt idx="1742">
                  <c:v>183.573136077594</c:v>
                </c:pt>
                <c:pt idx="1743">
                  <c:v>183.69966742488501</c:v>
                </c:pt>
                <c:pt idx="1744">
                  <c:v>186.204467774438</c:v>
                </c:pt>
                <c:pt idx="1745">
                  <c:v>186.46968372884101</c:v>
                </c:pt>
                <c:pt idx="1746">
                  <c:v>186.646319705465</c:v>
                </c:pt>
                <c:pt idx="1747">
                  <c:v>186.15266039770501</c:v>
                </c:pt>
                <c:pt idx="1748">
                  <c:v>185.79649250840501</c:v>
                </c:pt>
                <c:pt idx="1749">
                  <c:v>185.61339711604899</c:v>
                </c:pt>
                <c:pt idx="1750">
                  <c:v>186.49689137417499</c:v>
                </c:pt>
                <c:pt idx="1751">
                  <c:v>186.76928831819299</c:v>
                </c:pt>
                <c:pt idx="1752">
                  <c:v>187.04588480788701</c:v>
                </c:pt>
                <c:pt idx="1753">
                  <c:v>186.646084722567</c:v>
                </c:pt>
                <c:pt idx="1754">
                  <c:v>187.10919974193601</c:v>
                </c:pt>
                <c:pt idx="1755">
                  <c:v>188.49168528295999</c:v>
                </c:pt>
                <c:pt idx="1756">
                  <c:v>189.35667288005899</c:v>
                </c:pt>
                <c:pt idx="1757">
                  <c:v>188.96707409251201</c:v>
                </c:pt>
                <c:pt idx="1758">
                  <c:v>187.757302237</c:v>
                </c:pt>
                <c:pt idx="1759">
                  <c:v>187.34077860215299</c:v>
                </c:pt>
                <c:pt idx="1760">
                  <c:v>188.81515001825301</c:v>
                </c:pt>
                <c:pt idx="1761">
                  <c:v>189.21090269667701</c:v>
                </c:pt>
                <c:pt idx="1762">
                  <c:v>188.98020339357299</c:v>
                </c:pt>
                <c:pt idx="1763">
                  <c:v>190.25233574577501</c:v>
                </c:pt>
                <c:pt idx="1764">
                  <c:v>190.710103510034</c:v>
                </c:pt>
                <c:pt idx="1765">
                  <c:v>191.85573862951199</c:v>
                </c:pt>
                <c:pt idx="1766">
                  <c:v>192.90299698600401</c:v>
                </c:pt>
                <c:pt idx="1767">
                  <c:v>192.228034106065</c:v>
                </c:pt>
                <c:pt idx="1768">
                  <c:v>192.489449650338</c:v>
                </c:pt>
                <c:pt idx="1769">
                  <c:v>192.403601761348</c:v>
                </c:pt>
                <c:pt idx="1770">
                  <c:v>193.04136492544399</c:v>
                </c:pt>
                <c:pt idx="1771">
                  <c:v>193.256238258417</c:v>
                </c:pt>
                <c:pt idx="1772">
                  <c:v>193.10908181199201</c:v>
                </c:pt>
                <c:pt idx="1773">
                  <c:v>192.628887526505</c:v>
                </c:pt>
                <c:pt idx="1774">
                  <c:v>193.17265415777101</c:v>
                </c:pt>
                <c:pt idx="1775">
                  <c:v>192.64712328477299</c:v>
                </c:pt>
                <c:pt idx="1776">
                  <c:v>192.64712328477299</c:v>
                </c:pt>
                <c:pt idx="1777">
                  <c:v>192.64712328477299</c:v>
                </c:pt>
                <c:pt idx="1778">
                  <c:v>190.500574584737</c:v>
                </c:pt>
                <c:pt idx="1779">
                  <c:v>190.97921304432899</c:v>
                </c:pt>
                <c:pt idx="1780">
                  <c:v>191.492675957177</c:v>
                </c:pt>
                <c:pt idx="1781">
                  <c:v>190.93747156837</c:v>
                </c:pt>
                <c:pt idx="1782">
                  <c:v>196.221354975824</c:v>
                </c:pt>
                <c:pt idx="1783">
                  <c:v>196.60305104780801</c:v>
                </c:pt>
                <c:pt idx="1784">
                  <c:v>196.95422466895701</c:v>
                </c:pt>
                <c:pt idx="1785">
                  <c:v>196.68099373507701</c:v>
                </c:pt>
                <c:pt idx="1786">
                  <c:v>196.42470734069701</c:v>
                </c:pt>
                <c:pt idx="1787">
                  <c:v>196.42470734069701</c:v>
                </c:pt>
                <c:pt idx="1788">
                  <c:v>198.45372422859799</c:v>
                </c:pt>
                <c:pt idx="1789">
                  <c:v>198.42240393555801</c:v>
                </c:pt>
                <c:pt idx="1790">
                  <c:v>201.09645469737401</c:v>
                </c:pt>
                <c:pt idx="1791">
                  <c:v>202.59845039877101</c:v>
                </c:pt>
                <c:pt idx="1792">
                  <c:v>202.40510015270502</c:v>
                </c:pt>
                <c:pt idx="1793">
                  <c:v>203.161189507458</c:v>
                </c:pt>
                <c:pt idx="1794">
                  <c:v>203.183455153463</c:v>
                </c:pt>
                <c:pt idx="1795">
                  <c:v>201.880134491002</c:v>
                </c:pt>
                <c:pt idx="1796">
                  <c:v>203.43470979365401</c:v>
                </c:pt>
                <c:pt idx="1797">
                  <c:v>204.01304342026202</c:v>
                </c:pt>
                <c:pt idx="1798">
                  <c:v>204.65450572407403</c:v>
                </c:pt>
                <c:pt idx="1799">
                  <c:v>202.03172028550799</c:v>
                </c:pt>
                <c:pt idx="1800">
                  <c:v>200.76416877953699</c:v>
                </c:pt>
                <c:pt idx="1801">
                  <c:v>202.72723069271396</c:v>
                </c:pt>
                <c:pt idx="1802">
                  <c:v>202.88839343500501</c:v>
                </c:pt>
                <c:pt idx="1803">
                  <c:v>203.71117480054704</c:v>
                </c:pt>
                <c:pt idx="1804">
                  <c:v>203.86096608312104</c:v>
                </c:pt>
                <c:pt idx="1805">
                  <c:v>203.86096608312104</c:v>
                </c:pt>
                <c:pt idx="1806">
                  <c:v>204.042499756767</c:v>
                </c:pt>
                <c:pt idx="1807">
                  <c:v>203.81612573346302</c:v>
                </c:pt>
                <c:pt idx="1808">
                  <c:v>203.75028494323902</c:v>
                </c:pt>
                <c:pt idx="1809">
                  <c:v>203.85098084168399</c:v>
                </c:pt>
                <c:pt idx="1810">
                  <c:v>205.182299879776</c:v>
                </c:pt>
                <c:pt idx="1811">
                  <c:v>206.01359819325799</c:v>
                </c:pt>
                <c:pt idx="1812">
                  <c:v>206.01359819325799</c:v>
                </c:pt>
                <c:pt idx="1813">
                  <c:v>204.732252039103</c:v>
                </c:pt>
                <c:pt idx="1814">
                  <c:v>204.68247767700603</c:v>
                </c:pt>
                <c:pt idx="1815">
                  <c:v>204.59077571277001</c:v>
                </c:pt>
                <c:pt idx="1816">
                  <c:v>205.505924502715</c:v>
                </c:pt>
                <c:pt idx="1817">
                  <c:v>203.39465644077296</c:v>
                </c:pt>
                <c:pt idx="1818">
                  <c:v>204.51845765657501</c:v>
                </c:pt>
                <c:pt idx="1819">
                  <c:v>204.68501177238903</c:v>
                </c:pt>
                <c:pt idx="1820">
                  <c:v>203.14990860818304</c:v>
                </c:pt>
                <c:pt idx="1821">
                  <c:v>204.55367036215998</c:v>
                </c:pt>
                <c:pt idx="1822">
                  <c:v>206.11244894290701</c:v>
                </c:pt>
                <c:pt idx="1823">
                  <c:v>205.04073424655996</c:v>
                </c:pt>
                <c:pt idx="1824">
                  <c:v>204.705655021882</c:v>
                </c:pt>
                <c:pt idx="1825">
                  <c:v>204.414027654829</c:v>
                </c:pt>
                <c:pt idx="1826">
                  <c:v>204.414027654829</c:v>
                </c:pt>
                <c:pt idx="1827">
                  <c:v>204.15646784725899</c:v>
                </c:pt>
                <c:pt idx="1828">
                  <c:v>201.89217663648401</c:v>
                </c:pt>
                <c:pt idx="1829">
                  <c:v>201.406419657008</c:v>
                </c:pt>
                <c:pt idx="1830">
                  <c:v>198.00261472813401</c:v>
                </c:pt>
                <c:pt idx="1831">
                  <c:v>197.490801165237</c:v>
                </c:pt>
                <c:pt idx="1832">
                  <c:v>199.202118898523</c:v>
                </c:pt>
                <c:pt idx="1833">
                  <c:v>198.59113483405301</c:v>
                </c:pt>
                <c:pt idx="1834">
                  <c:v>198.817083322369</c:v>
                </c:pt>
                <c:pt idx="1835">
                  <c:v>197.40750644290401</c:v>
                </c:pt>
                <c:pt idx="1836">
                  <c:v>197.43529565280099</c:v>
                </c:pt>
                <c:pt idx="1837">
                  <c:v>198.33235132623901</c:v>
                </c:pt>
                <c:pt idx="1838">
                  <c:v>197.53417089225599</c:v>
                </c:pt>
                <c:pt idx="1839">
                  <c:v>200.587615016211</c:v>
                </c:pt>
                <c:pt idx="1840">
                  <c:v>201.34734948177501</c:v>
                </c:pt>
                <c:pt idx="1841">
                  <c:v>201.821719929979</c:v>
                </c:pt>
                <c:pt idx="1842">
                  <c:v>202.02194421739401</c:v>
                </c:pt>
                <c:pt idx="1843">
                  <c:v>200.33537781601001</c:v>
                </c:pt>
                <c:pt idx="1844">
                  <c:v>201.401857722963</c:v>
                </c:pt>
                <c:pt idx="1845">
                  <c:v>201.02751856164497</c:v>
                </c:pt>
                <c:pt idx="1846">
                  <c:v>198.76196412324401</c:v>
                </c:pt>
                <c:pt idx="1847">
                  <c:v>198.05995036508199</c:v>
                </c:pt>
                <c:pt idx="1848">
                  <c:v>198.563152919158</c:v>
                </c:pt>
                <c:pt idx="1849">
                  <c:v>200.19263252791498</c:v>
                </c:pt>
                <c:pt idx="1850">
                  <c:v>200.269922205564</c:v>
                </c:pt>
                <c:pt idx="1851">
                  <c:v>198.22689840904201</c:v>
                </c:pt>
                <c:pt idx="1852">
                  <c:v>197.795650906243</c:v>
                </c:pt>
                <c:pt idx="1853">
                  <c:v>199.116635619948</c:v>
                </c:pt>
                <c:pt idx="1854">
                  <c:v>198.415554531803</c:v>
                </c:pt>
                <c:pt idx="1855">
                  <c:v>198.655582663384</c:v>
                </c:pt>
                <c:pt idx="1856">
                  <c:v>200.549702660213</c:v>
                </c:pt>
                <c:pt idx="1857">
                  <c:v>200.36771675820398</c:v>
                </c:pt>
                <c:pt idx="1858">
                  <c:v>200.78055834670701</c:v>
                </c:pt>
                <c:pt idx="1859">
                  <c:v>199.10576531762399</c:v>
                </c:pt>
                <c:pt idx="1860">
                  <c:v>197.61573382204401</c:v>
                </c:pt>
                <c:pt idx="1861">
                  <c:v>195.871988162055</c:v>
                </c:pt>
                <c:pt idx="1862">
                  <c:v>198.27607335214901</c:v>
                </c:pt>
                <c:pt idx="1863">
                  <c:v>198.27607335214901</c:v>
                </c:pt>
                <c:pt idx="1864">
                  <c:v>199.84327978190399</c:v>
                </c:pt>
                <c:pt idx="1865">
                  <c:v>199.345530322847</c:v>
                </c:pt>
                <c:pt idx="1866">
                  <c:v>197.80846464254901</c:v>
                </c:pt>
                <c:pt idx="1867">
                  <c:v>197.04202386434901</c:v>
                </c:pt>
                <c:pt idx="1868">
                  <c:v>198.579784248473</c:v>
                </c:pt>
                <c:pt idx="1869">
                  <c:v>197.92855652120701</c:v>
                </c:pt>
                <c:pt idx="1870">
                  <c:v>197.85958069726101</c:v>
                </c:pt>
                <c:pt idx="1871">
                  <c:v>197.39562141415701</c:v>
                </c:pt>
                <c:pt idx="1872">
                  <c:v>196.56005782782799</c:v>
                </c:pt>
                <c:pt idx="1873">
                  <c:v>194.64554712293801</c:v>
                </c:pt>
                <c:pt idx="1874">
                  <c:v>195.90812123473799</c:v>
                </c:pt>
                <c:pt idx="1875">
                  <c:v>197.17186761399299</c:v>
                </c:pt>
                <c:pt idx="1876">
                  <c:v>197.969935734882</c:v>
                </c:pt>
                <c:pt idx="1877">
                  <c:v>197.024698489564</c:v>
                </c:pt>
                <c:pt idx="1878">
                  <c:v>197.22652732288401</c:v>
                </c:pt>
                <c:pt idx="1879">
                  <c:v>197.5717875249</c:v>
                </c:pt>
                <c:pt idx="1880">
                  <c:v>198.36612946940099</c:v>
                </c:pt>
                <c:pt idx="1881">
                  <c:v>198.37561177330201</c:v>
                </c:pt>
                <c:pt idx="1882">
                  <c:v>200.606926120905</c:v>
                </c:pt>
                <c:pt idx="1883">
                  <c:v>200.90173238654501</c:v>
                </c:pt>
                <c:pt idx="1884">
                  <c:v>200.80383725847</c:v>
                </c:pt>
                <c:pt idx="1885">
                  <c:v>200.609288820801</c:v>
                </c:pt>
                <c:pt idx="1886">
                  <c:v>200.00942064534598</c:v>
                </c:pt>
                <c:pt idx="1887">
                  <c:v>200.88134948990199</c:v>
                </c:pt>
                <c:pt idx="1888">
                  <c:v>201.27349571092199</c:v>
                </c:pt>
                <c:pt idx="1889">
                  <c:v>201.04540922761197</c:v>
                </c:pt>
                <c:pt idx="1890">
                  <c:v>200.65584212340403</c:v>
                </c:pt>
                <c:pt idx="1891">
                  <c:v>200.78260007819901</c:v>
                </c:pt>
                <c:pt idx="1892">
                  <c:v>201.07744259855102</c:v>
                </c:pt>
                <c:pt idx="1893">
                  <c:v>201.28079459557097</c:v>
                </c:pt>
                <c:pt idx="1894">
                  <c:v>201.72388531184501</c:v>
                </c:pt>
                <c:pt idx="1895">
                  <c:v>202.14766936705999</c:v>
                </c:pt>
                <c:pt idx="1896">
                  <c:v>202.987549200948</c:v>
                </c:pt>
                <c:pt idx="1897">
                  <c:v>203.66553043597298</c:v>
                </c:pt>
                <c:pt idx="1898">
                  <c:v>203.97235691722301</c:v>
                </c:pt>
                <c:pt idx="1899">
                  <c:v>203.11689184598899</c:v>
                </c:pt>
                <c:pt idx="1900">
                  <c:v>204.03167788781599</c:v>
                </c:pt>
                <c:pt idx="1901">
                  <c:v>203.233972306005</c:v>
                </c:pt>
                <c:pt idx="1902">
                  <c:v>203.841280503159</c:v>
                </c:pt>
                <c:pt idx="1903">
                  <c:v>203.684879803445</c:v>
                </c:pt>
                <c:pt idx="1904">
                  <c:v>204.51843599388599</c:v>
                </c:pt>
                <c:pt idx="1905">
                  <c:v>204.61266880194299</c:v>
                </c:pt>
                <c:pt idx="1906">
                  <c:v>204.95319939043796</c:v>
                </c:pt>
                <c:pt idx="1907">
                  <c:v>204.78598257715598</c:v>
                </c:pt>
                <c:pt idx="1908">
                  <c:v>204.70170419780499</c:v>
                </c:pt>
                <c:pt idx="1909">
                  <c:v>205.10274627245497</c:v>
                </c:pt>
                <c:pt idx="1910">
                  <c:v>204.29396032510101</c:v>
                </c:pt>
                <c:pt idx="1911">
                  <c:v>204.74288928498598</c:v>
                </c:pt>
                <c:pt idx="1912">
                  <c:v>205.06560727407802</c:v>
                </c:pt>
                <c:pt idx="1913">
                  <c:v>204.74279877938096</c:v>
                </c:pt>
                <c:pt idx="1914">
                  <c:v>203.25531151450201</c:v>
                </c:pt>
                <c:pt idx="1915">
                  <c:v>205.64499405605599</c:v>
                </c:pt>
                <c:pt idx="1916">
                  <c:v>206.58502579142501</c:v>
                </c:pt>
                <c:pt idx="1917">
                  <c:v>207.26256878777002</c:v>
                </c:pt>
                <c:pt idx="1918">
                  <c:v>207.78123514679604</c:v>
                </c:pt>
                <c:pt idx="1919">
                  <c:v>207.78123514679604</c:v>
                </c:pt>
                <c:pt idx="1920">
                  <c:v>208.79427930836297</c:v>
                </c:pt>
                <c:pt idx="1921">
                  <c:v>208.99181764091298</c:v>
                </c:pt>
                <c:pt idx="1922">
                  <c:v>208.971859344406</c:v>
                </c:pt>
                <c:pt idx="1923">
                  <c:v>207.97914651824101</c:v>
                </c:pt>
                <c:pt idx="1924">
                  <c:v>208.314045395465</c:v>
                </c:pt>
                <c:pt idx="1925">
                  <c:v>206.29987891051101</c:v>
                </c:pt>
                <c:pt idx="1926">
                  <c:v>205.21198977293201</c:v>
                </c:pt>
                <c:pt idx="1927">
                  <c:v>203.923184987734</c:v>
                </c:pt>
                <c:pt idx="1928">
                  <c:v>203.14726423079304</c:v>
                </c:pt>
                <c:pt idx="1929">
                  <c:v>201.96032099263502</c:v>
                </c:pt>
                <c:pt idx="1930">
                  <c:v>203.36768427843799</c:v>
                </c:pt>
                <c:pt idx="1931">
                  <c:v>202.18433452896801</c:v>
                </c:pt>
                <c:pt idx="1932">
                  <c:v>203.01883807734501</c:v>
                </c:pt>
                <c:pt idx="1933">
                  <c:v>203.67982467655298</c:v>
                </c:pt>
                <c:pt idx="1934">
                  <c:v>203.13313592486696</c:v>
                </c:pt>
                <c:pt idx="1935">
                  <c:v>203.67513536303599</c:v>
                </c:pt>
                <c:pt idx="1936">
                  <c:v>203.50389560182603</c:v>
                </c:pt>
                <c:pt idx="1937">
                  <c:v>202.65312013892597</c:v>
                </c:pt>
                <c:pt idx="1938">
                  <c:v>203.91001328921197</c:v>
                </c:pt>
                <c:pt idx="1939">
                  <c:v>204.18617649453</c:v>
                </c:pt>
                <c:pt idx="1940">
                  <c:v>204.24163644933603</c:v>
                </c:pt>
                <c:pt idx="1941">
                  <c:v>202.71151650104403</c:v>
                </c:pt>
                <c:pt idx="1942">
                  <c:v>204.73772427649899</c:v>
                </c:pt>
                <c:pt idx="1943">
                  <c:v>205.12308202146298</c:v>
                </c:pt>
                <c:pt idx="1944">
                  <c:v>205.16922433143799</c:v>
                </c:pt>
                <c:pt idx="1945">
                  <c:v>205.76595448728199</c:v>
                </c:pt>
                <c:pt idx="1946">
                  <c:v>206.42213291657598</c:v>
                </c:pt>
                <c:pt idx="1947">
                  <c:v>206.02805988934901</c:v>
                </c:pt>
                <c:pt idx="1948">
                  <c:v>207.04078399398799</c:v>
                </c:pt>
                <c:pt idx="1949">
                  <c:v>205.5513158389</c:v>
                </c:pt>
                <c:pt idx="1950">
                  <c:v>204.40168763038201</c:v>
                </c:pt>
                <c:pt idx="1951">
                  <c:v>204.10654022591598</c:v>
                </c:pt>
                <c:pt idx="1952">
                  <c:v>206.42304914247796</c:v>
                </c:pt>
                <c:pt idx="1953">
                  <c:v>205.77987659097298</c:v>
                </c:pt>
                <c:pt idx="1954">
                  <c:v>204.428704820159</c:v>
                </c:pt>
                <c:pt idx="1955">
                  <c:v>205.12722689081201</c:v>
                </c:pt>
                <c:pt idx="1956">
                  <c:v>205.04983186707801</c:v>
                </c:pt>
                <c:pt idx="1957">
                  <c:v>205.04983186707801</c:v>
                </c:pt>
                <c:pt idx="1958">
                  <c:v>205.04983186707801</c:v>
                </c:pt>
                <c:pt idx="1959">
                  <c:v>205.245169728977</c:v>
                </c:pt>
                <c:pt idx="1960">
                  <c:v>204.56729892851803</c:v>
                </c:pt>
                <c:pt idx="1961">
                  <c:v>203.76652514066097</c:v>
                </c:pt>
                <c:pt idx="1962">
                  <c:v>203.76652514066097</c:v>
                </c:pt>
                <c:pt idx="1963">
                  <c:v>203.73307178378698</c:v>
                </c:pt>
                <c:pt idx="1964">
                  <c:v>205.075071104703</c:v>
                </c:pt>
                <c:pt idx="1965">
                  <c:v>207.473678260535</c:v>
                </c:pt>
                <c:pt idx="1966">
                  <c:v>209.570640420936</c:v>
                </c:pt>
                <c:pt idx="1967">
                  <c:v>210.022352125532</c:v>
                </c:pt>
                <c:pt idx="1968">
                  <c:v>210.76519607858501</c:v>
                </c:pt>
                <c:pt idx="1969">
                  <c:v>209.18920911198603</c:v>
                </c:pt>
                <c:pt idx="1970">
                  <c:v>208.46949868788599</c:v>
                </c:pt>
                <c:pt idx="1971">
                  <c:v>209.10569217191099</c:v>
                </c:pt>
                <c:pt idx="1972">
                  <c:v>209.00551470279299</c:v>
                </c:pt>
                <c:pt idx="1973">
                  <c:v>209.72154133197299</c:v>
                </c:pt>
                <c:pt idx="1974">
                  <c:v>209.43943717768204</c:v>
                </c:pt>
                <c:pt idx="1975">
                  <c:v>209.71727016653099</c:v>
                </c:pt>
                <c:pt idx="1976">
                  <c:v>210.85394965079001</c:v>
                </c:pt>
                <c:pt idx="1977">
                  <c:v>211.75126064756199</c:v>
                </c:pt>
                <c:pt idx="1978">
                  <c:v>212.156860333205</c:v>
                </c:pt>
                <c:pt idx="1979">
                  <c:v>210.03429262026901</c:v>
                </c:pt>
                <c:pt idx="1980">
                  <c:v>208.89406788638604</c:v>
                </c:pt>
                <c:pt idx="1981">
                  <c:v>209.92239522807398</c:v>
                </c:pt>
                <c:pt idx="1982">
                  <c:v>209.046806914977</c:v>
                </c:pt>
                <c:pt idx="1983">
                  <c:v>207.26917364505701</c:v>
                </c:pt>
                <c:pt idx="1984">
                  <c:v>207.55524995240998</c:v>
                </c:pt>
              </c:numCache>
            </c:numRef>
          </c:val>
          <c:smooth val="0"/>
          <c:extLst xmlns:c16r2="http://schemas.microsoft.com/office/drawing/2015/06/chart">
            <c:ext xmlns:c16="http://schemas.microsoft.com/office/drawing/2014/chart" uri="{C3380CC4-5D6E-409C-BE32-E72D297353CC}">
              <c16:uniqueId val="{00000001-7127-4EE7-81B7-88A877082DDF}"/>
            </c:ext>
          </c:extLst>
        </c:ser>
        <c:ser>
          <c:idx val="1"/>
          <c:order val="1"/>
          <c:tx>
            <c:strRef>
              <c:f>'AFE Euro RP Brut'!$E$4</c:f>
              <c:strCache>
                <c:ptCount val="1"/>
                <c:pt idx="0">
                  <c:v>100% MSCI EMU (EUR DS) NR Close</c:v>
                </c:pt>
              </c:strCache>
            </c:strRef>
          </c:tx>
          <c:spPr>
            <a:ln w="28575">
              <a:solidFill>
                <a:srgbClr val="009EE0"/>
              </a:solidFill>
              <a:prstDash val="solid"/>
            </a:ln>
          </c:spPr>
          <c:marker>
            <c:symbol val="none"/>
          </c:marker>
          <c:cat>
            <c:numRef>
              <c:f>'AFE Euro RP Brut'!$C$5:$C$1989</c:f>
              <c:numCache>
                <c:formatCode>m/d/yyyy</c:formatCode>
                <c:ptCount val="1985"/>
                <c:pt idx="0">
                  <c:v>40353</c:v>
                </c:pt>
                <c:pt idx="1">
                  <c:v>40354</c:v>
                </c:pt>
                <c:pt idx="2">
                  <c:v>40357</c:v>
                </c:pt>
                <c:pt idx="3">
                  <c:v>40358</c:v>
                </c:pt>
                <c:pt idx="4">
                  <c:v>40359</c:v>
                </c:pt>
                <c:pt idx="5">
                  <c:v>40360</c:v>
                </c:pt>
                <c:pt idx="6">
                  <c:v>40361</c:v>
                </c:pt>
                <c:pt idx="7">
                  <c:v>40364</c:v>
                </c:pt>
                <c:pt idx="8">
                  <c:v>40365</c:v>
                </c:pt>
                <c:pt idx="9">
                  <c:v>40366</c:v>
                </c:pt>
                <c:pt idx="10">
                  <c:v>40367</c:v>
                </c:pt>
                <c:pt idx="11">
                  <c:v>40368</c:v>
                </c:pt>
                <c:pt idx="12">
                  <c:v>40371</c:v>
                </c:pt>
                <c:pt idx="13">
                  <c:v>40372</c:v>
                </c:pt>
                <c:pt idx="14">
                  <c:v>40373</c:v>
                </c:pt>
                <c:pt idx="15">
                  <c:v>40374</c:v>
                </c:pt>
                <c:pt idx="16">
                  <c:v>40375</c:v>
                </c:pt>
                <c:pt idx="17">
                  <c:v>40378</c:v>
                </c:pt>
                <c:pt idx="18">
                  <c:v>40379</c:v>
                </c:pt>
                <c:pt idx="19">
                  <c:v>40380</c:v>
                </c:pt>
                <c:pt idx="20">
                  <c:v>40381</c:v>
                </c:pt>
                <c:pt idx="21">
                  <c:v>40382</c:v>
                </c:pt>
                <c:pt idx="22">
                  <c:v>40385</c:v>
                </c:pt>
                <c:pt idx="23">
                  <c:v>40386</c:v>
                </c:pt>
                <c:pt idx="24">
                  <c:v>40387</c:v>
                </c:pt>
                <c:pt idx="25">
                  <c:v>40388</c:v>
                </c:pt>
                <c:pt idx="26">
                  <c:v>40389</c:v>
                </c:pt>
                <c:pt idx="27">
                  <c:v>40392</c:v>
                </c:pt>
                <c:pt idx="28">
                  <c:v>40393</c:v>
                </c:pt>
                <c:pt idx="29">
                  <c:v>40394</c:v>
                </c:pt>
                <c:pt idx="30">
                  <c:v>40395</c:v>
                </c:pt>
                <c:pt idx="31">
                  <c:v>40396</c:v>
                </c:pt>
                <c:pt idx="32">
                  <c:v>40399</c:v>
                </c:pt>
                <c:pt idx="33">
                  <c:v>40400</c:v>
                </c:pt>
                <c:pt idx="34">
                  <c:v>40401</c:v>
                </c:pt>
                <c:pt idx="35">
                  <c:v>40402</c:v>
                </c:pt>
                <c:pt idx="36">
                  <c:v>40403</c:v>
                </c:pt>
                <c:pt idx="37">
                  <c:v>40406</c:v>
                </c:pt>
                <c:pt idx="38">
                  <c:v>40407</c:v>
                </c:pt>
                <c:pt idx="39">
                  <c:v>40408</c:v>
                </c:pt>
                <c:pt idx="40">
                  <c:v>40409</c:v>
                </c:pt>
                <c:pt idx="41">
                  <c:v>40410</c:v>
                </c:pt>
                <c:pt idx="42">
                  <c:v>40413</c:v>
                </c:pt>
                <c:pt idx="43">
                  <c:v>40414</c:v>
                </c:pt>
                <c:pt idx="44">
                  <c:v>40415</c:v>
                </c:pt>
                <c:pt idx="45">
                  <c:v>40416</c:v>
                </c:pt>
                <c:pt idx="46">
                  <c:v>40417</c:v>
                </c:pt>
                <c:pt idx="47">
                  <c:v>40420</c:v>
                </c:pt>
                <c:pt idx="48">
                  <c:v>40421</c:v>
                </c:pt>
                <c:pt idx="49">
                  <c:v>40422</c:v>
                </c:pt>
                <c:pt idx="50">
                  <c:v>40423</c:v>
                </c:pt>
                <c:pt idx="51">
                  <c:v>40424</c:v>
                </c:pt>
                <c:pt idx="52">
                  <c:v>40427</c:v>
                </c:pt>
                <c:pt idx="53">
                  <c:v>40428</c:v>
                </c:pt>
                <c:pt idx="54">
                  <c:v>40429</c:v>
                </c:pt>
                <c:pt idx="55">
                  <c:v>40430</c:v>
                </c:pt>
                <c:pt idx="56">
                  <c:v>40431</c:v>
                </c:pt>
                <c:pt idx="57">
                  <c:v>40434</c:v>
                </c:pt>
                <c:pt idx="58">
                  <c:v>40435</c:v>
                </c:pt>
                <c:pt idx="59">
                  <c:v>40436</c:v>
                </c:pt>
                <c:pt idx="60">
                  <c:v>40437</c:v>
                </c:pt>
                <c:pt idx="61">
                  <c:v>40438</c:v>
                </c:pt>
                <c:pt idx="62">
                  <c:v>40441</c:v>
                </c:pt>
                <c:pt idx="63">
                  <c:v>40442</c:v>
                </c:pt>
                <c:pt idx="64">
                  <c:v>40443</c:v>
                </c:pt>
                <c:pt idx="65">
                  <c:v>40444</c:v>
                </c:pt>
                <c:pt idx="66">
                  <c:v>40445</c:v>
                </c:pt>
                <c:pt idx="67">
                  <c:v>40448</c:v>
                </c:pt>
                <c:pt idx="68">
                  <c:v>40449</c:v>
                </c:pt>
                <c:pt idx="69">
                  <c:v>40450</c:v>
                </c:pt>
                <c:pt idx="70">
                  <c:v>40451</c:v>
                </c:pt>
                <c:pt idx="71">
                  <c:v>40452</c:v>
                </c:pt>
                <c:pt idx="72">
                  <c:v>40455</c:v>
                </c:pt>
                <c:pt idx="73">
                  <c:v>40456</c:v>
                </c:pt>
                <c:pt idx="74">
                  <c:v>40457</c:v>
                </c:pt>
                <c:pt idx="75">
                  <c:v>40458</c:v>
                </c:pt>
                <c:pt idx="76">
                  <c:v>40459</c:v>
                </c:pt>
                <c:pt idx="77">
                  <c:v>40462</c:v>
                </c:pt>
                <c:pt idx="78">
                  <c:v>40463</c:v>
                </c:pt>
                <c:pt idx="79">
                  <c:v>40464</c:v>
                </c:pt>
                <c:pt idx="80">
                  <c:v>40465</c:v>
                </c:pt>
                <c:pt idx="81">
                  <c:v>40466</c:v>
                </c:pt>
                <c:pt idx="82">
                  <c:v>40469</c:v>
                </c:pt>
                <c:pt idx="83">
                  <c:v>40470</c:v>
                </c:pt>
                <c:pt idx="84">
                  <c:v>40471</c:v>
                </c:pt>
                <c:pt idx="85">
                  <c:v>40472</c:v>
                </c:pt>
                <c:pt idx="86">
                  <c:v>40473</c:v>
                </c:pt>
                <c:pt idx="87">
                  <c:v>40476</c:v>
                </c:pt>
                <c:pt idx="88">
                  <c:v>40477</c:v>
                </c:pt>
                <c:pt idx="89">
                  <c:v>40478</c:v>
                </c:pt>
                <c:pt idx="90">
                  <c:v>40479</c:v>
                </c:pt>
                <c:pt idx="91">
                  <c:v>40480</c:v>
                </c:pt>
                <c:pt idx="92">
                  <c:v>40483</c:v>
                </c:pt>
                <c:pt idx="93">
                  <c:v>40484</c:v>
                </c:pt>
                <c:pt idx="94">
                  <c:v>40485</c:v>
                </c:pt>
                <c:pt idx="95">
                  <c:v>40486</c:v>
                </c:pt>
                <c:pt idx="96">
                  <c:v>40487</c:v>
                </c:pt>
                <c:pt idx="97">
                  <c:v>40490</c:v>
                </c:pt>
                <c:pt idx="98">
                  <c:v>40491</c:v>
                </c:pt>
                <c:pt idx="99">
                  <c:v>40492</c:v>
                </c:pt>
                <c:pt idx="100">
                  <c:v>40493</c:v>
                </c:pt>
                <c:pt idx="101">
                  <c:v>40494</c:v>
                </c:pt>
                <c:pt idx="102">
                  <c:v>40497</c:v>
                </c:pt>
                <c:pt idx="103">
                  <c:v>40498</c:v>
                </c:pt>
                <c:pt idx="104">
                  <c:v>40499</c:v>
                </c:pt>
                <c:pt idx="105">
                  <c:v>40500</c:v>
                </c:pt>
                <c:pt idx="106">
                  <c:v>40501</c:v>
                </c:pt>
                <c:pt idx="107">
                  <c:v>40504</c:v>
                </c:pt>
                <c:pt idx="108">
                  <c:v>40505</c:v>
                </c:pt>
                <c:pt idx="109">
                  <c:v>40506</c:v>
                </c:pt>
                <c:pt idx="110">
                  <c:v>40507</c:v>
                </c:pt>
                <c:pt idx="111">
                  <c:v>40508</c:v>
                </c:pt>
                <c:pt idx="112">
                  <c:v>40511</c:v>
                </c:pt>
                <c:pt idx="113">
                  <c:v>40512</c:v>
                </c:pt>
                <c:pt idx="114">
                  <c:v>40513</c:v>
                </c:pt>
                <c:pt idx="115">
                  <c:v>40514</c:v>
                </c:pt>
                <c:pt idx="116">
                  <c:v>40515</c:v>
                </c:pt>
                <c:pt idx="117">
                  <c:v>40518</c:v>
                </c:pt>
                <c:pt idx="118">
                  <c:v>40519</c:v>
                </c:pt>
                <c:pt idx="119">
                  <c:v>40520</c:v>
                </c:pt>
                <c:pt idx="120">
                  <c:v>40521</c:v>
                </c:pt>
                <c:pt idx="121">
                  <c:v>40522</c:v>
                </c:pt>
                <c:pt idx="122">
                  <c:v>40525</c:v>
                </c:pt>
                <c:pt idx="123">
                  <c:v>40526</c:v>
                </c:pt>
                <c:pt idx="124">
                  <c:v>40527</c:v>
                </c:pt>
                <c:pt idx="125">
                  <c:v>40528</c:v>
                </c:pt>
                <c:pt idx="126">
                  <c:v>40529</c:v>
                </c:pt>
                <c:pt idx="127">
                  <c:v>40532</c:v>
                </c:pt>
                <c:pt idx="128">
                  <c:v>40533</c:v>
                </c:pt>
                <c:pt idx="129">
                  <c:v>40534</c:v>
                </c:pt>
                <c:pt idx="130">
                  <c:v>40535</c:v>
                </c:pt>
                <c:pt idx="131">
                  <c:v>40536</c:v>
                </c:pt>
                <c:pt idx="132">
                  <c:v>40539</c:v>
                </c:pt>
                <c:pt idx="133">
                  <c:v>40540</c:v>
                </c:pt>
                <c:pt idx="134">
                  <c:v>40541</c:v>
                </c:pt>
                <c:pt idx="135">
                  <c:v>40542</c:v>
                </c:pt>
                <c:pt idx="136">
                  <c:v>40543</c:v>
                </c:pt>
                <c:pt idx="137">
                  <c:v>40546</c:v>
                </c:pt>
                <c:pt idx="138">
                  <c:v>40547</c:v>
                </c:pt>
                <c:pt idx="139">
                  <c:v>40548</c:v>
                </c:pt>
                <c:pt idx="140">
                  <c:v>40549</c:v>
                </c:pt>
                <c:pt idx="141">
                  <c:v>40550</c:v>
                </c:pt>
                <c:pt idx="142">
                  <c:v>40553</c:v>
                </c:pt>
                <c:pt idx="143">
                  <c:v>40554</c:v>
                </c:pt>
                <c:pt idx="144">
                  <c:v>40555</c:v>
                </c:pt>
                <c:pt idx="145">
                  <c:v>40556</c:v>
                </c:pt>
                <c:pt idx="146">
                  <c:v>40557</c:v>
                </c:pt>
                <c:pt idx="147">
                  <c:v>40560</c:v>
                </c:pt>
                <c:pt idx="148">
                  <c:v>40561</c:v>
                </c:pt>
                <c:pt idx="149">
                  <c:v>40562</c:v>
                </c:pt>
                <c:pt idx="150">
                  <c:v>40563</c:v>
                </c:pt>
                <c:pt idx="151">
                  <c:v>40564</c:v>
                </c:pt>
                <c:pt idx="152">
                  <c:v>40567</c:v>
                </c:pt>
                <c:pt idx="153">
                  <c:v>40568</c:v>
                </c:pt>
                <c:pt idx="154">
                  <c:v>40569</c:v>
                </c:pt>
                <c:pt idx="155">
                  <c:v>40570</c:v>
                </c:pt>
                <c:pt idx="156">
                  <c:v>40571</c:v>
                </c:pt>
                <c:pt idx="157">
                  <c:v>40574</c:v>
                </c:pt>
                <c:pt idx="158">
                  <c:v>40575</c:v>
                </c:pt>
                <c:pt idx="159">
                  <c:v>40576</c:v>
                </c:pt>
                <c:pt idx="160">
                  <c:v>40577</c:v>
                </c:pt>
                <c:pt idx="161">
                  <c:v>40578</c:v>
                </c:pt>
                <c:pt idx="162">
                  <c:v>40581</c:v>
                </c:pt>
                <c:pt idx="163">
                  <c:v>40582</c:v>
                </c:pt>
                <c:pt idx="164">
                  <c:v>40583</c:v>
                </c:pt>
                <c:pt idx="165">
                  <c:v>40584</c:v>
                </c:pt>
                <c:pt idx="166">
                  <c:v>40585</c:v>
                </c:pt>
                <c:pt idx="167">
                  <c:v>40588</c:v>
                </c:pt>
                <c:pt idx="168">
                  <c:v>40589</c:v>
                </c:pt>
                <c:pt idx="169">
                  <c:v>40590</c:v>
                </c:pt>
                <c:pt idx="170">
                  <c:v>40591</c:v>
                </c:pt>
                <c:pt idx="171">
                  <c:v>40592</c:v>
                </c:pt>
                <c:pt idx="172">
                  <c:v>40595</c:v>
                </c:pt>
                <c:pt idx="173">
                  <c:v>40596</c:v>
                </c:pt>
                <c:pt idx="174">
                  <c:v>40597</c:v>
                </c:pt>
                <c:pt idx="175">
                  <c:v>40598</c:v>
                </c:pt>
                <c:pt idx="176">
                  <c:v>40599</c:v>
                </c:pt>
                <c:pt idx="177">
                  <c:v>40602</c:v>
                </c:pt>
                <c:pt idx="178">
                  <c:v>40603</c:v>
                </c:pt>
                <c:pt idx="179">
                  <c:v>40604</c:v>
                </c:pt>
                <c:pt idx="180">
                  <c:v>40605</c:v>
                </c:pt>
                <c:pt idx="181">
                  <c:v>40606</c:v>
                </c:pt>
                <c:pt idx="182">
                  <c:v>40609</c:v>
                </c:pt>
                <c:pt idx="183">
                  <c:v>40610</c:v>
                </c:pt>
                <c:pt idx="184">
                  <c:v>40611</c:v>
                </c:pt>
                <c:pt idx="185">
                  <c:v>40612</c:v>
                </c:pt>
                <c:pt idx="186">
                  <c:v>40613</c:v>
                </c:pt>
                <c:pt idx="187">
                  <c:v>40616</c:v>
                </c:pt>
                <c:pt idx="188">
                  <c:v>40617</c:v>
                </c:pt>
                <c:pt idx="189">
                  <c:v>40618</c:v>
                </c:pt>
                <c:pt idx="190">
                  <c:v>40619</c:v>
                </c:pt>
                <c:pt idx="191">
                  <c:v>40620</c:v>
                </c:pt>
                <c:pt idx="192">
                  <c:v>40623</c:v>
                </c:pt>
                <c:pt idx="193">
                  <c:v>40624</c:v>
                </c:pt>
                <c:pt idx="194">
                  <c:v>40625</c:v>
                </c:pt>
                <c:pt idx="195">
                  <c:v>40626</c:v>
                </c:pt>
                <c:pt idx="196">
                  <c:v>40627</c:v>
                </c:pt>
                <c:pt idx="197">
                  <c:v>40630</c:v>
                </c:pt>
                <c:pt idx="198">
                  <c:v>40631</c:v>
                </c:pt>
                <c:pt idx="199">
                  <c:v>40632</c:v>
                </c:pt>
                <c:pt idx="200">
                  <c:v>40633</c:v>
                </c:pt>
                <c:pt idx="201">
                  <c:v>40634</c:v>
                </c:pt>
                <c:pt idx="202">
                  <c:v>40637</c:v>
                </c:pt>
                <c:pt idx="203">
                  <c:v>40638</c:v>
                </c:pt>
                <c:pt idx="204">
                  <c:v>40639</c:v>
                </c:pt>
                <c:pt idx="205">
                  <c:v>40640</c:v>
                </c:pt>
                <c:pt idx="206">
                  <c:v>40641</c:v>
                </c:pt>
                <c:pt idx="207">
                  <c:v>40644</c:v>
                </c:pt>
                <c:pt idx="208">
                  <c:v>40645</c:v>
                </c:pt>
                <c:pt idx="209">
                  <c:v>40646</c:v>
                </c:pt>
                <c:pt idx="210">
                  <c:v>40647</c:v>
                </c:pt>
                <c:pt idx="211">
                  <c:v>40648</c:v>
                </c:pt>
                <c:pt idx="212">
                  <c:v>40651</c:v>
                </c:pt>
                <c:pt idx="213">
                  <c:v>40652</c:v>
                </c:pt>
                <c:pt idx="214">
                  <c:v>40653</c:v>
                </c:pt>
                <c:pt idx="215">
                  <c:v>40654</c:v>
                </c:pt>
                <c:pt idx="216">
                  <c:v>40655</c:v>
                </c:pt>
                <c:pt idx="217">
                  <c:v>40658</c:v>
                </c:pt>
                <c:pt idx="218">
                  <c:v>40659</c:v>
                </c:pt>
                <c:pt idx="219">
                  <c:v>40660</c:v>
                </c:pt>
                <c:pt idx="220">
                  <c:v>40661</c:v>
                </c:pt>
                <c:pt idx="221">
                  <c:v>40662</c:v>
                </c:pt>
                <c:pt idx="222">
                  <c:v>40665</c:v>
                </c:pt>
                <c:pt idx="223">
                  <c:v>40666</c:v>
                </c:pt>
                <c:pt idx="224">
                  <c:v>40667</c:v>
                </c:pt>
                <c:pt idx="225">
                  <c:v>40668</c:v>
                </c:pt>
                <c:pt idx="226">
                  <c:v>40669</c:v>
                </c:pt>
                <c:pt idx="227">
                  <c:v>40672</c:v>
                </c:pt>
                <c:pt idx="228">
                  <c:v>40673</c:v>
                </c:pt>
                <c:pt idx="229">
                  <c:v>40674</c:v>
                </c:pt>
                <c:pt idx="230">
                  <c:v>40675</c:v>
                </c:pt>
                <c:pt idx="231">
                  <c:v>40676</c:v>
                </c:pt>
                <c:pt idx="232">
                  <c:v>40679</c:v>
                </c:pt>
                <c:pt idx="233">
                  <c:v>40680</c:v>
                </c:pt>
                <c:pt idx="234">
                  <c:v>40681</c:v>
                </c:pt>
                <c:pt idx="235">
                  <c:v>40682</c:v>
                </c:pt>
                <c:pt idx="236">
                  <c:v>40683</c:v>
                </c:pt>
                <c:pt idx="237">
                  <c:v>40686</c:v>
                </c:pt>
                <c:pt idx="238">
                  <c:v>40687</c:v>
                </c:pt>
                <c:pt idx="239">
                  <c:v>40688</c:v>
                </c:pt>
                <c:pt idx="240">
                  <c:v>40689</c:v>
                </c:pt>
                <c:pt idx="241">
                  <c:v>40690</c:v>
                </c:pt>
                <c:pt idx="242">
                  <c:v>40693</c:v>
                </c:pt>
                <c:pt idx="243">
                  <c:v>40694</c:v>
                </c:pt>
                <c:pt idx="244">
                  <c:v>40695</c:v>
                </c:pt>
                <c:pt idx="245">
                  <c:v>40696</c:v>
                </c:pt>
                <c:pt idx="246">
                  <c:v>40697</c:v>
                </c:pt>
                <c:pt idx="247">
                  <c:v>40700</c:v>
                </c:pt>
                <c:pt idx="248">
                  <c:v>40701</c:v>
                </c:pt>
                <c:pt idx="249">
                  <c:v>40702</c:v>
                </c:pt>
                <c:pt idx="250">
                  <c:v>40703</c:v>
                </c:pt>
                <c:pt idx="251">
                  <c:v>40704</c:v>
                </c:pt>
                <c:pt idx="252">
                  <c:v>40707</c:v>
                </c:pt>
                <c:pt idx="253">
                  <c:v>40708</c:v>
                </c:pt>
                <c:pt idx="254">
                  <c:v>40709</c:v>
                </c:pt>
                <c:pt idx="255">
                  <c:v>40710</c:v>
                </c:pt>
                <c:pt idx="256">
                  <c:v>40711</c:v>
                </c:pt>
                <c:pt idx="257">
                  <c:v>40714</c:v>
                </c:pt>
                <c:pt idx="258">
                  <c:v>40715</c:v>
                </c:pt>
                <c:pt idx="259">
                  <c:v>40716</c:v>
                </c:pt>
                <c:pt idx="260">
                  <c:v>40717</c:v>
                </c:pt>
                <c:pt idx="261">
                  <c:v>40718</c:v>
                </c:pt>
                <c:pt idx="262">
                  <c:v>40721</c:v>
                </c:pt>
                <c:pt idx="263">
                  <c:v>40722</c:v>
                </c:pt>
                <c:pt idx="264">
                  <c:v>40723</c:v>
                </c:pt>
                <c:pt idx="265">
                  <c:v>40724</c:v>
                </c:pt>
                <c:pt idx="266">
                  <c:v>40725</c:v>
                </c:pt>
                <c:pt idx="267">
                  <c:v>40728</c:v>
                </c:pt>
                <c:pt idx="268">
                  <c:v>40729</c:v>
                </c:pt>
                <c:pt idx="269">
                  <c:v>40730</c:v>
                </c:pt>
                <c:pt idx="270">
                  <c:v>40731</c:v>
                </c:pt>
                <c:pt idx="271">
                  <c:v>40732</c:v>
                </c:pt>
                <c:pt idx="272">
                  <c:v>40735</c:v>
                </c:pt>
                <c:pt idx="273">
                  <c:v>40736</c:v>
                </c:pt>
                <c:pt idx="274">
                  <c:v>40737</c:v>
                </c:pt>
                <c:pt idx="275">
                  <c:v>40738</c:v>
                </c:pt>
                <c:pt idx="276">
                  <c:v>40739</c:v>
                </c:pt>
                <c:pt idx="277">
                  <c:v>40742</c:v>
                </c:pt>
                <c:pt idx="278">
                  <c:v>40743</c:v>
                </c:pt>
                <c:pt idx="279">
                  <c:v>40744</c:v>
                </c:pt>
                <c:pt idx="280">
                  <c:v>40745</c:v>
                </c:pt>
                <c:pt idx="281">
                  <c:v>40746</c:v>
                </c:pt>
                <c:pt idx="282">
                  <c:v>40749</c:v>
                </c:pt>
                <c:pt idx="283">
                  <c:v>40750</c:v>
                </c:pt>
                <c:pt idx="284">
                  <c:v>40751</c:v>
                </c:pt>
                <c:pt idx="285">
                  <c:v>40752</c:v>
                </c:pt>
                <c:pt idx="286">
                  <c:v>40753</c:v>
                </c:pt>
                <c:pt idx="287">
                  <c:v>40756</c:v>
                </c:pt>
                <c:pt idx="288">
                  <c:v>40757</c:v>
                </c:pt>
                <c:pt idx="289">
                  <c:v>40758</c:v>
                </c:pt>
                <c:pt idx="290">
                  <c:v>40759</c:v>
                </c:pt>
                <c:pt idx="291">
                  <c:v>40760</c:v>
                </c:pt>
                <c:pt idx="292">
                  <c:v>40763</c:v>
                </c:pt>
                <c:pt idx="293">
                  <c:v>40764</c:v>
                </c:pt>
                <c:pt idx="294">
                  <c:v>40765</c:v>
                </c:pt>
                <c:pt idx="295">
                  <c:v>40766</c:v>
                </c:pt>
                <c:pt idx="296">
                  <c:v>40767</c:v>
                </c:pt>
                <c:pt idx="297">
                  <c:v>40770</c:v>
                </c:pt>
                <c:pt idx="298">
                  <c:v>40771</c:v>
                </c:pt>
                <c:pt idx="299">
                  <c:v>40772</c:v>
                </c:pt>
                <c:pt idx="300">
                  <c:v>40773</c:v>
                </c:pt>
                <c:pt idx="301">
                  <c:v>40774</c:v>
                </c:pt>
                <c:pt idx="302">
                  <c:v>40777</c:v>
                </c:pt>
                <c:pt idx="303">
                  <c:v>40778</c:v>
                </c:pt>
                <c:pt idx="304">
                  <c:v>40779</c:v>
                </c:pt>
                <c:pt idx="305">
                  <c:v>40780</c:v>
                </c:pt>
                <c:pt idx="306">
                  <c:v>40781</c:v>
                </c:pt>
                <c:pt idx="307">
                  <c:v>40784</c:v>
                </c:pt>
                <c:pt idx="308">
                  <c:v>40785</c:v>
                </c:pt>
                <c:pt idx="309">
                  <c:v>40786</c:v>
                </c:pt>
                <c:pt idx="310">
                  <c:v>40787</c:v>
                </c:pt>
                <c:pt idx="311">
                  <c:v>40788</c:v>
                </c:pt>
                <c:pt idx="312">
                  <c:v>40791</c:v>
                </c:pt>
                <c:pt idx="313">
                  <c:v>40792</c:v>
                </c:pt>
                <c:pt idx="314">
                  <c:v>40793</c:v>
                </c:pt>
                <c:pt idx="315">
                  <c:v>40794</c:v>
                </c:pt>
                <c:pt idx="316">
                  <c:v>40795</c:v>
                </c:pt>
                <c:pt idx="317">
                  <c:v>40798</c:v>
                </c:pt>
                <c:pt idx="318">
                  <c:v>40799</c:v>
                </c:pt>
                <c:pt idx="319">
                  <c:v>40800</c:v>
                </c:pt>
                <c:pt idx="320">
                  <c:v>40801</c:v>
                </c:pt>
                <c:pt idx="321">
                  <c:v>40802</c:v>
                </c:pt>
                <c:pt idx="322">
                  <c:v>40805</c:v>
                </c:pt>
                <c:pt idx="323">
                  <c:v>40806</c:v>
                </c:pt>
                <c:pt idx="324">
                  <c:v>40807</c:v>
                </c:pt>
                <c:pt idx="325">
                  <c:v>40808</c:v>
                </c:pt>
                <c:pt idx="326">
                  <c:v>40809</c:v>
                </c:pt>
                <c:pt idx="327">
                  <c:v>40812</c:v>
                </c:pt>
                <c:pt idx="328">
                  <c:v>40813</c:v>
                </c:pt>
                <c:pt idx="329">
                  <c:v>40814</c:v>
                </c:pt>
                <c:pt idx="330">
                  <c:v>40815</c:v>
                </c:pt>
                <c:pt idx="331">
                  <c:v>40816</c:v>
                </c:pt>
                <c:pt idx="332">
                  <c:v>40819</c:v>
                </c:pt>
                <c:pt idx="333">
                  <c:v>40820</c:v>
                </c:pt>
                <c:pt idx="334">
                  <c:v>40821</c:v>
                </c:pt>
                <c:pt idx="335">
                  <c:v>40822</c:v>
                </c:pt>
                <c:pt idx="336">
                  <c:v>40823</c:v>
                </c:pt>
                <c:pt idx="337">
                  <c:v>40826</c:v>
                </c:pt>
                <c:pt idx="338">
                  <c:v>40827</c:v>
                </c:pt>
                <c:pt idx="339">
                  <c:v>40828</c:v>
                </c:pt>
                <c:pt idx="340">
                  <c:v>40829</c:v>
                </c:pt>
                <c:pt idx="341">
                  <c:v>40830</c:v>
                </c:pt>
                <c:pt idx="342">
                  <c:v>40833</c:v>
                </c:pt>
                <c:pt idx="343">
                  <c:v>40834</c:v>
                </c:pt>
                <c:pt idx="344">
                  <c:v>40835</c:v>
                </c:pt>
                <c:pt idx="345">
                  <c:v>40836</c:v>
                </c:pt>
                <c:pt idx="346">
                  <c:v>40837</c:v>
                </c:pt>
                <c:pt idx="347">
                  <c:v>40840</c:v>
                </c:pt>
                <c:pt idx="348">
                  <c:v>40841</c:v>
                </c:pt>
                <c:pt idx="349">
                  <c:v>40842</c:v>
                </c:pt>
                <c:pt idx="350">
                  <c:v>40843</c:v>
                </c:pt>
                <c:pt idx="351">
                  <c:v>40844</c:v>
                </c:pt>
                <c:pt idx="352">
                  <c:v>40847</c:v>
                </c:pt>
                <c:pt idx="353">
                  <c:v>40848</c:v>
                </c:pt>
                <c:pt idx="354">
                  <c:v>40849</c:v>
                </c:pt>
                <c:pt idx="355">
                  <c:v>40850</c:v>
                </c:pt>
                <c:pt idx="356">
                  <c:v>40851</c:v>
                </c:pt>
                <c:pt idx="357">
                  <c:v>40854</c:v>
                </c:pt>
                <c:pt idx="358">
                  <c:v>40855</c:v>
                </c:pt>
                <c:pt idx="359">
                  <c:v>40856</c:v>
                </c:pt>
                <c:pt idx="360">
                  <c:v>40857</c:v>
                </c:pt>
                <c:pt idx="361">
                  <c:v>40858</c:v>
                </c:pt>
                <c:pt idx="362">
                  <c:v>40861</c:v>
                </c:pt>
                <c:pt idx="363">
                  <c:v>40862</c:v>
                </c:pt>
                <c:pt idx="364">
                  <c:v>40863</c:v>
                </c:pt>
                <c:pt idx="365">
                  <c:v>40864</c:v>
                </c:pt>
                <c:pt idx="366">
                  <c:v>40865</c:v>
                </c:pt>
                <c:pt idx="367">
                  <c:v>40868</c:v>
                </c:pt>
                <c:pt idx="368">
                  <c:v>40869</c:v>
                </c:pt>
                <c:pt idx="369">
                  <c:v>40870</c:v>
                </c:pt>
                <c:pt idx="370">
                  <c:v>40871</c:v>
                </c:pt>
                <c:pt idx="371">
                  <c:v>40872</c:v>
                </c:pt>
                <c:pt idx="372">
                  <c:v>40875</c:v>
                </c:pt>
                <c:pt idx="373">
                  <c:v>40876</c:v>
                </c:pt>
                <c:pt idx="374">
                  <c:v>40877</c:v>
                </c:pt>
                <c:pt idx="375">
                  <c:v>40878</c:v>
                </c:pt>
                <c:pt idx="376">
                  <c:v>40879</c:v>
                </c:pt>
                <c:pt idx="377">
                  <c:v>40882</c:v>
                </c:pt>
                <c:pt idx="378">
                  <c:v>40883</c:v>
                </c:pt>
                <c:pt idx="379">
                  <c:v>40884</c:v>
                </c:pt>
                <c:pt idx="380">
                  <c:v>40885</c:v>
                </c:pt>
                <c:pt idx="381">
                  <c:v>40886</c:v>
                </c:pt>
                <c:pt idx="382">
                  <c:v>40889</c:v>
                </c:pt>
                <c:pt idx="383">
                  <c:v>40890</c:v>
                </c:pt>
                <c:pt idx="384">
                  <c:v>40891</c:v>
                </c:pt>
                <c:pt idx="385">
                  <c:v>40892</c:v>
                </c:pt>
                <c:pt idx="386">
                  <c:v>40893</c:v>
                </c:pt>
                <c:pt idx="387">
                  <c:v>40896</c:v>
                </c:pt>
                <c:pt idx="388">
                  <c:v>40897</c:v>
                </c:pt>
                <c:pt idx="389">
                  <c:v>40898</c:v>
                </c:pt>
                <c:pt idx="390">
                  <c:v>40899</c:v>
                </c:pt>
                <c:pt idx="391">
                  <c:v>40900</c:v>
                </c:pt>
                <c:pt idx="392">
                  <c:v>40903</c:v>
                </c:pt>
                <c:pt idx="393">
                  <c:v>40904</c:v>
                </c:pt>
                <c:pt idx="394">
                  <c:v>40905</c:v>
                </c:pt>
                <c:pt idx="395">
                  <c:v>40906</c:v>
                </c:pt>
                <c:pt idx="396">
                  <c:v>40907</c:v>
                </c:pt>
                <c:pt idx="397">
                  <c:v>40910</c:v>
                </c:pt>
                <c:pt idx="398">
                  <c:v>40911</c:v>
                </c:pt>
                <c:pt idx="399">
                  <c:v>40912</c:v>
                </c:pt>
                <c:pt idx="400">
                  <c:v>40913</c:v>
                </c:pt>
                <c:pt idx="401">
                  <c:v>40914</c:v>
                </c:pt>
                <c:pt idx="402">
                  <c:v>40917</c:v>
                </c:pt>
                <c:pt idx="403">
                  <c:v>40918</c:v>
                </c:pt>
                <c:pt idx="404">
                  <c:v>40919</c:v>
                </c:pt>
                <c:pt idx="405">
                  <c:v>40920</c:v>
                </c:pt>
                <c:pt idx="406">
                  <c:v>40921</c:v>
                </c:pt>
                <c:pt idx="407">
                  <c:v>40924</c:v>
                </c:pt>
                <c:pt idx="408">
                  <c:v>40925</c:v>
                </c:pt>
                <c:pt idx="409">
                  <c:v>40926</c:v>
                </c:pt>
                <c:pt idx="410">
                  <c:v>40927</c:v>
                </c:pt>
                <c:pt idx="411">
                  <c:v>40928</c:v>
                </c:pt>
                <c:pt idx="412">
                  <c:v>40931</c:v>
                </c:pt>
                <c:pt idx="413">
                  <c:v>40932</c:v>
                </c:pt>
                <c:pt idx="414">
                  <c:v>40933</c:v>
                </c:pt>
                <c:pt idx="415">
                  <c:v>40934</c:v>
                </c:pt>
                <c:pt idx="416">
                  <c:v>40935</c:v>
                </c:pt>
                <c:pt idx="417">
                  <c:v>40938</c:v>
                </c:pt>
                <c:pt idx="418">
                  <c:v>40939</c:v>
                </c:pt>
                <c:pt idx="419">
                  <c:v>40940</c:v>
                </c:pt>
                <c:pt idx="420">
                  <c:v>40941</c:v>
                </c:pt>
                <c:pt idx="421">
                  <c:v>40942</c:v>
                </c:pt>
                <c:pt idx="422">
                  <c:v>40945</c:v>
                </c:pt>
                <c:pt idx="423">
                  <c:v>40946</c:v>
                </c:pt>
                <c:pt idx="424">
                  <c:v>40947</c:v>
                </c:pt>
                <c:pt idx="425">
                  <c:v>40948</c:v>
                </c:pt>
                <c:pt idx="426">
                  <c:v>40949</c:v>
                </c:pt>
                <c:pt idx="427">
                  <c:v>40952</c:v>
                </c:pt>
                <c:pt idx="428">
                  <c:v>40953</c:v>
                </c:pt>
                <c:pt idx="429">
                  <c:v>40954</c:v>
                </c:pt>
                <c:pt idx="430">
                  <c:v>40955</c:v>
                </c:pt>
                <c:pt idx="431">
                  <c:v>40956</c:v>
                </c:pt>
                <c:pt idx="432">
                  <c:v>40959</c:v>
                </c:pt>
                <c:pt idx="433">
                  <c:v>40960</c:v>
                </c:pt>
                <c:pt idx="434">
                  <c:v>40961</c:v>
                </c:pt>
                <c:pt idx="435">
                  <c:v>40962</c:v>
                </c:pt>
                <c:pt idx="436">
                  <c:v>40963</c:v>
                </c:pt>
                <c:pt idx="437">
                  <c:v>40966</c:v>
                </c:pt>
                <c:pt idx="438">
                  <c:v>40967</c:v>
                </c:pt>
                <c:pt idx="439">
                  <c:v>40968</c:v>
                </c:pt>
                <c:pt idx="440">
                  <c:v>40969</c:v>
                </c:pt>
                <c:pt idx="441">
                  <c:v>40970</c:v>
                </c:pt>
                <c:pt idx="442">
                  <c:v>40973</c:v>
                </c:pt>
                <c:pt idx="443">
                  <c:v>40974</c:v>
                </c:pt>
                <c:pt idx="444">
                  <c:v>40975</c:v>
                </c:pt>
                <c:pt idx="445">
                  <c:v>40976</c:v>
                </c:pt>
                <c:pt idx="446">
                  <c:v>40977</c:v>
                </c:pt>
                <c:pt idx="447">
                  <c:v>40980</c:v>
                </c:pt>
                <c:pt idx="448">
                  <c:v>40981</c:v>
                </c:pt>
                <c:pt idx="449">
                  <c:v>40982</c:v>
                </c:pt>
                <c:pt idx="450">
                  <c:v>40983</c:v>
                </c:pt>
                <c:pt idx="451">
                  <c:v>40984</c:v>
                </c:pt>
                <c:pt idx="452">
                  <c:v>40987</c:v>
                </c:pt>
                <c:pt idx="453">
                  <c:v>40988</c:v>
                </c:pt>
                <c:pt idx="454">
                  <c:v>40989</c:v>
                </c:pt>
                <c:pt idx="455">
                  <c:v>40990</c:v>
                </c:pt>
                <c:pt idx="456">
                  <c:v>40991</c:v>
                </c:pt>
                <c:pt idx="457">
                  <c:v>40994</c:v>
                </c:pt>
                <c:pt idx="458">
                  <c:v>40995</c:v>
                </c:pt>
                <c:pt idx="459">
                  <c:v>40996</c:v>
                </c:pt>
                <c:pt idx="460">
                  <c:v>40997</c:v>
                </c:pt>
                <c:pt idx="461">
                  <c:v>40998</c:v>
                </c:pt>
                <c:pt idx="462">
                  <c:v>41001</c:v>
                </c:pt>
                <c:pt idx="463">
                  <c:v>41002</c:v>
                </c:pt>
                <c:pt idx="464">
                  <c:v>41003</c:v>
                </c:pt>
                <c:pt idx="465">
                  <c:v>41004</c:v>
                </c:pt>
                <c:pt idx="466">
                  <c:v>41005</c:v>
                </c:pt>
                <c:pt idx="467">
                  <c:v>41008</c:v>
                </c:pt>
                <c:pt idx="468">
                  <c:v>41009</c:v>
                </c:pt>
                <c:pt idx="469">
                  <c:v>41010</c:v>
                </c:pt>
                <c:pt idx="470">
                  <c:v>41011</c:v>
                </c:pt>
                <c:pt idx="471">
                  <c:v>41012</c:v>
                </c:pt>
                <c:pt idx="472">
                  <c:v>41015</c:v>
                </c:pt>
                <c:pt idx="473">
                  <c:v>41016</c:v>
                </c:pt>
                <c:pt idx="474">
                  <c:v>41017</c:v>
                </c:pt>
                <c:pt idx="475">
                  <c:v>41018</c:v>
                </c:pt>
                <c:pt idx="476">
                  <c:v>41019</c:v>
                </c:pt>
                <c:pt idx="477">
                  <c:v>41022</c:v>
                </c:pt>
                <c:pt idx="478">
                  <c:v>41023</c:v>
                </c:pt>
                <c:pt idx="479">
                  <c:v>41024</c:v>
                </c:pt>
                <c:pt idx="480">
                  <c:v>41025</c:v>
                </c:pt>
                <c:pt idx="481">
                  <c:v>41026</c:v>
                </c:pt>
                <c:pt idx="482">
                  <c:v>41029</c:v>
                </c:pt>
                <c:pt idx="483">
                  <c:v>41030</c:v>
                </c:pt>
                <c:pt idx="484">
                  <c:v>41031</c:v>
                </c:pt>
                <c:pt idx="485">
                  <c:v>41032</c:v>
                </c:pt>
                <c:pt idx="486">
                  <c:v>41033</c:v>
                </c:pt>
                <c:pt idx="487">
                  <c:v>41036</c:v>
                </c:pt>
                <c:pt idx="488">
                  <c:v>41037</c:v>
                </c:pt>
                <c:pt idx="489">
                  <c:v>41038</c:v>
                </c:pt>
                <c:pt idx="490">
                  <c:v>41039</c:v>
                </c:pt>
                <c:pt idx="491">
                  <c:v>41040</c:v>
                </c:pt>
                <c:pt idx="492">
                  <c:v>41043</c:v>
                </c:pt>
                <c:pt idx="493">
                  <c:v>41044</c:v>
                </c:pt>
                <c:pt idx="494">
                  <c:v>41045</c:v>
                </c:pt>
                <c:pt idx="495">
                  <c:v>41046</c:v>
                </c:pt>
                <c:pt idx="496">
                  <c:v>41047</c:v>
                </c:pt>
                <c:pt idx="497">
                  <c:v>41050</c:v>
                </c:pt>
                <c:pt idx="498">
                  <c:v>41051</c:v>
                </c:pt>
                <c:pt idx="499">
                  <c:v>41052</c:v>
                </c:pt>
                <c:pt idx="500">
                  <c:v>41053</c:v>
                </c:pt>
                <c:pt idx="501">
                  <c:v>41054</c:v>
                </c:pt>
                <c:pt idx="502">
                  <c:v>41057</c:v>
                </c:pt>
                <c:pt idx="503">
                  <c:v>41058</c:v>
                </c:pt>
                <c:pt idx="504">
                  <c:v>41059</c:v>
                </c:pt>
                <c:pt idx="505">
                  <c:v>41060</c:v>
                </c:pt>
                <c:pt idx="506">
                  <c:v>41061</c:v>
                </c:pt>
                <c:pt idx="507">
                  <c:v>41064</c:v>
                </c:pt>
                <c:pt idx="508">
                  <c:v>41065</c:v>
                </c:pt>
                <c:pt idx="509">
                  <c:v>41066</c:v>
                </c:pt>
                <c:pt idx="510">
                  <c:v>41067</c:v>
                </c:pt>
                <c:pt idx="511">
                  <c:v>41068</c:v>
                </c:pt>
                <c:pt idx="512">
                  <c:v>41071</c:v>
                </c:pt>
                <c:pt idx="513">
                  <c:v>41072</c:v>
                </c:pt>
                <c:pt idx="514">
                  <c:v>41073</c:v>
                </c:pt>
                <c:pt idx="515">
                  <c:v>41074</c:v>
                </c:pt>
                <c:pt idx="516">
                  <c:v>41075</c:v>
                </c:pt>
                <c:pt idx="517">
                  <c:v>41078</c:v>
                </c:pt>
                <c:pt idx="518">
                  <c:v>41079</c:v>
                </c:pt>
                <c:pt idx="519">
                  <c:v>41080</c:v>
                </c:pt>
                <c:pt idx="520">
                  <c:v>41081</c:v>
                </c:pt>
                <c:pt idx="521">
                  <c:v>41082</c:v>
                </c:pt>
                <c:pt idx="522">
                  <c:v>41085</c:v>
                </c:pt>
                <c:pt idx="523">
                  <c:v>41086</c:v>
                </c:pt>
                <c:pt idx="524">
                  <c:v>41087</c:v>
                </c:pt>
                <c:pt idx="525">
                  <c:v>41088</c:v>
                </c:pt>
                <c:pt idx="526">
                  <c:v>41089</c:v>
                </c:pt>
                <c:pt idx="527">
                  <c:v>41092</c:v>
                </c:pt>
                <c:pt idx="528">
                  <c:v>41093</c:v>
                </c:pt>
                <c:pt idx="529">
                  <c:v>41094</c:v>
                </c:pt>
                <c:pt idx="530">
                  <c:v>41095</c:v>
                </c:pt>
                <c:pt idx="531">
                  <c:v>41096</c:v>
                </c:pt>
                <c:pt idx="532">
                  <c:v>41099</c:v>
                </c:pt>
                <c:pt idx="533">
                  <c:v>41100</c:v>
                </c:pt>
                <c:pt idx="534">
                  <c:v>41101</c:v>
                </c:pt>
                <c:pt idx="535">
                  <c:v>41102</c:v>
                </c:pt>
                <c:pt idx="536">
                  <c:v>41103</c:v>
                </c:pt>
                <c:pt idx="537">
                  <c:v>41106</c:v>
                </c:pt>
                <c:pt idx="538">
                  <c:v>41107</c:v>
                </c:pt>
                <c:pt idx="539">
                  <c:v>41108</c:v>
                </c:pt>
                <c:pt idx="540">
                  <c:v>41109</c:v>
                </c:pt>
                <c:pt idx="541">
                  <c:v>41110</c:v>
                </c:pt>
                <c:pt idx="542">
                  <c:v>41113</c:v>
                </c:pt>
                <c:pt idx="543">
                  <c:v>41114</c:v>
                </c:pt>
                <c:pt idx="544">
                  <c:v>41115</c:v>
                </c:pt>
                <c:pt idx="545">
                  <c:v>41116</c:v>
                </c:pt>
                <c:pt idx="546">
                  <c:v>41117</c:v>
                </c:pt>
                <c:pt idx="547">
                  <c:v>41120</c:v>
                </c:pt>
                <c:pt idx="548">
                  <c:v>41121</c:v>
                </c:pt>
                <c:pt idx="549">
                  <c:v>41122</c:v>
                </c:pt>
                <c:pt idx="550">
                  <c:v>41123</c:v>
                </c:pt>
                <c:pt idx="551">
                  <c:v>41124</c:v>
                </c:pt>
                <c:pt idx="552">
                  <c:v>41127</c:v>
                </c:pt>
                <c:pt idx="553">
                  <c:v>41128</c:v>
                </c:pt>
                <c:pt idx="554">
                  <c:v>41129</c:v>
                </c:pt>
                <c:pt idx="555">
                  <c:v>41130</c:v>
                </c:pt>
                <c:pt idx="556">
                  <c:v>41131</c:v>
                </c:pt>
                <c:pt idx="557">
                  <c:v>41134</c:v>
                </c:pt>
                <c:pt idx="558">
                  <c:v>41135</c:v>
                </c:pt>
                <c:pt idx="559">
                  <c:v>41136</c:v>
                </c:pt>
                <c:pt idx="560">
                  <c:v>41137</c:v>
                </c:pt>
                <c:pt idx="561">
                  <c:v>41138</c:v>
                </c:pt>
                <c:pt idx="562">
                  <c:v>41141</c:v>
                </c:pt>
                <c:pt idx="563">
                  <c:v>41142</c:v>
                </c:pt>
                <c:pt idx="564">
                  <c:v>41143</c:v>
                </c:pt>
                <c:pt idx="565">
                  <c:v>41144</c:v>
                </c:pt>
                <c:pt idx="566">
                  <c:v>41145</c:v>
                </c:pt>
                <c:pt idx="567">
                  <c:v>41148</c:v>
                </c:pt>
                <c:pt idx="568">
                  <c:v>41149</c:v>
                </c:pt>
                <c:pt idx="569">
                  <c:v>41150</c:v>
                </c:pt>
                <c:pt idx="570">
                  <c:v>41151</c:v>
                </c:pt>
                <c:pt idx="571">
                  <c:v>41152</c:v>
                </c:pt>
                <c:pt idx="572">
                  <c:v>41155</c:v>
                </c:pt>
                <c:pt idx="573">
                  <c:v>41156</c:v>
                </c:pt>
                <c:pt idx="574">
                  <c:v>41157</c:v>
                </c:pt>
                <c:pt idx="575">
                  <c:v>41158</c:v>
                </c:pt>
                <c:pt idx="576">
                  <c:v>41159</c:v>
                </c:pt>
                <c:pt idx="577">
                  <c:v>41162</c:v>
                </c:pt>
                <c:pt idx="578">
                  <c:v>41163</c:v>
                </c:pt>
                <c:pt idx="579">
                  <c:v>41164</c:v>
                </c:pt>
                <c:pt idx="580">
                  <c:v>41165</c:v>
                </c:pt>
                <c:pt idx="581">
                  <c:v>41166</c:v>
                </c:pt>
                <c:pt idx="582">
                  <c:v>41169</c:v>
                </c:pt>
                <c:pt idx="583">
                  <c:v>41170</c:v>
                </c:pt>
                <c:pt idx="584">
                  <c:v>41171</c:v>
                </c:pt>
                <c:pt idx="585">
                  <c:v>41172</c:v>
                </c:pt>
                <c:pt idx="586">
                  <c:v>41173</c:v>
                </c:pt>
                <c:pt idx="587">
                  <c:v>41176</c:v>
                </c:pt>
                <c:pt idx="588">
                  <c:v>41177</c:v>
                </c:pt>
                <c:pt idx="589">
                  <c:v>41178</c:v>
                </c:pt>
                <c:pt idx="590">
                  <c:v>41179</c:v>
                </c:pt>
                <c:pt idx="591">
                  <c:v>41180</c:v>
                </c:pt>
                <c:pt idx="592">
                  <c:v>41183</c:v>
                </c:pt>
                <c:pt idx="593">
                  <c:v>41184</c:v>
                </c:pt>
                <c:pt idx="594">
                  <c:v>41185</c:v>
                </c:pt>
                <c:pt idx="595">
                  <c:v>41186</c:v>
                </c:pt>
                <c:pt idx="596">
                  <c:v>41187</c:v>
                </c:pt>
                <c:pt idx="597">
                  <c:v>41190</c:v>
                </c:pt>
                <c:pt idx="598">
                  <c:v>41191</c:v>
                </c:pt>
                <c:pt idx="599">
                  <c:v>41192</c:v>
                </c:pt>
                <c:pt idx="600">
                  <c:v>41193</c:v>
                </c:pt>
                <c:pt idx="601">
                  <c:v>41194</c:v>
                </c:pt>
                <c:pt idx="602">
                  <c:v>41197</c:v>
                </c:pt>
                <c:pt idx="603">
                  <c:v>41198</c:v>
                </c:pt>
                <c:pt idx="604">
                  <c:v>41199</c:v>
                </c:pt>
                <c:pt idx="605">
                  <c:v>41200</c:v>
                </c:pt>
                <c:pt idx="606">
                  <c:v>41201</c:v>
                </c:pt>
                <c:pt idx="607">
                  <c:v>41204</c:v>
                </c:pt>
                <c:pt idx="608">
                  <c:v>41205</c:v>
                </c:pt>
                <c:pt idx="609">
                  <c:v>41206</c:v>
                </c:pt>
                <c:pt idx="610">
                  <c:v>41207</c:v>
                </c:pt>
                <c:pt idx="611">
                  <c:v>41208</c:v>
                </c:pt>
                <c:pt idx="612">
                  <c:v>41211</c:v>
                </c:pt>
                <c:pt idx="613">
                  <c:v>41212</c:v>
                </c:pt>
                <c:pt idx="614">
                  <c:v>41213</c:v>
                </c:pt>
                <c:pt idx="615">
                  <c:v>41214</c:v>
                </c:pt>
                <c:pt idx="616">
                  <c:v>41215</c:v>
                </c:pt>
                <c:pt idx="617">
                  <c:v>41218</c:v>
                </c:pt>
                <c:pt idx="618">
                  <c:v>41219</c:v>
                </c:pt>
                <c:pt idx="619">
                  <c:v>41220</c:v>
                </c:pt>
                <c:pt idx="620">
                  <c:v>41221</c:v>
                </c:pt>
                <c:pt idx="621">
                  <c:v>41222</c:v>
                </c:pt>
                <c:pt idx="622">
                  <c:v>41225</c:v>
                </c:pt>
                <c:pt idx="623">
                  <c:v>41226</c:v>
                </c:pt>
                <c:pt idx="624">
                  <c:v>41227</c:v>
                </c:pt>
                <c:pt idx="625">
                  <c:v>41228</c:v>
                </c:pt>
                <c:pt idx="626">
                  <c:v>41229</c:v>
                </c:pt>
                <c:pt idx="627">
                  <c:v>41232</c:v>
                </c:pt>
                <c:pt idx="628">
                  <c:v>41233</c:v>
                </c:pt>
                <c:pt idx="629">
                  <c:v>41234</c:v>
                </c:pt>
                <c:pt idx="630">
                  <c:v>41235</c:v>
                </c:pt>
                <c:pt idx="631">
                  <c:v>41236</c:v>
                </c:pt>
                <c:pt idx="632">
                  <c:v>41239</c:v>
                </c:pt>
                <c:pt idx="633">
                  <c:v>41240</c:v>
                </c:pt>
                <c:pt idx="634">
                  <c:v>41241</c:v>
                </c:pt>
                <c:pt idx="635">
                  <c:v>41242</c:v>
                </c:pt>
                <c:pt idx="636">
                  <c:v>41243</c:v>
                </c:pt>
                <c:pt idx="637">
                  <c:v>41246</c:v>
                </c:pt>
                <c:pt idx="638">
                  <c:v>41247</c:v>
                </c:pt>
                <c:pt idx="639">
                  <c:v>41248</c:v>
                </c:pt>
                <c:pt idx="640">
                  <c:v>41249</c:v>
                </c:pt>
                <c:pt idx="641">
                  <c:v>41250</c:v>
                </c:pt>
                <c:pt idx="642">
                  <c:v>41253</c:v>
                </c:pt>
                <c:pt idx="643">
                  <c:v>41254</c:v>
                </c:pt>
                <c:pt idx="644">
                  <c:v>41255</c:v>
                </c:pt>
                <c:pt idx="645">
                  <c:v>41256</c:v>
                </c:pt>
                <c:pt idx="646">
                  <c:v>41257</c:v>
                </c:pt>
                <c:pt idx="647">
                  <c:v>41260</c:v>
                </c:pt>
                <c:pt idx="648">
                  <c:v>41261</c:v>
                </c:pt>
                <c:pt idx="649">
                  <c:v>41262</c:v>
                </c:pt>
                <c:pt idx="650">
                  <c:v>41263</c:v>
                </c:pt>
                <c:pt idx="651">
                  <c:v>41264</c:v>
                </c:pt>
                <c:pt idx="652">
                  <c:v>41267</c:v>
                </c:pt>
                <c:pt idx="653">
                  <c:v>41268</c:v>
                </c:pt>
                <c:pt idx="654">
                  <c:v>41269</c:v>
                </c:pt>
                <c:pt idx="655">
                  <c:v>41270</c:v>
                </c:pt>
                <c:pt idx="656">
                  <c:v>41271</c:v>
                </c:pt>
                <c:pt idx="657">
                  <c:v>41274</c:v>
                </c:pt>
                <c:pt idx="658">
                  <c:v>41275</c:v>
                </c:pt>
                <c:pt idx="659">
                  <c:v>41276</c:v>
                </c:pt>
                <c:pt idx="660">
                  <c:v>41277</c:v>
                </c:pt>
                <c:pt idx="661">
                  <c:v>41278</c:v>
                </c:pt>
                <c:pt idx="662">
                  <c:v>41281</c:v>
                </c:pt>
                <c:pt idx="663">
                  <c:v>41282</c:v>
                </c:pt>
                <c:pt idx="664">
                  <c:v>41283</c:v>
                </c:pt>
                <c:pt idx="665">
                  <c:v>41284</c:v>
                </c:pt>
                <c:pt idx="666">
                  <c:v>41285</c:v>
                </c:pt>
                <c:pt idx="667">
                  <c:v>41288</c:v>
                </c:pt>
                <c:pt idx="668">
                  <c:v>41289</c:v>
                </c:pt>
                <c:pt idx="669">
                  <c:v>41290</c:v>
                </c:pt>
                <c:pt idx="670">
                  <c:v>41291</c:v>
                </c:pt>
                <c:pt idx="671">
                  <c:v>41292</c:v>
                </c:pt>
                <c:pt idx="672">
                  <c:v>41295</c:v>
                </c:pt>
                <c:pt idx="673">
                  <c:v>41296</c:v>
                </c:pt>
                <c:pt idx="674">
                  <c:v>41297</c:v>
                </c:pt>
                <c:pt idx="675">
                  <c:v>41298</c:v>
                </c:pt>
                <c:pt idx="676">
                  <c:v>41299</c:v>
                </c:pt>
                <c:pt idx="677">
                  <c:v>41302</c:v>
                </c:pt>
                <c:pt idx="678">
                  <c:v>41303</c:v>
                </c:pt>
                <c:pt idx="679">
                  <c:v>41304</c:v>
                </c:pt>
                <c:pt idx="680">
                  <c:v>41305</c:v>
                </c:pt>
                <c:pt idx="681">
                  <c:v>41306</c:v>
                </c:pt>
                <c:pt idx="682">
                  <c:v>41309</c:v>
                </c:pt>
                <c:pt idx="683">
                  <c:v>41310</c:v>
                </c:pt>
                <c:pt idx="684">
                  <c:v>41311</c:v>
                </c:pt>
                <c:pt idx="685">
                  <c:v>41312</c:v>
                </c:pt>
                <c:pt idx="686">
                  <c:v>41313</c:v>
                </c:pt>
                <c:pt idx="687">
                  <c:v>41316</c:v>
                </c:pt>
                <c:pt idx="688">
                  <c:v>41317</c:v>
                </c:pt>
                <c:pt idx="689">
                  <c:v>41318</c:v>
                </c:pt>
                <c:pt idx="690">
                  <c:v>41319</c:v>
                </c:pt>
                <c:pt idx="691">
                  <c:v>41320</c:v>
                </c:pt>
                <c:pt idx="692">
                  <c:v>41323</c:v>
                </c:pt>
                <c:pt idx="693">
                  <c:v>41324</c:v>
                </c:pt>
                <c:pt idx="694">
                  <c:v>41325</c:v>
                </c:pt>
                <c:pt idx="695">
                  <c:v>41326</c:v>
                </c:pt>
                <c:pt idx="696">
                  <c:v>41327</c:v>
                </c:pt>
                <c:pt idx="697">
                  <c:v>41330</c:v>
                </c:pt>
                <c:pt idx="698">
                  <c:v>41331</c:v>
                </c:pt>
                <c:pt idx="699">
                  <c:v>41332</c:v>
                </c:pt>
                <c:pt idx="700">
                  <c:v>41333</c:v>
                </c:pt>
                <c:pt idx="701">
                  <c:v>41334</c:v>
                </c:pt>
                <c:pt idx="702">
                  <c:v>41337</c:v>
                </c:pt>
                <c:pt idx="703">
                  <c:v>41338</c:v>
                </c:pt>
                <c:pt idx="704">
                  <c:v>41339</c:v>
                </c:pt>
                <c:pt idx="705">
                  <c:v>41340</c:v>
                </c:pt>
                <c:pt idx="706">
                  <c:v>41341</c:v>
                </c:pt>
                <c:pt idx="707">
                  <c:v>41344</c:v>
                </c:pt>
                <c:pt idx="708">
                  <c:v>41345</c:v>
                </c:pt>
                <c:pt idx="709">
                  <c:v>41346</c:v>
                </c:pt>
                <c:pt idx="710">
                  <c:v>41347</c:v>
                </c:pt>
                <c:pt idx="711">
                  <c:v>41348</c:v>
                </c:pt>
                <c:pt idx="712">
                  <c:v>41351</c:v>
                </c:pt>
                <c:pt idx="713">
                  <c:v>41352</c:v>
                </c:pt>
                <c:pt idx="714">
                  <c:v>41353</c:v>
                </c:pt>
                <c:pt idx="715">
                  <c:v>41354</c:v>
                </c:pt>
                <c:pt idx="716">
                  <c:v>41355</c:v>
                </c:pt>
                <c:pt idx="717">
                  <c:v>41358</c:v>
                </c:pt>
                <c:pt idx="718">
                  <c:v>41359</c:v>
                </c:pt>
                <c:pt idx="719">
                  <c:v>41360</c:v>
                </c:pt>
                <c:pt idx="720">
                  <c:v>41361</c:v>
                </c:pt>
                <c:pt idx="721">
                  <c:v>41362</c:v>
                </c:pt>
                <c:pt idx="722">
                  <c:v>41365</c:v>
                </c:pt>
                <c:pt idx="723">
                  <c:v>41366</c:v>
                </c:pt>
                <c:pt idx="724">
                  <c:v>41367</c:v>
                </c:pt>
                <c:pt idx="725">
                  <c:v>41368</c:v>
                </c:pt>
                <c:pt idx="726">
                  <c:v>41369</c:v>
                </c:pt>
                <c:pt idx="727">
                  <c:v>41372</c:v>
                </c:pt>
                <c:pt idx="728">
                  <c:v>41373</c:v>
                </c:pt>
                <c:pt idx="729">
                  <c:v>41374</c:v>
                </c:pt>
                <c:pt idx="730">
                  <c:v>41375</c:v>
                </c:pt>
                <c:pt idx="731">
                  <c:v>41376</c:v>
                </c:pt>
                <c:pt idx="732">
                  <c:v>41379</c:v>
                </c:pt>
                <c:pt idx="733">
                  <c:v>41380</c:v>
                </c:pt>
                <c:pt idx="734">
                  <c:v>41381</c:v>
                </c:pt>
                <c:pt idx="735">
                  <c:v>41382</c:v>
                </c:pt>
                <c:pt idx="736">
                  <c:v>41383</c:v>
                </c:pt>
                <c:pt idx="737">
                  <c:v>41386</c:v>
                </c:pt>
                <c:pt idx="738">
                  <c:v>41387</c:v>
                </c:pt>
                <c:pt idx="739">
                  <c:v>41388</c:v>
                </c:pt>
                <c:pt idx="740">
                  <c:v>41389</c:v>
                </c:pt>
                <c:pt idx="741">
                  <c:v>41390</c:v>
                </c:pt>
                <c:pt idx="742">
                  <c:v>41393</c:v>
                </c:pt>
                <c:pt idx="743">
                  <c:v>41394</c:v>
                </c:pt>
                <c:pt idx="744">
                  <c:v>41395</c:v>
                </c:pt>
                <c:pt idx="745">
                  <c:v>41396</c:v>
                </c:pt>
                <c:pt idx="746">
                  <c:v>41397</c:v>
                </c:pt>
                <c:pt idx="747">
                  <c:v>41400</c:v>
                </c:pt>
                <c:pt idx="748">
                  <c:v>41401</c:v>
                </c:pt>
                <c:pt idx="749">
                  <c:v>41402</c:v>
                </c:pt>
                <c:pt idx="750">
                  <c:v>41403</c:v>
                </c:pt>
                <c:pt idx="751">
                  <c:v>41404</c:v>
                </c:pt>
                <c:pt idx="752">
                  <c:v>41407</c:v>
                </c:pt>
                <c:pt idx="753">
                  <c:v>41408</c:v>
                </c:pt>
                <c:pt idx="754">
                  <c:v>41409</c:v>
                </c:pt>
                <c:pt idx="755">
                  <c:v>41410</c:v>
                </c:pt>
                <c:pt idx="756">
                  <c:v>41411</c:v>
                </c:pt>
                <c:pt idx="757">
                  <c:v>41414</c:v>
                </c:pt>
                <c:pt idx="758">
                  <c:v>41415</c:v>
                </c:pt>
                <c:pt idx="759">
                  <c:v>41416</c:v>
                </c:pt>
                <c:pt idx="760">
                  <c:v>41417</c:v>
                </c:pt>
                <c:pt idx="761">
                  <c:v>41418</c:v>
                </c:pt>
                <c:pt idx="762">
                  <c:v>41421</c:v>
                </c:pt>
                <c:pt idx="763">
                  <c:v>41422</c:v>
                </c:pt>
                <c:pt idx="764">
                  <c:v>41423</c:v>
                </c:pt>
                <c:pt idx="765">
                  <c:v>41424</c:v>
                </c:pt>
                <c:pt idx="766">
                  <c:v>41425</c:v>
                </c:pt>
                <c:pt idx="767">
                  <c:v>41428</c:v>
                </c:pt>
                <c:pt idx="768">
                  <c:v>41429</c:v>
                </c:pt>
                <c:pt idx="769">
                  <c:v>41430</c:v>
                </c:pt>
                <c:pt idx="770">
                  <c:v>41431</c:v>
                </c:pt>
                <c:pt idx="771">
                  <c:v>41432</c:v>
                </c:pt>
                <c:pt idx="772">
                  <c:v>41435</c:v>
                </c:pt>
                <c:pt idx="773">
                  <c:v>41436</c:v>
                </c:pt>
                <c:pt idx="774">
                  <c:v>41437</c:v>
                </c:pt>
                <c:pt idx="775">
                  <c:v>41438</c:v>
                </c:pt>
                <c:pt idx="776">
                  <c:v>41439</c:v>
                </c:pt>
                <c:pt idx="777">
                  <c:v>41442</c:v>
                </c:pt>
                <c:pt idx="778">
                  <c:v>41443</c:v>
                </c:pt>
                <c:pt idx="779">
                  <c:v>41444</c:v>
                </c:pt>
                <c:pt idx="780">
                  <c:v>41445</c:v>
                </c:pt>
                <c:pt idx="781">
                  <c:v>41446</c:v>
                </c:pt>
                <c:pt idx="782">
                  <c:v>41449</c:v>
                </c:pt>
                <c:pt idx="783">
                  <c:v>41450</c:v>
                </c:pt>
                <c:pt idx="784">
                  <c:v>41451</c:v>
                </c:pt>
                <c:pt idx="785">
                  <c:v>41452</c:v>
                </c:pt>
                <c:pt idx="786">
                  <c:v>41453</c:v>
                </c:pt>
                <c:pt idx="787">
                  <c:v>41456</c:v>
                </c:pt>
                <c:pt idx="788">
                  <c:v>41457</c:v>
                </c:pt>
                <c:pt idx="789">
                  <c:v>41458</c:v>
                </c:pt>
                <c:pt idx="790">
                  <c:v>41459</c:v>
                </c:pt>
                <c:pt idx="791">
                  <c:v>41460</c:v>
                </c:pt>
                <c:pt idx="792">
                  <c:v>41463</c:v>
                </c:pt>
                <c:pt idx="793">
                  <c:v>41464</c:v>
                </c:pt>
                <c:pt idx="794">
                  <c:v>41465</c:v>
                </c:pt>
                <c:pt idx="795">
                  <c:v>41466</c:v>
                </c:pt>
                <c:pt idx="796">
                  <c:v>41467</c:v>
                </c:pt>
                <c:pt idx="797">
                  <c:v>41470</c:v>
                </c:pt>
                <c:pt idx="798">
                  <c:v>41471</c:v>
                </c:pt>
                <c:pt idx="799">
                  <c:v>41472</c:v>
                </c:pt>
                <c:pt idx="800">
                  <c:v>41473</c:v>
                </c:pt>
                <c:pt idx="801">
                  <c:v>41474</c:v>
                </c:pt>
                <c:pt idx="802">
                  <c:v>41477</c:v>
                </c:pt>
                <c:pt idx="803">
                  <c:v>41478</c:v>
                </c:pt>
                <c:pt idx="804">
                  <c:v>41479</c:v>
                </c:pt>
                <c:pt idx="805">
                  <c:v>41480</c:v>
                </c:pt>
                <c:pt idx="806">
                  <c:v>41481</c:v>
                </c:pt>
                <c:pt idx="807">
                  <c:v>41484</c:v>
                </c:pt>
                <c:pt idx="808">
                  <c:v>41485</c:v>
                </c:pt>
                <c:pt idx="809">
                  <c:v>41486</c:v>
                </c:pt>
                <c:pt idx="810">
                  <c:v>41487</c:v>
                </c:pt>
                <c:pt idx="811">
                  <c:v>41488</c:v>
                </c:pt>
                <c:pt idx="812">
                  <c:v>41491</c:v>
                </c:pt>
                <c:pt idx="813">
                  <c:v>41492</c:v>
                </c:pt>
                <c:pt idx="814">
                  <c:v>41493</c:v>
                </c:pt>
                <c:pt idx="815">
                  <c:v>41494</c:v>
                </c:pt>
                <c:pt idx="816">
                  <c:v>41495</c:v>
                </c:pt>
                <c:pt idx="817">
                  <c:v>41498</c:v>
                </c:pt>
                <c:pt idx="818">
                  <c:v>41499</c:v>
                </c:pt>
                <c:pt idx="819">
                  <c:v>41500</c:v>
                </c:pt>
                <c:pt idx="820">
                  <c:v>41501</c:v>
                </c:pt>
                <c:pt idx="821">
                  <c:v>41502</c:v>
                </c:pt>
                <c:pt idx="822">
                  <c:v>41505</c:v>
                </c:pt>
                <c:pt idx="823">
                  <c:v>41506</c:v>
                </c:pt>
                <c:pt idx="824">
                  <c:v>41507</c:v>
                </c:pt>
                <c:pt idx="825">
                  <c:v>41508</c:v>
                </c:pt>
                <c:pt idx="826">
                  <c:v>41509</c:v>
                </c:pt>
                <c:pt idx="827">
                  <c:v>41512</c:v>
                </c:pt>
                <c:pt idx="828">
                  <c:v>41513</c:v>
                </c:pt>
                <c:pt idx="829">
                  <c:v>41514</c:v>
                </c:pt>
                <c:pt idx="830">
                  <c:v>41515</c:v>
                </c:pt>
                <c:pt idx="831">
                  <c:v>41516</c:v>
                </c:pt>
                <c:pt idx="832">
                  <c:v>41519</c:v>
                </c:pt>
                <c:pt idx="833">
                  <c:v>41520</c:v>
                </c:pt>
                <c:pt idx="834">
                  <c:v>41521</c:v>
                </c:pt>
                <c:pt idx="835">
                  <c:v>41522</c:v>
                </c:pt>
                <c:pt idx="836">
                  <c:v>41523</c:v>
                </c:pt>
                <c:pt idx="837">
                  <c:v>41526</c:v>
                </c:pt>
                <c:pt idx="838">
                  <c:v>41527</c:v>
                </c:pt>
                <c:pt idx="839">
                  <c:v>41528</c:v>
                </c:pt>
                <c:pt idx="840">
                  <c:v>41529</c:v>
                </c:pt>
                <c:pt idx="841">
                  <c:v>41530</c:v>
                </c:pt>
                <c:pt idx="842">
                  <c:v>41533</c:v>
                </c:pt>
                <c:pt idx="843">
                  <c:v>41534</c:v>
                </c:pt>
                <c:pt idx="844">
                  <c:v>41535</c:v>
                </c:pt>
                <c:pt idx="845">
                  <c:v>41536</c:v>
                </c:pt>
                <c:pt idx="846">
                  <c:v>41537</c:v>
                </c:pt>
                <c:pt idx="847">
                  <c:v>41540</c:v>
                </c:pt>
                <c:pt idx="848">
                  <c:v>41541</c:v>
                </c:pt>
                <c:pt idx="849">
                  <c:v>41542</c:v>
                </c:pt>
                <c:pt idx="850">
                  <c:v>41543</c:v>
                </c:pt>
                <c:pt idx="851">
                  <c:v>41544</c:v>
                </c:pt>
                <c:pt idx="852">
                  <c:v>41547</c:v>
                </c:pt>
                <c:pt idx="853">
                  <c:v>41548</c:v>
                </c:pt>
                <c:pt idx="854">
                  <c:v>41549</c:v>
                </c:pt>
                <c:pt idx="855">
                  <c:v>41550</c:v>
                </c:pt>
                <c:pt idx="856">
                  <c:v>41551</c:v>
                </c:pt>
                <c:pt idx="857">
                  <c:v>41554</c:v>
                </c:pt>
                <c:pt idx="858">
                  <c:v>41555</c:v>
                </c:pt>
                <c:pt idx="859">
                  <c:v>41556</c:v>
                </c:pt>
                <c:pt idx="860">
                  <c:v>41557</c:v>
                </c:pt>
                <c:pt idx="861">
                  <c:v>41558</c:v>
                </c:pt>
                <c:pt idx="862">
                  <c:v>41561</c:v>
                </c:pt>
                <c:pt idx="863">
                  <c:v>41562</c:v>
                </c:pt>
                <c:pt idx="864">
                  <c:v>41563</c:v>
                </c:pt>
                <c:pt idx="865">
                  <c:v>41564</c:v>
                </c:pt>
                <c:pt idx="866">
                  <c:v>41565</c:v>
                </c:pt>
                <c:pt idx="867">
                  <c:v>41568</c:v>
                </c:pt>
                <c:pt idx="868">
                  <c:v>41569</c:v>
                </c:pt>
                <c:pt idx="869">
                  <c:v>41570</c:v>
                </c:pt>
                <c:pt idx="870">
                  <c:v>41571</c:v>
                </c:pt>
                <c:pt idx="871">
                  <c:v>41572</c:v>
                </c:pt>
                <c:pt idx="872">
                  <c:v>41575</c:v>
                </c:pt>
                <c:pt idx="873">
                  <c:v>41576</c:v>
                </c:pt>
                <c:pt idx="874">
                  <c:v>41577</c:v>
                </c:pt>
                <c:pt idx="875">
                  <c:v>41578</c:v>
                </c:pt>
                <c:pt idx="876">
                  <c:v>41579</c:v>
                </c:pt>
                <c:pt idx="877">
                  <c:v>41582</c:v>
                </c:pt>
                <c:pt idx="878">
                  <c:v>41583</c:v>
                </c:pt>
                <c:pt idx="879">
                  <c:v>41584</c:v>
                </c:pt>
                <c:pt idx="880">
                  <c:v>41585</c:v>
                </c:pt>
                <c:pt idx="881">
                  <c:v>41586</c:v>
                </c:pt>
                <c:pt idx="882">
                  <c:v>41589</c:v>
                </c:pt>
                <c:pt idx="883">
                  <c:v>41590</c:v>
                </c:pt>
                <c:pt idx="884">
                  <c:v>41591</c:v>
                </c:pt>
                <c:pt idx="885">
                  <c:v>41592</c:v>
                </c:pt>
                <c:pt idx="886">
                  <c:v>41593</c:v>
                </c:pt>
                <c:pt idx="887">
                  <c:v>41596</c:v>
                </c:pt>
                <c:pt idx="888">
                  <c:v>41597</c:v>
                </c:pt>
                <c:pt idx="889">
                  <c:v>41598</c:v>
                </c:pt>
                <c:pt idx="890">
                  <c:v>41599</c:v>
                </c:pt>
                <c:pt idx="891">
                  <c:v>41600</c:v>
                </c:pt>
                <c:pt idx="892">
                  <c:v>41603</c:v>
                </c:pt>
                <c:pt idx="893">
                  <c:v>41604</c:v>
                </c:pt>
                <c:pt idx="894">
                  <c:v>41605</c:v>
                </c:pt>
                <c:pt idx="895">
                  <c:v>41606</c:v>
                </c:pt>
                <c:pt idx="896">
                  <c:v>41607</c:v>
                </c:pt>
                <c:pt idx="897">
                  <c:v>41610</c:v>
                </c:pt>
                <c:pt idx="898">
                  <c:v>41611</c:v>
                </c:pt>
                <c:pt idx="899">
                  <c:v>41612</c:v>
                </c:pt>
                <c:pt idx="900">
                  <c:v>41613</c:v>
                </c:pt>
                <c:pt idx="901">
                  <c:v>41614</c:v>
                </c:pt>
                <c:pt idx="902">
                  <c:v>41617</c:v>
                </c:pt>
                <c:pt idx="903">
                  <c:v>41618</c:v>
                </c:pt>
                <c:pt idx="904">
                  <c:v>41619</c:v>
                </c:pt>
                <c:pt idx="905">
                  <c:v>41620</c:v>
                </c:pt>
                <c:pt idx="906">
                  <c:v>41621</c:v>
                </c:pt>
                <c:pt idx="907">
                  <c:v>41624</c:v>
                </c:pt>
                <c:pt idx="908">
                  <c:v>41625</c:v>
                </c:pt>
                <c:pt idx="909">
                  <c:v>41626</c:v>
                </c:pt>
                <c:pt idx="910">
                  <c:v>41627</c:v>
                </c:pt>
                <c:pt idx="911">
                  <c:v>41628</c:v>
                </c:pt>
                <c:pt idx="912">
                  <c:v>41631</c:v>
                </c:pt>
                <c:pt idx="913">
                  <c:v>41632</c:v>
                </c:pt>
                <c:pt idx="914">
                  <c:v>41633</c:v>
                </c:pt>
                <c:pt idx="915">
                  <c:v>41634</c:v>
                </c:pt>
                <c:pt idx="916">
                  <c:v>41635</c:v>
                </c:pt>
                <c:pt idx="917">
                  <c:v>41638</c:v>
                </c:pt>
                <c:pt idx="918">
                  <c:v>41639</c:v>
                </c:pt>
                <c:pt idx="919">
                  <c:v>41640</c:v>
                </c:pt>
                <c:pt idx="920">
                  <c:v>41641</c:v>
                </c:pt>
                <c:pt idx="921">
                  <c:v>41642</c:v>
                </c:pt>
                <c:pt idx="922">
                  <c:v>41645</c:v>
                </c:pt>
                <c:pt idx="923">
                  <c:v>41646</c:v>
                </c:pt>
                <c:pt idx="924">
                  <c:v>41647</c:v>
                </c:pt>
                <c:pt idx="925">
                  <c:v>41648</c:v>
                </c:pt>
                <c:pt idx="926">
                  <c:v>41649</c:v>
                </c:pt>
                <c:pt idx="927">
                  <c:v>41652</c:v>
                </c:pt>
                <c:pt idx="928">
                  <c:v>41653</c:v>
                </c:pt>
                <c:pt idx="929">
                  <c:v>41654</c:v>
                </c:pt>
                <c:pt idx="930">
                  <c:v>41655</c:v>
                </c:pt>
                <c:pt idx="931">
                  <c:v>41656</c:v>
                </c:pt>
                <c:pt idx="932">
                  <c:v>41659</c:v>
                </c:pt>
                <c:pt idx="933">
                  <c:v>41660</c:v>
                </c:pt>
                <c:pt idx="934">
                  <c:v>41661</c:v>
                </c:pt>
                <c:pt idx="935">
                  <c:v>41662</c:v>
                </c:pt>
                <c:pt idx="936">
                  <c:v>41663</c:v>
                </c:pt>
                <c:pt idx="937">
                  <c:v>41666</c:v>
                </c:pt>
                <c:pt idx="938">
                  <c:v>41667</c:v>
                </c:pt>
                <c:pt idx="939">
                  <c:v>41668</c:v>
                </c:pt>
                <c:pt idx="940">
                  <c:v>41669</c:v>
                </c:pt>
                <c:pt idx="941">
                  <c:v>41670</c:v>
                </c:pt>
                <c:pt idx="942">
                  <c:v>41673</c:v>
                </c:pt>
                <c:pt idx="943">
                  <c:v>41674</c:v>
                </c:pt>
                <c:pt idx="944">
                  <c:v>41675</c:v>
                </c:pt>
                <c:pt idx="945">
                  <c:v>41676</c:v>
                </c:pt>
                <c:pt idx="946">
                  <c:v>41677</c:v>
                </c:pt>
                <c:pt idx="947">
                  <c:v>41680</c:v>
                </c:pt>
                <c:pt idx="948">
                  <c:v>41681</c:v>
                </c:pt>
                <c:pt idx="949">
                  <c:v>41682</c:v>
                </c:pt>
                <c:pt idx="950">
                  <c:v>41683</c:v>
                </c:pt>
                <c:pt idx="951">
                  <c:v>41684</c:v>
                </c:pt>
                <c:pt idx="952">
                  <c:v>41687</c:v>
                </c:pt>
                <c:pt idx="953">
                  <c:v>41688</c:v>
                </c:pt>
                <c:pt idx="954">
                  <c:v>41689</c:v>
                </c:pt>
                <c:pt idx="955">
                  <c:v>41690</c:v>
                </c:pt>
                <c:pt idx="956">
                  <c:v>41691</c:v>
                </c:pt>
                <c:pt idx="957">
                  <c:v>41694</c:v>
                </c:pt>
                <c:pt idx="958">
                  <c:v>41695</c:v>
                </c:pt>
                <c:pt idx="959">
                  <c:v>41696</c:v>
                </c:pt>
                <c:pt idx="960">
                  <c:v>41697</c:v>
                </c:pt>
                <c:pt idx="961">
                  <c:v>41698</c:v>
                </c:pt>
                <c:pt idx="962">
                  <c:v>41701</c:v>
                </c:pt>
                <c:pt idx="963">
                  <c:v>41702</c:v>
                </c:pt>
                <c:pt idx="964">
                  <c:v>41703</c:v>
                </c:pt>
                <c:pt idx="965">
                  <c:v>41704</c:v>
                </c:pt>
                <c:pt idx="966">
                  <c:v>41705</c:v>
                </c:pt>
                <c:pt idx="967">
                  <c:v>41708</c:v>
                </c:pt>
                <c:pt idx="968">
                  <c:v>41709</c:v>
                </c:pt>
                <c:pt idx="969">
                  <c:v>41710</c:v>
                </c:pt>
                <c:pt idx="970">
                  <c:v>41711</c:v>
                </c:pt>
                <c:pt idx="971">
                  <c:v>41712</c:v>
                </c:pt>
                <c:pt idx="972">
                  <c:v>41715</c:v>
                </c:pt>
                <c:pt idx="973">
                  <c:v>41716</c:v>
                </c:pt>
                <c:pt idx="974">
                  <c:v>41717</c:v>
                </c:pt>
                <c:pt idx="975">
                  <c:v>41718</c:v>
                </c:pt>
                <c:pt idx="976">
                  <c:v>41719</c:v>
                </c:pt>
                <c:pt idx="977">
                  <c:v>41722</c:v>
                </c:pt>
                <c:pt idx="978">
                  <c:v>41723</c:v>
                </c:pt>
                <c:pt idx="979">
                  <c:v>41724</c:v>
                </c:pt>
                <c:pt idx="980">
                  <c:v>41725</c:v>
                </c:pt>
                <c:pt idx="981">
                  <c:v>41726</c:v>
                </c:pt>
                <c:pt idx="982">
                  <c:v>41729</c:v>
                </c:pt>
                <c:pt idx="983">
                  <c:v>41730</c:v>
                </c:pt>
                <c:pt idx="984">
                  <c:v>41731</c:v>
                </c:pt>
                <c:pt idx="985">
                  <c:v>41732</c:v>
                </c:pt>
                <c:pt idx="986">
                  <c:v>41733</c:v>
                </c:pt>
                <c:pt idx="987">
                  <c:v>41736</c:v>
                </c:pt>
                <c:pt idx="988">
                  <c:v>41737</c:v>
                </c:pt>
                <c:pt idx="989">
                  <c:v>41738</c:v>
                </c:pt>
                <c:pt idx="990">
                  <c:v>41739</c:v>
                </c:pt>
                <c:pt idx="991">
                  <c:v>41740</c:v>
                </c:pt>
                <c:pt idx="992">
                  <c:v>41743</c:v>
                </c:pt>
                <c:pt idx="993">
                  <c:v>41744</c:v>
                </c:pt>
                <c:pt idx="994">
                  <c:v>41745</c:v>
                </c:pt>
                <c:pt idx="995">
                  <c:v>41746</c:v>
                </c:pt>
                <c:pt idx="996">
                  <c:v>41747</c:v>
                </c:pt>
                <c:pt idx="997">
                  <c:v>41750</c:v>
                </c:pt>
                <c:pt idx="998">
                  <c:v>41751</c:v>
                </c:pt>
                <c:pt idx="999">
                  <c:v>41752</c:v>
                </c:pt>
                <c:pt idx="1000">
                  <c:v>41753</c:v>
                </c:pt>
                <c:pt idx="1001">
                  <c:v>41754</c:v>
                </c:pt>
                <c:pt idx="1002">
                  <c:v>41757</c:v>
                </c:pt>
                <c:pt idx="1003">
                  <c:v>41758</c:v>
                </c:pt>
                <c:pt idx="1004">
                  <c:v>41759</c:v>
                </c:pt>
                <c:pt idx="1005">
                  <c:v>41760</c:v>
                </c:pt>
                <c:pt idx="1006">
                  <c:v>41761</c:v>
                </c:pt>
                <c:pt idx="1007">
                  <c:v>41764</c:v>
                </c:pt>
                <c:pt idx="1008">
                  <c:v>41765</c:v>
                </c:pt>
                <c:pt idx="1009">
                  <c:v>41766</c:v>
                </c:pt>
                <c:pt idx="1010">
                  <c:v>41767</c:v>
                </c:pt>
                <c:pt idx="1011">
                  <c:v>41768</c:v>
                </c:pt>
                <c:pt idx="1012">
                  <c:v>41771</c:v>
                </c:pt>
                <c:pt idx="1013">
                  <c:v>41772</c:v>
                </c:pt>
                <c:pt idx="1014">
                  <c:v>41773</c:v>
                </c:pt>
                <c:pt idx="1015">
                  <c:v>41774</c:v>
                </c:pt>
                <c:pt idx="1016">
                  <c:v>41775</c:v>
                </c:pt>
                <c:pt idx="1017">
                  <c:v>41778</c:v>
                </c:pt>
                <c:pt idx="1018">
                  <c:v>41779</c:v>
                </c:pt>
                <c:pt idx="1019">
                  <c:v>41780</c:v>
                </c:pt>
                <c:pt idx="1020">
                  <c:v>41781</c:v>
                </c:pt>
                <c:pt idx="1021">
                  <c:v>41782</c:v>
                </c:pt>
                <c:pt idx="1022">
                  <c:v>41785</c:v>
                </c:pt>
                <c:pt idx="1023">
                  <c:v>41786</c:v>
                </c:pt>
                <c:pt idx="1024">
                  <c:v>41787</c:v>
                </c:pt>
                <c:pt idx="1025">
                  <c:v>41788</c:v>
                </c:pt>
                <c:pt idx="1026">
                  <c:v>41789</c:v>
                </c:pt>
                <c:pt idx="1027">
                  <c:v>41792</c:v>
                </c:pt>
                <c:pt idx="1028">
                  <c:v>41793</c:v>
                </c:pt>
                <c:pt idx="1029">
                  <c:v>41794</c:v>
                </c:pt>
                <c:pt idx="1030">
                  <c:v>41795</c:v>
                </c:pt>
                <c:pt idx="1031">
                  <c:v>41796</c:v>
                </c:pt>
                <c:pt idx="1032">
                  <c:v>41799</c:v>
                </c:pt>
                <c:pt idx="1033">
                  <c:v>41800</c:v>
                </c:pt>
                <c:pt idx="1034">
                  <c:v>41801</c:v>
                </c:pt>
                <c:pt idx="1035">
                  <c:v>41802</c:v>
                </c:pt>
                <c:pt idx="1036">
                  <c:v>41803</c:v>
                </c:pt>
                <c:pt idx="1037">
                  <c:v>41806</c:v>
                </c:pt>
                <c:pt idx="1038">
                  <c:v>41807</c:v>
                </c:pt>
                <c:pt idx="1039">
                  <c:v>41808</c:v>
                </c:pt>
                <c:pt idx="1040">
                  <c:v>41809</c:v>
                </c:pt>
                <c:pt idx="1041">
                  <c:v>41810</c:v>
                </c:pt>
                <c:pt idx="1042">
                  <c:v>41813</c:v>
                </c:pt>
                <c:pt idx="1043">
                  <c:v>41814</c:v>
                </c:pt>
                <c:pt idx="1044">
                  <c:v>41815</c:v>
                </c:pt>
                <c:pt idx="1045">
                  <c:v>41816</c:v>
                </c:pt>
                <c:pt idx="1046">
                  <c:v>41817</c:v>
                </c:pt>
                <c:pt idx="1047">
                  <c:v>41820</c:v>
                </c:pt>
                <c:pt idx="1048">
                  <c:v>41821</c:v>
                </c:pt>
                <c:pt idx="1049">
                  <c:v>41822</c:v>
                </c:pt>
                <c:pt idx="1050">
                  <c:v>41823</c:v>
                </c:pt>
                <c:pt idx="1051">
                  <c:v>41824</c:v>
                </c:pt>
                <c:pt idx="1052">
                  <c:v>41827</c:v>
                </c:pt>
                <c:pt idx="1053">
                  <c:v>41828</c:v>
                </c:pt>
                <c:pt idx="1054">
                  <c:v>41829</c:v>
                </c:pt>
                <c:pt idx="1055">
                  <c:v>41830</c:v>
                </c:pt>
                <c:pt idx="1056">
                  <c:v>41831</c:v>
                </c:pt>
                <c:pt idx="1057">
                  <c:v>41834</c:v>
                </c:pt>
                <c:pt idx="1058">
                  <c:v>41835</c:v>
                </c:pt>
                <c:pt idx="1059">
                  <c:v>41836</c:v>
                </c:pt>
                <c:pt idx="1060">
                  <c:v>41837</c:v>
                </c:pt>
                <c:pt idx="1061">
                  <c:v>41838</c:v>
                </c:pt>
                <c:pt idx="1062">
                  <c:v>41841</c:v>
                </c:pt>
                <c:pt idx="1063">
                  <c:v>41842</c:v>
                </c:pt>
                <c:pt idx="1064">
                  <c:v>41843</c:v>
                </c:pt>
                <c:pt idx="1065">
                  <c:v>41844</c:v>
                </c:pt>
                <c:pt idx="1066">
                  <c:v>41845</c:v>
                </c:pt>
                <c:pt idx="1067">
                  <c:v>41848</c:v>
                </c:pt>
                <c:pt idx="1068">
                  <c:v>41849</c:v>
                </c:pt>
                <c:pt idx="1069">
                  <c:v>41850</c:v>
                </c:pt>
                <c:pt idx="1070">
                  <c:v>41851</c:v>
                </c:pt>
                <c:pt idx="1071">
                  <c:v>41852</c:v>
                </c:pt>
                <c:pt idx="1072">
                  <c:v>41855</c:v>
                </c:pt>
                <c:pt idx="1073">
                  <c:v>41856</c:v>
                </c:pt>
                <c:pt idx="1074">
                  <c:v>41857</c:v>
                </c:pt>
                <c:pt idx="1075">
                  <c:v>41858</c:v>
                </c:pt>
                <c:pt idx="1076">
                  <c:v>41859</c:v>
                </c:pt>
                <c:pt idx="1077">
                  <c:v>41862</c:v>
                </c:pt>
                <c:pt idx="1078">
                  <c:v>41863</c:v>
                </c:pt>
                <c:pt idx="1079">
                  <c:v>41864</c:v>
                </c:pt>
                <c:pt idx="1080">
                  <c:v>41865</c:v>
                </c:pt>
                <c:pt idx="1081">
                  <c:v>41866</c:v>
                </c:pt>
                <c:pt idx="1082">
                  <c:v>41869</c:v>
                </c:pt>
                <c:pt idx="1083">
                  <c:v>41870</c:v>
                </c:pt>
                <c:pt idx="1084">
                  <c:v>41871</c:v>
                </c:pt>
                <c:pt idx="1085">
                  <c:v>41872</c:v>
                </c:pt>
                <c:pt idx="1086">
                  <c:v>41873</c:v>
                </c:pt>
                <c:pt idx="1087">
                  <c:v>41876</c:v>
                </c:pt>
                <c:pt idx="1088">
                  <c:v>41877</c:v>
                </c:pt>
                <c:pt idx="1089">
                  <c:v>41878</c:v>
                </c:pt>
                <c:pt idx="1090">
                  <c:v>41879</c:v>
                </c:pt>
                <c:pt idx="1091">
                  <c:v>41880</c:v>
                </c:pt>
                <c:pt idx="1092">
                  <c:v>41883</c:v>
                </c:pt>
                <c:pt idx="1093">
                  <c:v>41884</c:v>
                </c:pt>
                <c:pt idx="1094">
                  <c:v>41885</c:v>
                </c:pt>
                <c:pt idx="1095">
                  <c:v>41886</c:v>
                </c:pt>
                <c:pt idx="1096">
                  <c:v>41887</c:v>
                </c:pt>
                <c:pt idx="1097">
                  <c:v>41890</c:v>
                </c:pt>
                <c:pt idx="1098">
                  <c:v>41891</c:v>
                </c:pt>
                <c:pt idx="1099">
                  <c:v>41892</c:v>
                </c:pt>
                <c:pt idx="1100">
                  <c:v>41893</c:v>
                </c:pt>
                <c:pt idx="1101">
                  <c:v>41894</c:v>
                </c:pt>
                <c:pt idx="1102">
                  <c:v>41897</c:v>
                </c:pt>
                <c:pt idx="1103">
                  <c:v>41898</c:v>
                </c:pt>
                <c:pt idx="1104">
                  <c:v>41899</c:v>
                </c:pt>
                <c:pt idx="1105">
                  <c:v>41900</c:v>
                </c:pt>
                <c:pt idx="1106">
                  <c:v>41901</c:v>
                </c:pt>
                <c:pt idx="1107">
                  <c:v>41904</c:v>
                </c:pt>
                <c:pt idx="1108">
                  <c:v>41905</c:v>
                </c:pt>
                <c:pt idx="1109">
                  <c:v>41906</c:v>
                </c:pt>
                <c:pt idx="1110">
                  <c:v>41907</c:v>
                </c:pt>
                <c:pt idx="1111">
                  <c:v>41908</c:v>
                </c:pt>
                <c:pt idx="1112">
                  <c:v>41911</c:v>
                </c:pt>
                <c:pt idx="1113">
                  <c:v>41912</c:v>
                </c:pt>
                <c:pt idx="1114">
                  <c:v>41913</c:v>
                </c:pt>
                <c:pt idx="1115">
                  <c:v>41914</c:v>
                </c:pt>
                <c:pt idx="1116">
                  <c:v>41915</c:v>
                </c:pt>
                <c:pt idx="1117">
                  <c:v>41918</c:v>
                </c:pt>
                <c:pt idx="1118">
                  <c:v>41919</c:v>
                </c:pt>
                <c:pt idx="1119">
                  <c:v>41920</c:v>
                </c:pt>
                <c:pt idx="1120">
                  <c:v>41921</c:v>
                </c:pt>
                <c:pt idx="1121">
                  <c:v>41922</c:v>
                </c:pt>
                <c:pt idx="1122">
                  <c:v>41925</c:v>
                </c:pt>
                <c:pt idx="1123">
                  <c:v>41926</c:v>
                </c:pt>
                <c:pt idx="1124">
                  <c:v>41927</c:v>
                </c:pt>
                <c:pt idx="1125">
                  <c:v>41928</c:v>
                </c:pt>
                <c:pt idx="1126">
                  <c:v>41929</c:v>
                </c:pt>
                <c:pt idx="1127">
                  <c:v>41932</c:v>
                </c:pt>
                <c:pt idx="1128">
                  <c:v>41933</c:v>
                </c:pt>
                <c:pt idx="1129">
                  <c:v>41934</c:v>
                </c:pt>
                <c:pt idx="1130">
                  <c:v>41935</c:v>
                </c:pt>
                <c:pt idx="1131">
                  <c:v>41936</c:v>
                </c:pt>
                <c:pt idx="1132">
                  <c:v>41939</c:v>
                </c:pt>
                <c:pt idx="1133">
                  <c:v>41940</c:v>
                </c:pt>
                <c:pt idx="1134">
                  <c:v>41941</c:v>
                </c:pt>
                <c:pt idx="1135">
                  <c:v>41942</c:v>
                </c:pt>
                <c:pt idx="1136">
                  <c:v>41943</c:v>
                </c:pt>
                <c:pt idx="1137">
                  <c:v>41946</c:v>
                </c:pt>
                <c:pt idx="1138">
                  <c:v>41947</c:v>
                </c:pt>
                <c:pt idx="1139">
                  <c:v>41948</c:v>
                </c:pt>
                <c:pt idx="1140">
                  <c:v>41949</c:v>
                </c:pt>
                <c:pt idx="1141">
                  <c:v>41950</c:v>
                </c:pt>
                <c:pt idx="1142">
                  <c:v>41953</c:v>
                </c:pt>
                <c:pt idx="1143">
                  <c:v>41954</c:v>
                </c:pt>
                <c:pt idx="1144">
                  <c:v>41955</c:v>
                </c:pt>
                <c:pt idx="1145">
                  <c:v>41956</c:v>
                </c:pt>
                <c:pt idx="1146">
                  <c:v>41957</c:v>
                </c:pt>
                <c:pt idx="1147">
                  <c:v>41960</c:v>
                </c:pt>
                <c:pt idx="1148">
                  <c:v>41961</c:v>
                </c:pt>
                <c:pt idx="1149">
                  <c:v>41962</c:v>
                </c:pt>
                <c:pt idx="1150">
                  <c:v>41963</c:v>
                </c:pt>
                <c:pt idx="1151">
                  <c:v>41964</c:v>
                </c:pt>
                <c:pt idx="1152">
                  <c:v>41967</c:v>
                </c:pt>
                <c:pt idx="1153">
                  <c:v>41968</c:v>
                </c:pt>
                <c:pt idx="1154">
                  <c:v>41969</c:v>
                </c:pt>
                <c:pt idx="1155">
                  <c:v>41970</c:v>
                </c:pt>
                <c:pt idx="1156">
                  <c:v>41971</c:v>
                </c:pt>
                <c:pt idx="1157">
                  <c:v>41974</c:v>
                </c:pt>
                <c:pt idx="1158">
                  <c:v>41975</c:v>
                </c:pt>
                <c:pt idx="1159">
                  <c:v>41976</c:v>
                </c:pt>
                <c:pt idx="1160">
                  <c:v>41977</c:v>
                </c:pt>
                <c:pt idx="1161">
                  <c:v>41978</c:v>
                </c:pt>
                <c:pt idx="1162">
                  <c:v>41981</c:v>
                </c:pt>
                <c:pt idx="1163">
                  <c:v>41982</c:v>
                </c:pt>
                <c:pt idx="1164">
                  <c:v>41983</c:v>
                </c:pt>
                <c:pt idx="1165">
                  <c:v>41984</c:v>
                </c:pt>
                <c:pt idx="1166">
                  <c:v>41985</c:v>
                </c:pt>
                <c:pt idx="1167">
                  <c:v>41988</c:v>
                </c:pt>
                <c:pt idx="1168">
                  <c:v>41989</c:v>
                </c:pt>
                <c:pt idx="1169">
                  <c:v>41990</c:v>
                </c:pt>
                <c:pt idx="1170">
                  <c:v>41991</c:v>
                </c:pt>
                <c:pt idx="1171">
                  <c:v>41992</c:v>
                </c:pt>
                <c:pt idx="1172">
                  <c:v>41995</c:v>
                </c:pt>
                <c:pt idx="1173">
                  <c:v>41996</c:v>
                </c:pt>
                <c:pt idx="1174">
                  <c:v>41997</c:v>
                </c:pt>
                <c:pt idx="1175">
                  <c:v>41998</c:v>
                </c:pt>
                <c:pt idx="1176">
                  <c:v>41999</c:v>
                </c:pt>
                <c:pt idx="1177">
                  <c:v>42002</c:v>
                </c:pt>
                <c:pt idx="1178">
                  <c:v>42003</c:v>
                </c:pt>
                <c:pt idx="1179">
                  <c:v>42004</c:v>
                </c:pt>
                <c:pt idx="1180">
                  <c:v>42005</c:v>
                </c:pt>
                <c:pt idx="1181">
                  <c:v>42006</c:v>
                </c:pt>
                <c:pt idx="1182">
                  <c:v>42009</c:v>
                </c:pt>
                <c:pt idx="1183">
                  <c:v>42010</c:v>
                </c:pt>
                <c:pt idx="1184">
                  <c:v>42011</c:v>
                </c:pt>
                <c:pt idx="1185">
                  <c:v>42012</c:v>
                </c:pt>
                <c:pt idx="1186">
                  <c:v>42013</c:v>
                </c:pt>
                <c:pt idx="1187">
                  <c:v>42016</c:v>
                </c:pt>
                <c:pt idx="1188">
                  <c:v>42017</c:v>
                </c:pt>
                <c:pt idx="1189">
                  <c:v>42018</c:v>
                </c:pt>
                <c:pt idx="1190">
                  <c:v>42019</c:v>
                </c:pt>
                <c:pt idx="1191">
                  <c:v>42020</c:v>
                </c:pt>
                <c:pt idx="1192">
                  <c:v>42023</c:v>
                </c:pt>
                <c:pt idx="1193">
                  <c:v>42024</c:v>
                </c:pt>
                <c:pt idx="1194">
                  <c:v>42025</c:v>
                </c:pt>
                <c:pt idx="1195">
                  <c:v>42026</c:v>
                </c:pt>
                <c:pt idx="1196">
                  <c:v>42027</c:v>
                </c:pt>
                <c:pt idx="1197">
                  <c:v>42030</c:v>
                </c:pt>
                <c:pt idx="1198">
                  <c:v>42031</c:v>
                </c:pt>
                <c:pt idx="1199">
                  <c:v>42032</c:v>
                </c:pt>
                <c:pt idx="1200">
                  <c:v>42033</c:v>
                </c:pt>
                <c:pt idx="1201">
                  <c:v>42034</c:v>
                </c:pt>
                <c:pt idx="1202">
                  <c:v>42037</c:v>
                </c:pt>
                <c:pt idx="1203">
                  <c:v>42038</c:v>
                </c:pt>
                <c:pt idx="1204">
                  <c:v>42039</c:v>
                </c:pt>
                <c:pt idx="1205">
                  <c:v>42040</c:v>
                </c:pt>
                <c:pt idx="1206">
                  <c:v>42041</c:v>
                </c:pt>
                <c:pt idx="1207">
                  <c:v>42044</c:v>
                </c:pt>
                <c:pt idx="1208">
                  <c:v>42045</c:v>
                </c:pt>
                <c:pt idx="1209">
                  <c:v>42046</c:v>
                </c:pt>
                <c:pt idx="1210">
                  <c:v>42047</c:v>
                </c:pt>
                <c:pt idx="1211">
                  <c:v>42048</c:v>
                </c:pt>
                <c:pt idx="1212">
                  <c:v>42051</c:v>
                </c:pt>
                <c:pt idx="1213">
                  <c:v>42052</c:v>
                </c:pt>
                <c:pt idx="1214">
                  <c:v>42053</c:v>
                </c:pt>
                <c:pt idx="1215">
                  <c:v>42054</c:v>
                </c:pt>
                <c:pt idx="1216">
                  <c:v>42055</c:v>
                </c:pt>
                <c:pt idx="1217">
                  <c:v>42058</c:v>
                </c:pt>
                <c:pt idx="1218">
                  <c:v>42059</c:v>
                </c:pt>
                <c:pt idx="1219">
                  <c:v>42060</c:v>
                </c:pt>
                <c:pt idx="1220">
                  <c:v>42061</c:v>
                </c:pt>
                <c:pt idx="1221">
                  <c:v>42062</c:v>
                </c:pt>
                <c:pt idx="1222">
                  <c:v>42065</c:v>
                </c:pt>
                <c:pt idx="1223">
                  <c:v>42066</c:v>
                </c:pt>
                <c:pt idx="1224">
                  <c:v>42067</c:v>
                </c:pt>
                <c:pt idx="1225">
                  <c:v>42068</c:v>
                </c:pt>
                <c:pt idx="1226">
                  <c:v>42069</c:v>
                </c:pt>
                <c:pt idx="1227">
                  <c:v>42072</c:v>
                </c:pt>
                <c:pt idx="1228">
                  <c:v>42073</c:v>
                </c:pt>
                <c:pt idx="1229">
                  <c:v>42074</c:v>
                </c:pt>
                <c:pt idx="1230">
                  <c:v>42075</c:v>
                </c:pt>
                <c:pt idx="1231">
                  <c:v>42076</c:v>
                </c:pt>
                <c:pt idx="1232">
                  <c:v>42079</c:v>
                </c:pt>
                <c:pt idx="1233">
                  <c:v>42080</c:v>
                </c:pt>
                <c:pt idx="1234">
                  <c:v>42081</c:v>
                </c:pt>
                <c:pt idx="1235">
                  <c:v>42082</c:v>
                </c:pt>
                <c:pt idx="1236">
                  <c:v>42083</c:v>
                </c:pt>
                <c:pt idx="1237">
                  <c:v>42086</c:v>
                </c:pt>
                <c:pt idx="1238">
                  <c:v>42087</c:v>
                </c:pt>
                <c:pt idx="1239">
                  <c:v>42088</c:v>
                </c:pt>
                <c:pt idx="1240">
                  <c:v>42089</c:v>
                </c:pt>
                <c:pt idx="1241">
                  <c:v>42090</c:v>
                </c:pt>
                <c:pt idx="1242">
                  <c:v>42093</c:v>
                </c:pt>
                <c:pt idx="1243">
                  <c:v>42094</c:v>
                </c:pt>
                <c:pt idx="1244">
                  <c:v>42095</c:v>
                </c:pt>
                <c:pt idx="1245">
                  <c:v>42096</c:v>
                </c:pt>
                <c:pt idx="1246">
                  <c:v>42097</c:v>
                </c:pt>
                <c:pt idx="1247">
                  <c:v>42100</c:v>
                </c:pt>
                <c:pt idx="1248">
                  <c:v>42101</c:v>
                </c:pt>
                <c:pt idx="1249">
                  <c:v>42102</c:v>
                </c:pt>
                <c:pt idx="1250">
                  <c:v>42103</c:v>
                </c:pt>
                <c:pt idx="1251">
                  <c:v>42104</c:v>
                </c:pt>
                <c:pt idx="1252">
                  <c:v>42107</c:v>
                </c:pt>
                <c:pt idx="1253">
                  <c:v>42108</c:v>
                </c:pt>
                <c:pt idx="1254">
                  <c:v>42109</c:v>
                </c:pt>
                <c:pt idx="1255">
                  <c:v>42110</c:v>
                </c:pt>
                <c:pt idx="1256">
                  <c:v>42111</c:v>
                </c:pt>
                <c:pt idx="1257">
                  <c:v>42114</c:v>
                </c:pt>
                <c:pt idx="1258">
                  <c:v>42115</c:v>
                </c:pt>
                <c:pt idx="1259">
                  <c:v>42116</c:v>
                </c:pt>
                <c:pt idx="1260">
                  <c:v>42117</c:v>
                </c:pt>
                <c:pt idx="1261">
                  <c:v>42118</c:v>
                </c:pt>
                <c:pt idx="1262">
                  <c:v>42121</c:v>
                </c:pt>
                <c:pt idx="1263">
                  <c:v>42122</c:v>
                </c:pt>
                <c:pt idx="1264">
                  <c:v>42123</c:v>
                </c:pt>
                <c:pt idx="1265">
                  <c:v>42124</c:v>
                </c:pt>
                <c:pt idx="1266">
                  <c:v>42125</c:v>
                </c:pt>
                <c:pt idx="1267">
                  <c:v>42128</c:v>
                </c:pt>
                <c:pt idx="1268">
                  <c:v>42129</c:v>
                </c:pt>
                <c:pt idx="1269">
                  <c:v>42130</c:v>
                </c:pt>
                <c:pt idx="1270">
                  <c:v>42131</c:v>
                </c:pt>
                <c:pt idx="1271">
                  <c:v>42132</c:v>
                </c:pt>
                <c:pt idx="1272">
                  <c:v>42135</c:v>
                </c:pt>
                <c:pt idx="1273">
                  <c:v>42136</c:v>
                </c:pt>
                <c:pt idx="1274">
                  <c:v>42137</c:v>
                </c:pt>
                <c:pt idx="1275">
                  <c:v>42138</c:v>
                </c:pt>
                <c:pt idx="1276">
                  <c:v>42139</c:v>
                </c:pt>
                <c:pt idx="1277">
                  <c:v>42142</c:v>
                </c:pt>
                <c:pt idx="1278">
                  <c:v>42143</c:v>
                </c:pt>
                <c:pt idx="1279">
                  <c:v>42144</c:v>
                </c:pt>
                <c:pt idx="1280">
                  <c:v>42145</c:v>
                </c:pt>
                <c:pt idx="1281">
                  <c:v>42146</c:v>
                </c:pt>
                <c:pt idx="1282">
                  <c:v>42149</c:v>
                </c:pt>
                <c:pt idx="1283">
                  <c:v>42150</c:v>
                </c:pt>
                <c:pt idx="1284">
                  <c:v>42151</c:v>
                </c:pt>
                <c:pt idx="1285">
                  <c:v>42152</c:v>
                </c:pt>
                <c:pt idx="1286">
                  <c:v>42153</c:v>
                </c:pt>
                <c:pt idx="1287">
                  <c:v>42156</c:v>
                </c:pt>
                <c:pt idx="1288">
                  <c:v>42157</c:v>
                </c:pt>
                <c:pt idx="1289">
                  <c:v>42158</c:v>
                </c:pt>
                <c:pt idx="1290">
                  <c:v>42159</c:v>
                </c:pt>
                <c:pt idx="1291">
                  <c:v>42160</c:v>
                </c:pt>
                <c:pt idx="1292">
                  <c:v>42163</c:v>
                </c:pt>
                <c:pt idx="1293">
                  <c:v>42164</c:v>
                </c:pt>
                <c:pt idx="1294">
                  <c:v>42165</c:v>
                </c:pt>
                <c:pt idx="1295">
                  <c:v>42166</c:v>
                </c:pt>
                <c:pt idx="1296">
                  <c:v>42167</c:v>
                </c:pt>
                <c:pt idx="1297">
                  <c:v>42170</c:v>
                </c:pt>
                <c:pt idx="1298">
                  <c:v>42171</c:v>
                </c:pt>
                <c:pt idx="1299">
                  <c:v>42172</c:v>
                </c:pt>
                <c:pt idx="1300">
                  <c:v>42173</c:v>
                </c:pt>
                <c:pt idx="1301">
                  <c:v>42174</c:v>
                </c:pt>
                <c:pt idx="1302">
                  <c:v>42177</c:v>
                </c:pt>
                <c:pt idx="1303">
                  <c:v>42178</c:v>
                </c:pt>
                <c:pt idx="1304">
                  <c:v>42179</c:v>
                </c:pt>
                <c:pt idx="1305">
                  <c:v>42180</c:v>
                </c:pt>
                <c:pt idx="1306">
                  <c:v>42181</c:v>
                </c:pt>
                <c:pt idx="1307">
                  <c:v>42184</c:v>
                </c:pt>
                <c:pt idx="1308">
                  <c:v>42185</c:v>
                </c:pt>
                <c:pt idx="1309">
                  <c:v>42186</c:v>
                </c:pt>
                <c:pt idx="1310">
                  <c:v>42187</c:v>
                </c:pt>
                <c:pt idx="1311">
                  <c:v>42188</c:v>
                </c:pt>
                <c:pt idx="1312">
                  <c:v>42191</c:v>
                </c:pt>
                <c:pt idx="1313">
                  <c:v>42192</c:v>
                </c:pt>
                <c:pt idx="1314">
                  <c:v>42193</c:v>
                </c:pt>
                <c:pt idx="1315">
                  <c:v>42194</c:v>
                </c:pt>
                <c:pt idx="1316">
                  <c:v>42195</c:v>
                </c:pt>
                <c:pt idx="1317">
                  <c:v>42198</c:v>
                </c:pt>
                <c:pt idx="1318">
                  <c:v>42199</c:v>
                </c:pt>
                <c:pt idx="1319">
                  <c:v>42200</c:v>
                </c:pt>
                <c:pt idx="1320">
                  <c:v>42201</c:v>
                </c:pt>
                <c:pt idx="1321">
                  <c:v>42202</c:v>
                </c:pt>
                <c:pt idx="1322">
                  <c:v>42205</c:v>
                </c:pt>
                <c:pt idx="1323">
                  <c:v>42206</c:v>
                </c:pt>
                <c:pt idx="1324">
                  <c:v>42207</c:v>
                </c:pt>
                <c:pt idx="1325">
                  <c:v>42208</c:v>
                </c:pt>
                <c:pt idx="1326">
                  <c:v>42209</c:v>
                </c:pt>
                <c:pt idx="1327">
                  <c:v>42212</c:v>
                </c:pt>
                <c:pt idx="1328">
                  <c:v>42213</c:v>
                </c:pt>
                <c:pt idx="1329">
                  <c:v>42214</c:v>
                </c:pt>
                <c:pt idx="1330">
                  <c:v>42215</c:v>
                </c:pt>
                <c:pt idx="1331">
                  <c:v>42216</c:v>
                </c:pt>
                <c:pt idx="1332">
                  <c:v>42219</c:v>
                </c:pt>
                <c:pt idx="1333">
                  <c:v>42220</c:v>
                </c:pt>
                <c:pt idx="1334">
                  <c:v>42221</c:v>
                </c:pt>
                <c:pt idx="1335">
                  <c:v>42222</c:v>
                </c:pt>
                <c:pt idx="1336">
                  <c:v>42223</c:v>
                </c:pt>
                <c:pt idx="1337">
                  <c:v>42226</c:v>
                </c:pt>
                <c:pt idx="1338">
                  <c:v>42227</c:v>
                </c:pt>
                <c:pt idx="1339">
                  <c:v>42228</c:v>
                </c:pt>
                <c:pt idx="1340">
                  <c:v>42229</c:v>
                </c:pt>
                <c:pt idx="1341">
                  <c:v>42230</c:v>
                </c:pt>
                <c:pt idx="1342">
                  <c:v>42233</c:v>
                </c:pt>
                <c:pt idx="1343">
                  <c:v>42234</c:v>
                </c:pt>
                <c:pt idx="1344">
                  <c:v>42235</c:v>
                </c:pt>
                <c:pt idx="1345">
                  <c:v>42236</c:v>
                </c:pt>
                <c:pt idx="1346">
                  <c:v>42237</c:v>
                </c:pt>
                <c:pt idx="1347">
                  <c:v>42240</c:v>
                </c:pt>
                <c:pt idx="1348">
                  <c:v>42241</c:v>
                </c:pt>
                <c:pt idx="1349">
                  <c:v>42242</c:v>
                </c:pt>
                <c:pt idx="1350">
                  <c:v>42243</c:v>
                </c:pt>
                <c:pt idx="1351">
                  <c:v>42244</c:v>
                </c:pt>
                <c:pt idx="1352">
                  <c:v>42247</c:v>
                </c:pt>
                <c:pt idx="1353">
                  <c:v>42248</c:v>
                </c:pt>
                <c:pt idx="1354">
                  <c:v>42249</c:v>
                </c:pt>
                <c:pt idx="1355">
                  <c:v>42250</c:v>
                </c:pt>
                <c:pt idx="1356">
                  <c:v>42251</c:v>
                </c:pt>
                <c:pt idx="1357">
                  <c:v>42254</c:v>
                </c:pt>
                <c:pt idx="1358">
                  <c:v>42255</c:v>
                </c:pt>
                <c:pt idx="1359">
                  <c:v>42256</c:v>
                </c:pt>
                <c:pt idx="1360">
                  <c:v>42257</c:v>
                </c:pt>
                <c:pt idx="1361">
                  <c:v>42258</c:v>
                </c:pt>
                <c:pt idx="1362">
                  <c:v>42261</c:v>
                </c:pt>
                <c:pt idx="1363">
                  <c:v>42262</c:v>
                </c:pt>
                <c:pt idx="1364">
                  <c:v>42263</c:v>
                </c:pt>
                <c:pt idx="1365">
                  <c:v>42264</c:v>
                </c:pt>
                <c:pt idx="1366">
                  <c:v>42265</c:v>
                </c:pt>
                <c:pt idx="1367">
                  <c:v>42268</c:v>
                </c:pt>
                <c:pt idx="1368">
                  <c:v>42269</c:v>
                </c:pt>
                <c:pt idx="1369">
                  <c:v>42270</c:v>
                </c:pt>
                <c:pt idx="1370">
                  <c:v>42271</c:v>
                </c:pt>
                <c:pt idx="1371">
                  <c:v>42272</c:v>
                </c:pt>
                <c:pt idx="1372">
                  <c:v>42275</c:v>
                </c:pt>
                <c:pt idx="1373">
                  <c:v>42276</c:v>
                </c:pt>
                <c:pt idx="1374">
                  <c:v>42277</c:v>
                </c:pt>
                <c:pt idx="1375">
                  <c:v>42278</c:v>
                </c:pt>
                <c:pt idx="1376">
                  <c:v>42279</c:v>
                </c:pt>
                <c:pt idx="1377">
                  <c:v>42282</c:v>
                </c:pt>
                <c:pt idx="1378">
                  <c:v>42283</c:v>
                </c:pt>
                <c:pt idx="1379">
                  <c:v>42284</c:v>
                </c:pt>
                <c:pt idx="1380">
                  <c:v>42285</c:v>
                </c:pt>
                <c:pt idx="1381">
                  <c:v>42286</c:v>
                </c:pt>
                <c:pt idx="1382">
                  <c:v>42289</c:v>
                </c:pt>
                <c:pt idx="1383">
                  <c:v>42290</c:v>
                </c:pt>
                <c:pt idx="1384">
                  <c:v>42291</c:v>
                </c:pt>
                <c:pt idx="1385">
                  <c:v>42292</c:v>
                </c:pt>
                <c:pt idx="1386">
                  <c:v>42293</c:v>
                </c:pt>
                <c:pt idx="1387">
                  <c:v>42296</c:v>
                </c:pt>
                <c:pt idx="1388">
                  <c:v>42297</c:v>
                </c:pt>
                <c:pt idx="1389">
                  <c:v>42298</c:v>
                </c:pt>
                <c:pt idx="1390">
                  <c:v>42299</c:v>
                </c:pt>
                <c:pt idx="1391">
                  <c:v>42300</c:v>
                </c:pt>
                <c:pt idx="1392">
                  <c:v>42303</c:v>
                </c:pt>
                <c:pt idx="1393">
                  <c:v>42304</c:v>
                </c:pt>
                <c:pt idx="1394">
                  <c:v>42305</c:v>
                </c:pt>
                <c:pt idx="1395">
                  <c:v>42306</c:v>
                </c:pt>
                <c:pt idx="1396">
                  <c:v>42307</c:v>
                </c:pt>
                <c:pt idx="1397">
                  <c:v>42310</c:v>
                </c:pt>
                <c:pt idx="1398">
                  <c:v>42311</c:v>
                </c:pt>
                <c:pt idx="1399">
                  <c:v>42312</c:v>
                </c:pt>
                <c:pt idx="1400">
                  <c:v>42313</c:v>
                </c:pt>
                <c:pt idx="1401">
                  <c:v>42314</c:v>
                </c:pt>
                <c:pt idx="1402">
                  <c:v>42317</c:v>
                </c:pt>
                <c:pt idx="1403">
                  <c:v>42318</c:v>
                </c:pt>
                <c:pt idx="1404">
                  <c:v>42319</c:v>
                </c:pt>
                <c:pt idx="1405">
                  <c:v>42320</c:v>
                </c:pt>
                <c:pt idx="1406">
                  <c:v>42321</c:v>
                </c:pt>
                <c:pt idx="1407">
                  <c:v>42324</c:v>
                </c:pt>
                <c:pt idx="1408">
                  <c:v>42325</c:v>
                </c:pt>
                <c:pt idx="1409">
                  <c:v>42326</c:v>
                </c:pt>
                <c:pt idx="1410">
                  <c:v>42327</c:v>
                </c:pt>
                <c:pt idx="1411">
                  <c:v>42328</c:v>
                </c:pt>
                <c:pt idx="1412">
                  <c:v>42331</c:v>
                </c:pt>
                <c:pt idx="1413">
                  <c:v>42332</c:v>
                </c:pt>
                <c:pt idx="1414">
                  <c:v>42333</c:v>
                </c:pt>
                <c:pt idx="1415">
                  <c:v>42334</c:v>
                </c:pt>
                <c:pt idx="1416">
                  <c:v>42335</c:v>
                </c:pt>
                <c:pt idx="1417">
                  <c:v>42338</c:v>
                </c:pt>
                <c:pt idx="1418">
                  <c:v>42339</c:v>
                </c:pt>
                <c:pt idx="1419">
                  <c:v>42340</c:v>
                </c:pt>
                <c:pt idx="1420">
                  <c:v>42341</c:v>
                </c:pt>
                <c:pt idx="1421">
                  <c:v>42342</c:v>
                </c:pt>
                <c:pt idx="1422">
                  <c:v>42345</c:v>
                </c:pt>
                <c:pt idx="1423">
                  <c:v>42346</c:v>
                </c:pt>
                <c:pt idx="1424">
                  <c:v>42347</c:v>
                </c:pt>
                <c:pt idx="1425">
                  <c:v>42348</c:v>
                </c:pt>
                <c:pt idx="1426">
                  <c:v>42349</c:v>
                </c:pt>
                <c:pt idx="1427">
                  <c:v>42352</c:v>
                </c:pt>
                <c:pt idx="1428">
                  <c:v>42353</c:v>
                </c:pt>
                <c:pt idx="1429">
                  <c:v>42354</c:v>
                </c:pt>
                <c:pt idx="1430">
                  <c:v>42355</c:v>
                </c:pt>
                <c:pt idx="1431">
                  <c:v>42356</c:v>
                </c:pt>
                <c:pt idx="1432">
                  <c:v>42359</c:v>
                </c:pt>
                <c:pt idx="1433">
                  <c:v>42360</c:v>
                </c:pt>
                <c:pt idx="1434">
                  <c:v>42361</c:v>
                </c:pt>
                <c:pt idx="1435">
                  <c:v>42362</c:v>
                </c:pt>
                <c:pt idx="1436">
                  <c:v>42363</c:v>
                </c:pt>
                <c:pt idx="1437">
                  <c:v>42366</c:v>
                </c:pt>
                <c:pt idx="1438">
                  <c:v>42367</c:v>
                </c:pt>
                <c:pt idx="1439">
                  <c:v>42368</c:v>
                </c:pt>
                <c:pt idx="1440">
                  <c:v>42369</c:v>
                </c:pt>
                <c:pt idx="1441">
                  <c:v>42370</c:v>
                </c:pt>
                <c:pt idx="1442">
                  <c:v>42373</c:v>
                </c:pt>
                <c:pt idx="1443">
                  <c:v>42374</c:v>
                </c:pt>
                <c:pt idx="1444">
                  <c:v>42375</c:v>
                </c:pt>
                <c:pt idx="1445">
                  <c:v>42376</c:v>
                </c:pt>
                <c:pt idx="1446">
                  <c:v>42377</c:v>
                </c:pt>
                <c:pt idx="1447">
                  <c:v>42380</c:v>
                </c:pt>
                <c:pt idx="1448">
                  <c:v>42381</c:v>
                </c:pt>
                <c:pt idx="1449">
                  <c:v>42382</c:v>
                </c:pt>
                <c:pt idx="1450">
                  <c:v>42383</c:v>
                </c:pt>
                <c:pt idx="1451">
                  <c:v>42384</c:v>
                </c:pt>
                <c:pt idx="1452">
                  <c:v>42387</c:v>
                </c:pt>
                <c:pt idx="1453">
                  <c:v>42388</c:v>
                </c:pt>
                <c:pt idx="1454">
                  <c:v>42389</c:v>
                </c:pt>
                <c:pt idx="1455">
                  <c:v>42390</c:v>
                </c:pt>
                <c:pt idx="1456">
                  <c:v>42391</c:v>
                </c:pt>
                <c:pt idx="1457">
                  <c:v>42394</c:v>
                </c:pt>
                <c:pt idx="1458">
                  <c:v>42395</c:v>
                </c:pt>
                <c:pt idx="1459">
                  <c:v>42396</c:v>
                </c:pt>
                <c:pt idx="1460">
                  <c:v>42397</c:v>
                </c:pt>
                <c:pt idx="1461">
                  <c:v>42398</c:v>
                </c:pt>
                <c:pt idx="1462">
                  <c:v>42401</c:v>
                </c:pt>
                <c:pt idx="1463">
                  <c:v>42402</c:v>
                </c:pt>
                <c:pt idx="1464">
                  <c:v>42403</c:v>
                </c:pt>
                <c:pt idx="1465">
                  <c:v>42404</c:v>
                </c:pt>
                <c:pt idx="1466">
                  <c:v>42405</c:v>
                </c:pt>
                <c:pt idx="1467">
                  <c:v>42408</c:v>
                </c:pt>
                <c:pt idx="1468">
                  <c:v>42409</c:v>
                </c:pt>
                <c:pt idx="1469">
                  <c:v>42410</c:v>
                </c:pt>
                <c:pt idx="1470">
                  <c:v>42411</c:v>
                </c:pt>
                <c:pt idx="1471">
                  <c:v>42412</c:v>
                </c:pt>
                <c:pt idx="1472">
                  <c:v>42415</c:v>
                </c:pt>
                <c:pt idx="1473">
                  <c:v>42416</c:v>
                </c:pt>
                <c:pt idx="1474">
                  <c:v>42417</c:v>
                </c:pt>
                <c:pt idx="1475">
                  <c:v>42418</c:v>
                </c:pt>
                <c:pt idx="1476">
                  <c:v>42419</c:v>
                </c:pt>
                <c:pt idx="1477">
                  <c:v>42422</c:v>
                </c:pt>
                <c:pt idx="1478">
                  <c:v>42423</c:v>
                </c:pt>
                <c:pt idx="1479">
                  <c:v>42424</c:v>
                </c:pt>
                <c:pt idx="1480">
                  <c:v>42425</c:v>
                </c:pt>
                <c:pt idx="1481">
                  <c:v>42426</c:v>
                </c:pt>
                <c:pt idx="1482">
                  <c:v>42429</c:v>
                </c:pt>
                <c:pt idx="1483">
                  <c:v>42430</c:v>
                </c:pt>
                <c:pt idx="1484">
                  <c:v>42431</c:v>
                </c:pt>
                <c:pt idx="1485">
                  <c:v>42432</c:v>
                </c:pt>
                <c:pt idx="1486">
                  <c:v>42433</c:v>
                </c:pt>
                <c:pt idx="1487">
                  <c:v>42436</c:v>
                </c:pt>
                <c:pt idx="1488">
                  <c:v>42437</c:v>
                </c:pt>
                <c:pt idx="1489">
                  <c:v>42438</c:v>
                </c:pt>
                <c:pt idx="1490">
                  <c:v>42439</c:v>
                </c:pt>
                <c:pt idx="1491">
                  <c:v>42440</c:v>
                </c:pt>
                <c:pt idx="1492">
                  <c:v>42443</c:v>
                </c:pt>
                <c:pt idx="1493">
                  <c:v>42444</c:v>
                </c:pt>
                <c:pt idx="1494">
                  <c:v>42445</c:v>
                </c:pt>
                <c:pt idx="1495">
                  <c:v>42446</c:v>
                </c:pt>
                <c:pt idx="1496">
                  <c:v>42447</c:v>
                </c:pt>
                <c:pt idx="1497">
                  <c:v>42450</c:v>
                </c:pt>
                <c:pt idx="1498">
                  <c:v>42451</c:v>
                </c:pt>
                <c:pt idx="1499">
                  <c:v>42452</c:v>
                </c:pt>
                <c:pt idx="1500">
                  <c:v>42453</c:v>
                </c:pt>
                <c:pt idx="1501">
                  <c:v>42454</c:v>
                </c:pt>
                <c:pt idx="1502">
                  <c:v>42457</c:v>
                </c:pt>
                <c:pt idx="1503">
                  <c:v>42458</c:v>
                </c:pt>
                <c:pt idx="1504">
                  <c:v>42459</c:v>
                </c:pt>
                <c:pt idx="1505">
                  <c:v>42460</c:v>
                </c:pt>
                <c:pt idx="1506">
                  <c:v>42461</c:v>
                </c:pt>
                <c:pt idx="1507">
                  <c:v>42464</c:v>
                </c:pt>
                <c:pt idx="1508">
                  <c:v>42465</c:v>
                </c:pt>
                <c:pt idx="1509">
                  <c:v>42466</c:v>
                </c:pt>
                <c:pt idx="1510">
                  <c:v>42467</c:v>
                </c:pt>
                <c:pt idx="1511">
                  <c:v>42468</c:v>
                </c:pt>
                <c:pt idx="1512">
                  <c:v>42471</c:v>
                </c:pt>
                <c:pt idx="1513">
                  <c:v>42472</c:v>
                </c:pt>
                <c:pt idx="1514">
                  <c:v>42473</c:v>
                </c:pt>
                <c:pt idx="1515">
                  <c:v>42474</c:v>
                </c:pt>
                <c:pt idx="1516">
                  <c:v>42475</c:v>
                </c:pt>
                <c:pt idx="1517">
                  <c:v>42478</c:v>
                </c:pt>
                <c:pt idx="1518">
                  <c:v>42479</c:v>
                </c:pt>
                <c:pt idx="1519">
                  <c:v>42480</c:v>
                </c:pt>
                <c:pt idx="1520">
                  <c:v>42481</c:v>
                </c:pt>
                <c:pt idx="1521">
                  <c:v>42482</c:v>
                </c:pt>
                <c:pt idx="1522">
                  <c:v>42485</c:v>
                </c:pt>
                <c:pt idx="1523">
                  <c:v>42486</c:v>
                </c:pt>
                <c:pt idx="1524">
                  <c:v>42487</c:v>
                </c:pt>
                <c:pt idx="1525">
                  <c:v>42488</c:v>
                </c:pt>
                <c:pt idx="1526">
                  <c:v>42489</c:v>
                </c:pt>
                <c:pt idx="1527">
                  <c:v>42492</c:v>
                </c:pt>
                <c:pt idx="1528">
                  <c:v>42493</c:v>
                </c:pt>
                <c:pt idx="1529">
                  <c:v>42494</c:v>
                </c:pt>
                <c:pt idx="1530">
                  <c:v>42495</c:v>
                </c:pt>
                <c:pt idx="1531">
                  <c:v>42496</c:v>
                </c:pt>
                <c:pt idx="1532">
                  <c:v>42499</c:v>
                </c:pt>
                <c:pt idx="1533">
                  <c:v>42500</c:v>
                </c:pt>
                <c:pt idx="1534">
                  <c:v>42501</c:v>
                </c:pt>
                <c:pt idx="1535">
                  <c:v>42502</c:v>
                </c:pt>
                <c:pt idx="1536">
                  <c:v>42503</c:v>
                </c:pt>
                <c:pt idx="1537">
                  <c:v>42506</c:v>
                </c:pt>
                <c:pt idx="1538">
                  <c:v>42507</c:v>
                </c:pt>
                <c:pt idx="1539">
                  <c:v>42508</c:v>
                </c:pt>
                <c:pt idx="1540">
                  <c:v>42509</c:v>
                </c:pt>
                <c:pt idx="1541">
                  <c:v>42510</c:v>
                </c:pt>
                <c:pt idx="1542">
                  <c:v>42513</c:v>
                </c:pt>
                <c:pt idx="1543">
                  <c:v>42514</c:v>
                </c:pt>
                <c:pt idx="1544">
                  <c:v>42515</c:v>
                </c:pt>
                <c:pt idx="1545">
                  <c:v>42516</c:v>
                </c:pt>
                <c:pt idx="1546">
                  <c:v>42517</c:v>
                </c:pt>
                <c:pt idx="1547">
                  <c:v>42520</c:v>
                </c:pt>
                <c:pt idx="1548">
                  <c:v>42521</c:v>
                </c:pt>
                <c:pt idx="1549">
                  <c:v>42522</c:v>
                </c:pt>
                <c:pt idx="1550">
                  <c:v>42523</c:v>
                </c:pt>
                <c:pt idx="1551">
                  <c:v>42524</c:v>
                </c:pt>
                <c:pt idx="1552">
                  <c:v>42527</c:v>
                </c:pt>
                <c:pt idx="1553">
                  <c:v>42528</c:v>
                </c:pt>
                <c:pt idx="1554">
                  <c:v>42529</c:v>
                </c:pt>
                <c:pt idx="1555">
                  <c:v>42530</c:v>
                </c:pt>
                <c:pt idx="1556">
                  <c:v>42531</c:v>
                </c:pt>
                <c:pt idx="1557">
                  <c:v>42534</c:v>
                </c:pt>
                <c:pt idx="1558">
                  <c:v>42535</c:v>
                </c:pt>
                <c:pt idx="1559">
                  <c:v>42536</c:v>
                </c:pt>
                <c:pt idx="1560">
                  <c:v>42537</c:v>
                </c:pt>
                <c:pt idx="1561">
                  <c:v>42538</c:v>
                </c:pt>
                <c:pt idx="1562">
                  <c:v>42541</c:v>
                </c:pt>
                <c:pt idx="1563">
                  <c:v>42542</c:v>
                </c:pt>
                <c:pt idx="1564">
                  <c:v>42543</c:v>
                </c:pt>
                <c:pt idx="1565">
                  <c:v>42544</c:v>
                </c:pt>
                <c:pt idx="1566">
                  <c:v>42545</c:v>
                </c:pt>
                <c:pt idx="1567">
                  <c:v>42548</c:v>
                </c:pt>
                <c:pt idx="1568">
                  <c:v>42549</c:v>
                </c:pt>
                <c:pt idx="1569">
                  <c:v>42550</c:v>
                </c:pt>
                <c:pt idx="1570">
                  <c:v>42551</c:v>
                </c:pt>
                <c:pt idx="1571">
                  <c:v>42552</c:v>
                </c:pt>
                <c:pt idx="1572">
                  <c:v>42555</c:v>
                </c:pt>
                <c:pt idx="1573">
                  <c:v>42556</c:v>
                </c:pt>
                <c:pt idx="1574">
                  <c:v>42557</c:v>
                </c:pt>
                <c:pt idx="1575">
                  <c:v>42558</c:v>
                </c:pt>
                <c:pt idx="1576">
                  <c:v>42559</c:v>
                </c:pt>
                <c:pt idx="1577">
                  <c:v>42562</c:v>
                </c:pt>
                <c:pt idx="1578">
                  <c:v>42563</c:v>
                </c:pt>
                <c:pt idx="1579">
                  <c:v>42564</c:v>
                </c:pt>
                <c:pt idx="1580">
                  <c:v>42565</c:v>
                </c:pt>
                <c:pt idx="1581">
                  <c:v>42566</c:v>
                </c:pt>
                <c:pt idx="1582">
                  <c:v>42569</c:v>
                </c:pt>
                <c:pt idx="1583">
                  <c:v>42570</c:v>
                </c:pt>
                <c:pt idx="1584">
                  <c:v>42571</c:v>
                </c:pt>
                <c:pt idx="1585">
                  <c:v>42572</c:v>
                </c:pt>
                <c:pt idx="1586">
                  <c:v>42573</c:v>
                </c:pt>
                <c:pt idx="1587">
                  <c:v>42576</c:v>
                </c:pt>
                <c:pt idx="1588">
                  <c:v>42577</c:v>
                </c:pt>
                <c:pt idx="1589">
                  <c:v>42578</c:v>
                </c:pt>
                <c:pt idx="1590">
                  <c:v>42579</c:v>
                </c:pt>
                <c:pt idx="1591">
                  <c:v>42580</c:v>
                </c:pt>
                <c:pt idx="1592">
                  <c:v>42583</c:v>
                </c:pt>
                <c:pt idx="1593">
                  <c:v>42584</c:v>
                </c:pt>
                <c:pt idx="1594">
                  <c:v>42585</c:v>
                </c:pt>
                <c:pt idx="1595">
                  <c:v>42586</c:v>
                </c:pt>
                <c:pt idx="1596">
                  <c:v>42587</c:v>
                </c:pt>
                <c:pt idx="1597">
                  <c:v>42590</c:v>
                </c:pt>
                <c:pt idx="1598">
                  <c:v>42591</c:v>
                </c:pt>
                <c:pt idx="1599">
                  <c:v>42592</c:v>
                </c:pt>
                <c:pt idx="1600">
                  <c:v>42593</c:v>
                </c:pt>
                <c:pt idx="1601">
                  <c:v>42594</c:v>
                </c:pt>
                <c:pt idx="1602">
                  <c:v>42597</c:v>
                </c:pt>
                <c:pt idx="1603">
                  <c:v>42598</c:v>
                </c:pt>
                <c:pt idx="1604">
                  <c:v>42599</c:v>
                </c:pt>
                <c:pt idx="1605">
                  <c:v>42600</c:v>
                </c:pt>
                <c:pt idx="1606">
                  <c:v>42601</c:v>
                </c:pt>
                <c:pt idx="1607">
                  <c:v>42604</c:v>
                </c:pt>
                <c:pt idx="1608">
                  <c:v>42605</c:v>
                </c:pt>
                <c:pt idx="1609">
                  <c:v>42606</c:v>
                </c:pt>
                <c:pt idx="1610">
                  <c:v>42607</c:v>
                </c:pt>
                <c:pt idx="1611">
                  <c:v>42608</c:v>
                </c:pt>
                <c:pt idx="1612">
                  <c:v>42611</c:v>
                </c:pt>
                <c:pt idx="1613">
                  <c:v>42612</c:v>
                </c:pt>
                <c:pt idx="1614">
                  <c:v>42613</c:v>
                </c:pt>
                <c:pt idx="1615">
                  <c:v>42614</c:v>
                </c:pt>
                <c:pt idx="1616">
                  <c:v>42615</c:v>
                </c:pt>
                <c:pt idx="1617">
                  <c:v>42618</c:v>
                </c:pt>
                <c:pt idx="1618">
                  <c:v>42619</c:v>
                </c:pt>
                <c:pt idx="1619">
                  <c:v>42620</c:v>
                </c:pt>
                <c:pt idx="1620">
                  <c:v>42621</c:v>
                </c:pt>
                <c:pt idx="1621">
                  <c:v>42622</c:v>
                </c:pt>
                <c:pt idx="1622">
                  <c:v>42625</c:v>
                </c:pt>
                <c:pt idx="1623">
                  <c:v>42626</c:v>
                </c:pt>
                <c:pt idx="1624">
                  <c:v>42627</c:v>
                </c:pt>
                <c:pt idx="1625">
                  <c:v>42628</c:v>
                </c:pt>
                <c:pt idx="1626">
                  <c:v>42629</c:v>
                </c:pt>
                <c:pt idx="1627">
                  <c:v>42632</c:v>
                </c:pt>
                <c:pt idx="1628">
                  <c:v>42633</c:v>
                </c:pt>
                <c:pt idx="1629">
                  <c:v>42634</c:v>
                </c:pt>
                <c:pt idx="1630">
                  <c:v>42635</c:v>
                </c:pt>
                <c:pt idx="1631">
                  <c:v>42636</c:v>
                </c:pt>
                <c:pt idx="1632">
                  <c:v>42639</c:v>
                </c:pt>
                <c:pt idx="1633">
                  <c:v>42640</c:v>
                </c:pt>
                <c:pt idx="1634">
                  <c:v>42641</c:v>
                </c:pt>
                <c:pt idx="1635">
                  <c:v>42642</c:v>
                </c:pt>
                <c:pt idx="1636">
                  <c:v>42643</c:v>
                </c:pt>
                <c:pt idx="1637">
                  <c:v>42646</c:v>
                </c:pt>
                <c:pt idx="1638">
                  <c:v>42647</c:v>
                </c:pt>
                <c:pt idx="1639">
                  <c:v>42648</c:v>
                </c:pt>
                <c:pt idx="1640">
                  <c:v>42649</c:v>
                </c:pt>
                <c:pt idx="1641">
                  <c:v>42650</c:v>
                </c:pt>
                <c:pt idx="1642">
                  <c:v>42653</c:v>
                </c:pt>
                <c:pt idx="1643">
                  <c:v>42654</c:v>
                </c:pt>
                <c:pt idx="1644">
                  <c:v>42655</c:v>
                </c:pt>
                <c:pt idx="1645">
                  <c:v>42656</c:v>
                </c:pt>
                <c:pt idx="1646">
                  <c:v>42657</c:v>
                </c:pt>
                <c:pt idx="1647">
                  <c:v>42660</c:v>
                </c:pt>
                <c:pt idx="1648">
                  <c:v>42661</c:v>
                </c:pt>
                <c:pt idx="1649">
                  <c:v>42662</c:v>
                </c:pt>
                <c:pt idx="1650">
                  <c:v>42663</c:v>
                </c:pt>
                <c:pt idx="1651">
                  <c:v>42664</c:v>
                </c:pt>
                <c:pt idx="1652">
                  <c:v>42667</c:v>
                </c:pt>
                <c:pt idx="1653">
                  <c:v>42668</c:v>
                </c:pt>
                <c:pt idx="1654">
                  <c:v>42669</c:v>
                </c:pt>
                <c:pt idx="1655">
                  <c:v>42670</c:v>
                </c:pt>
                <c:pt idx="1656">
                  <c:v>42671</c:v>
                </c:pt>
                <c:pt idx="1657">
                  <c:v>42674</c:v>
                </c:pt>
                <c:pt idx="1658">
                  <c:v>42675</c:v>
                </c:pt>
                <c:pt idx="1659">
                  <c:v>42676</c:v>
                </c:pt>
                <c:pt idx="1660">
                  <c:v>42677</c:v>
                </c:pt>
                <c:pt idx="1661">
                  <c:v>42678</c:v>
                </c:pt>
                <c:pt idx="1662">
                  <c:v>42681</c:v>
                </c:pt>
                <c:pt idx="1663">
                  <c:v>42682</c:v>
                </c:pt>
                <c:pt idx="1664">
                  <c:v>42683</c:v>
                </c:pt>
                <c:pt idx="1665">
                  <c:v>42684</c:v>
                </c:pt>
                <c:pt idx="1666">
                  <c:v>42685</c:v>
                </c:pt>
                <c:pt idx="1667">
                  <c:v>42688</c:v>
                </c:pt>
                <c:pt idx="1668">
                  <c:v>42689</c:v>
                </c:pt>
                <c:pt idx="1669">
                  <c:v>42690</c:v>
                </c:pt>
                <c:pt idx="1670">
                  <c:v>42691</c:v>
                </c:pt>
                <c:pt idx="1671">
                  <c:v>42692</c:v>
                </c:pt>
                <c:pt idx="1672">
                  <c:v>42695</c:v>
                </c:pt>
                <c:pt idx="1673">
                  <c:v>42696</c:v>
                </c:pt>
                <c:pt idx="1674">
                  <c:v>42697</c:v>
                </c:pt>
                <c:pt idx="1675">
                  <c:v>42698</c:v>
                </c:pt>
                <c:pt idx="1676">
                  <c:v>42699</c:v>
                </c:pt>
                <c:pt idx="1677">
                  <c:v>42702</c:v>
                </c:pt>
                <c:pt idx="1678">
                  <c:v>42703</c:v>
                </c:pt>
                <c:pt idx="1679">
                  <c:v>42704</c:v>
                </c:pt>
                <c:pt idx="1680">
                  <c:v>42705</c:v>
                </c:pt>
                <c:pt idx="1681">
                  <c:v>42706</c:v>
                </c:pt>
                <c:pt idx="1682">
                  <c:v>42709</c:v>
                </c:pt>
                <c:pt idx="1683">
                  <c:v>42710</c:v>
                </c:pt>
                <c:pt idx="1684">
                  <c:v>42711</c:v>
                </c:pt>
                <c:pt idx="1685">
                  <c:v>42712</c:v>
                </c:pt>
                <c:pt idx="1686">
                  <c:v>42713</c:v>
                </c:pt>
                <c:pt idx="1687">
                  <c:v>42716</c:v>
                </c:pt>
                <c:pt idx="1688">
                  <c:v>42717</c:v>
                </c:pt>
                <c:pt idx="1689">
                  <c:v>42718</c:v>
                </c:pt>
                <c:pt idx="1690">
                  <c:v>42719</c:v>
                </c:pt>
                <c:pt idx="1691">
                  <c:v>42720</c:v>
                </c:pt>
                <c:pt idx="1692">
                  <c:v>42723</c:v>
                </c:pt>
                <c:pt idx="1693">
                  <c:v>42724</c:v>
                </c:pt>
                <c:pt idx="1694">
                  <c:v>42725</c:v>
                </c:pt>
                <c:pt idx="1695">
                  <c:v>42726</c:v>
                </c:pt>
                <c:pt idx="1696">
                  <c:v>42727</c:v>
                </c:pt>
                <c:pt idx="1697">
                  <c:v>42730</c:v>
                </c:pt>
                <c:pt idx="1698">
                  <c:v>42731</c:v>
                </c:pt>
                <c:pt idx="1699">
                  <c:v>42732</c:v>
                </c:pt>
                <c:pt idx="1700">
                  <c:v>42733</c:v>
                </c:pt>
                <c:pt idx="1701">
                  <c:v>42734</c:v>
                </c:pt>
                <c:pt idx="1702">
                  <c:v>42737</c:v>
                </c:pt>
                <c:pt idx="1703">
                  <c:v>42738</c:v>
                </c:pt>
                <c:pt idx="1704">
                  <c:v>42739</c:v>
                </c:pt>
                <c:pt idx="1705">
                  <c:v>42740</c:v>
                </c:pt>
                <c:pt idx="1706">
                  <c:v>42741</c:v>
                </c:pt>
                <c:pt idx="1707">
                  <c:v>42744</c:v>
                </c:pt>
                <c:pt idx="1708">
                  <c:v>42745</c:v>
                </c:pt>
                <c:pt idx="1709">
                  <c:v>42746</c:v>
                </c:pt>
                <c:pt idx="1710">
                  <c:v>42747</c:v>
                </c:pt>
                <c:pt idx="1711">
                  <c:v>42748</c:v>
                </c:pt>
                <c:pt idx="1712">
                  <c:v>42751</c:v>
                </c:pt>
                <c:pt idx="1713">
                  <c:v>42752</c:v>
                </c:pt>
                <c:pt idx="1714">
                  <c:v>42753</c:v>
                </c:pt>
                <c:pt idx="1715">
                  <c:v>42754</c:v>
                </c:pt>
                <c:pt idx="1716">
                  <c:v>42755</c:v>
                </c:pt>
                <c:pt idx="1717">
                  <c:v>42758</c:v>
                </c:pt>
                <c:pt idx="1718">
                  <c:v>42759</c:v>
                </c:pt>
                <c:pt idx="1719">
                  <c:v>42760</c:v>
                </c:pt>
                <c:pt idx="1720">
                  <c:v>42761</c:v>
                </c:pt>
                <c:pt idx="1721">
                  <c:v>42762</c:v>
                </c:pt>
                <c:pt idx="1722">
                  <c:v>42765</c:v>
                </c:pt>
                <c:pt idx="1723">
                  <c:v>42766</c:v>
                </c:pt>
                <c:pt idx="1724">
                  <c:v>42767</c:v>
                </c:pt>
                <c:pt idx="1725">
                  <c:v>42768</c:v>
                </c:pt>
                <c:pt idx="1726">
                  <c:v>42769</c:v>
                </c:pt>
                <c:pt idx="1727">
                  <c:v>42772</c:v>
                </c:pt>
                <c:pt idx="1728">
                  <c:v>42773</c:v>
                </c:pt>
                <c:pt idx="1729">
                  <c:v>42774</c:v>
                </c:pt>
                <c:pt idx="1730">
                  <c:v>42775</c:v>
                </c:pt>
                <c:pt idx="1731">
                  <c:v>42776</c:v>
                </c:pt>
                <c:pt idx="1732">
                  <c:v>42779</c:v>
                </c:pt>
                <c:pt idx="1733">
                  <c:v>42780</c:v>
                </c:pt>
                <c:pt idx="1734">
                  <c:v>42781</c:v>
                </c:pt>
                <c:pt idx="1735">
                  <c:v>42782</c:v>
                </c:pt>
                <c:pt idx="1736">
                  <c:v>42783</c:v>
                </c:pt>
                <c:pt idx="1737">
                  <c:v>42786</c:v>
                </c:pt>
                <c:pt idx="1738">
                  <c:v>42787</c:v>
                </c:pt>
                <c:pt idx="1739">
                  <c:v>42788</c:v>
                </c:pt>
                <c:pt idx="1740">
                  <c:v>42789</c:v>
                </c:pt>
                <c:pt idx="1741">
                  <c:v>42790</c:v>
                </c:pt>
                <c:pt idx="1742">
                  <c:v>42793</c:v>
                </c:pt>
                <c:pt idx="1743">
                  <c:v>42794</c:v>
                </c:pt>
                <c:pt idx="1744">
                  <c:v>42795</c:v>
                </c:pt>
                <c:pt idx="1745">
                  <c:v>42796</c:v>
                </c:pt>
                <c:pt idx="1746">
                  <c:v>42797</c:v>
                </c:pt>
                <c:pt idx="1747">
                  <c:v>42800</c:v>
                </c:pt>
                <c:pt idx="1748">
                  <c:v>42801</c:v>
                </c:pt>
                <c:pt idx="1749">
                  <c:v>42802</c:v>
                </c:pt>
                <c:pt idx="1750">
                  <c:v>42803</c:v>
                </c:pt>
                <c:pt idx="1751">
                  <c:v>42804</c:v>
                </c:pt>
                <c:pt idx="1752">
                  <c:v>42807</c:v>
                </c:pt>
                <c:pt idx="1753">
                  <c:v>42808</c:v>
                </c:pt>
                <c:pt idx="1754">
                  <c:v>42809</c:v>
                </c:pt>
                <c:pt idx="1755">
                  <c:v>42810</c:v>
                </c:pt>
                <c:pt idx="1756">
                  <c:v>42811</c:v>
                </c:pt>
                <c:pt idx="1757">
                  <c:v>42814</c:v>
                </c:pt>
                <c:pt idx="1758">
                  <c:v>42815</c:v>
                </c:pt>
                <c:pt idx="1759">
                  <c:v>42816</c:v>
                </c:pt>
                <c:pt idx="1760">
                  <c:v>42817</c:v>
                </c:pt>
                <c:pt idx="1761">
                  <c:v>42818</c:v>
                </c:pt>
                <c:pt idx="1762">
                  <c:v>42821</c:v>
                </c:pt>
                <c:pt idx="1763">
                  <c:v>42822</c:v>
                </c:pt>
                <c:pt idx="1764">
                  <c:v>42823</c:v>
                </c:pt>
                <c:pt idx="1765">
                  <c:v>42824</c:v>
                </c:pt>
                <c:pt idx="1766">
                  <c:v>42825</c:v>
                </c:pt>
                <c:pt idx="1767">
                  <c:v>42828</c:v>
                </c:pt>
                <c:pt idx="1768">
                  <c:v>42829</c:v>
                </c:pt>
                <c:pt idx="1769">
                  <c:v>42830</c:v>
                </c:pt>
                <c:pt idx="1770">
                  <c:v>42831</c:v>
                </c:pt>
                <c:pt idx="1771">
                  <c:v>42832</c:v>
                </c:pt>
                <c:pt idx="1772">
                  <c:v>42835</c:v>
                </c:pt>
                <c:pt idx="1773">
                  <c:v>42836</c:v>
                </c:pt>
                <c:pt idx="1774">
                  <c:v>42837</c:v>
                </c:pt>
                <c:pt idx="1775">
                  <c:v>42838</c:v>
                </c:pt>
                <c:pt idx="1776">
                  <c:v>42839</c:v>
                </c:pt>
                <c:pt idx="1777">
                  <c:v>42842</c:v>
                </c:pt>
                <c:pt idx="1778">
                  <c:v>42843</c:v>
                </c:pt>
                <c:pt idx="1779">
                  <c:v>42844</c:v>
                </c:pt>
                <c:pt idx="1780">
                  <c:v>42845</c:v>
                </c:pt>
                <c:pt idx="1781">
                  <c:v>42846</c:v>
                </c:pt>
                <c:pt idx="1782">
                  <c:v>42849</c:v>
                </c:pt>
                <c:pt idx="1783">
                  <c:v>42850</c:v>
                </c:pt>
                <c:pt idx="1784">
                  <c:v>42851</c:v>
                </c:pt>
                <c:pt idx="1785">
                  <c:v>42852</c:v>
                </c:pt>
                <c:pt idx="1786">
                  <c:v>42853</c:v>
                </c:pt>
                <c:pt idx="1787">
                  <c:v>42856</c:v>
                </c:pt>
                <c:pt idx="1788">
                  <c:v>42857</c:v>
                </c:pt>
                <c:pt idx="1789">
                  <c:v>42858</c:v>
                </c:pt>
                <c:pt idx="1790">
                  <c:v>42859</c:v>
                </c:pt>
                <c:pt idx="1791">
                  <c:v>42860</c:v>
                </c:pt>
                <c:pt idx="1792">
                  <c:v>42863</c:v>
                </c:pt>
                <c:pt idx="1793">
                  <c:v>42864</c:v>
                </c:pt>
                <c:pt idx="1794">
                  <c:v>42865</c:v>
                </c:pt>
                <c:pt idx="1795">
                  <c:v>42866</c:v>
                </c:pt>
                <c:pt idx="1796">
                  <c:v>42867</c:v>
                </c:pt>
                <c:pt idx="1797">
                  <c:v>42870</c:v>
                </c:pt>
                <c:pt idx="1798">
                  <c:v>42871</c:v>
                </c:pt>
                <c:pt idx="1799">
                  <c:v>42872</c:v>
                </c:pt>
                <c:pt idx="1800">
                  <c:v>42873</c:v>
                </c:pt>
                <c:pt idx="1801">
                  <c:v>42874</c:v>
                </c:pt>
                <c:pt idx="1802">
                  <c:v>42877</c:v>
                </c:pt>
                <c:pt idx="1803">
                  <c:v>42878</c:v>
                </c:pt>
                <c:pt idx="1804">
                  <c:v>42879</c:v>
                </c:pt>
                <c:pt idx="1805">
                  <c:v>42880</c:v>
                </c:pt>
                <c:pt idx="1806">
                  <c:v>42881</c:v>
                </c:pt>
                <c:pt idx="1807">
                  <c:v>42884</c:v>
                </c:pt>
                <c:pt idx="1808">
                  <c:v>42885</c:v>
                </c:pt>
                <c:pt idx="1809">
                  <c:v>42886</c:v>
                </c:pt>
                <c:pt idx="1810">
                  <c:v>42887</c:v>
                </c:pt>
                <c:pt idx="1811">
                  <c:v>42888</c:v>
                </c:pt>
                <c:pt idx="1812">
                  <c:v>42891</c:v>
                </c:pt>
                <c:pt idx="1813">
                  <c:v>42892</c:v>
                </c:pt>
                <c:pt idx="1814">
                  <c:v>42893</c:v>
                </c:pt>
                <c:pt idx="1815">
                  <c:v>42894</c:v>
                </c:pt>
                <c:pt idx="1816">
                  <c:v>42895</c:v>
                </c:pt>
                <c:pt idx="1817">
                  <c:v>42898</c:v>
                </c:pt>
                <c:pt idx="1818">
                  <c:v>42899</c:v>
                </c:pt>
                <c:pt idx="1819">
                  <c:v>42900</c:v>
                </c:pt>
                <c:pt idx="1820">
                  <c:v>42901</c:v>
                </c:pt>
                <c:pt idx="1821">
                  <c:v>42902</c:v>
                </c:pt>
                <c:pt idx="1822">
                  <c:v>42905</c:v>
                </c:pt>
                <c:pt idx="1823">
                  <c:v>42906</c:v>
                </c:pt>
                <c:pt idx="1824">
                  <c:v>42907</c:v>
                </c:pt>
                <c:pt idx="1825">
                  <c:v>42908</c:v>
                </c:pt>
                <c:pt idx="1826">
                  <c:v>42909</c:v>
                </c:pt>
                <c:pt idx="1827">
                  <c:v>42912</c:v>
                </c:pt>
                <c:pt idx="1828">
                  <c:v>42913</c:v>
                </c:pt>
                <c:pt idx="1829">
                  <c:v>42914</c:v>
                </c:pt>
                <c:pt idx="1830">
                  <c:v>42915</c:v>
                </c:pt>
                <c:pt idx="1831">
                  <c:v>42916</c:v>
                </c:pt>
                <c:pt idx="1832">
                  <c:v>42919</c:v>
                </c:pt>
                <c:pt idx="1833">
                  <c:v>42920</c:v>
                </c:pt>
                <c:pt idx="1834">
                  <c:v>42921</c:v>
                </c:pt>
                <c:pt idx="1835">
                  <c:v>42922</c:v>
                </c:pt>
                <c:pt idx="1836">
                  <c:v>42923</c:v>
                </c:pt>
                <c:pt idx="1837">
                  <c:v>42926</c:v>
                </c:pt>
                <c:pt idx="1838">
                  <c:v>42927</c:v>
                </c:pt>
                <c:pt idx="1839">
                  <c:v>42928</c:v>
                </c:pt>
                <c:pt idx="1840">
                  <c:v>42929</c:v>
                </c:pt>
                <c:pt idx="1841">
                  <c:v>42930</c:v>
                </c:pt>
                <c:pt idx="1842">
                  <c:v>42933</c:v>
                </c:pt>
                <c:pt idx="1843">
                  <c:v>42934</c:v>
                </c:pt>
                <c:pt idx="1844">
                  <c:v>42935</c:v>
                </c:pt>
                <c:pt idx="1845">
                  <c:v>42936</c:v>
                </c:pt>
                <c:pt idx="1846">
                  <c:v>42937</c:v>
                </c:pt>
                <c:pt idx="1847">
                  <c:v>42940</c:v>
                </c:pt>
                <c:pt idx="1848">
                  <c:v>42941</c:v>
                </c:pt>
                <c:pt idx="1849">
                  <c:v>42942</c:v>
                </c:pt>
                <c:pt idx="1850">
                  <c:v>42943</c:v>
                </c:pt>
                <c:pt idx="1851">
                  <c:v>42944</c:v>
                </c:pt>
                <c:pt idx="1852">
                  <c:v>42947</c:v>
                </c:pt>
                <c:pt idx="1853">
                  <c:v>42948</c:v>
                </c:pt>
                <c:pt idx="1854">
                  <c:v>42949</c:v>
                </c:pt>
                <c:pt idx="1855">
                  <c:v>42950</c:v>
                </c:pt>
                <c:pt idx="1856">
                  <c:v>42951</c:v>
                </c:pt>
                <c:pt idx="1857">
                  <c:v>42954</c:v>
                </c:pt>
                <c:pt idx="1858">
                  <c:v>42955</c:v>
                </c:pt>
                <c:pt idx="1859">
                  <c:v>42956</c:v>
                </c:pt>
                <c:pt idx="1860">
                  <c:v>42957</c:v>
                </c:pt>
                <c:pt idx="1861">
                  <c:v>42958</c:v>
                </c:pt>
                <c:pt idx="1862">
                  <c:v>42961</c:v>
                </c:pt>
                <c:pt idx="1863">
                  <c:v>42962</c:v>
                </c:pt>
                <c:pt idx="1864">
                  <c:v>42963</c:v>
                </c:pt>
                <c:pt idx="1865">
                  <c:v>42964</c:v>
                </c:pt>
                <c:pt idx="1866">
                  <c:v>42965</c:v>
                </c:pt>
                <c:pt idx="1867">
                  <c:v>42968</c:v>
                </c:pt>
                <c:pt idx="1868">
                  <c:v>42969</c:v>
                </c:pt>
                <c:pt idx="1869">
                  <c:v>42970</c:v>
                </c:pt>
                <c:pt idx="1870">
                  <c:v>42971</c:v>
                </c:pt>
                <c:pt idx="1871">
                  <c:v>42972</c:v>
                </c:pt>
                <c:pt idx="1872">
                  <c:v>42975</c:v>
                </c:pt>
                <c:pt idx="1873">
                  <c:v>42976</c:v>
                </c:pt>
                <c:pt idx="1874">
                  <c:v>42977</c:v>
                </c:pt>
                <c:pt idx="1875">
                  <c:v>42978</c:v>
                </c:pt>
                <c:pt idx="1876">
                  <c:v>42979</c:v>
                </c:pt>
                <c:pt idx="1877">
                  <c:v>42982</c:v>
                </c:pt>
                <c:pt idx="1878">
                  <c:v>42983</c:v>
                </c:pt>
                <c:pt idx="1879">
                  <c:v>42984</c:v>
                </c:pt>
                <c:pt idx="1880">
                  <c:v>42985</c:v>
                </c:pt>
                <c:pt idx="1881">
                  <c:v>42986</c:v>
                </c:pt>
                <c:pt idx="1882">
                  <c:v>42989</c:v>
                </c:pt>
                <c:pt idx="1883">
                  <c:v>42990</c:v>
                </c:pt>
                <c:pt idx="1884">
                  <c:v>42991</c:v>
                </c:pt>
                <c:pt idx="1885">
                  <c:v>42992</c:v>
                </c:pt>
                <c:pt idx="1886">
                  <c:v>42993</c:v>
                </c:pt>
                <c:pt idx="1887">
                  <c:v>42996</c:v>
                </c:pt>
                <c:pt idx="1888">
                  <c:v>42997</c:v>
                </c:pt>
                <c:pt idx="1889">
                  <c:v>42998</c:v>
                </c:pt>
                <c:pt idx="1890">
                  <c:v>42999</c:v>
                </c:pt>
                <c:pt idx="1891">
                  <c:v>43000</c:v>
                </c:pt>
                <c:pt idx="1892">
                  <c:v>43003</c:v>
                </c:pt>
                <c:pt idx="1893">
                  <c:v>43004</c:v>
                </c:pt>
                <c:pt idx="1894">
                  <c:v>43005</c:v>
                </c:pt>
                <c:pt idx="1895">
                  <c:v>43006</c:v>
                </c:pt>
                <c:pt idx="1896">
                  <c:v>43007</c:v>
                </c:pt>
                <c:pt idx="1897">
                  <c:v>43010</c:v>
                </c:pt>
                <c:pt idx="1898">
                  <c:v>43011</c:v>
                </c:pt>
                <c:pt idx="1899">
                  <c:v>43012</c:v>
                </c:pt>
                <c:pt idx="1900">
                  <c:v>43013</c:v>
                </c:pt>
                <c:pt idx="1901">
                  <c:v>43014</c:v>
                </c:pt>
                <c:pt idx="1902">
                  <c:v>43017</c:v>
                </c:pt>
                <c:pt idx="1903">
                  <c:v>43018</c:v>
                </c:pt>
                <c:pt idx="1904">
                  <c:v>43019</c:v>
                </c:pt>
                <c:pt idx="1905">
                  <c:v>43020</c:v>
                </c:pt>
                <c:pt idx="1906">
                  <c:v>43021</c:v>
                </c:pt>
                <c:pt idx="1907">
                  <c:v>43024</c:v>
                </c:pt>
                <c:pt idx="1908">
                  <c:v>43025</c:v>
                </c:pt>
                <c:pt idx="1909">
                  <c:v>43026</c:v>
                </c:pt>
                <c:pt idx="1910">
                  <c:v>43027</c:v>
                </c:pt>
                <c:pt idx="1911">
                  <c:v>43028</c:v>
                </c:pt>
                <c:pt idx="1912">
                  <c:v>43031</c:v>
                </c:pt>
                <c:pt idx="1913">
                  <c:v>43032</c:v>
                </c:pt>
                <c:pt idx="1914">
                  <c:v>43033</c:v>
                </c:pt>
                <c:pt idx="1915">
                  <c:v>43034</c:v>
                </c:pt>
                <c:pt idx="1916">
                  <c:v>43035</c:v>
                </c:pt>
                <c:pt idx="1917">
                  <c:v>43038</c:v>
                </c:pt>
                <c:pt idx="1918">
                  <c:v>43039</c:v>
                </c:pt>
                <c:pt idx="1919">
                  <c:v>43040</c:v>
                </c:pt>
                <c:pt idx="1920">
                  <c:v>43041</c:v>
                </c:pt>
                <c:pt idx="1921">
                  <c:v>43042</c:v>
                </c:pt>
                <c:pt idx="1922">
                  <c:v>43045</c:v>
                </c:pt>
                <c:pt idx="1923">
                  <c:v>43046</c:v>
                </c:pt>
                <c:pt idx="1924">
                  <c:v>43047</c:v>
                </c:pt>
                <c:pt idx="1925">
                  <c:v>43048</c:v>
                </c:pt>
                <c:pt idx="1926">
                  <c:v>43049</c:v>
                </c:pt>
                <c:pt idx="1927">
                  <c:v>43052</c:v>
                </c:pt>
                <c:pt idx="1928">
                  <c:v>43053</c:v>
                </c:pt>
                <c:pt idx="1929">
                  <c:v>43054</c:v>
                </c:pt>
                <c:pt idx="1930">
                  <c:v>43055</c:v>
                </c:pt>
                <c:pt idx="1931">
                  <c:v>43056</c:v>
                </c:pt>
                <c:pt idx="1932">
                  <c:v>43059</c:v>
                </c:pt>
                <c:pt idx="1933">
                  <c:v>43060</c:v>
                </c:pt>
                <c:pt idx="1934">
                  <c:v>43061</c:v>
                </c:pt>
                <c:pt idx="1935">
                  <c:v>43062</c:v>
                </c:pt>
                <c:pt idx="1936">
                  <c:v>43063</c:v>
                </c:pt>
                <c:pt idx="1937">
                  <c:v>43066</c:v>
                </c:pt>
                <c:pt idx="1938">
                  <c:v>43067</c:v>
                </c:pt>
                <c:pt idx="1939">
                  <c:v>43068</c:v>
                </c:pt>
                <c:pt idx="1940">
                  <c:v>43069</c:v>
                </c:pt>
                <c:pt idx="1941">
                  <c:v>43070</c:v>
                </c:pt>
                <c:pt idx="1942">
                  <c:v>43073</c:v>
                </c:pt>
                <c:pt idx="1943">
                  <c:v>43074</c:v>
                </c:pt>
                <c:pt idx="1944">
                  <c:v>43075</c:v>
                </c:pt>
                <c:pt idx="1945">
                  <c:v>43076</c:v>
                </c:pt>
                <c:pt idx="1946">
                  <c:v>43077</c:v>
                </c:pt>
                <c:pt idx="1947">
                  <c:v>43080</c:v>
                </c:pt>
                <c:pt idx="1948">
                  <c:v>43081</c:v>
                </c:pt>
                <c:pt idx="1949">
                  <c:v>43082</c:v>
                </c:pt>
                <c:pt idx="1950">
                  <c:v>43083</c:v>
                </c:pt>
                <c:pt idx="1951">
                  <c:v>43084</c:v>
                </c:pt>
                <c:pt idx="1952">
                  <c:v>43087</c:v>
                </c:pt>
                <c:pt idx="1953">
                  <c:v>43088</c:v>
                </c:pt>
                <c:pt idx="1954">
                  <c:v>43089</c:v>
                </c:pt>
                <c:pt idx="1955">
                  <c:v>43090</c:v>
                </c:pt>
                <c:pt idx="1956">
                  <c:v>43091</c:v>
                </c:pt>
                <c:pt idx="1957">
                  <c:v>43094</c:v>
                </c:pt>
                <c:pt idx="1958">
                  <c:v>43095</c:v>
                </c:pt>
                <c:pt idx="1959">
                  <c:v>43096</c:v>
                </c:pt>
                <c:pt idx="1960">
                  <c:v>43097</c:v>
                </c:pt>
                <c:pt idx="1961">
                  <c:v>43098</c:v>
                </c:pt>
                <c:pt idx="1962">
                  <c:v>43101</c:v>
                </c:pt>
                <c:pt idx="1963">
                  <c:v>43102</c:v>
                </c:pt>
                <c:pt idx="1964">
                  <c:v>43103</c:v>
                </c:pt>
                <c:pt idx="1965">
                  <c:v>43104</c:v>
                </c:pt>
                <c:pt idx="1966">
                  <c:v>43105</c:v>
                </c:pt>
                <c:pt idx="1967">
                  <c:v>43108</c:v>
                </c:pt>
                <c:pt idx="1968">
                  <c:v>43109</c:v>
                </c:pt>
                <c:pt idx="1969">
                  <c:v>43110</c:v>
                </c:pt>
                <c:pt idx="1970">
                  <c:v>43111</c:v>
                </c:pt>
                <c:pt idx="1971">
                  <c:v>43112</c:v>
                </c:pt>
                <c:pt idx="1972">
                  <c:v>43115</c:v>
                </c:pt>
                <c:pt idx="1973">
                  <c:v>43116</c:v>
                </c:pt>
                <c:pt idx="1974">
                  <c:v>43117</c:v>
                </c:pt>
                <c:pt idx="1975">
                  <c:v>43118</c:v>
                </c:pt>
                <c:pt idx="1976">
                  <c:v>43119</c:v>
                </c:pt>
                <c:pt idx="1977">
                  <c:v>43122</c:v>
                </c:pt>
                <c:pt idx="1978">
                  <c:v>43123</c:v>
                </c:pt>
                <c:pt idx="1979">
                  <c:v>43124</c:v>
                </c:pt>
                <c:pt idx="1980">
                  <c:v>43125</c:v>
                </c:pt>
                <c:pt idx="1981">
                  <c:v>43126</c:v>
                </c:pt>
                <c:pt idx="1982">
                  <c:v>43129</c:v>
                </c:pt>
                <c:pt idx="1983">
                  <c:v>43130</c:v>
                </c:pt>
                <c:pt idx="1984">
                  <c:v>43131</c:v>
                </c:pt>
              </c:numCache>
            </c:numRef>
          </c:cat>
          <c:val>
            <c:numRef>
              <c:f>'AFE Euro RP Brut'!$E$5:$E$1989</c:f>
              <c:numCache>
                <c:formatCode>#,##0.00_);[Red]\(#,##0.00\)</c:formatCode>
                <c:ptCount val="1985"/>
                <c:pt idx="0">
                  <c:v>100</c:v>
                </c:pt>
                <c:pt idx="1">
                  <c:v>99.333497104159335</c:v>
                </c:pt>
                <c:pt idx="2">
                  <c:v>100.65874534375932</c:v>
                </c:pt>
                <c:pt idx="3">
                  <c:v>96.77544476610872</c:v>
                </c:pt>
                <c:pt idx="4">
                  <c:v>97.114837606207786</c:v>
                </c:pt>
                <c:pt idx="5">
                  <c:v>95.093349196985756</c:v>
                </c:pt>
                <c:pt idx="6">
                  <c:v>95.294399045200947</c:v>
                </c:pt>
                <c:pt idx="7">
                  <c:v>94.885188247406248</c:v>
                </c:pt>
                <c:pt idx="8">
                  <c:v>97.410917464660585</c:v>
                </c:pt>
                <c:pt idx="9">
                  <c:v>99.082669634687278</c:v>
                </c:pt>
                <c:pt idx="10">
                  <c:v>100.21462556711676</c:v>
                </c:pt>
                <c:pt idx="11">
                  <c:v>100.72080574937361</c:v>
                </c:pt>
                <c:pt idx="12">
                  <c:v>100.93866363629567</c:v>
                </c:pt>
                <c:pt idx="13">
                  <c:v>102.89938456341086</c:v>
                </c:pt>
                <c:pt idx="14">
                  <c:v>102.95562681324162</c:v>
                </c:pt>
                <c:pt idx="15">
                  <c:v>101.78294373514412</c:v>
                </c:pt>
                <c:pt idx="16">
                  <c:v>99.881050893837909</c:v>
                </c:pt>
                <c:pt idx="17">
                  <c:v>99.398143356788509</c:v>
                </c:pt>
                <c:pt idx="18">
                  <c:v>99.084609019948459</c:v>
                </c:pt>
                <c:pt idx="19">
                  <c:v>99.780202727816771</c:v>
                </c:pt>
                <c:pt idx="20">
                  <c:v>102.44492138767203</c:v>
                </c:pt>
                <c:pt idx="21">
                  <c:v>102.72807198897699</c:v>
                </c:pt>
                <c:pt idx="22">
                  <c:v>103.54455419930527</c:v>
                </c:pt>
                <c:pt idx="23">
                  <c:v>104.26988519199159</c:v>
                </c:pt>
                <c:pt idx="24">
                  <c:v>104.01453247920682</c:v>
                </c:pt>
                <c:pt idx="25">
                  <c:v>103.63376603168601</c:v>
                </c:pt>
                <c:pt idx="26">
                  <c:v>103.21809060531737</c:v>
                </c:pt>
                <c:pt idx="27">
                  <c:v>105.98624327820868</c:v>
                </c:pt>
                <c:pt idx="28">
                  <c:v>106.03666736121924</c:v>
                </c:pt>
                <c:pt idx="29">
                  <c:v>106.23254551540462</c:v>
                </c:pt>
                <c:pt idx="30">
                  <c:v>106.06963694376921</c:v>
                </c:pt>
                <c:pt idx="31">
                  <c:v>104.60927803209066</c:v>
                </c:pt>
                <c:pt idx="32">
                  <c:v>106.10842470417606</c:v>
                </c:pt>
                <c:pt idx="33">
                  <c:v>105.06503413133692</c:v>
                </c:pt>
                <c:pt idx="34">
                  <c:v>102.35312370827639</c:v>
                </c:pt>
                <c:pt idx="35">
                  <c:v>102.15789201584471</c:v>
                </c:pt>
                <c:pt idx="36">
                  <c:v>101.87280202927857</c:v>
                </c:pt>
                <c:pt idx="37">
                  <c:v>101.65559060411024</c:v>
                </c:pt>
                <c:pt idx="38">
                  <c:v>103.22584815739874</c:v>
                </c:pt>
                <c:pt idx="39">
                  <c:v>102.95368742798044</c:v>
                </c:pt>
                <c:pt idx="40">
                  <c:v>101.18496586245496</c:v>
                </c:pt>
                <c:pt idx="41">
                  <c:v>99.930828504058084</c:v>
                </c:pt>
                <c:pt idx="42">
                  <c:v>100.471271203409</c:v>
                </c:pt>
                <c:pt idx="43">
                  <c:v>98.851236039900343</c:v>
                </c:pt>
                <c:pt idx="44">
                  <c:v>97.89705729944194</c:v>
                </c:pt>
                <c:pt idx="45">
                  <c:v>98.685741621250017</c:v>
                </c:pt>
                <c:pt idx="46">
                  <c:v>99.466668390976707</c:v>
                </c:pt>
                <c:pt idx="47">
                  <c:v>99.063922221755917</c:v>
                </c:pt>
                <c:pt idx="48">
                  <c:v>99.29664874005033</c:v>
                </c:pt>
                <c:pt idx="49">
                  <c:v>102.4475072457236</c:v>
                </c:pt>
                <c:pt idx="50">
                  <c:v>102.62528444873136</c:v>
                </c:pt>
                <c:pt idx="51">
                  <c:v>103.56976624081055</c:v>
                </c:pt>
                <c:pt idx="52">
                  <c:v>103.89946214356706</c:v>
                </c:pt>
                <c:pt idx="53">
                  <c:v>102.90843503899967</c:v>
                </c:pt>
                <c:pt idx="54">
                  <c:v>103.74818990557205</c:v>
                </c:pt>
                <c:pt idx="55">
                  <c:v>104.90471141775308</c:v>
                </c:pt>
                <c:pt idx="56">
                  <c:v>104.89113570988819</c:v>
                </c:pt>
                <c:pt idx="57">
                  <c:v>105.78519341895681</c:v>
                </c:pt>
                <c:pt idx="58">
                  <c:v>105.88862743199283</c:v>
                </c:pt>
                <c:pt idx="59">
                  <c:v>105.4962246618683</c:v>
                </c:pt>
                <c:pt idx="60">
                  <c:v>105.06568059309065</c:v>
                </c:pt>
                <c:pt idx="61">
                  <c:v>104.47287443650465</c:v>
                </c:pt>
                <c:pt idx="62">
                  <c:v>106.04248551700277</c:v>
                </c:pt>
                <c:pt idx="63">
                  <c:v>105.90931423018537</c:v>
                </c:pt>
                <c:pt idx="64">
                  <c:v>104.50131878677855</c:v>
                </c:pt>
                <c:pt idx="65">
                  <c:v>103.95247207359253</c:v>
                </c:pt>
                <c:pt idx="66">
                  <c:v>105.80264790838072</c:v>
                </c:pt>
                <c:pt idx="67">
                  <c:v>105.30745758697388</c:v>
                </c:pt>
                <c:pt idx="68">
                  <c:v>105.27578092793135</c:v>
                </c:pt>
                <c:pt idx="69">
                  <c:v>104.69267169765122</c:v>
                </c:pt>
                <c:pt idx="70">
                  <c:v>104.54010653614874</c:v>
                </c:pt>
                <c:pt idx="71">
                  <c:v>104.06624948572482</c:v>
                </c:pt>
                <c:pt idx="72">
                  <c:v>103.04095986406334</c:v>
                </c:pt>
                <c:pt idx="73">
                  <c:v>104.94479210166736</c:v>
                </c:pt>
                <c:pt idx="74">
                  <c:v>105.75416322166799</c:v>
                </c:pt>
                <c:pt idx="75">
                  <c:v>105.97008171229221</c:v>
                </c:pt>
                <c:pt idx="76">
                  <c:v>105.92935456662418</c:v>
                </c:pt>
                <c:pt idx="77">
                  <c:v>106.19892946006426</c:v>
                </c:pt>
                <c:pt idx="78">
                  <c:v>105.82592056462484</c:v>
                </c:pt>
                <c:pt idx="79">
                  <c:v>107.96118638597913</c:v>
                </c:pt>
                <c:pt idx="80">
                  <c:v>107.77565163089</c:v>
                </c:pt>
                <c:pt idx="81">
                  <c:v>108.00579230216951</c:v>
                </c:pt>
                <c:pt idx="82">
                  <c:v>108.29476107029467</c:v>
                </c:pt>
                <c:pt idx="83">
                  <c:v>107.81831816181922</c:v>
                </c:pt>
                <c:pt idx="84">
                  <c:v>108.27084195229686</c:v>
                </c:pt>
                <c:pt idx="85">
                  <c:v>109.44481795390182</c:v>
                </c:pt>
                <c:pt idx="86">
                  <c:v>109.30324265324931</c:v>
                </c:pt>
                <c:pt idx="87">
                  <c:v>109.53920149134902</c:v>
                </c:pt>
                <c:pt idx="88">
                  <c:v>108.95027410528537</c:v>
                </c:pt>
                <c:pt idx="89">
                  <c:v>108.02324679159344</c:v>
                </c:pt>
                <c:pt idx="90">
                  <c:v>108.508093713904</c:v>
                </c:pt>
                <c:pt idx="91">
                  <c:v>108.40336677736053</c:v>
                </c:pt>
                <c:pt idx="92">
                  <c:v>108.18033719640864</c:v>
                </c:pt>
                <c:pt idx="93">
                  <c:v>108.93605192463008</c:v>
                </c:pt>
                <c:pt idx="94">
                  <c:v>108.05492346167263</c:v>
                </c:pt>
                <c:pt idx="95">
                  <c:v>109.69305957635895</c:v>
                </c:pt>
                <c:pt idx="96">
                  <c:v>109.41443421836672</c:v>
                </c:pt>
                <c:pt idx="97">
                  <c:v>109.27027307069935</c:v>
                </c:pt>
                <c:pt idx="98">
                  <c:v>110.24190628954497</c:v>
                </c:pt>
                <c:pt idx="99">
                  <c:v>108.88045614758973</c:v>
                </c:pt>
                <c:pt idx="100">
                  <c:v>108.23722589695647</c:v>
                </c:pt>
                <c:pt idx="101">
                  <c:v>108.10987277695926</c:v>
                </c:pt>
                <c:pt idx="102">
                  <c:v>109.06405150638101</c:v>
                </c:pt>
                <c:pt idx="103">
                  <c:v>106.74906909675772</c:v>
                </c:pt>
                <c:pt idx="104">
                  <c:v>107.43819817605211</c:v>
                </c:pt>
                <c:pt idx="105">
                  <c:v>109.28837402187696</c:v>
                </c:pt>
                <c:pt idx="106">
                  <c:v>109.1015463432804</c:v>
                </c:pt>
                <c:pt idx="107">
                  <c:v>107.98316611871581</c:v>
                </c:pt>
                <c:pt idx="108">
                  <c:v>105.5893152647714</c:v>
                </c:pt>
                <c:pt idx="109">
                  <c:v>106.51117087339685</c:v>
                </c:pt>
                <c:pt idx="110">
                  <c:v>106.91908874768413</c:v>
                </c:pt>
                <c:pt idx="111">
                  <c:v>106.11618225625743</c:v>
                </c:pt>
                <c:pt idx="112">
                  <c:v>103.67126085754875</c:v>
                </c:pt>
                <c:pt idx="113">
                  <c:v>103.09784857564782</c:v>
                </c:pt>
                <c:pt idx="114">
                  <c:v>105.75416322166799</c:v>
                </c:pt>
                <c:pt idx="115">
                  <c:v>107.86744932132233</c:v>
                </c:pt>
                <c:pt idx="116">
                  <c:v>108.01936802107109</c:v>
                </c:pt>
                <c:pt idx="117">
                  <c:v>107.76724761705492</c:v>
                </c:pt>
                <c:pt idx="118">
                  <c:v>108.88304199460461</c:v>
                </c:pt>
                <c:pt idx="119">
                  <c:v>109.23407116834404</c:v>
                </c:pt>
                <c:pt idx="120">
                  <c:v>109.66849399660738</c:v>
                </c:pt>
                <c:pt idx="121">
                  <c:v>109.71827161786423</c:v>
                </c:pt>
                <c:pt idx="122">
                  <c:v>110.30849192743534</c:v>
                </c:pt>
                <c:pt idx="123">
                  <c:v>110.43584510261586</c:v>
                </c:pt>
                <c:pt idx="124">
                  <c:v>109.79067542257479</c:v>
                </c:pt>
                <c:pt idx="125">
                  <c:v>109.93742242829374</c:v>
                </c:pt>
                <c:pt idx="126">
                  <c:v>109.2463539527015</c:v>
                </c:pt>
                <c:pt idx="127">
                  <c:v>109.907038681722</c:v>
                </c:pt>
                <c:pt idx="128">
                  <c:v>111.26267061271039</c:v>
                </c:pt>
                <c:pt idx="129">
                  <c:v>111.1592366217477</c:v>
                </c:pt>
                <c:pt idx="130">
                  <c:v>110.98275236432072</c:v>
                </c:pt>
                <c:pt idx="131">
                  <c:v>110.853459903209</c:v>
                </c:pt>
                <c:pt idx="132">
                  <c:v>109.61613053937231</c:v>
                </c:pt>
                <c:pt idx="133">
                  <c:v>109.61742346287977</c:v>
                </c:pt>
                <c:pt idx="134">
                  <c:v>110.21087608121948</c:v>
                </c:pt>
                <c:pt idx="135">
                  <c:v>109.07439491651394</c:v>
                </c:pt>
                <c:pt idx="136">
                  <c:v>108.57209350477946</c:v>
                </c:pt>
                <c:pt idx="137">
                  <c:v>110.30655254217416</c:v>
                </c:pt>
                <c:pt idx="138">
                  <c:v>110.42485523072922</c:v>
                </c:pt>
                <c:pt idx="139">
                  <c:v>109.92707902919747</c:v>
                </c:pt>
                <c:pt idx="140">
                  <c:v>110.0408564302931</c:v>
                </c:pt>
                <c:pt idx="141">
                  <c:v>109.35560612152106</c:v>
                </c:pt>
                <c:pt idx="142">
                  <c:v>107.71488414878318</c:v>
                </c:pt>
                <c:pt idx="143">
                  <c:v>109.24182870938877</c:v>
                </c:pt>
                <c:pt idx="144">
                  <c:v>111.84901221797914</c:v>
                </c:pt>
                <c:pt idx="145">
                  <c:v>112.48513140035807</c:v>
                </c:pt>
                <c:pt idx="146">
                  <c:v>112.64028233161878</c:v>
                </c:pt>
                <c:pt idx="147">
                  <c:v>112.38169729902872</c:v>
                </c:pt>
                <c:pt idx="148">
                  <c:v>113.65134977262501</c:v>
                </c:pt>
                <c:pt idx="149">
                  <c:v>112.78702939252108</c:v>
                </c:pt>
                <c:pt idx="150">
                  <c:v>112.38299024460949</c:v>
                </c:pt>
                <c:pt idx="151">
                  <c:v>113.63777411994344</c:v>
                </c:pt>
                <c:pt idx="152">
                  <c:v>113.84076337549314</c:v>
                </c:pt>
                <c:pt idx="153">
                  <c:v>113.28609844030359</c:v>
                </c:pt>
                <c:pt idx="154">
                  <c:v>114.04245968546208</c:v>
                </c:pt>
                <c:pt idx="155">
                  <c:v>114.67470003109865</c:v>
                </c:pt>
                <c:pt idx="156">
                  <c:v>113.58282476051014</c:v>
                </c:pt>
                <c:pt idx="157">
                  <c:v>113.49943115013292</c:v>
                </c:pt>
                <c:pt idx="158">
                  <c:v>115.39809166059716</c:v>
                </c:pt>
                <c:pt idx="159">
                  <c:v>115.45110154647595</c:v>
                </c:pt>
                <c:pt idx="160">
                  <c:v>114.97077993369813</c:v>
                </c:pt>
                <c:pt idx="161">
                  <c:v>115.26233447158154</c:v>
                </c:pt>
                <c:pt idx="162">
                  <c:v>116.37037128601318</c:v>
                </c:pt>
                <c:pt idx="163">
                  <c:v>116.80867299516552</c:v>
                </c:pt>
                <c:pt idx="164">
                  <c:v>116.57723937830524</c:v>
                </c:pt>
                <c:pt idx="165">
                  <c:v>116.31736140013437</c:v>
                </c:pt>
                <c:pt idx="166">
                  <c:v>116.42079539109709</c:v>
                </c:pt>
                <c:pt idx="167">
                  <c:v>116.46087604190136</c:v>
                </c:pt>
                <c:pt idx="168">
                  <c:v>116.65804720788755</c:v>
                </c:pt>
                <c:pt idx="169">
                  <c:v>117.6122259262726</c:v>
                </c:pt>
                <c:pt idx="170">
                  <c:v>117.68527619273689</c:v>
                </c:pt>
                <c:pt idx="171">
                  <c:v>117.77060927666862</c:v>
                </c:pt>
                <c:pt idx="172">
                  <c:v>115.8157064611903</c:v>
                </c:pt>
                <c:pt idx="173">
                  <c:v>115.0115070021095</c:v>
                </c:pt>
                <c:pt idx="174">
                  <c:v>113.73732938453045</c:v>
                </c:pt>
                <c:pt idx="175">
                  <c:v>113.27122984204125</c:v>
                </c:pt>
                <c:pt idx="176">
                  <c:v>114.73482106248842</c:v>
                </c:pt>
                <c:pt idx="177">
                  <c:v>115.70839363348524</c:v>
                </c:pt>
                <c:pt idx="178">
                  <c:v>114.92811339173225</c:v>
                </c:pt>
                <c:pt idx="179">
                  <c:v>114.04375263104288</c:v>
                </c:pt>
                <c:pt idx="180">
                  <c:v>114.43744832467485</c:v>
                </c:pt>
                <c:pt idx="181">
                  <c:v>113.74379400206772</c:v>
                </c:pt>
                <c:pt idx="182">
                  <c:v>113.30937112965771</c:v>
                </c:pt>
                <c:pt idx="183">
                  <c:v>113.77029888982378</c:v>
                </c:pt>
                <c:pt idx="184">
                  <c:v>113.60739039544501</c:v>
                </c:pt>
                <c:pt idx="185">
                  <c:v>112.47737383724004</c:v>
                </c:pt>
                <c:pt idx="186">
                  <c:v>111.44755896122913</c:v>
                </c:pt>
                <c:pt idx="187">
                  <c:v>110.33693628874592</c:v>
                </c:pt>
                <c:pt idx="188">
                  <c:v>107.75237898568257</c:v>
                </c:pt>
                <c:pt idx="189">
                  <c:v>105.66042614597451</c:v>
                </c:pt>
                <c:pt idx="190">
                  <c:v>107.84029789455587</c:v>
                </c:pt>
                <c:pt idx="191">
                  <c:v>108.21007447019002</c:v>
                </c:pt>
                <c:pt idx="192">
                  <c:v>110.55220832865307</c:v>
                </c:pt>
                <c:pt idx="193">
                  <c:v>110.19600744984717</c:v>
                </c:pt>
                <c:pt idx="194">
                  <c:v>110.73515720361731</c:v>
                </c:pt>
                <c:pt idx="195">
                  <c:v>112.37264690069657</c:v>
                </c:pt>
                <c:pt idx="196">
                  <c:v>112.436646658462</c:v>
                </c:pt>
                <c:pt idx="197">
                  <c:v>112.57951488262196</c:v>
                </c:pt>
                <c:pt idx="198">
                  <c:v>112.52909077753806</c:v>
                </c:pt>
                <c:pt idx="199">
                  <c:v>113.57183488862346</c:v>
                </c:pt>
                <c:pt idx="200">
                  <c:v>112.68100951039682</c:v>
                </c:pt>
                <c:pt idx="201">
                  <c:v>114.48270064743559</c:v>
                </c:pt>
                <c:pt idx="202">
                  <c:v>114.50274102802109</c:v>
                </c:pt>
                <c:pt idx="203">
                  <c:v>114.38573127401017</c:v>
                </c:pt>
                <c:pt idx="204">
                  <c:v>115.02702212834555</c:v>
                </c:pt>
                <c:pt idx="205">
                  <c:v>114.54282167882539</c:v>
                </c:pt>
                <c:pt idx="206">
                  <c:v>115.14532482793727</c:v>
                </c:pt>
                <c:pt idx="207">
                  <c:v>114.74581093437509</c:v>
                </c:pt>
                <c:pt idx="208">
                  <c:v>113.16585648789071</c:v>
                </c:pt>
                <c:pt idx="209">
                  <c:v>113.97522750856133</c:v>
                </c:pt>
                <c:pt idx="210">
                  <c:v>112.95252377806139</c:v>
                </c:pt>
                <c:pt idx="211">
                  <c:v>113.06436186011585</c:v>
                </c:pt>
                <c:pt idx="212">
                  <c:v>110.63107679504756</c:v>
                </c:pt>
                <c:pt idx="213">
                  <c:v>111.11075199021832</c:v>
                </c:pt>
                <c:pt idx="214">
                  <c:v>113.43866359076942</c:v>
                </c:pt>
                <c:pt idx="215">
                  <c:v>113.9719951997927</c:v>
                </c:pt>
                <c:pt idx="216">
                  <c:v>113.9719951997927</c:v>
                </c:pt>
                <c:pt idx="217">
                  <c:v>113.96876289102407</c:v>
                </c:pt>
                <c:pt idx="218">
                  <c:v>114.74063926241863</c:v>
                </c:pt>
                <c:pt idx="219">
                  <c:v>115.51768719540298</c:v>
                </c:pt>
                <c:pt idx="220">
                  <c:v>116.39105808420571</c:v>
                </c:pt>
                <c:pt idx="221">
                  <c:v>116.79574364972436</c:v>
                </c:pt>
                <c:pt idx="222">
                  <c:v>117.01489444911719</c:v>
                </c:pt>
                <c:pt idx="223">
                  <c:v>116.56624950641859</c:v>
                </c:pt>
                <c:pt idx="224">
                  <c:v>114.9371637900644</c:v>
                </c:pt>
                <c:pt idx="225">
                  <c:v>114.39736756350388</c:v>
                </c:pt>
                <c:pt idx="226">
                  <c:v>115.74136324914521</c:v>
                </c:pt>
                <c:pt idx="227">
                  <c:v>114.43550885112033</c:v>
                </c:pt>
                <c:pt idx="228">
                  <c:v>115.75881773856914</c:v>
                </c:pt>
                <c:pt idx="229">
                  <c:v>115.99089777303648</c:v>
                </c:pt>
                <c:pt idx="230">
                  <c:v>115.14079957358787</c:v>
                </c:pt>
                <c:pt idx="231">
                  <c:v>114.67728592226021</c:v>
                </c:pt>
                <c:pt idx="232">
                  <c:v>114.32496382501331</c:v>
                </c:pt>
                <c:pt idx="233">
                  <c:v>112.95704903241079</c:v>
                </c:pt>
                <c:pt idx="234">
                  <c:v>113.52981487463134</c:v>
                </c:pt>
                <c:pt idx="235">
                  <c:v>114.4380947422819</c:v>
                </c:pt>
                <c:pt idx="236">
                  <c:v>113.38371434170278</c:v>
                </c:pt>
                <c:pt idx="237">
                  <c:v>111.31955933533155</c:v>
                </c:pt>
                <c:pt idx="238">
                  <c:v>111.66347745185334</c:v>
                </c:pt>
                <c:pt idx="239">
                  <c:v>112.18129393464056</c:v>
                </c:pt>
                <c:pt idx="240">
                  <c:v>111.66800270620276</c:v>
                </c:pt>
                <c:pt idx="241">
                  <c:v>112.41078818831301</c:v>
                </c:pt>
                <c:pt idx="242">
                  <c:v>112.32545510438131</c:v>
                </c:pt>
                <c:pt idx="243">
                  <c:v>114.08124739068559</c:v>
                </c:pt>
                <c:pt idx="244">
                  <c:v>112.92149363595591</c:v>
                </c:pt>
                <c:pt idx="245">
                  <c:v>111.27753932133939</c:v>
                </c:pt>
                <c:pt idx="246">
                  <c:v>111.49733653833931</c:v>
                </c:pt>
                <c:pt idx="247">
                  <c:v>110.80756105247451</c:v>
                </c:pt>
                <c:pt idx="248">
                  <c:v>110.96400492931602</c:v>
                </c:pt>
                <c:pt idx="249">
                  <c:v>109.87148324112044</c:v>
                </c:pt>
                <c:pt idx="250">
                  <c:v>110.94978274866072</c:v>
                </c:pt>
                <c:pt idx="251">
                  <c:v>109.27997000804189</c:v>
                </c:pt>
                <c:pt idx="252">
                  <c:v>109.34461626067107</c:v>
                </c:pt>
                <c:pt idx="253">
                  <c:v>110.91228798901803</c:v>
                </c:pt>
                <c:pt idx="254">
                  <c:v>109.27544476472914</c:v>
                </c:pt>
                <c:pt idx="255">
                  <c:v>108.88174907109716</c:v>
                </c:pt>
                <c:pt idx="256">
                  <c:v>109.98396772974527</c:v>
                </c:pt>
                <c:pt idx="257">
                  <c:v>109.1901117139074</c:v>
                </c:pt>
                <c:pt idx="258">
                  <c:v>111.25232726879746</c:v>
                </c:pt>
                <c:pt idx="259">
                  <c:v>110.94655043989209</c:v>
                </c:pt>
                <c:pt idx="260">
                  <c:v>108.69880016302294</c:v>
                </c:pt>
                <c:pt idx="261">
                  <c:v>108.23076127941921</c:v>
                </c:pt>
                <c:pt idx="262">
                  <c:v>108.40724554788285</c:v>
                </c:pt>
                <c:pt idx="263">
                  <c:v>109.31811129565834</c:v>
                </c:pt>
                <c:pt idx="264">
                  <c:v>111.42299332629423</c:v>
                </c:pt>
                <c:pt idx="265">
                  <c:v>113.05789713221192</c:v>
                </c:pt>
                <c:pt idx="266">
                  <c:v>113.99462147153976</c:v>
                </c:pt>
                <c:pt idx="267">
                  <c:v>114.10516649764676</c:v>
                </c:pt>
                <c:pt idx="268">
                  <c:v>113.49102705904114</c:v>
                </c:pt>
                <c:pt idx="269">
                  <c:v>112.74694874171678</c:v>
                </c:pt>
                <c:pt idx="270">
                  <c:v>113.31906805596358</c:v>
                </c:pt>
                <c:pt idx="271">
                  <c:v>111.5031547382695</c:v>
                </c:pt>
                <c:pt idx="272">
                  <c:v>108.55205316834065</c:v>
                </c:pt>
                <c:pt idx="273">
                  <c:v>107.87520687340371</c:v>
                </c:pt>
                <c:pt idx="274">
                  <c:v>108.81063818989406</c:v>
                </c:pt>
                <c:pt idx="275">
                  <c:v>107.87132809184467</c:v>
                </c:pt>
                <c:pt idx="276">
                  <c:v>107.33799648282138</c:v>
                </c:pt>
                <c:pt idx="277">
                  <c:v>105.28935663579624</c:v>
                </c:pt>
                <c:pt idx="278">
                  <c:v>106.55836263660213</c:v>
                </c:pt>
                <c:pt idx="279">
                  <c:v>108.23593297344902</c:v>
                </c:pt>
                <c:pt idx="280">
                  <c:v>110.13588642949404</c:v>
                </c:pt>
                <c:pt idx="281">
                  <c:v>110.72028860535494</c:v>
                </c:pt>
                <c:pt idx="282">
                  <c:v>109.92901841445864</c:v>
                </c:pt>
                <c:pt idx="283">
                  <c:v>109.61095883430585</c:v>
                </c:pt>
                <c:pt idx="284">
                  <c:v>107.91270169926644</c:v>
                </c:pt>
                <c:pt idx="285">
                  <c:v>107.42397600643349</c:v>
                </c:pt>
                <c:pt idx="286">
                  <c:v>106.6482209307366</c:v>
                </c:pt>
                <c:pt idx="287">
                  <c:v>103.94988622657763</c:v>
                </c:pt>
                <c:pt idx="288">
                  <c:v>101.75579230837764</c:v>
                </c:pt>
                <c:pt idx="289">
                  <c:v>99.73171804110406</c:v>
                </c:pt>
                <c:pt idx="290">
                  <c:v>96.05657840199629</c:v>
                </c:pt>
                <c:pt idx="291">
                  <c:v>94.626603225852833</c:v>
                </c:pt>
                <c:pt idx="292">
                  <c:v>90.608191976123678</c:v>
                </c:pt>
                <c:pt idx="293">
                  <c:v>91.372957179933906</c:v>
                </c:pt>
                <c:pt idx="294">
                  <c:v>86.958910840274939</c:v>
                </c:pt>
                <c:pt idx="295">
                  <c:v>89.610053781228643</c:v>
                </c:pt>
                <c:pt idx="296">
                  <c:v>93.117759616424891</c:v>
                </c:pt>
                <c:pt idx="297">
                  <c:v>93.747414148156565</c:v>
                </c:pt>
                <c:pt idx="298">
                  <c:v>93.319455937430476</c:v>
                </c:pt>
                <c:pt idx="299">
                  <c:v>93.572869264954093</c:v>
                </c:pt>
                <c:pt idx="300">
                  <c:v>88.575713695014997</c:v>
                </c:pt>
                <c:pt idx="301">
                  <c:v>86.87745655997557</c:v>
                </c:pt>
                <c:pt idx="302">
                  <c:v>87.591797680775244</c:v>
                </c:pt>
                <c:pt idx="303">
                  <c:v>88.077937526593246</c:v>
                </c:pt>
                <c:pt idx="304">
                  <c:v>89.678578815416842</c:v>
                </c:pt>
                <c:pt idx="305">
                  <c:v>88.845935039172105</c:v>
                </c:pt>
                <c:pt idx="306">
                  <c:v>88.027513443582677</c:v>
                </c:pt>
                <c:pt idx="307">
                  <c:v>90.03413322143237</c:v>
                </c:pt>
                <c:pt idx="308">
                  <c:v>90.151789404087026</c:v>
                </c:pt>
                <c:pt idx="309">
                  <c:v>92.81650806394228</c:v>
                </c:pt>
                <c:pt idx="310">
                  <c:v>92.850770581036386</c:v>
                </c:pt>
                <c:pt idx="311">
                  <c:v>89.791709765795417</c:v>
                </c:pt>
                <c:pt idx="312">
                  <c:v>85.56643048999419</c:v>
                </c:pt>
                <c:pt idx="313">
                  <c:v>84.667847537612843</c:v>
                </c:pt>
                <c:pt idx="314">
                  <c:v>87.699756926087332</c:v>
                </c:pt>
                <c:pt idx="315">
                  <c:v>88.161977653907513</c:v>
                </c:pt>
                <c:pt idx="316">
                  <c:v>84.780978487991405</c:v>
                </c:pt>
                <c:pt idx="317">
                  <c:v>81.957876499813466</c:v>
                </c:pt>
                <c:pt idx="318">
                  <c:v>83.166761480266246</c:v>
                </c:pt>
                <c:pt idx="319">
                  <c:v>85.128775341925561</c:v>
                </c:pt>
                <c:pt idx="320">
                  <c:v>87.629292506637967</c:v>
                </c:pt>
                <c:pt idx="321">
                  <c:v>88.059190113661884</c:v>
                </c:pt>
                <c:pt idx="322">
                  <c:v>85.740328922479605</c:v>
                </c:pt>
                <c:pt idx="323">
                  <c:v>87.425656811407862</c:v>
                </c:pt>
                <c:pt idx="324">
                  <c:v>85.954308027842629</c:v>
                </c:pt>
                <c:pt idx="325">
                  <c:v>81.684422835851038</c:v>
                </c:pt>
                <c:pt idx="326">
                  <c:v>82.379370081965646</c:v>
                </c:pt>
                <c:pt idx="327">
                  <c:v>84.249586264229308</c:v>
                </c:pt>
                <c:pt idx="328">
                  <c:v>88.487794786141677</c:v>
                </c:pt>
                <c:pt idx="329">
                  <c:v>87.772807203588286</c:v>
                </c:pt>
                <c:pt idx="330">
                  <c:v>88.880197556266211</c:v>
                </c:pt>
                <c:pt idx="331">
                  <c:v>87.436000210504133</c:v>
                </c:pt>
                <c:pt idx="332">
                  <c:v>85.744854154755672</c:v>
                </c:pt>
                <c:pt idx="333">
                  <c:v>83.50421493510413</c:v>
                </c:pt>
                <c:pt idx="334">
                  <c:v>86.777254866744812</c:v>
                </c:pt>
                <c:pt idx="335">
                  <c:v>89.500801612409077</c:v>
                </c:pt>
                <c:pt idx="336">
                  <c:v>90.105890564389185</c:v>
                </c:pt>
                <c:pt idx="337">
                  <c:v>92.109924495223964</c:v>
                </c:pt>
                <c:pt idx="338">
                  <c:v>91.884955529010952</c:v>
                </c:pt>
                <c:pt idx="339">
                  <c:v>94.110726106253466</c:v>
                </c:pt>
                <c:pt idx="340">
                  <c:v>92.811336369912482</c:v>
                </c:pt>
                <c:pt idx="341">
                  <c:v>93.811413939032022</c:v>
                </c:pt>
                <c:pt idx="342">
                  <c:v>92.28834815998546</c:v>
                </c:pt>
                <c:pt idx="343">
                  <c:v>92.109278033470247</c:v>
                </c:pt>
                <c:pt idx="344">
                  <c:v>92.653599503343528</c:v>
                </c:pt>
                <c:pt idx="345">
                  <c:v>90.605606118072103</c:v>
                </c:pt>
                <c:pt idx="346">
                  <c:v>93.234122875572083</c:v>
                </c:pt>
                <c:pt idx="347">
                  <c:v>94.512179351966793</c:v>
                </c:pt>
                <c:pt idx="348">
                  <c:v>93.693111294623648</c:v>
                </c:pt>
                <c:pt idx="349">
                  <c:v>93.448748453725528</c:v>
                </c:pt>
                <c:pt idx="350">
                  <c:v>98.392894082602496</c:v>
                </c:pt>
                <c:pt idx="351">
                  <c:v>97.925501649715855</c:v>
                </c:pt>
                <c:pt idx="352">
                  <c:v>94.936258792170534</c:v>
                </c:pt>
                <c:pt idx="353">
                  <c:v>90.35865743015907</c:v>
                </c:pt>
                <c:pt idx="354">
                  <c:v>91.558491935023056</c:v>
                </c:pt>
                <c:pt idx="355">
                  <c:v>93.953635701438245</c:v>
                </c:pt>
                <c:pt idx="356">
                  <c:v>92.062732732018688</c:v>
                </c:pt>
                <c:pt idx="357">
                  <c:v>91.674855194170249</c:v>
                </c:pt>
                <c:pt idx="358">
                  <c:v>92.477115223843214</c:v>
                </c:pt>
                <c:pt idx="359">
                  <c:v>90.330859541638901</c:v>
                </c:pt>
                <c:pt idx="360">
                  <c:v>90.386455318679253</c:v>
                </c:pt>
                <c:pt idx="361">
                  <c:v>92.996871125001618</c:v>
                </c:pt>
                <c:pt idx="362">
                  <c:v>91.66386533332026</c:v>
                </c:pt>
                <c:pt idx="363">
                  <c:v>90.392273474462797</c:v>
                </c:pt>
                <c:pt idx="364">
                  <c:v>90.64697972549385</c:v>
                </c:pt>
                <c:pt idx="365">
                  <c:v>89.455549234464982</c:v>
                </c:pt>
                <c:pt idx="366">
                  <c:v>89.017894086396339</c:v>
                </c:pt>
                <c:pt idx="367">
                  <c:v>85.993742238966547</c:v>
                </c:pt>
                <c:pt idx="368">
                  <c:v>85.110027928994185</c:v>
                </c:pt>
                <c:pt idx="369">
                  <c:v>83.710436488385824</c:v>
                </c:pt>
                <c:pt idx="370">
                  <c:v>83.599244934305091</c:v>
                </c:pt>
                <c:pt idx="371">
                  <c:v>84.297424489188288</c:v>
                </c:pt>
                <c:pt idx="372">
                  <c:v>88.368845679979586</c:v>
                </c:pt>
                <c:pt idx="373">
                  <c:v>88.884722799578967</c:v>
                </c:pt>
                <c:pt idx="374">
                  <c:v>92.667175222245106</c:v>
                </c:pt>
                <c:pt idx="375">
                  <c:v>91.942490691312486</c:v>
                </c:pt>
                <c:pt idx="376">
                  <c:v>92.957436902841039</c:v>
                </c:pt>
                <c:pt idx="377">
                  <c:v>94.053837405705636</c:v>
                </c:pt>
                <c:pt idx="378">
                  <c:v>93.446809057427686</c:v>
                </c:pt>
                <c:pt idx="379">
                  <c:v>92.992345881688863</c:v>
                </c:pt>
                <c:pt idx="380">
                  <c:v>90.839625570910627</c:v>
                </c:pt>
                <c:pt idx="381">
                  <c:v>92.639377322688247</c:v>
                </c:pt>
                <c:pt idx="382">
                  <c:v>89.99017376699571</c:v>
                </c:pt>
                <c:pt idx="383">
                  <c:v>89.767144186043851</c:v>
                </c:pt>
                <c:pt idx="384">
                  <c:v>87.638989455017168</c:v>
                </c:pt>
                <c:pt idx="385">
                  <c:v>88.38694663115723</c:v>
                </c:pt>
                <c:pt idx="386">
                  <c:v>87.8982209383243</c:v>
                </c:pt>
                <c:pt idx="387">
                  <c:v>87.923432979829599</c:v>
                </c:pt>
                <c:pt idx="388">
                  <c:v>90.383869471664369</c:v>
                </c:pt>
                <c:pt idx="389">
                  <c:v>89.657892017224299</c:v>
                </c:pt>
                <c:pt idx="390">
                  <c:v>90.728434005793218</c:v>
                </c:pt>
                <c:pt idx="391">
                  <c:v>91.423381262944474</c:v>
                </c:pt>
                <c:pt idx="392">
                  <c:v>91.423381262944474</c:v>
                </c:pt>
                <c:pt idx="393">
                  <c:v>91.434371123794463</c:v>
                </c:pt>
                <c:pt idx="394">
                  <c:v>90.292718242985785</c:v>
                </c:pt>
                <c:pt idx="395">
                  <c:v>91.531986970010308</c:v>
                </c:pt>
                <c:pt idx="396">
                  <c:v>92.404064957378935</c:v>
                </c:pt>
                <c:pt idx="397">
                  <c:v>94.430078609913707</c:v>
                </c:pt>
                <c:pt idx="398">
                  <c:v>95.253671910569608</c:v>
                </c:pt>
                <c:pt idx="399">
                  <c:v>93.936181212014318</c:v>
                </c:pt>
                <c:pt idx="400">
                  <c:v>92.690447867452534</c:v>
                </c:pt>
                <c:pt idx="401">
                  <c:v>92.299984482589181</c:v>
                </c:pt>
                <c:pt idx="402">
                  <c:v>91.872026271863092</c:v>
                </c:pt>
                <c:pt idx="403">
                  <c:v>94.082928217733269</c:v>
                </c:pt>
                <c:pt idx="404">
                  <c:v>93.887050063547875</c:v>
                </c:pt>
                <c:pt idx="405">
                  <c:v>94.176018820636372</c:v>
                </c:pt>
                <c:pt idx="406">
                  <c:v>93.817232105852213</c:v>
                </c:pt>
                <c:pt idx="407">
                  <c:v>94.748138190066484</c:v>
                </c:pt>
                <c:pt idx="408">
                  <c:v>96.052699631473956</c:v>
                </c:pt>
                <c:pt idx="409">
                  <c:v>95.966720107861832</c:v>
                </c:pt>
                <c:pt idx="410">
                  <c:v>97.607442080599725</c:v>
                </c:pt>
                <c:pt idx="411">
                  <c:v>97.413503311675498</c:v>
                </c:pt>
                <c:pt idx="412">
                  <c:v>98.072895117188523</c:v>
                </c:pt>
                <c:pt idx="413">
                  <c:v>97.529220109068973</c:v>
                </c:pt>
                <c:pt idx="414">
                  <c:v>97.372776166007469</c:v>
                </c:pt>
                <c:pt idx="415">
                  <c:v>99.012205215237898</c:v>
                </c:pt>
                <c:pt idx="416">
                  <c:v>98.070955731927356</c:v>
                </c:pt>
                <c:pt idx="417">
                  <c:v>96.747000415834805</c:v>
                </c:pt>
                <c:pt idx="418">
                  <c:v>97.36307922866493</c:v>
                </c:pt>
                <c:pt idx="419">
                  <c:v>99.557173146864912</c:v>
                </c:pt>
                <c:pt idx="420">
                  <c:v>99.882343817345358</c:v>
                </c:pt>
                <c:pt idx="421">
                  <c:v>101.33235932992764</c:v>
                </c:pt>
                <c:pt idx="422">
                  <c:v>101.01882499308759</c:v>
                </c:pt>
                <c:pt idx="423">
                  <c:v>101.08153186045561</c:v>
                </c:pt>
                <c:pt idx="424">
                  <c:v>101.13001654716831</c:v>
                </c:pt>
                <c:pt idx="425">
                  <c:v>101.49397496701896</c:v>
                </c:pt>
                <c:pt idx="426">
                  <c:v>100.0252120415053</c:v>
                </c:pt>
                <c:pt idx="427">
                  <c:v>100.5016549389441</c:v>
                </c:pt>
                <c:pt idx="428">
                  <c:v>100.29995862897516</c:v>
                </c:pt>
                <c:pt idx="429">
                  <c:v>100.72145221112734</c:v>
                </c:pt>
                <c:pt idx="430">
                  <c:v>100.53009930025468</c:v>
                </c:pt>
                <c:pt idx="431">
                  <c:v>101.80880223840312</c:v>
                </c:pt>
                <c:pt idx="432">
                  <c:v>103.12176768260899</c:v>
                </c:pt>
                <c:pt idx="433">
                  <c:v>102.61235519158353</c:v>
                </c:pt>
                <c:pt idx="434">
                  <c:v>101.75773169363882</c:v>
                </c:pt>
                <c:pt idx="435">
                  <c:v>101.27417769483571</c:v>
                </c:pt>
                <c:pt idx="436">
                  <c:v>101.87409495278601</c:v>
                </c:pt>
                <c:pt idx="437">
                  <c:v>101.3937732737882</c:v>
                </c:pt>
                <c:pt idx="438">
                  <c:v>101.6801561838618</c:v>
                </c:pt>
                <c:pt idx="439">
                  <c:v>101.48815681123541</c:v>
                </c:pt>
                <c:pt idx="440">
                  <c:v>102.77849607198758</c:v>
                </c:pt>
                <c:pt idx="441">
                  <c:v>102.84184940110931</c:v>
                </c:pt>
                <c:pt idx="442">
                  <c:v>102.16694249143355</c:v>
                </c:pt>
                <c:pt idx="443">
                  <c:v>98.785296852727029</c:v>
                </c:pt>
                <c:pt idx="444">
                  <c:v>99.561051928423922</c:v>
                </c:pt>
                <c:pt idx="445">
                  <c:v>101.77906495358509</c:v>
                </c:pt>
                <c:pt idx="446">
                  <c:v>102.02019548571457</c:v>
                </c:pt>
                <c:pt idx="447">
                  <c:v>101.99821576401457</c:v>
                </c:pt>
                <c:pt idx="448">
                  <c:v>103.70164460412047</c:v>
                </c:pt>
                <c:pt idx="449">
                  <c:v>104.28475382336396</c:v>
                </c:pt>
                <c:pt idx="450">
                  <c:v>104.97065060492639</c:v>
                </c:pt>
                <c:pt idx="451">
                  <c:v>105.43804302677636</c:v>
                </c:pt>
                <c:pt idx="452">
                  <c:v>105.49234588030929</c:v>
                </c:pt>
                <c:pt idx="453">
                  <c:v>104.29509723349688</c:v>
                </c:pt>
                <c:pt idx="454">
                  <c:v>104.02358295479563</c:v>
                </c:pt>
                <c:pt idx="455">
                  <c:v>102.62528444873136</c:v>
                </c:pt>
                <c:pt idx="456">
                  <c:v>102.67764790596645</c:v>
                </c:pt>
                <c:pt idx="457">
                  <c:v>103.5283926333888</c:v>
                </c:pt>
                <c:pt idx="458">
                  <c:v>102.9918287155969</c:v>
                </c:pt>
                <c:pt idx="459">
                  <c:v>101.90383222656737</c:v>
                </c:pt>
                <c:pt idx="460">
                  <c:v>100.25212039297948</c:v>
                </c:pt>
                <c:pt idx="461">
                  <c:v>101.39118742677331</c:v>
                </c:pt>
                <c:pt idx="462">
                  <c:v>102.42100228071087</c:v>
                </c:pt>
                <c:pt idx="463">
                  <c:v>100.96064335799566</c:v>
                </c:pt>
                <c:pt idx="464">
                  <c:v>98.231924907264926</c:v>
                </c:pt>
                <c:pt idx="465">
                  <c:v>98.234510754279825</c:v>
                </c:pt>
                <c:pt idx="466">
                  <c:v>98.234510754279825</c:v>
                </c:pt>
                <c:pt idx="467">
                  <c:v>98.229985522003744</c:v>
                </c:pt>
                <c:pt idx="468">
                  <c:v>95.450842988262465</c:v>
                </c:pt>
                <c:pt idx="469">
                  <c:v>96.305466486207166</c:v>
                </c:pt>
                <c:pt idx="470">
                  <c:v>97.107080054126413</c:v>
                </c:pt>
                <c:pt idx="471">
                  <c:v>94.91945076450034</c:v>
                </c:pt>
                <c:pt idx="472">
                  <c:v>95.270479938239788</c:v>
                </c:pt>
                <c:pt idx="473">
                  <c:v>97.714108402404378</c:v>
                </c:pt>
                <c:pt idx="474">
                  <c:v>96.202678945961523</c:v>
                </c:pt>
                <c:pt idx="475">
                  <c:v>94.846400498036061</c:v>
                </c:pt>
                <c:pt idx="476">
                  <c:v>95.616337406912777</c:v>
                </c:pt>
                <c:pt idx="477">
                  <c:v>92.842366567201282</c:v>
                </c:pt>
                <c:pt idx="478">
                  <c:v>94.402927183147256</c:v>
                </c:pt>
                <c:pt idx="479">
                  <c:v>96.216254653826425</c:v>
                </c:pt>
                <c:pt idx="480">
                  <c:v>96.233709143250337</c:v>
                </c:pt>
                <c:pt idx="481">
                  <c:v>97.295200667267096</c:v>
                </c:pt>
                <c:pt idx="482">
                  <c:v>96.19233553582859</c:v>
                </c:pt>
                <c:pt idx="483">
                  <c:v>96.204618331222704</c:v>
                </c:pt>
                <c:pt idx="484">
                  <c:v>95.702316919488226</c:v>
                </c:pt>
                <c:pt idx="485">
                  <c:v>95.601468764503764</c:v>
                </c:pt>
                <c:pt idx="486">
                  <c:v>94.112019029760901</c:v>
                </c:pt>
                <c:pt idx="487">
                  <c:v>95.298924288513703</c:v>
                </c:pt>
                <c:pt idx="488">
                  <c:v>93.519212862138232</c:v>
                </c:pt>
                <c:pt idx="489">
                  <c:v>93.248991517981111</c:v>
                </c:pt>
                <c:pt idx="490">
                  <c:v>94.17666528239009</c:v>
                </c:pt>
                <c:pt idx="491">
                  <c:v>94.561310511469927</c:v>
                </c:pt>
                <c:pt idx="492">
                  <c:v>92.366570131516212</c:v>
                </c:pt>
                <c:pt idx="493">
                  <c:v>91.500956761684833</c:v>
                </c:pt>
                <c:pt idx="494">
                  <c:v>91.241078816623983</c:v>
                </c:pt>
                <c:pt idx="495">
                  <c:v>90.140799543237023</c:v>
                </c:pt>
                <c:pt idx="496">
                  <c:v>89.873810507848503</c:v>
                </c:pt>
                <c:pt idx="497">
                  <c:v>90.451748033062188</c:v>
                </c:pt>
                <c:pt idx="498">
                  <c:v>92.22887360138607</c:v>
                </c:pt>
                <c:pt idx="499">
                  <c:v>89.789123918780518</c:v>
                </c:pt>
                <c:pt idx="500">
                  <c:v>90.593969795468382</c:v>
                </c:pt>
                <c:pt idx="501">
                  <c:v>90.861605292610619</c:v>
                </c:pt>
                <c:pt idx="502">
                  <c:v>90.528030619331744</c:v>
                </c:pt>
                <c:pt idx="503">
                  <c:v>91.250775753966522</c:v>
                </c:pt>
                <c:pt idx="504">
                  <c:v>89.538942900025532</c:v>
                </c:pt>
                <c:pt idx="505">
                  <c:v>89.419347332109695</c:v>
                </c:pt>
                <c:pt idx="506">
                  <c:v>87.306707694209081</c:v>
                </c:pt>
                <c:pt idx="507">
                  <c:v>87.28537443426282</c:v>
                </c:pt>
                <c:pt idx="508">
                  <c:v>87.721090197070268</c:v>
                </c:pt>
                <c:pt idx="509">
                  <c:v>89.789770380534236</c:v>
                </c:pt>
                <c:pt idx="510">
                  <c:v>90.349606954570262</c:v>
                </c:pt>
                <c:pt idx="511">
                  <c:v>90.284314229150681</c:v>
                </c:pt>
                <c:pt idx="512">
                  <c:v>90.019264579023357</c:v>
                </c:pt>
                <c:pt idx="513">
                  <c:v>90.105890564389185</c:v>
                </c:pt>
                <c:pt idx="514">
                  <c:v>89.899022549353802</c:v>
                </c:pt>
                <c:pt idx="515">
                  <c:v>90.048355402087651</c:v>
                </c:pt>
                <c:pt idx="516">
                  <c:v>91.373603641687637</c:v>
                </c:pt>
                <c:pt idx="517">
                  <c:v>90.862898216118055</c:v>
                </c:pt>
                <c:pt idx="518">
                  <c:v>92.588306788960622</c:v>
                </c:pt>
                <c:pt idx="519">
                  <c:v>93.113880845902528</c:v>
                </c:pt>
                <c:pt idx="520">
                  <c:v>92.718245755972717</c:v>
                </c:pt>
                <c:pt idx="521">
                  <c:v>92.074369054622423</c:v>
                </c:pt>
                <c:pt idx="522">
                  <c:v>89.976598059130822</c:v>
                </c:pt>
                <c:pt idx="523">
                  <c:v>89.672114186842919</c:v>
                </c:pt>
                <c:pt idx="524">
                  <c:v>91.206169837776145</c:v>
                </c:pt>
                <c:pt idx="525">
                  <c:v>90.86742345943081</c:v>
                </c:pt>
                <c:pt idx="526">
                  <c:v>95.039046343452839</c:v>
                </c:pt>
                <c:pt idx="527">
                  <c:v>96.167123505359982</c:v>
                </c:pt>
                <c:pt idx="528">
                  <c:v>97.285503718887895</c:v>
                </c:pt>
                <c:pt idx="529">
                  <c:v>97.168493997986971</c:v>
                </c:pt>
                <c:pt idx="530">
                  <c:v>96.128335744953134</c:v>
                </c:pt>
                <c:pt idx="531">
                  <c:v>94.275574063150046</c:v>
                </c:pt>
                <c:pt idx="532">
                  <c:v>93.954928635982355</c:v>
                </c:pt>
                <c:pt idx="533">
                  <c:v>94.694481798287313</c:v>
                </c:pt>
                <c:pt idx="534">
                  <c:v>94.587169014728929</c:v>
                </c:pt>
                <c:pt idx="535">
                  <c:v>93.77585849843048</c:v>
                </c:pt>
                <c:pt idx="536">
                  <c:v>95.145066203503774</c:v>
                </c:pt>
                <c:pt idx="537">
                  <c:v>95.058440218137932</c:v>
                </c:pt>
                <c:pt idx="538">
                  <c:v>95.019652457731084</c:v>
                </c:pt>
                <c:pt idx="539">
                  <c:v>96.279607982948164</c:v>
                </c:pt>
                <c:pt idx="540">
                  <c:v>97.21051406716245</c:v>
                </c:pt>
                <c:pt idx="541">
                  <c:v>94.887127632667415</c:v>
                </c:pt>
                <c:pt idx="542">
                  <c:v>92.303216802394488</c:v>
                </c:pt>
                <c:pt idx="543">
                  <c:v>91.381361193769024</c:v>
                </c:pt>
                <c:pt idx="544">
                  <c:v>91.70653185321278</c:v>
                </c:pt>
                <c:pt idx="545">
                  <c:v>95.137308651422401</c:v>
                </c:pt>
                <c:pt idx="546">
                  <c:v>97.039847954482326</c:v>
                </c:pt>
                <c:pt idx="547">
                  <c:v>98.468530207118349</c:v>
                </c:pt>
                <c:pt idx="548">
                  <c:v>97.814956557388825</c:v>
                </c:pt>
                <c:pt idx="549">
                  <c:v>98.080006207516163</c:v>
                </c:pt>
                <c:pt idx="550">
                  <c:v>95.476701491521467</c:v>
                </c:pt>
                <c:pt idx="551">
                  <c:v>99.399436280295973</c:v>
                </c:pt>
                <c:pt idx="552">
                  <c:v>100.5275134422031</c:v>
                </c:pt>
                <c:pt idx="553">
                  <c:v>101.73833781895371</c:v>
                </c:pt>
                <c:pt idx="554">
                  <c:v>101.41510653373447</c:v>
                </c:pt>
                <c:pt idx="555">
                  <c:v>101.70148945484472</c:v>
                </c:pt>
                <c:pt idx="556">
                  <c:v>101.23086471318945</c:v>
                </c:pt>
                <c:pt idx="557">
                  <c:v>100.89211832380744</c:v>
                </c:pt>
                <c:pt idx="558">
                  <c:v>101.53664149794812</c:v>
                </c:pt>
                <c:pt idx="559">
                  <c:v>101.43967211348604</c:v>
                </c:pt>
                <c:pt idx="560">
                  <c:v>102.55869879980433</c:v>
                </c:pt>
                <c:pt idx="561">
                  <c:v>103.28532271599813</c:v>
                </c:pt>
                <c:pt idx="562">
                  <c:v>102.88386947028478</c:v>
                </c:pt>
                <c:pt idx="563">
                  <c:v>103.83352296743043</c:v>
                </c:pt>
                <c:pt idx="564">
                  <c:v>102.46948696742359</c:v>
                </c:pt>
                <c:pt idx="565">
                  <c:v>101.5806009523848</c:v>
                </c:pt>
                <c:pt idx="566">
                  <c:v>101.6775703368469</c:v>
                </c:pt>
                <c:pt idx="567">
                  <c:v>102.64403186166274</c:v>
                </c:pt>
                <c:pt idx="568">
                  <c:v>101.89736760903013</c:v>
                </c:pt>
                <c:pt idx="569">
                  <c:v>101.74027720421491</c:v>
                </c:pt>
                <c:pt idx="570">
                  <c:v>100.50747310576429</c:v>
                </c:pt>
                <c:pt idx="571">
                  <c:v>101.77130740150373</c:v>
                </c:pt>
                <c:pt idx="572">
                  <c:v>102.64791063218507</c:v>
                </c:pt>
                <c:pt idx="573">
                  <c:v>101.65171183358788</c:v>
                </c:pt>
                <c:pt idx="574">
                  <c:v>101.80104468632175</c:v>
                </c:pt>
                <c:pt idx="575">
                  <c:v>104.95448903900993</c:v>
                </c:pt>
                <c:pt idx="576">
                  <c:v>105.59965866386767</c:v>
                </c:pt>
                <c:pt idx="577">
                  <c:v>105.26608399058881</c:v>
                </c:pt>
                <c:pt idx="578">
                  <c:v>106.16466694297016</c:v>
                </c:pt>
                <c:pt idx="579">
                  <c:v>106.64692800722915</c:v>
                </c:pt>
                <c:pt idx="580">
                  <c:v>105.85889015821148</c:v>
                </c:pt>
                <c:pt idx="581">
                  <c:v>107.87908564392606</c:v>
                </c:pt>
                <c:pt idx="582">
                  <c:v>107.39876396492822</c:v>
                </c:pt>
                <c:pt idx="583">
                  <c:v>106.29008067770617</c:v>
                </c:pt>
                <c:pt idx="584">
                  <c:v>106.81371534938692</c:v>
                </c:pt>
                <c:pt idx="585">
                  <c:v>106.37993897184066</c:v>
                </c:pt>
                <c:pt idx="586">
                  <c:v>107.31924906989003</c:v>
                </c:pt>
                <c:pt idx="587">
                  <c:v>106.54349400522977</c:v>
                </c:pt>
                <c:pt idx="588">
                  <c:v>107.03157323630896</c:v>
                </c:pt>
                <c:pt idx="589">
                  <c:v>104.38754137464625</c:v>
                </c:pt>
                <c:pt idx="590">
                  <c:v>104.71659081564904</c:v>
                </c:pt>
                <c:pt idx="591">
                  <c:v>103.03643463178727</c:v>
                </c:pt>
                <c:pt idx="592">
                  <c:v>104.84846917895898</c:v>
                </c:pt>
                <c:pt idx="593">
                  <c:v>104.7043080312916</c:v>
                </c:pt>
                <c:pt idx="594">
                  <c:v>104.6700455141975</c:v>
                </c:pt>
                <c:pt idx="595">
                  <c:v>104.52976313705247</c:v>
                </c:pt>
                <c:pt idx="596">
                  <c:v>106.18212143239407</c:v>
                </c:pt>
                <c:pt idx="597">
                  <c:v>104.80903495679841</c:v>
                </c:pt>
                <c:pt idx="598">
                  <c:v>103.97121948652391</c:v>
                </c:pt>
                <c:pt idx="599">
                  <c:v>103.41202937424158</c:v>
                </c:pt>
                <c:pt idx="600">
                  <c:v>104.5051975573009</c:v>
                </c:pt>
                <c:pt idx="601">
                  <c:v>103.75788684291459</c:v>
                </c:pt>
                <c:pt idx="602">
                  <c:v>104.39723831198879</c:v>
                </c:pt>
                <c:pt idx="603">
                  <c:v>106.45492863460278</c:v>
                </c:pt>
                <c:pt idx="604">
                  <c:v>107.30955213254749</c:v>
                </c:pt>
                <c:pt idx="605">
                  <c:v>107.42139014838195</c:v>
                </c:pt>
                <c:pt idx="606">
                  <c:v>106.30559578186892</c:v>
                </c:pt>
                <c:pt idx="607">
                  <c:v>105.84854674807853</c:v>
                </c:pt>
                <c:pt idx="608">
                  <c:v>103.77275548532359</c:v>
                </c:pt>
                <c:pt idx="609">
                  <c:v>104.27441042426769</c:v>
                </c:pt>
                <c:pt idx="610">
                  <c:v>104.12572403328755</c:v>
                </c:pt>
                <c:pt idx="611">
                  <c:v>104.50584401905462</c:v>
                </c:pt>
                <c:pt idx="612">
                  <c:v>103.89364397674687</c:v>
                </c:pt>
                <c:pt idx="613">
                  <c:v>105.17881154346922</c:v>
                </c:pt>
                <c:pt idx="614">
                  <c:v>104.75020687098944</c:v>
                </c:pt>
                <c:pt idx="615">
                  <c:v>105.90672838317047</c:v>
                </c:pt>
                <c:pt idx="616">
                  <c:v>106.47496897104159</c:v>
                </c:pt>
                <c:pt idx="617">
                  <c:v>105.42188146085991</c:v>
                </c:pt>
                <c:pt idx="618">
                  <c:v>106.14527306828505</c:v>
                </c:pt>
                <c:pt idx="619">
                  <c:v>104.15740070336675</c:v>
                </c:pt>
                <c:pt idx="620">
                  <c:v>103.86196731770434</c:v>
                </c:pt>
                <c:pt idx="621">
                  <c:v>103.86778547348786</c:v>
                </c:pt>
                <c:pt idx="622">
                  <c:v>103.66932147228755</c:v>
                </c:pt>
                <c:pt idx="623">
                  <c:v>104.26471348692515</c:v>
                </c:pt>
                <c:pt idx="624">
                  <c:v>103.51093814396488</c:v>
                </c:pt>
                <c:pt idx="625">
                  <c:v>102.82051614116303</c:v>
                </c:pt>
                <c:pt idx="626">
                  <c:v>101.47781340110247</c:v>
                </c:pt>
                <c:pt idx="627">
                  <c:v>104.03780513545094</c:v>
                </c:pt>
                <c:pt idx="628">
                  <c:v>104.61380326436675</c:v>
                </c:pt>
                <c:pt idx="629">
                  <c:v>104.95190318095835</c:v>
                </c:pt>
                <c:pt idx="630">
                  <c:v>105.74511274607916</c:v>
                </c:pt>
                <c:pt idx="631">
                  <c:v>106.6029685527925</c:v>
                </c:pt>
                <c:pt idx="632">
                  <c:v>106.07351572532824</c:v>
                </c:pt>
                <c:pt idx="633">
                  <c:v>106.30818162888383</c:v>
                </c:pt>
                <c:pt idx="634">
                  <c:v>106.43812060693259</c:v>
                </c:pt>
                <c:pt idx="635">
                  <c:v>107.85581298768194</c:v>
                </c:pt>
                <c:pt idx="636">
                  <c:v>107.68320748974065</c:v>
                </c:pt>
                <c:pt idx="637">
                  <c:v>107.91205523751269</c:v>
                </c:pt>
                <c:pt idx="638">
                  <c:v>108.12538788112201</c:v>
                </c:pt>
                <c:pt idx="639">
                  <c:v>108.28506413295213</c:v>
                </c:pt>
                <c:pt idx="640">
                  <c:v>108.85007240101797</c:v>
                </c:pt>
                <c:pt idx="641">
                  <c:v>108.80094125255151</c:v>
                </c:pt>
                <c:pt idx="642">
                  <c:v>108.62445697305118</c:v>
                </c:pt>
                <c:pt idx="643">
                  <c:v>109.62130223340212</c:v>
                </c:pt>
                <c:pt idx="644">
                  <c:v>109.85467521345025</c:v>
                </c:pt>
                <c:pt idx="645">
                  <c:v>109.73701903079561</c:v>
                </c:pt>
                <c:pt idx="646">
                  <c:v>109.86501862358318</c:v>
                </c:pt>
                <c:pt idx="647">
                  <c:v>109.83916012032418</c:v>
                </c:pt>
                <c:pt idx="648">
                  <c:v>110.47721869900096</c:v>
                </c:pt>
                <c:pt idx="649">
                  <c:v>111.05257032201638</c:v>
                </c:pt>
                <c:pt idx="650">
                  <c:v>111.15018622341555</c:v>
                </c:pt>
                <c:pt idx="651">
                  <c:v>110.8043287437059</c:v>
                </c:pt>
                <c:pt idx="652">
                  <c:v>110.69830886158162</c:v>
                </c:pt>
                <c:pt idx="653">
                  <c:v>110.69830886158162</c:v>
                </c:pt>
                <c:pt idx="654">
                  <c:v>110.70154117035025</c:v>
                </c:pt>
                <c:pt idx="655">
                  <c:v>111.00861083446974</c:v>
                </c:pt>
                <c:pt idx="656">
                  <c:v>109.91350331029591</c:v>
                </c:pt>
                <c:pt idx="657">
                  <c:v>110.24061336603752</c:v>
                </c:pt>
                <c:pt idx="658">
                  <c:v>110.24061336603752</c:v>
                </c:pt>
                <c:pt idx="659">
                  <c:v>113.10573545650094</c:v>
                </c:pt>
                <c:pt idx="660">
                  <c:v>112.89628158341398</c:v>
                </c:pt>
                <c:pt idx="661">
                  <c:v>113.20658355630206</c:v>
                </c:pt>
                <c:pt idx="662">
                  <c:v>112.64351464038739</c:v>
                </c:pt>
                <c:pt idx="663">
                  <c:v>112.43276793208634</c:v>
                </c:pt>
                <c:pt idx="664">
                  <c:v>113.11413943722603</c:v>
                </c:pt>
                <c:pt idx="665">
                  <c:v>113.08181634953978</c:v>
                </c:pt>
                <c:pt idx="666">
                  <c:v>113.30484587530829</c:v>
                </c:pt>
                <c:pt idx="667">
                  <c:v>113.18331097731462</c:v>
                </c:pt>
                <c:pt idx="668">
                  <c:v>112.94218043414847</c:v>
                </c:pt>
                <c:pt idx="669">
                  <c:v>113.13288687223073</c:v>
                </c:pt>
                <c:pt idx="670">
                  <c:v>114.00237903465778</c:v>
                </c:pt>
                <c:pt idx="671">
                  <c:v>113.7606019635179</c:v>
                </c:pt>
                <c:pt idx="672">
                  <c:v>114.36310511262977</c:v>
                </c:pt>
                <c:pt idx="673">
                  <c:v>114.00884365219504</c:v>
                </c:pt>
                <c:pt idx="674">
                  <c:v>113.83041992121355</c:v>
                </c:pt>
                <c:pt idx="675">
                  <c:v>114.42257961604582</c:v>
                </c:pt>
                <c:pt idx="676">
                  <c:v>115.26944561709249</c:v>
                </c:pt>
                <c:pt idx="677">
                  <c:v>115.26039510839369</c:v>
                </c:pt>
                <c:pt idx="678">
                  <c:v>115.37999064319951</c:v>
                </c:pt>
                <c:pt idx="679">
                  <c:v>114.57255898571674</c:v>
                </c:pt>
                <c:pt idx="680">
                  <c:v>113.566663216667</c:v>
                </c:pt>
                <c:pt idx="681">
                  <c:v>114.22540856042632</c:v>
                </c:pt>
                <c:pt idx="682">
                  <c:v>111.11721660775558</c:v>
                </c:pt>
                <c:pt idx="683">
                  <c:v>111.92982004756146</c:v>
                </c:pt>
                <c:pt idx="684">
                  <c:v>110.85927799277253</c:v>
                </c:pt>
                <c:pt idx="685">
                  <c:v>110.26841125455771</c:v>
                </c:pt>
                <c:pt idx="686">
                  <c:v>111.50444768385029</c:v>
                </c:pt>
                <c:pt idx="687">
                  <c:v>111.20319610929434</c:v>
                </c:pt>
                <c:pt idx="688">
                  <c:v>112.06363776302257</c:v>
                </c:pt>
                <c:pt idx="689">
                  <c:v>112.68165592800388</c:v>
                </c:pt>
                <c:pt idx="690">
                  <c:v>112.04876916476023</c:v>
                </c:pt>
                <c:pt idx="691">
                  <c:v>111.62145743786121</c:v>
                </c:pt>
                <c:pt idx="692">
                  <c:v>111.62404321865611</c:v>
                </c:pt>
                <c:pt idx="693">
                  <c:v>113.33135087343102</c:v>
                </c:pt>
                <c:pt idx="694">
                  <c:v>112.79349401005834</c:v>
                </c:pt>
                <c:pt idx="695">
                  <c:v>110.46881460790918</c:v>
                </c:pt>
                <c:pt idx="696">
                  <c:v>112.18452624340918</c:v>
                </c:pt>
                <c:pt idx="697">
                  <c:v>112.95510966922295</c:v>
                </c:pt>
                <c:pt idx="698">
                  <c:v>110.17402771711049</c:v>
                </c:pt>
                <c:pt idx="699">
                  <c:v>111.6958005395396</c:v>
                </c:pt>
                <c:pt idx="700">
                  <c:v>112.64222180517332</c:v>
                </c:pt>
                <c:pt idx="701">
                  <c:v>112.03583992968574</c:v>
                </c:pt>
                <c:pt idx="702">
                  <c:v>112.07785994367786</c:v>
                </c:pt>
                <c:pt idx="703">
                  <c:v>114.46136743163599</c:v>
                </c:pt>
                <c:pt idx="704">
                  <c:v>114.44197346865759</c:v>
                </c:pt>
                <c:pt idx="705">
                  <c:v>114.86734583236876</c:v>
                </c:pt>
                <c:pt idx="706">
                  <c:v>116.24237177048226</c:v>
                </c:pt>
                <c:pt idx="707">
                  <c:v>115.99800891854748</c:v>
                </c:pt>
                <c:pt idx="708">
                  <c:v>115.86289825750558</c:v>
                </c:pt>
                <c:pt idx="709">
                  <c:v>115.66443425630526</c:v>
                </c:pt>
                <c:pt idx="710">
                  <c:v>117.02135917702113</c:v>
                </c:pt>
                <c:pt idx="711">
                  <c:v>116.41303782797902</c:v>
                </c:pt>
                <c:pt idx="712">
                  <c:v>115.91138288903495</c:v>
                </c:pt>
                <c:pt idx="713">
                  <c:v>114.70055850124766</c:v>
                </c:pt>
                <c:pt idx="714">
                  <c:v>115.88293852772438</c:v>
                </c:pt>
                <c:pt idx="715">
                  <c:v>114.85894185164366</c:v>
                </c:pt>
                <c:pt idx="716">
                  <c:v>114.69474041168412</c:v>
                </c:pt>
                <c:pt idx="717">
                  <c:v>113.53434012898074</c:v>
                </c:pt>
                <c:pt idx="718">
                  <c:v>113.41603742938904</c:v>
                </c:pt>
                <c:pt idx="719">
                  <c:v>112.28214214480836</c:v>
                </c:pt>
                <c:pt idx="720">
                  <c:v>112.75729208562973</c:v>
                </c:pt>
                <c:pt idx="721">
                  <c:v>112.75729208562973</c:v>
                </c:pt>
                <c:pt idx="722">
                  <c:v>112.75470619446814</c:v>
                </c:pt>
                <c:pt idx="723">
                  <c:v>114.7516291343053</c:v>
                </c:pt>
                <c:pt idx="724">
                  <c:v>113.38371434170278</c:v>
                </c:pt>
                <c:pt idx="725">
                  <c:v>112.53103025109257</c:v>
                </c:pt>
                <c:pt idx="726">
                  <c:v>110.85733862958469</c:v>
                </c:pt>
                <c:pt idx="727">
                  <c:v>111.00925736244345</c:v>
                </c:pt>
                <c:pt idx="728">
                  <c:v>111.18121636552101</c:v>
                </c:pt>
                <c:pt idx="729">
                  <c:v>113.79551094236571</c:v>
                </c:pt>
                <c:pt idx="730">
                  <c:v>114.52278129823989</c:v>
                </c:pt>
                <c:pt idx="731">
                  <c:v>113.06242238656135</c:v>
                </c:pt>
                <c:pt idx="732">
                  <c:v>112.39785895323851</c:v>
                </c:pt>
                <c:pt idx="733">
                  <c:v>111.73394182715606</c:v>
                </c:pt>
                <c:pt idx="734">
                  <c:v>109.59415080663565</c:v>
                </c:pt>
                <c:pt idx="735">
                  <c:v>109.46615122488474</c:v>
                </c:pt>
                <c:pt idx="736">
                  <c:v>110.282633435213</c:v>
                </c:pt>
                <c:pt idx="737">
                  <c:v>110.71447040542478</c:v>
                </c:pt>
                <c:pt idx="738">
                  <c:v>113.9493690384123</c:v>
                </c:pt>
                <c:pt idx="739">
                  <c:v>115.24423356455056</c:v>
                </c:pt>
                <c:pt idx="740">
                  <c:v>115.63986862137037</c:v>
                </c:pt>
                <c:pt idx="741">
                  <c:v>114.87316403229897</c:v>
                </c:pt>
                <c:pt idx="742">
                  <c:v>116.26111920548696</c:v>
                </c:pt>
                <c:pt idx="743">
                  <c:v>116.07364496580665</c:v>
                </c:pt>
                <c:pt idx="744">
                  <c:v>116.06524098508156</c:v>
                </c:pt>
                <c:pt idx="745">
                  <c:v>116.37231075956768</c:v>
                </c:pt>
                <c:pt idx="746">
                  <c:v>118.15266857044023</c:v>
                </c:pt>
                <c:pt idx="747">
                  <c:v>118.01885085497909</c:v>
                </c:pt>
                <c:pt idx="748">
                  <c:v>118.69699005135017</c:v>
                </c:pt>
                <c:pt idx="749">
                  <c:v>119.47145220353963</c:v>
                </c:pt>
                <c:pt idx="750">
                  <c:v>119.32535167061104</c:v>
                </c:pt>
                <c:pt idx="751">
                  <c:v>119.87031956912806</c:v>
                </c:pt>
                <c:pt idx="752">
                  <c:v>119.61690631886113</c:v>
                </c:pt>
                <c:pt idx="753">
                  <c:v>120.37068167285805</c:v>
                </c:pt>
                <c:pt idx="754">
                  <c:v>121.07467933937809</c:v>
                </c:pt>
                <c:pt idx="755">
                  <c:v>121.01067958161265</c:v>
                </c:pt>
                <c:pt idx="756">
                  <c:v>121.47871848728971</c:v>
                </c:pt>
                <c:pt idx="757">
                  <c:v>122.03273689450553</c:v>
                </c:pt>
                <c:pt idx="758">
                  <c:v>122.11936281365136</c:v>
                </c:pt>
                <c:pt idx="759">
                  <c:v>122.6811387839852</c:v>
                </c:pt>
                <c:pt idx="760">
                  <c:v>120.22264166637495</c:v>
                </c:pt>
                <c:pt idx="761">
                  <c:v>119.78046134121361</c:v>
                </c:pt>
                <c:pt idx="762">
                  <c:v>120.84906392244801</c:v>
                </c:pt>
                <c:pt idx="763">
                  <c:v>122.45164464067946</c:v>
                </c:pt>
                <c:pt idx="764">
                  <c:v>120.50126707955052</c:v>
                </c:pt>
                <c:pt idx="765">
                  <c:v>121.02102292552559</c:v>
                </c:pt>
                <c:pt idx="766">
                  <c:v>119.81989557441084</c:v>
                </c:pt>
                <c:pt idx="767">
                  <c:v>118.96721137343395</c:v>
                </c:pt>
                <c:pt idx="768">
                  <c:v>119.21997831646051</c:v>
                </c:pt>
                <c:pt idx="769">
                  <c:v>117.47129706530053</c:v>
                </c:pt>
                <c:pt idx="770">
                  <c:v>116.25982625990619</c:v>
                </c:pt>
                <c:pt idx="771">
                  <c:v>117.93804302539679</c:v>
                </c:pt>
                <c:pt idx="772">
                  <c:v>117.91024519205993</c:v>
                </c:pt>
                <c:pt idx="773">
                  <c:v>116.4026944840661</c:v>
                </c:pt>
                <c:pt idx="774">
                  <c:v>115.76916119284874</c:v>
                </c:pt>
                <c:pt idx="775">
                  <c:v>115.55001039345589</c:v>
                </c:pt>
                <c:pt idx="776">
                  <c:v>115.95146353983925</c:v>
                </c:pt>
                <c:pt idx="777">
                  <c:v>117.13966176624618</c:v>
                </c:pt>
                <c:pt idx="778">
                  <c:v>117.26313613779433</c:v>
                </c:pt>
                <c:pt idx="779">
                  <c:v>116.7104106761593</c:v>
                </c:pt>
                <c:pt idx="780">
                  <c:v>112.94864505168572</c:v>
                </c:pt>
                <c:pt idx="781">
                  <c:v>111.35705420534094</c:v>
                </c:pt>
                <c:pt idx="782">
                  <c:v>109.57604985545801</c:v>
                </c:pt>
                <c:pt idx="783">
                  <c:v>110.94719696786584</c:v>
                </c:pt>
                <c:pt idx="784">
                  <c:v>113.12318994592485</c:v>
                </c:pt>
                <c:pt idx="785">
                  <c:v>113.94872262080527</c:v>
                </c:pt>
                <c:pt idx="786">
                  <c:v>113.28028035074007</c:v>
                </c:pt>
                <c:pt idx="787">
                  <c:v>114.27712561109098</c:v>
                </c:pt>
                <c:pt idx="788">
                  <c:v>113.64488515508775</c:v>
                </c:pt>
                <c:pt idx="789">
                  <c:v>112.48771718115297</c:v>
                </c:pt>
                <c:pt idx="790">
                  <c:v>115.46984898148065</c:v>
                </c:pt>
                <c:pt idx="791">
                  <c:v>113.61773373935794</c:v>
                </c:pt>
                <c:pt idx="792">
                  <c:v>115.64956554767625</c:v>
                </c:pt>
                <c:pt idx="793">
                  <c:v>116.45376500675707</c:v>
                </c:pt>
                <c:pt idx="794">
                  <c:v>116.44471449805825</c:v>
                </c:pt>
                <c:pt idx="795">
                  <c:v>117.29804511664217</c:v>
                </c:pt>
                <c:pt idx="796">
                  <c:v>116.9618845632384</c:v>
                </c:pt>
                <c:pt idx="797">
                  <c:v>117.54305438618402</c:v>
                </c:pt>
                <c:pt idx="798">
                  <c:v>116.75630952689377</c:v>
                </c:pt>
                <c:pt idx="799">
                  <c:v>117.3775600006437</c:v>
                </c:pt>
                <c:pt idx="800">
                  <c:v>118.78296955288896</c:v>
                </c:pt>
                <c:pt idx="801">
                  <c:v>118.69957594251173</c:v>
                </c:pt>
                <c:pt idx="802">
                  <c:v>118.87088852798225</c:v>
                </c:pt>
                <c:pt idx="803">
                  <c:v>118.79848467912504</c:v>
                </c:pt>
                <c:pt idx="804">
                  <c:v>120.02999586510485</c:v>
                </c:pt>
                <c:pt idx="805">
                  <c:v>119.68866363974462</c:v>
                </c:pt>
                <c:pt idx="806">
                  <c:v>119.59428004711408</c:v>
                </c:pt>
                <c:pt idx="807">
                  <c:v>119.62466388197915</c:v>
                </c:pt>
                <c:pt idx="808">
                  <c:v>120.22199524876791</c:v>
                </c:pt>
                <c:pt idx="809">
                  <c:v>120.46312579193408</c:v>
                </c:pt>
                <c:pt idx="810">
                  <c:v>122.28873603593402</c:v>
                </c:pt>
                <c:pt idx="811">
                  <c:v>122.41867502501947</c:v>
                </c:pt>
                <c:pt idx="812">
                  <c:v>122.42901836893239</c:v>
                </c:pt>
                <c:pt idx="813">
                  <c:v>121.7075662129884</c:v>
                </c:pt>
                <c:pt idx="814">
                  <c:v>121.68817236037665</c:v>
                </c:pt>
                <c:pt idx="815">
                  <c:v>122.76065366798676</c:v>
                </c:pt>
                <c:pt idx="816">
                  <c:v>123.31790438397121</c:v>
                </c:pt>
                <c:pt idx="817">
                  <c:v>123.43232824682057</c:v>
                </c:pt>
                <c:pt idx="818">
                  <c:v>124.06327575724303</c:v>
                </c:pt>
                <c:pt idx="819">
                  <c:v>124.5513549331389</c:v>
                </c:pt>
                <c:pt idx="820">
                  <c:v>123.77818572653021</c:v>
                </c:pt>
                <c:pt idx="821">
                  <c:v>124.41495143688289</c:v>
                </c:pt>
                <c:pt idx="822">
                  <c:v>123.31984385752573</c:v>
                </c:pt>
                <c:pt idx="823">
                  <c:v>121.8568990546856</c:v>
                </c:pt>
                <c:pt idx="824">
                  <c:v>121.42570849104422</c:v>
                </c:pt>
                <c:pt idx="825">
                  <c:v>123.06384460573054</c:v>
                </c:pt>
                <c:pt idx="826">
                  <c:v>123.56356018148679</c:v>
                </c:pt>
                <c:pt idx="827">
                  <c:v>123.28364193309712</c:v>
                </c:pt>
                <c:pt idx="828">
                  <c:v>120.33447974842943</c:v>
                </c:pt>
                <c:pt idx="829">
                  <c:v>119.8308854462975</c:v>
                </c:pt>
                <c:pt idx="830">
                  <c:v>120.59371119862656</c:v>
                </c:pt>
                <c:pt idx="831">
                  <c:v>119.17214010253818</c:v>
                </c:pt>
                <c:pt idx="832">
                  <c:v>121.25051717919804</c:v>
                </c:pt>
                <c:pt idx="833">
                  <c:v>120.75985211214059</c:v>
                </c:pt>
                <c:pt idx="834">
                  <c:v>120.87944764694643</c:v>
                </c:pt>
                <c:pt idx="835">
                  <c:v>121.69075814117156</c:v>
                </c:pt>
                <c:pt idx="836">
                  <c:v>122.56930081229744</c:v>
                </c:pt>
                <c:pt idx="837">
                  <c:v>122.53956350540606</c:v>
                </c:pt>
                <c:pt idx="838">
                  <c:v>124.659314178451</c:v>
                </c:pt>
                <c:pt idx="839">
                  <c:v>125.15902975420722</c:v>
                </c:pt>
                <c:pt idx="840">
                  <c:v>125.08856537890453</c:v>
                </c:pt>
                <c:pt idx="841">
                  <c:v>125.33292823083933</c:v>
                </c:pt>
                <c:pt idx="842">
                  <c:v>126.52241929246033</c:v>
                </c:pt>
                <c:pt idx="843">
                  <c:v>126.2961574579232</c:v>
                </c:pt>
                <c:pt idx="844">
                  <c:v>127.02342781379737</c:v>
                </c:pt>
                <c:pt idx="845">
                  <c:v>127.93623293579736</c:v>
                </c:pt>
                <c:pt idx="846">
                  <c:v>127.762980987139</c:v>
                </c:pt>
                <c:pt idx="847">
                  <c:v>127.00274101560483</c:v>
                </c:pt>
                <c:pt idx="848">
                  <c:v>127.58649672971202</c:v>
                </c:pt>
                <c:pt idx="849">
                  <c:v>127.66730455929434</c:v>
                </c:pt>
                <c:pt idx="850">
                  <c:v>127.51473929846185</c:v>
                </c:pt>
                <c:pt idx="851">
                  <c:v>127.28718451834393</c:v>
                </c:pt>
                <c:pt idx="852">
                  <c:v>126.31231900176631</c:v>
                </c:pt>
                <c:pt idx="853">
                  <c:v>127.91877844637345</c:v>
                </c:pt>
                <c:pt idx="854">
                  <c:v>127.24710386753964</c:v>
                </c:pt>
                <c:pt idx="855">
                  <c:v>126.61292404834855</c:v>
                </c:pt>
                <c:pt idx="856">
                  <c:v>127.44815364953482</c:v>
                </c:pt>
                <c:pt idx="857">
                  <c:v>127.18827578173062</c:v>
                </c:pt>
                <c:pt idx="858">
                  <c:v>126.45066197157684</c:v>
                </c:pt>
                <c:pt idx="859">
                  <c:v>126.29809682111105</c:v>
                </c:pt>
                <c:pt idx="860">
                  <c:v>128.8238260052554</c:v>
                </c:pt>
                <c:pt idx="861">
                  <c:v>129.12830988857996</c:v>
                </c:pt>
                <c:pt idx="862">
                  <c:v>129.18713797438895</c:v>
                </c:pt>
                <c:pt idx="863">
                  <c:v>130.40507339732054</c:v>
                </c:pt>
                <c:pt idx="864">
                  <c:v>130.92095051691993</c:v>
                </c:pt>
                <c:pt idx="865">
                  <c:v>130.76838536645411</c:v>
                </c:pt>
                <c:pt idx="866">
                  <c:v>131.9016342334277</c:v>
                </c:pt>
                <c:pt idx="867">
                  <c:v>131.97403808228495</c:v>
                </c:pt>
                <c:pt idx="868">
                  <c:v>132.60239970154583</c:v>
                </c:pt>
                <c:pt idx="869">
                  <c:v>131.46785788899143</c:v>
                </c:pt>
                <c:pt idx="870">
                  <c:v>132.17702733783466</c:v>
                </c:pt>
                <c:pt idx="871">
                  <c:v>131.81177600551322</c:v>
                </c:pt>
                <c:pt idx="872">
                  <c:v>131.39286825933931</c:v>
                </c:pt>
                <c:pt idx="873">
                  <c:v>132.41880429860785</c:v>
                </c:pt>
                <c:pt idx="874">
                  <c:v>132.27205734807225</c:v>
                </c:pt>
                <c:pt idx="875">
                  <c:v>133.15835747194947</c:v>
                </c:pt>
                <c:pt idx="876">
                  <c:v>132.55132917885487</c:v>
                </c:pt>
                <c:pt idx="877">
                  <c:v>133.15706452636871</c:v>
                </c:pt>
                <c:pt idx="878">
                  <c:v>132.31278441648362</c:v>
                </c:pt>
                <c:pt idx="879">
                  <c:v>133.29476107857218</c:v>
                </c:pt>
                <c:pt idx="880">
                  <c:v>132.91464103762175</c:v>
                </c:pt>
                <c:pt idx="881">
                  <c:v>132.70130843815912</c:v>
                </c:pt>
                <c:pt idx="882">
                  <c:v>133.48223520788582</c:v>
                </c:pt>
                <c:pt idx="883">
                  <c:v>132.75949010636106</c:v>
                </c:pt>
                <c:pt idx="884">
                  <c:v>132.17638080986092</c:v>
                </c:pt>
                <c:pt idx="885">
                  <c:v>133.33571130839746</c:v>
                </c:pt>
                <c:pt idx="886">
                  <c:v>133.46015723777302</c:v>
                </c:pt>
                <c:pt idx="887">
                  <c:v>134.44339583240713</c:v>
                </c:pt>
                <c:pt idx="888">
                  <c:v>133.30066117057419</c:v>
                </c:pt>
                <c:pt idx="889">
                  <c:v>133.18920263951009</c:v>
                </c:pt>
                <c:pt idx="890">
                  <c:v>133.07036013651799</c:v>
                </c:pt>
                <c:pt idx="891">
                  <c:v>133.50983427084358</c:v>
                </c:pt>
                <c:pt idx="892">
                  <c:v>134.21634520725402</c:v>
                </c:pt>
                <c:pt idx="893">
                  <c:v>133.7431583584553</c:v>
                </c:pt>
                <c:pt idx="894">
                  <c:v>134.53795126594841</c:v>
                </c:pt>
                <c:pt idx="895">
                  <c:v>134.9867064649539</c:v>
                </c:pt>
                <c:pt idx="896">
                  <c:v>134.89668721206272</c:v>
                </c:pt>
                <c:pt idx="897">
                  <c:v>134.426989164182</c:v>
                </c:pt>
                <c:pt idx="898">
                  <c:v>131.78445307997274</c:v>
                </c:pt>
                <c:pt idx="899">
                  <c:v>130.91932415361828</c:v>
                </c:pt>
                <c:pt idx="900">
                  <c:v>129.56295514983717</c:v>
                </c:pt>
                <c:pt idx="901">
                  <c:v>130.49536602846214</c:v>
                </c:pt>
                <c:pt idx="902">
                  <c:v>130.94426039984302</c:v>
                </c:pt>
                <c:pt idx="903">
                  <c:v>129.99545201342684</c:v>
                </c:pt>
                <c:pt idx="904">
                  <c:v>129.39720868681445</c:v>
                </c:pt>
                <c:pt idx="905">
                  <c:v>128.45217693760091</c:v>
                </c:pt>
                <c:pt idx="906">
                  <c:v>128.23419403834771</c:v>
                </c:pt>
                <c:pt idx="907">
                  <c:v>130.33234650520978</c:v>
                </c:pt>
                <c:pt idx="908">
                  <c:v>129.00829330491447</c:v>
                </c:pt>
                <c:pt idx="909">
                  <c:v>130.26515527434495</c:v>
                </c:pt>
                <c:pt idx="910">
                  <c:v>132.46319984488179</c:v>
                </c:pt>
                <c:pt idx="911">
                  <c:v>133.23753043999633</c:v>
                </c:pt>
                <c:pt idx="912">
                  <c:v>134.20951362052719</c:v>
                </c:pt>
                <c:pt idx="913">
                  <c:v>134.40281488947156</c:v>
                </c:pt>
                <c:pt idx="914">
                  <c:v>134.40281488947156</c:v>
                </c:pt>
                <c:pt idx="915">
                  <c:v>134.40281996633857</c:v>
                </c:pt>
                <c:pt idx="916">
                  <c:v>135.9532002278751</c:v>
                </c:pt>
                <c:pt idx="917">
                  <c:v>135.69075622454389</c:v>
                </c:pt>
                <c:pt idx="918">
                  <c:v>135.99746852137437</c:v>
                </c:pt>
                <c:pt idx="919">
                  <c:v>135.99746852137437</c:v>
                </c:pt>
                <c:pt idx="920">
                  <c:v>134.26230487002564</c:v>
                </c:pt>
                <c:pt idx="921">
                  <c:v>134.96399123766795</c:v>
                </c:pt>
                <c:pt idx="922">
                  <c:v>134.83003843339841</c:v>
                </c:pt>
                <c:pt idx="923">
                  <c:v>136.28818372070532</c:v>
                </c:pt>
                <c:pt idx="924">
                  <c:v>136.49416214724178</c:v>
                </c:pt>
                <c:pt idx="925">
                  <c:v>135.82522488264567</c:v>
                </c:pt>
                <c:pt idx="926">
                  <c:v>136.40418406111985</c:v>
                </c:pt>
                <c:pt idx="927">
                  <c:v>137.00638303967938</c:v>
                </c:pt>
                <c:pt idx="928">
                  <c:v>137.21374171183544</c:v>
                </c:pt>
                <c:pt idx="929">
                  <c:v>139.18614636404067</c:v>
                </c:pt>
                <c:pt idx="930">
                  <c:v>138.75065425929719</c:v>
                </c:pt>
                <c:pt idx="931">
                  <c:v>138.99390494626249</c:v>
                </c:pt>
                <c:pt idx="932">
                  <c:v>138.85532568140385</c:v>
                </c:pt>
                <c:pt idx="933">
                  <c:v>138.74554019874432</c:v>
                </c:pt>
                <c:pt idx="934">
                  <c:v>138.62420020829614</c:v>
                </c:pt>
                <c:pt idx="935">
                  <c:v>137.39149684150851</c:v>
                </c:pt>
                <c:pt idx="936">
                  <c:v>133.74412252171558</c:v>
                </c:pt>
                <c:pt idx="937">
                  <c:v>132.95821368997758</c:v>
                </c:pt>
                <c:pt idx="938">
                  <c:v>134.05626585218536</c:v>
                </c:pt>
                <c:pt idx="939">
                  <c:v>133.26160759203404</c:v>
                </c:pt>
                <c:pt idx="940">
                  <c:v>133.65789292929449</c:v>
                </c:pt>
                <c:pt idx="941">
                  <c:v>132.97879210809666</c:v>
                </c:pt>
                <c:pt idx="942">
                  <c:v>131.11201454302451</c:v>
                </c:pt>
                <c:pt idx="943">
                  <c:v>131.06371996290702</c:v>
                </c:pt>
                <c:pt idx="944">
                  <c:v>131.17120860472303</c:v>
                </c:pt>
                <c:pt idx="945">
                  <c:v>133.45254072326381</c:v>
                </c:pt>
                <c:pt idx="946">
                  <c:v>134.46752717448155</c:v>
                </c:pt>
                <c:pt idx="947">
                  <c:v>134.42444212208952</c:v>
                </c:pt>
                <c:pt idx="948">
                  <c:v>136.28662732987476</c:v>
                </c:pt>
                <c:pt idx="949">
                  <c:v>137.03140095724257</c:v>
                </c:pt>
                <c:pt idx="950">
                  <c:v>137.24529653710704</c:v>
                </c:pt>
                <c:pt idx="951">
                  <c:v>138.13516393260716</c:v>
                </c:pt>
                <c:pt idx="952">
                  <c:v>138.29110155751704</c:v>
                </c:pt>
                <c:pt idx="953">
                  <c:v>138.15699975823816</c:v>
                </c:pt>
                <c:pt idx="954">
                  <c:v>138.25719095559825</c:v>
                </c:pt>
                <c:pt idx="955">
                  <c:v>138.13019688046347</c:v>
                </c:pt>
                <c:pt idx="956">
                  <c:v>138.65686631560382</c:v>
                </c:pt>
                <c:pt idx="957">
                  <c:v>139.65195983611198</c:v>
                </c:pt>
                <c:pt idx="958">
                  <c:v>139.68832786238431</c:v>
                </c:pt>
                <c:pt idx="959">
                  <c:v>139.18856703629189</c:v>
                </c:pt>
                <c:pt idx="960">
                  <c:v>138.70955823509613</c:v>
                </c:pt>
                <c:pt idx="961">
                  <c:v>139.33708780000501</c:v>
                </c:pt>
                <c:pt idx="962">
                  <c:v>135.34311797855631</c:v>
                </c:pt>
                <c:pt idx="963">
                  <c:v>138.68654810805842</c:v>
                </c:pt>
                <c:pt idx="964">
                  <c:v>138.77440229791432</c:v>
                </c:pt>
                <c:pt idx="965">
                  <c:v>139.39257574880531</c:v>
                </c:pt>
                <c:pt idx="966">
                  <c:v>137.4443138064419</c:v>
                </c:pt>
                <c:pt idx="967">
                  <c:v>137.1154423096269</c:v>
                </c:pt>
                <c:pt idx="968">
                  <c:v>137.11194854220861</c:v>
                </c:pt>
                <c:pt idx="969">
                  <c:v>135.72811015631117</c:v>
                </c:pt>
                <c:pt idx="970">
                  <c:v>133.86573048244713</c:v>
                </c:pt>
                <c:pt idx="971">
                  <c:v>133.10325889677353</c:v>
                </c:pt>
                <c:pt idx="972">
                  <c:v>134.99297970667919</c:v>
                </c:pt>
                <c:pt idx="973">
                  <c:v>136.13380403175944</c:v>
                </c:pt>
                <c:pt idx="974">
                  <c:v>136.1440117350306</c:v>
                </c:pt>
                <c:pt idx="975">
                  <c:v>136.47142506735449</c:v>
                </c:pt>
                <c:pt idx="976">
                  <c:v>136.65267032234561</c:v>
                </c:pt>
                <c:pt idx="977">
                  <c:v>134.85691404281098</c:v>
                </c:pt>
                <c:pt idx="978">
                  <c:v>136.65005054861524</c:v>
                </c:pt>
                <c:pt idx="979">
                  <c:v>138.16084923744535</c:v>
                </c:pt>
                <c:pt idx="980">
                  <c:v>138.27838808928934</c:v>
                </c:pt>
                <c:pt idx="981">
                  <c:v>139.82704916915182</c:v>
                </c:pt>
                <c:pt idx="982">
                  <c:v>139.75624784439472</c:v>
                </c:pt>
                <c:pt idx="983">
                  <c:v>140.91846840464518</c:v>
                </c:pt>
                <c:pt idx="984">
                  <c:v>140.90603217750149</c:v>
                </c:pt>
                <c:pt idx="985">
                  <c:v>141.52581963062664</c:v>
                </c:pt>
                <c:pt idx="986">
                  <c:v>142.47522973614707</c:v>
                </c:pt>
                <c:pt idx="987">
                  <c:v>140.67774213460427</c:v>
                </c:pt>
                <c:pt idx="988">
                  <c:v>139.95963762060279</c:v>
                </c:pt>
                <c:pt idx="989">
                  <c:v>140.43149477171838</c:v>
                </c:pt>
                <c:pt idx="990">
                  <c:v>139.36118834977751</c:v>
                </c:pt>
                <c:pt idx="991">
                  <c:v>137.63721036079434</c:v>
                </c:pt>
                <c:pt idx="992">
                  <c:v>137.97018694603253</c:v>
                </c:pt>
                <c:pt idx="993">
                  <c:v>136.29135499670346</c:v>
                </c:pt>
                <c:pt idx="994">
                  <c:v>138.50239767111913</c:v>
                </c:pt>
                <c:pt idx="995">
                  <c:v>139.25103689122844</c:v>
                </c:pt>
                <c:pt idx="996">
                  <c:v>139.25103689122844</c:v>
                </c:pt>
                <c:pt idx="997">
                  <c:v>139.25103269729485</c:v>
                </c:pt>
                <c:pt idx="998">
                  <c:v>141.26075022486472</c:v>
                </c:pt>
                <c:pt idx="999">
                  <c:v>140.42265395969932</c:v>
                </c:pt>
                <c:pt idx="1000">
                  <c:v>140.88073260418739</c:v>
                </c:pt>
                <c:pt idx="1001">
                  <c:v>139.21343319967892</c:v>
                </c:pt>
                <c:pt idx="1002">
                  <c:v>139.67680701643116</c:v>
                </c:pt>
                <c:pt idx="1003">
                  <c:v>141.46949918600765</c:v>
                </c:pt>
                <c:pt idx="1004">
                  <c:v>141.2483154324878</c:v>
                </c:pt>
                <c:pt idx="1005">
                  <c:v>141.24674325922288</c:v>
                </c:pt>
                <c:pt idx="1006">
                  <c:v>140.7703878935929</c:v>
                </c:pt>
                <c:pt idx="1007">
                  <c:v>140.55751154995875</c:v>
                </c:pt>
                <c:pt idx="1008">
                  <c:v>139.79711540958149</c:v>
                </c:pt>
                <c:pt idx="1009">
                  <c:v>140.10740281406868</c:v>
                </c:pt>
                <c:pt idx="1010">
                  <c:v>141.91398131851284</c:v>
                </c:pt>
                <c:pt idx="1011">
                  <c:v>141.15063143485102</c:v>
                </c:pt>
                <c:pt idx="1012">
                  <c:v>142.38667085508047</c:v>
                </c:pt>
                <c:pt idx="1013">
                  <c:v>142.63111261918687</c:v>
                </c:pt>
                <c:pt idx="1014">
                  <c:v>142.53799250423523</c:v>
                </c:pt>
                <c:pt idx="1015">
                  <c:v>140.46803905356839</c:v>
                </c:pt>
                <c:pt idx="1016">
                  <c:v>140.72164710101418</c:v>
                </c:pt>
                <c:pt idx="1017">
                  <c:v>140.965936228011</c:v>
                </c:pt>
                <c:pt idx="1018">
                  <c:v>140.92828386475844</c:v>
                </c:pt>
                <c:pt idx="1019">
                  <c:v>141.73603569596122</c:v>
                </c:pt>
                <c:pt idx="1020">
                  <c:v>141.93276870625337</c:v>
                </c:pt>
                <c:pt idx="1021">
                  <c:v>142.64661560508881</c:v>
                </c:pt>
                <c:pt idx="1022">
                  <c:v>144.3107640410671</c:v>
                </c:pt>
                <c:pt idx="1023">
                  <c:v>144.53690822473021</c:v>
                </c:pt>
                <c:pt idx="1024">
                  <c:v>144.70046810321634</c:v>
                </c:pt>
                <c:pt idx="1025">
                  <c:v>144.69983989611043</c:v>
                </c:pt>
                <c:pt idx="1026">
                  <c:v>144.8115705913915</c:v>
                </c:pt>
                <c:pt idx="1027">
                  <c:v>145.10371481841176</c:v>
                </c:pt>
                <c:pt idx="1028">
                  <c:v>144.5627070968755</c:v>
                </c:pt>
                <c:pt idx="1029">
                  <c:v>144.53538715123517</c:v>
                </c:pt>
                <c:pt idx="1030">
                  <c:v>145.71667818974385</c:v>
                </c:pt>
                <c:pt idx="1031">
                  <c:v>146.95188688002142</c:v>
                </c:pt>
                <c:pt idx="1032">
                  <c:v>147.4371617491087</c:v>
                </c:pt>
                <c:pt idx="1033">
                  <c:v>147.78306194072101</c:v>
                </c:pt>
                <c:pt idx="1034">
                  <c:v>146.59261179270672</c:v>
                </c:pt>
                <c:pt idx="1035">
                  <c:v>146.56688035459899</c:v>
                </c:pt>
                <c:pt idx="1036">
                  <c:v>146.25586066723272</c:v>
                </c:pt>
                <c:pt idx="1037">
                  <c:v>145.47371324209644</c:v>
                </c:pt>
                <c:pt idx="1038">
                  <c:v>146.19010950072447</c:v>
                </c:pt>
                <c:pt idx="1039">
                  <c:v>146.24724235442758</c:v>
                </c:pt>
                <c:pt idx="1040">
                  <c:v>147.2813566745738</c:v>
                </c:pt>
                <c:pt idx="1041">
                  <c:v>146.80489977160414</c:v>
                </c:pt>
                <c:pt idx="1042">
                  <c:v>145.91661602750295</c:v>
                </c:pt>
                <c:pt idx="1043">
                  <c:v>145.79497517750266</c:v>
                </c:pt>
                <c:pt idx="1044">
                  <c:v>144.32721750476179</c:v>
                </c:pt>
                <c:pt idx="1045">
                  <c:v>143.834007051112</c:v>
                </c:pt>
                <c:pt idx="1046">
                  <c:v>143.73036016283604</c:v>
                </c:pt>
                <c:pt idx="1047">
                  <c:v>143.61417010210963</c:v>
                </c:pt>
                <c:pt idx="1048">
                  <c:v>144.8137498917277</c:v>
                </c:pt>
                <c:pt idx="1049">
                  <c:v>144.79272360564727</c:v>
                </c:pt>
                <c:pt idx="1050">
                  <c:v>146.34569019981208</c:v>
                </c:pt>
                <c:pt idx="1051">
                  <c:v>145.52964376125772</c:v>
                </c:pt>
                <c:pt idx="1052">
                  <c:v>143.86913908100712</c:v>
                </c:pt>
                <c:pt idx="1053">
                  <c:v>141.65893232377704</c:v>
                </c:pt>
                <c:pt idx="1054">
                  <c:v>142.18085323278737</c:v>
                </c:pt>
                <c:pt idx="1055">
                  <c:v>140.08723396667517</c:v>
                </c:pt>
                <c:pt idx="1056">
                  <c:v>140.31329537533315</c:v>
                </c:pt>
                <c:pt idx="1057">
                  <c:v>141.56184938304449</c:v>
                </c:pt>
                <c:pt idx="1058">
                  <c:v>140.35770063387429</c:v>
                </c:pt>
                <c:pt idx="1059">
                  <c:v>142.57579838753074</c:v>
                </c:pt>
                <c:pt idx="1060">
                  <c:v>140.87561335640086</c:v>
                </c:pt>
                <c:pt idx="1061">
                  <c:v>141.00385534751359</c:v>
                </c:pt>
                <c:pt idx="1062">
                  <c:v>139.94281884321856</c:v>
                </c:pt>
                <c:pt idx="1063">
                  <c:v>141.84616618484233</c:v>
                </c:pt>
                <c:pt idx="1064">
                  <c:v>142.10905617990136</c:v>
                </c:pt>
                <c:pt idx="1065">
                  <c:v>143.35713660421649</c:v>
                </c:pt>
                <c:pt idx="1066">
                  <c:v>141.59864508017685</c:v>
                </c:pt>
                <c:pt idx="1067">
                  <c:v>141.31746346447494</c:v>
                </c:pt>
                <c:pt idx="1068">
                  <c:v>141.9840114009551</c:v>
                </c:pt>
                <c:pt idx="1069">
                  <c:v>141.1248820069755</c:v>
                </c:pt>
                <c:pt idx="1070">
                  <c:v>138.76809164188668</c:v>
                </c:pt>
                <c:pt idx="1071">
                  <c:v>136.73229027542038</c:v>
                </c:pt>
                <c:pt idx="1072">
                  <c:v>136.55262646449472</c:v>
                </c:pt>
                <c:pt idx="1073">
                  <c:v>136.47761796214144</c:v>
                </c:pt>
                <c:pt idx="1074">
                  <c:v>135.3369141574687</c:v>
                </c:pt>
                <c:pt idx="1075">
                  <c:v>133.84379223654307</c:v>
                </c:pt>
                <c:pt idx="1076">
                  <c:v>133.47511192204075</c:v>
                </c:pt>
                <c:pt idx="1077">
                  <c:v>135.40256146893711</c:v>
                </c:pt>
                <c:pt idx="1078">
                  <c:v>134.58833177619624</c:v>
                </c:pt>
                <c:pt idx="1079">
                  <c:v>135.74884352923993</c:v>
                </c:pt>
                <c:pt idx="1080">
                  <c:v>136.00558963231509</c:v>
                </c:pt>
                <c:pt idx="1081">
                  <c:v>135.03311565118696</c:v>
                </c:pt>
                <c:pt idx="1082">
                  <c:v>136.80670875753682</c:v>
                </c:pt>
                <c:pt idx="1083">
                  <c:v>137.65436321809941</c:v>
                </c:pt>
                <c:pt idx="1084">
                  <c:v>137.49480711143013</c:v>
                </c:pt>
                <c:pt idx="1085">
                  <c:v>139.02713304067197</c:v>
                </c:pt>
                <c:pt idx="1086">
                  <c:v>138.17672360720388</c:v>
                </c:pt>
                <c:pt idx="1087">
                  <c:v>140.6152344238987</c:v>
                </c:pt>
                <c:pt idx="1088">
                  <c:v>141.94580908056815</c:v>
                </c:pt>
                <c:pt idx="1089">
                  <c:v>142.02696754507238</c:v>
                </c:pt>
                <c:pt idx="1090">
                  <c:v>140.67241219683791</c:v>
                </c:pt>
                <c:pt idx="1091">
                  <c:v>141.01434989376932</c:v>
                </c:pt>
                <c:pt idx="1092">
                  <c:v>140.9893727015087</c:v>
                </c:pt>
                <c:pt idx="1093">
                  <c:v>141.27529931160714</c:v>
                </c:pt>
                <c:pt idx="1094">
                  <c:v>142.82588651065657</c:v>
                </c:pt>
                <c:pt idx="1095">
                  <c:v>145.00441814294089</c:v>
                </c:pt>
                <c:pt idx="1096">
                  <c:v>145.00576505782504</c:v>
                </c:pt>
                <c:pt idx="1097">
                  <c:v>144.75571975696852</c:v>
                </c:pt>
                <c:pt idx="1098">
                  <c:v>143.8852490836137</c:v>
                </c:pt>
                <c:pt idx="1099">
                  <c:v>143.71763256767409</c:v>
                </c:pt>
                <c:pt idx="1100">
                  <c:v>143.43747846570304</c:v>
                </c:pt>
                <c:pt idx="1101">
                  <c:v>143.2771251805506</c:v>
                </c:pt>
                <c:pt idx="1102">
                  <c:v>143.02192697007212</c:v>
                </c:pt>
                <c:pt idx="1103">
                  <c:v>142.43336346293123</c:v>
                </c:pt>
                <c:pt idx="1104">
                  <c:v>143.1898136636286</c:v>
                </c:pt>
                <c:pt idx="1105">
                  <c:v>144.4842917960427</c:v>
                </c:pt>
                <c:pt idx="1106">
                  <c:v>144.55694154184863</c:v>
                </c:pt>
                <c:pt idx="1107">
                  <c:v>143.80320702352091</c:v>
                </c:pt>
                <c:pt idx="1108">
                  <c:v>141.67680300592693</c:v>
                </c:pt>
                <c:pt idx="1109">
                  <c:v>142.87992821456652</c:v>
                </c:pt>
                <c:pt idx="1110">
                  <c:v>141.23726916323093</c:v>
                </c:pt>
                <c:pt idx="1111">
                  <c:v>141.94342924398612</c:v>
                </c:pt>
                <c:pt idx="1112">
                  <c:v>140.80656366111987</c:v>
                </c:pt>
                <c:pt idx="1113">
                  <c:v>142.16521427514357</c:v>
                </c:pt>
                <c:pt idx="1114">
                  <c:v>140.79597110925803</c:v>
                </c:pt>
                <c:pt idx="1115">
                  <c:v>137.21180908101468</c:v>
                </c:pt>
                <c:pt idx="1116">
                  <c:v>138.34377063110784</c:v>
                </c:pt>
                <c:pt idx="1117">
                  <c:v>138.68933001043223</c:v>
                </c:pt>
                <c:pt idx="1118">
                  <c:v>136.40370231058975</c:v>
                </c:pt>
                <c:pt idx="1119">
                  <c:v>135.15339258983533</c:v>
                </c:pt>
                <c:pt idx="1120">
                  <c:v>134.63439794280785</c:v>
                </c:pt>
                <c:pt idx="1121">
                  <c:v>132.4151263292114</c:v>
                </c:pt>
                <c:pt idx="1122">
                  <c:v>132.4798477746553</c:v>
                </c:pt>
                <c:pt idx="1123">
                  <c:v>132.72559109294301</c:v>
                </c:pt>
                <c:pt idx="1124">
                  <c:v>128.27964204122068</c:v>
                </c:pt>
                <c:pt idx="1125">
                  <c:v>127.54752548471038</c:v>
                </c:pt>
                <c:pt idx="1126">
                  <c:v>131.37891890510107</c:v>
                </c:pt>
                <c:pt idx="1127">
                  <c:v>130.23156186624598</c:v>
                </c:pt>
                <c:pt idx="1128">
                  <c:v>133.12918822232695</c:v>
                </c:pt>
                <c:pt idx="1129">
                  <c:v>134.02008909135833</c:v>
                </c:pt>
                <c:pt idx="1130">
                  <c:v>135.3081341711038</c:v>
                </c:pt>
                <c:pt idx="1131">
                  <c:v>134.78125680515046</c:v>
                </c:pt>
                <c:pt idx="1132">
                  <c:v>133.53020950391667</c:v>
                </c:pt>
                <c:pt idx="1133">
                  <c:v>135.3761055839841</c:v>
                </c:pt>
                <c:pt idx="1134">
                  <c:v>134.97941200039813</c:v>
                </c:pt>
                <c:pt idx="1135">
                  <c:v>135.62758355463012</c:v>
                </c:pt>
                <c:pt idx="1136">
                  <c:v>138.56083152717014</c:v>
                </c:pt>
                <c:pt idx="1137">
                  <c:v>137.37433758293636</c:v>
                </c:pt>
                <c:pt idx="1138">
                  <c:v>135.54590415942667</c:v>
                </c:pt>
                <c:pt idx="1139">
                  <c:v>137.85462752047889</c:v>
                </c:pt>
                <c:pt idx="1140">
                  <c:v>138.32671412390883</c:v>
                </c:pt>
                <c:pt idx="1141">
                  <c:v>137.02123199267385</c:v>
                </c:pt>
                <c:pt idx="1142">
                  <c:v>138.17276707232332</c:v>
                </c:pt>
                <c:pt idx="1143">
                  <c:v>138.68860688798705</c:v>
                </c:pt>
                <c:pt idx="1144">
                  <c:v>136.49052666901466</c:v>
                </c:pt>
                <c:pt idx="1145">
                  <c:v>136.92444737305996</c:v>
                </c:pt>
                <c:pt idx="1146">
                  <c:v>137.21587278193525</c:v>
                </c:pt>
                <c:pt idx="1147">
                  <c:v>138.14676159376512</c:v>
                </c:pt>
                <c:pt idx="1148">
                  <c:v>139.63421883480351</c:v>
                </c:pt>
                <c:pt idx="1149">
                  <c:v>139.78731518006919</c:v>
                </c:pt>
                <c:pt idx="1150">
                  <c:v>139.06542630319791</c:v>
                </c:pt>
                <c:pt idx="1151">
                  <c:v>142.68656933421855</c:v>
                </c:pt>
                <c:pt idx="1152">
                  <c:v>143.43719427151859</c:v>
                </c:pt>
                <c:pt idx="1153">
                  <c:v>144.147220717582</c:v>
                </c:pt>
                <c:pt idx="1154">
                  <c:v>144.14306927515597</c:v>
                </c:pt>
                <c:pt idx="1155">
                  <c:v>144.97905367402277</c:v>
                </c:pt>
                <c:pt idx="1156">
                  <c:v>145.17460079440747</c:v>
                </c:pt>
                <c:pt idx="1157">
                  <c:v>144.53054205426579</c:v>
                </c:pt>
                <c:pt idx="1158">
                  <c:v>144.84878844105026</c:v>
                </c:pt>
                <c:pt idx="1159">
                  <c:v>145.42497487758453</c:v>
                </c:pt>
                <c:pt idx="1160">
                  <c:v>143.35085618865739</c:v>
                </c:pt>
                <c:pt idx="1161">
                  <c:v>146.67542233594753</c:v>
                </c:pt>
                <c:pt idx="1162">
                  <c:v>145.57889996620196</c:v>
                </c:pt>
                <c:pt idx="1163">
                  <c:v>142.02203823833105</c:v>
                </c:pt>
                <c:pt idx="1164">
                  <c:v>141.47026590328889</c:v>
                </c:pt>
                <c:pt idx="1165">
                  <c:v>141.70179465622178</c:v>
                </c:pt>
                <c:pt idx="1166">
                  <c:v>137.91889259972757</c:v>
                </c:pt>
                <c:pt idx="1167">
                  <c:v>134.53612304200084</c:v>
                </c:pt>
                <c:pt idx="1168">
                  <c:v>137.32943688839759</c:v>
                </c:pt>
                <c:pt idx="1169">
                  <c:v>137.22941002701444</c:v>
                </c:pt>
                <c:pt idx="1170">
                  <c:v>141.42156307684587</c:v>
                </c:pt>
                <c:pt idx="1171">
                  <c:v>141.27601095591825</c:v>
                </c:pt>
                <c:pt idx="1172">
                  <c:v>142.04734399217887</c:v>
                </c:pt>
                <c:pt idx="1173">
                  <c:v>143.56549299110154</c:v>
                </c:pt>
                <c:pt idx="1174">
                  <c:v>143.30066683348818</c:v>
                </c:pt>
                <c:pt idx="1175">
                  <c:v>143.30066683348818</c:v>
                </c:pt>
                <c:pt idx="1176">
                  <c:v>143.30066495725472</c:v>
                </c:pt>
                <c:pt idx="1177">
                  <c:v>143.26402410456535</c:v>
                </c:pt>
                <c:pt idx="1178">
                  <c:v>141.44735234709057</c:v>
                </c:pt>
                <c:pt idx="1179">
                  <c:v>141.86900038740237</c:v>
                </c:pt>
                <c:pt idx="1180">
                  <c:v>141.86900038740237</c:v>
                </c:pt>
                <c:pt idx="1181">
                  <c:v>141.64334303113634</c:v>
                </c:pt>
                <c:pt idx="1182">
                  <c:v>137.24561008882662</c:v>
                </c:pt>
                <c:pt idx="1183">
                  <c:v>136.51719600311432</c:v>
                </c:pt>
                <c:pt idx="1184">
                  <c:v>137.1623893126602</c:v>
                </c:pt>
                <c:pt idx="1185">
                  <c:v>141.51890791769478</c:v>
                </c:pt>
                <c:pt idx="1186">
                  <c:v>138.50263473873392</c:v>
                </c:pt>
                <c:pt idx="1187">
                  <c:v>140.00484226496056</c:v>
                </c:pt>
                <c:pt idx="1188">
                  <c:v>142.16997748004115</c:v>
                </c:pt>
                <c:pt idx="1189">
                  <c:v>140.41656845168578</c:v>
                </c:pt>
                <c:pt idx="1190">
                  <c:v>143.22186348343112</c:v>
                </c:pt>
                <c:pt idx="1191">
                  <c:v>145.01645219392611</c:v>
                </c:pt>
                <c:pt idx="1192">
                  <c:v>146.09421973409985</c:v>
                </c:pt>
                <c:pt idx="1193">
                  <c:v>147.05806193768871</c:v>
                </c:pt>
                <c:pt idx="1194">
                  <c:v>148.1367642835875</c:v>
                </c:pt>
                <c:pt idx="1195">
                  <c:v>150.44915237003534</c:v>
                </c:pt>
                <c:pt idx="1196">
                  <c:v>153.02758164080578</c:v>
                </c:pt>
                <c:pt idx="1197">
                  <c:v>154.59610397614253</c:v>
                </c:pt>
                <c:pt idx="1198">
                  <c:v>152.81330242638398</c:v>
                </c:pt>
                <c:pt idx="1199">
                  <c:v>152.65336191259067</c:v>
                </c:pt>
                <c:pt idx="1200">
                  <c:v>153.1657463684385</c:v>
                </c:pt>
                <c:pt idx="1201">
                  <c:v>152.35190748408874</c:v>
                </c:pt>
                <c:pt idx="1202">
                  <c:v>152.92911359832001</c:v>
                </c:pt>
                <c:pt idx="1203">
                  <c:v>154.71674987058066</c:v>
                </c:pt>
                <c:pt idx="1204">
                  <c:v>155.00731806150242</c:v>
                </c:pt>
                <c:pt idx="1205">
                  <c:v>154.98251392418595</c:v>
                </c:pt>
                <c:pt idx="1206">
                  <c:v>154.61365360163904</c:v>
                </c:pt>
                <c:pt idx="1207">
                  <c:v>152.46987687632628</c:v>
                </c:pt>
                <c:pt idx="1208">
                  <c:v>154.0802100808088</c:v>
                </c:pt>
                <c:pt idx="1209">
                  <c:v>153.80063418984048</c:v>
                </c:pt>
                <c:pt idx="1210">
                  <c:v>155.8682646427622</c:v>
                </c:pt>
                <c:pt idx="1211">
                  <c:v>156.93607004551347</c:v>
                </c:pt>
                <c:pt idx="1212">
                  <c:v>156.43585042515909</c:v>
                </c:pt>
                <c:pt idx="1213">
                  <c:v>156.50573195405869</c:v>
                </c:pt>
                <c:pt idx="1214">
                  <c:v>157.92153010055304</c:v>
                </c:pt>
                <c:pt idx="1215">
                  <c:v>158.90729101514472</c:v>
                </c:pt>
                <c:pt idx="1216">
                  <c:v>159.01858454803181</c:v>
                </c:pt>
                <c:pt idx="1217">
                  <c:v>160.40407887549938</c:v>
                </c:pt>
                <c:pt idx="1218">
                  <c:v>161.37273074835542</c:v>
                </c:pt>
                <c:pt idx="1219">
                  <c:v>161.08701692520364</c:v>
                </c:pt>
                <c:pt idx="1220">
                  <c:v>162.52251132899531</c:v>
                </c:pt>
                <c:pt idx="1221">
                  <c:v>163.43876772724423</c:v>
                </c:pt>
                <c:pt idx="1222">
                  <c:v>163.32042717188352</c:v>
                </c:pt>
                <c:pt idx="1223">
                  <c:v>161.47710760181039</c:v>
                </c:pt>
                <c:pt idx="1224">
                  <c:v>162.7444485557956</c:v>
                </c:pt>
                <c:pt idx="1225">
                  <c:v>164.40926724858238</c:v>
                </c:pt>
                <c:pt idx="1226">
                  <c:v>164.65647844362849</c:v>
                </c:pt>
                <c:pt idx="1227">
                  <c:v>164.31703602681966</c:v>
                </c:pt>
                <c:pt idx="1228">
                  <c:v>162.70619811553897</c:v>
                </c:pt>
                <c:pt idx="1229">
                  <c:v>166.29320043012643</c:v>
                </c:pt>
                <c:pt idx="1230">
                  <c:v>166.18013904386223</c:v>
                </c:pt>
                <c:pt idx="1231">
                  <c:v>166.94557198812083</c:v>
                </c:pt>
                <c:pt idx="1232">
                  <c:v>169.08179919149524</c:v>
                </c:pt>
                <c:pt idx="1233">
                  <c:v>167.36233994522775</c:v>
                </c:pt>
                <c:pt idx="1234">
                  <c:v>167.13733088280219</c:v>
                </c:pt>
                <c:pt idx="1235">
                  <c:v>167.35869629986675</c:v>
                </c:pt>
                <c:pt idx="1236">
                  <c:v>169.45908391260184</c:v>
                </c:pt>
                <c:pt idx="1237">
                  <c:v>168.39314966643414</c:v>
                </c:pt>
                <c:pt idx="1238">
                  <c:v>169.70598321142845</c:v>
                </c:pt>
                <c:pt idx="1239">
                  <c:v>167.70596249979775</c:v>
                </c:pt>
                <c:pt idx="1240">
                  <c:v>166.94465086786329</c:v>
                </c:pt>
                <c:pt idx="1241">
                  <c:v>167.38359027565548</c:v>
                </c:pt>
                <c:pt idx="1242">
                  <c:v>169.74567713740859</c:v>
                </c:pt>
                <c:pt idx="1243">
                  <c:v>168.35397987178675</c:v>
                </c:pt>
                <c:pt idx="1244">
                  <c:v>169.0973118896645</c:v>
                </c:pt>
                <c:pt idx="1245">
                  <c:v>169.38371042765905</c:v>
                </c:pt>
                <c:pt idx="1246">
                  <c:v>169.38371042765905</c:v>
                </c:pt>
                <c:pt idx="1247">
                  <c:v>169.38370568189208</c:v>
                </c:pt>
                <c:pt idx="1248">
                  <c:v>171.71485433697876</c:v>
                </c:pt>
                <c:pt idx="1249">
                  <c:v>170.90390915644315</c:v>
                </c:pt>
                <c:pt idx="1250">
                  <c:v>172.84080730462986</c:v>
                </c:pt>
                <c:pt idx="1251">
                  <c:v>174.43517409354808</c:v>
                </c:pt>
                <c:pt idx="1252">
                  <c:v>174.83269553755244</c:v>
                </c:pt>
                <c:pt idx="1253">
                  <c:v>173.41205880572244</c:v>
                </c:pt>
                <c:pt idx="1254">
                  <c:v>174.08321466119051</c:v>
                </c:pt>
                <c:pt idx="1255">
                  <c:v>171.95710223234809</c:v>
                </c:pt>
                <c:pt idx="1256">
                  <c:v>168.49210177715014</c:v>
                </c:pt>
                <c:pt idx="1257">
                  <c:v>170.23293518525313</c:v>
                </c:pt>
                <c:pt idx="1258">
                  <c:v>170.92214073761559</c:v>
                </c:pt>
                <c:pt idx="1259">
                  <c:v>170.69506792876115</c:v>
                </c:pt>
                <c:pt idx="1260">
                  <c:v>169.59563077516682</c:v>
                </c:pt>
                <c:pt idx="1261">
                  <c:v>170.56012447322971</c:v>
                </c:pt>
                <c:pt idx="1262">
                  <c:v>173.02519569211739</c:v>
                </c:pt>
                <c:pt idx="1263">
                  <c:v>170.33784179874115</c:v>
                </c:pt>
                <c:pt idx="1264">
                  <c:v>165.78428479882871</c:v>
                </c:pt>
                <c:pt idx="1265">
                  <c:v>165.9093960185125</c:v>
                </c:pt>
                <c:pt idx="1266">
                  <c:v>165.89869939087748</c:v>
                </c:pt>
                <c:pt idx="1267">
                  <c:v>167.20921942966055</c:v>
                </c:pt>
                <c:pt idx="1268">
                  <c:v>163.4154959208235</c:v>
                </c:pt>
                <c:pt idx="1269">
                  <c:v>163.51429782249681</c:v>
                </c:pt>
                <c:pt idx="1270">
                  <c:v>163.88386945825482</c:v>
                </c:pt>
                <c:pt idx="1271">
                  <c:v>167.87178059079159</c:v>
                </c:pt>
                <c:pt idx="1272">
                  <c:v>167.48929362615996</c:v>
                </c:pt>
                <c:pt idx="1273">
                  <c:v>165.48980907582944</c:v>
                </c:pt>
                <c:pt idx="1274">
                  <c:v>164.95562808488643</c:v>
                </c:pt>
                <c:pt idx="1275">
                  <c:v>167.05760144598725</c:v>
                </c:pt>
                <c:pt idx="1276">
                  <c:v>166.13616642268141</c:v>
                </c:pt>
                <c:pt idx="1277">
                  <c:v>167.01814193882177</c:v>
                </c:pt>
                <c:pt idx="1278">
                  <c:v>170.43388806530893</c:v>
                </c:pt>
                <c:pt idx="1279">
                  <c:v>170.92949524164183</c:v>
                </c:pt>
                <c:pt idx="1280">
                  <c:v>171.15245578823934</c:v>
                </c:pt>
                <c:pt idx="1281">
                  <c:v>170.84731246404024</c:v>
                </c:pt>
                <c:pt idx="1282">
                  <c:v>169.8020240700292</c:v>
                </c:pt>
                <c:pt idx="1283">
                  <c:v>168.28180304717705</c:v>
                </c:pt>
                <c:pt idx="1284">
                  <c:v>171.01820874641811</c:v>
                </c:pt>
                <c:pt idx="1285">
                  <c:v>169.93189551471039</c:v>
                </c:pt>
                <c:pt idx="1286">
                  <c:v>166.62252983827005</c:v>
                </c:pt>
                <c:pt idx="1287">
                  <c:v>166.92005874492673</c:v>
                </c:pt>
                <c:pt idx="1288">
                  <c:v>166.18335027259619</c:v>
                </c:pt>
                <c:pt idx="1289">
                  <c:v>166.99173847803871</c:v>
                </c:pt>
                <c:pt idx="1290">
                  <c:v>165.61720543748933</c:v>
                </c:pt>
                <c:pt idx="1291">
                  <c:v>163.42587590647207</c:v>
                </c:pt>
                <c:pt idx="1292">
                  <c:v>161.68943961701052</c:v>
                </c:pt>
                <c:pt idx="1293">
                  <c:v>161.24376397929743</c:v>
                </c:pt>
                <c:pt idx="1294">
                  <c:v>164.31721581413089</c:v>
                </c:pt>
                <c:pt idx="1295">
                  <c:v>165.39357121271638</c:v>
                </c:pt>
                <c:pt idx="1296">
                  <c:v>163.30838230496425</c:v>
                </c:pt>
                <c:pt idx="1297">
                  <c:v>160.41364810756394</c:v>
                </c:pt>
                <c:pt idx="1298">
                  <c:v>161.23068265894676</c:v>
                </c:pt>
                <c:pt idx="1299">
                  <c:v>160.00526183711412</c:v>
                </c:pt>
                <c:pt idx="1300">
                  <c:v>161.01628766988441</c:v>
                </c:pt>
                <c:pt idx="1301">
                  <c:v>161.32619166054761</c:v>
                </c:pt>
                <c:pt idx="1302">
                  <c:v>167.11032824134836</c:v>
                </c:pt>
                <c:pt idx="1303">
                  <c:v>168.61031629376967</c:v>
                </c:pt>
                <c:pt idx="1304">
                  <c:v>167.78072411190229</c:v>
                </c:pt>
                <c:pt idx="1305">
                  <c:v>167.85235605624462</c:v>
                </c:pt>
                <c:pt idx="1306">
                  <c:v>168.42493515805347</c:v>
                </c:pt>
                <c:pt idx="1307">
                  <c:v>162.05210406487026</c:v>
                </c:pt>
                <c:pt idx="1308">
                  <c:v>160.06093851292619</c:v>
                </c:pt>
                <c:pt idx="1309">
                  <c:v>163.21871479066172</c:v>
                </c:pt>
                <c:pt idx="1310">
                  <c:v>161.76388657372871</c:v>
                </c:pt>
                <c:pt idx="1311">
                  <c:v>160.96835343695605</c:v>
                </c:pt>
                <c:pt idx="1312">
                  <c:v>157.82999341626706</c:v>
                </c:pt>
                <c:pt idx="1313">
                  <c:v>154.62344831281774</c:v>
                </c:pt>
                <c:pt idx="1314">
                  <c:v>155.87397015831868</c:v>
                </c:pt>
                <c:pt idx="1315">
                  <c:v>159.88663123813524</c:v>
                </c:pt>
                <c:pt idx="1316">
                  <c:v>164.4587556650078</c:v>
                </c:pt>
                <c:pt idx="1317">
                  <c:v>167.17008848408227</c:v>
                </c:pt>
                <c:pt idx="1318">
                  <c:v>167.7880300545921</c:v>
                </c:pt>
                <c:pt idx="1319">
                  <c:v>168.5714432751075</c:v>
                </c:pt>
                <c:pt idx="1320">
                  <c:v>170.97286007355132</c:v>
                </c:pt>
                <c:pt idx="1321">
                  <c:v>170.84491165779022</c:v>
                </c:pt>
                <c:pt idx="1322">
                  <c:v>171.79256649173436</c:v>
                </c:pt>
                <c:pt idx="1323">
                  <c:v>170.10506998596389</c:v>
                </c:pt>
                <c:pt idx="1324">
                  <c:v>169.46508201020993</c:v>
                </c:pt>
                <c:pt idx="1325">
                  <c:v>169.33778365415617</c:v>
                </c:pt>
                <c:pt idx="1326">
                  <c:v>167.75043640640988</c:v>
                </c:pt>
                <c:pt idx="1327">
                  <c:v>163.84919467748827</c:v>
                </c:pt>
                <c:pt idx="1328">
                  <c:v>165.6129617285242</c:v>
                </c:pt>
                <c:pt idx="1329">
                  <c:v>166.34172137229143</c:v>
                </c:pt>
                <c:pt idx="1330">
                  <c:v>166.79113170787122</c:v>
                </c:pt>
                <c:pt idx="1331">
                  <c:v>167.56887958629929</c:v>
                </c:pt>
                <c:pt idx="1332">
                  <c:v>169.24395454369358</c:v>
                </c:pt>
                <c:pt idx="1333">
                  <c:v>168.89655259275412</c:v>
                </c:pt>
                <c:pt idx="1334">
                  <c:v>171.09515043142551</c:v>
                </c:pt>
                <c:pt idx="1335">
                  <c:v>170.63347471631272</c:v>
                </c:pt>
                <c:pt idx="1336">
                  <c:v>169.28730127546859</c:v>
                </c:pt>
                <c:pt idx="1337">
                  <c:v>170.81449647878989</c:v>
                </c:pt>
                <c:pt idx="1338">
                  <c:v>167.68263065390661</c:v>
                </c:pt>
                <c:pt idx="1339">
                  <c:v>162.37063497693919</c:v>
                </c:pt>
                <c:pt idx="1340">
                  <c:v>164.09234857288089</c:v>
                </c:pt>
                <c:pt idx="1341">
                  <c:v>163.36831494044225</c:v>
                </c:pt>
                <c:pt idx="1342">
                  <c:v>163.56098182174702</c:v>
                </c:pt>
                <c:pt idx="1343">
                  <c:v>163.59242992244526</c:v>
                </c:pt>
                <c:pt idx="1344">
                  <c:v>160.68710692565006</c:v>
                </c:pt>
                <c:pt idx="1345">
                  <c:v>157.13607443437667</c:v>
                </c:pt>
                <c:pt idx="1346">
                  <c:v>152.36942168188307</c:v>
                </c:pt>
                <c:pt idx="1347">
                  <c:v>144.69001615849663</c:v>
                </c:pt>
                <c:pt idx="1348">
                  <c:v>151.0630188718572</c:v>
                </c:pt>
                <c:pt idx="1349">
                  <c:v>149.1107041548739</c:v>
                </c:pt>
                <c:pt idx="1350">
                  <c:v>153.87941381106276</c:v>
                </c:pt>
                <c:pt idx="1351">
                  <c:v>154.06014751652191</c:v>
                </c:pt>
                <c:pt idx="1352">
                  <c:v>153.44582222043803</c:v>
                </c:pt>
                <c:pt idx="1353">
                  <c:v>149.76582075277315</c:v>
                </c:pt>
                <c:pt idx="1354">
                  <c:v>150.13952484788939</c:v>
                </c:pt>
                <c:pt idx="1355">
                  <c:v>153.42113540289557</c:v>
                </c:pt>
                <c:pt idx="1356">
                  <c:v>149.4466981649673</c:v>
                </c:pt>
                <c:pt idx="1357">
                  <c:v>150.19155081487338</c:v>
                </c:pt>
                <c:pt idx="1358">
                  <c:v>151.97433106386393</c:v>
                </c:pt>
                <c:pt idx="1359">
                  <c:v>153.65624257448539</c:v>
                </c:pt>
                <c:pt idx="1360">
                  <c:v>151.72120531878159</c:v>
                </c:pt>
                <c:pt idx="1361">
                  <c:v>150.17002313299497</c:v>
                </c:pt>
                <c:pt idx="1362">
                  <c:v>149.49603714491673</c:v>
                </c:pt>
                <c:pt idx="1363">
                  <c:v>150.80958244458881</c:v>
                </c:pt>
                <c:pt idx="1364">
                  <c:v>152.67902106052725</c:v>
                </c:pt>
                <c:pt idx="1365">
                  <c:v>153.04175448755797</c:v>
                </c:pt>
                <c:pt idx="1366">
                  <c:v>149.24977598619665</c:v>
                </c:pt>
                <c:pt idx="1367">
                  <c:v>150.31711718671892</c:v>
                </c:pt>
                <c:pt idx="1368">
                  <c:v>145.33206434894601</c:v>
                </c:pt>
                <c:pt idx="1369">
                  <c:v>145.46507031752307</c:v>
                </c:pt>
                <c:pt idx="1370">
                  <c:v>142.60112400737978</c:v>
                </c:pt>
                <c:pt idx="1371">
                  <c:v>146.80105470706386</c:v>
                </c:pt>
                <c:pt idx="1372">
                  <c:v>143.58996713206406</c:v>
                </c:pt>
                <c:pt idx="1373">
                  <c:v>142.99933071806029</c:v>
                </c:pt>
                <c:pt idx="1374">
                  <c:v>146.34102687675403</c:v>
                </c:pt>
                <c:pt idx="1375">
                  <c:v>145.10897699104052</c:v>
                </c:pt>
                <c:pt idx="1376">
                  <c:v>146.02007694793397</c:v>
                </c:pt>
                <c:pt idx="1377">
                  <c:v>150.61308771594491</c:v>
                </c:pt>
                <c:pt idx="1378">
                  <c:v>151.99544354631641</c:v>
                </c:pt>
                <c:pt idx="1379">
                  <c:v>152.23527154200116</c:v>
                </c:pt>
                <c:pt idx="1380">
                  <c:v>152.51518603792397</c:v>
                </c:pt>
                <c:pt idx="1381">
                  <c:v>153.50940942757771</c:v>
                </c:pt>
                <c:pt idx="1382">
                  <c:v>153.19647818942533</c:v>
                </c:pt>
                <c:pt idx="1383">
                  <c:v>152.01651508273295</c:v>
                </c:pt>
                <c:pt idx="1384">
                  <c:v>150.71362745126009</c:v>
                </c:pt>
                <c:pt idx="1385">
                  <c:v>152.84519453220997</c:v>
                </c:pt>
                <c:pt idx="1386">
                  <c:v>153.70181882343306</c:v>
                </c:pt>
                <c:pt idx="1387">
                  <c:v>154.1568716551987</c:v>
                </c:pt>
                <c:pt idx="1388">
                  <c:v>153.42095219421742</c:v>
                </c:pt>
                <c:pt idx="1389">
                  <c:v>154.11001747053783</c:v>
                </c:pt>
                <c:pt idx="1390">
                  <c:v>157.50041413797447</c:v>
                </c:pt>
                <c:pt idx="1391">
                  <c:v>160.76651552654496</c:v>
                </c:pt>
                <c:pt idx="1392">
                  <c:v>160.35051042388571</c:v>
                </c:pt>
                <c:pt idx="1393">
                  <c:v>158.63847554374877</c:v>
                </c:pt>
                <c:pt idx="1394">
                  <c:v>160.42450509797567</c:v>
                </c:pt>
                <c:pt idx="1395">
                  <c:v>160.28516684150296</c:v>
                </c:pt>
                <c:pt idx="1396">
                  <c:v>160.53060488557159</c:v>
                </c:pt>
                <c:pt idx="1397">
                  <c:v>161.41091894180815</c:v>
                </c:pt>
                <c:pt idx="1398">
                  <c:v>161.69770365279351</c:v>
                </c:pt>
                <c:pt idx="1399">
                  <c:v>161.49947991984155</c:v>
                </c:pt>
                <c:pt idx="1400">
                  <c:v>161.77971238215088</c:v>
                </c:pt>
                <c:pt idx="1401">
                  <c:v>162.80344550261512</c:v>
                </c:pt>
                <c:pt idx="1402">
                  <c:v>160.43567365350683</c:v>
                </c:pt>
                <c:pt idx="1403">
                  <c:v>160.73512481651696</c:v>
                </c:pt>
                <c:pt idx="1404">
                  <c:v>161.87269442839386</c:v>
                </c:pt>
                <c:pt idx="1405">
                  <c:v>159.25427611115816</c:v>
                </c:pt>
                <c:pt idx="1406">
                  <c:v>158.10344450868595</c:v>
                </c:pt>
                <c:pt idx="1407">
                  <c:v>158.28177895302852</c:v>
                </c:pt>
                <c:pt idx="1408">
                  <c:v>162.20970601921744</c:v>
                </c:pt>
                <c:pt idx="1409">
                  <c:v>161.56987266717314</c:v>
                </c:pt>
                <c:pt idx="1410">
                  <c:v>162.60420275416612</c:v>
                </c:pt>
                <c:pt idx="1411">
                  <c:v>162.712221597482</c:v>
                </c:pt>
                <c:pt idx="1412">
                  <c:v>162.50706264349671</c:v>
                </c:pt>
                <c:pt idx="1413">
                  <c:v>160.47606013036355</c:v>
                </c:pt>
                <c:pt idx="1414">
                  <c:v>162.89822155913686</c:v>
                </c:pt>
                <c:pt idx="1415">
                  <c:v>164.71362200289889</c:v>
                </c:pt>
                <c:pt idx="1416">
                  <c:v>164.44626491672739</c:v>
                </c:pt>
                <c:pt idx="1417">
                  <c:v>165.26070242991455</c:v>
                </c:pt>
                <c:pt idx="1418">
                  <c:v>164.13859596157047</c:v>
                </c:pt>
                <c:pt idx="1419">
                  <c:v>163.65863844844876</c:v>
                </c:pt>
                <c:pt idx="1420">
                  <c:v>158.51251107931168</c:v>
                </c:pt>
                <c:pt idx="1421">
                  <c:v>158.10425482080325</c:v>
                </c:pt>
                <c:pt idx="1422">
                  <c:v>159.38223821238674</c:v>
                </c:pt>
                <c:pt idx="1423">
                  <c:v>156.57639498937382</c:v>
                </c:pt>
                <c:pt idx="1424">
                  <c:v>155.53226522470183</c:v>
                </c:pt>
                <c:pt idx="1425">
                  <c:v>155.22982356630484</c:v>
                </c:pt>
                <c:pt idx="1426">
                  <c:v>152.12766800847797</c:v>
                </c:pt>
                <c:pt idx="1427">
                  <c:v>149.33152579533783</c:v>
                </c:pt>
                <c:pt idx="1428">
                  <c:v>153.8252816064805</c:v>
                </c:pt>
                <c:pt idx="1429">
                  <c:v>154.20762730177</c:v>
                </c:pt>
                <c:pt idx="1430">
                  <c:v>156.78994103798314</c:v>
                </c:pt>
                <c:pt idx="1431">
                  <c:v>154.82187048504872</c:v>
                </c:pt>
                <c:pt idx="1432">
                  <c:v>152.78323446093864</c:v>
                </c:pt>
                <c:pt idx="1433">
                  <c:v>152.92150160884441</c:v>
                </c:pt>
                <c:pt idx="1434">
                  <c:v>156.29291344256151</c:v>
                </c:pt>
                <c:pt idx="1435">
                  <c:v>156.29291344256151</c:v>
                </c:pt>
                <c:pt idx="1436">
                  <c:v>156.29291344256151</c:v>
                </c:pt>
                <c:pt idx="1437">
                  <c:v>155.10730817078326</c:v>
                </c:pt>
                <c:pt idx="1438">
                  <c:v>157.71227554967851</c:v>
                </c:pt>
                <c:pt idx="1439">
                  <c:v>156.64991795630095</c:v>
                </c:pt>
                <c:pt idx="1440">
                  <c:v>155.78485734691745</c:v>
                </c:pt>
                <c:pt idx="1441">
                  <c:v>155.78485734691745</c:v>
                </c:pt>
                <c:pt idx="1442">
                  <c:v>151.21640713697445</c:v>
                </c:pt>
                <c:pt idx="1443">
                  <c:v>151.81047551305932</c:v>
                </c:pt>
                <c:pt idx="1444">
                  <c:v>149.87908653811681</c:v>
                </c:pt>
                <c:pt idx="1445">
                  <c:v>147.21101635141218</c:v>
                </c:pt>
                <c:pt idx="1446">
                  <c:v>145.07981436341842</c:v>
                </c:pt>
                <c:pt idx="1447">
                  <c:v>144.7747658441919</c:v>
                </c:pt>
                <c:pt idx="1448">
                  <c:v>146.6751218074954</c:v>
                </c:pt>
                <c:pt idx="1449">
                  <c:v>146.97303655604287</c:v>
                </c:pt>
                <c:pt idx="1450">
                  <c:v>144.34798807125958</c:v>
                </c:pt>
                <c:pt idx="1451">
                  <c:v>140.8381668269945</c:v>
                </c:pt>
                <c:pt idx="1452">
                  <c:v>139.88719823367668</c:v>
                </c:pt>
                <c:pt idx="1453">
                  <c:v>142.10282520861205</c:v>
                </c:pt>
                <c:pt idx="1454">
                  <c:v>137.54903820455189</c:v>
                </c:pt>
                <c:pt idx="1455">
                  <c:v>140.54009557850392</c:v>
                </c:pt>
                <c:pt idx="1456">
                  <c:v>144.28939793599878</c:v>
                </c:pt>
                <c:pt idx="1457">
                  <c:v>143.39634502719963</c:v>
                </c:pt>
                <c:pt idx="1458">
                  <c:v>144.831077459477</c:v>
                </c:pt>
                <c:pt idx="1459">
                  <c:v>145.41669649413393</c:v>
                </c:pt>
                <c:pt idx="1460">
                  <c:v>142.67877060433128</c:v>
                </c:pt>
                <c:pt idx="1461">
                  <c:v>145.92723661249985</c:v>
                </c:pt>
                <c:pt idx="1462">
                  <c:v>145.2573229339427</c:v>
                </c:pt>
                <c:pt idx="1463">
                  <c:v>142.15123743960362</c:v>
                </c:pt>
                <c:pt idx="1464">
                  <c:v>139.70943559906982</c:v>
                </c:pt>
                <c:pt idx="1465">
                  <c:v>139.84106672999431</c:v>
                </c:pt>
                <c:pt idx="1466">
                  <c:v>138.5878214764565</c:v>
                </c:pt>
                <c:pt idx="1467">
                  <c:v>133.57392408781467</c:v>
                </c:pt>
                <c:pt idx="1468">
                  <c:v>131.46128787128092</c:v>
                </c:pt>
                <c:pt idx="1469">
                  <c:v>133.80103949820514</c:v>
                </c:pt>
                <c:pt idx="1470">
                  <c:v>128.84574581992496</c:v>
                </c:pt>
                <c:pt idx="1471">
                  <c:v>132.00388796318333</c:v>
                </c:pt>
                <c:pt idx="1472">
                  <c:v>135.9390110468552</c:v>
                </c:pt>
                <c:pt idx="1473">
                  <c:v>135.43013437499323</c:v>
                </c:pt>
                <c:pt idx="1474">
                  <c:v>139.08510799209429</c:v>
                </c:pt>
                <c:pt idx="1475">
                  <c:v>139.1427809802978</c:v>
                </c:pt>
                <c:pt idx="1476">
                  <c:v>138.15403806855312</c:v>
                </c:pt>
                <c:pt idx="1477">
                  <c:v>141.01351927418409</c:v>
                </c:pt>
                <c:pt idx="1478">
                  <c:v>139.04698138324545</c:v>
                </c:pt>
                <c:pt idx="1479">
                  <c:v>135.89454674214366</c:v>
                </c:pt>
                <c:pt idx="1480">
                  <c:v>138.43655666613859</c:v>
                </c:pt>
                <c:pt idx="1481">
                  <c:v>140.62847754179282</c:v>
                </c:pt>
                <c:pt idx="1482">
                  <c:v>141.49696448455705</c:v>
                </c:pt>
                <c:pt idx="1483">
                  <c:v>144.09384838754724</c:v>
                </c:pt>
                <c:pt idx="1484">
                  <c:v>144.80838220855895</c:v>
                </c:pt>
                <c:pt idx="1485">
                  <c:v>144.56947500203171</c:v>
                </c:pt>
                <c:pt idx="1486">
                  <c:v>145.54219432827523</c:v>
                </c:pt>
                <c:pt idx="1487">
                  <c:v>144.79843585357085</c:v>
                </c:pt>
                <c:pt idx="1488">
                  <c:v>143.73399994536345</c:v>
                </c:pt>
                <c:pt idx="1489">
                  <c:v>144.40495051881865</c:v>
                </c:pt>
                <c:pt idx="1490">
                  <c:v>142.34536049879932</c:v>
                </c:pt>
                <c:pt idx="1491">
                  <c:v>147.04460051451426</c:v>
                </c:pt>
                <c:pt idx="1492">
                  <c:v>148.17370665802906</c:v>
                </c:pt>
                <c:pt idx="1493">
                  <c:v>146.96975800363802</c:v>
                </c:pt>
                <c:pt idx="1494">
                  <c:v>146.99892140382687</c:v>
                </c:pt>
                <c:pt idx="1495">
                  <c:v>146.34892504701418</c:v>
                </c:pt>
                <c:pt idx="1496">
                  <c:v>147.11891569342427</c:v>
                </c:pt>
                <c:pt idx="1497">
                  <c:v>146.80785384598866</c:v>
                </c:pt>
                <c:pt idx="1498">
                  <c:v>146.9763559441169</c:v>
                </c:pt>
                <c:pt idx="1499">
                  <c:v>146.8458950310322</c:v>
                </c:pt>
                <c:pt idx="1500">
                  <c:v>144.34683484988753</c:v>
                </c:pt>
                <c:pt idx="1501">
                  <c:v>144.34683484988753</c:v>
                </c:pt>
                <c:pt idx="1502">
                  <c:v>144.34400394471066</c:v>
                </c:pt>
                <c:pt idx="1503">
                  <c:v>145.20119541026915</c:v>
                </c:pt>
                <c:pt idx="1504">
                  <c:v>147.21841147037424</c:v>
                </c:pt>
                <c:pt idx="1505">
                  <c:v>145.40535587695871</c:v>
                </c:pt>
                <c:pt idx="1506">
                  <c:v>143.33125926136631</c:v>
                </c:pt>
                <c:pt idx="1507">
                  <c:v>143.62542231557933</c:v>
                </c:pt>
                <c:pt idx="1508">
                  <c:v>140.53662366368698</c:v>
                </c:pt>
                <c:pt idx="1509">
                  <c:v>141.32660855741298</c:v>
                </c:pt>
                <c:pt idx="1510">
                  <c:v>139.81051370301864</c:v>
                </c:pt>
                <c:pt idx="1511">
                  <c:v>141.76465587138279</c:v>
                </c:pt>
                <c:pt idx="1512">
                  <c:v>142.39505794970449</c:v>
                </c:pt>
                <c:pt idx="1513">
                  <c:v>143.06347936046839</c:v>
                </c:pt>
                <c:pt idx="1514">
                  <c:v>147.14653528458331</c:v>
                </c:pt>
                <c:pt idx="1515">
                  <c:v>147.9563304443804</c:v>
                </c:pt>
                <c:pt idx="1516">
                  <c:v>147.55754530196378</c:v>
                </c:pt>
                <c:pt idx="1517">
                  <c:v>148.10215428805833</c:v>
                </c:pt>
                <c:pt idx="1518">
                  <c:v>150.38015796845781</c:v>
                </c:pt>
                <c:pt idx="1519">
                  <c:v>151.3956042072376</c:v>
                </c:pt>
                <c:pt idx="1520">
                  <c:v>151.24364132770941</c:v>
                </c:pt>
                <c:pt idx="1521">
                  <c:v>150.77793800157829</c:v>
                </c:pt>
                <c:pt idx="1522">
                  <c:v>149.68822691109168</c:v>
                </c:pt>
                <c:pt idx="1523">
                  <c:v>150.02938850957457</c:v>
                </c:pt>
                <c:pt idx="1524">
                  <c:v>150.73225072375703</c:v>
                </c:pt>
                <c:pt idx="1525">
                  <c:v>150.85311150210859</c:v>
                </c:pt>
                <c:pt idx="1526">
                  <c:v>147.15090006578936</c:v>
                </c:pt>
                <c:pt idx="1527">
                  <c:v>147.61687787383761</c:v>
                </c:pt>
                <c:pt idx="1528">
                  <c:v>145.00538352023455</c:v>
                </c:pt>
                <c:pt idx="1529">
                  <c:v>143.59103680586423</c:v>
                </c:pt>
                <c:pt idx="1530">
                  <c:v>143.96759663865885</c:v>
                </c:pt>
                <c:pt idx="1531">
                  <c:v>143.88474967441581</c:v>
                </c:pt>
                <c:pt idx="1532">
                  <c:v>144.59662586592816</c:v>
                </c:pt>
                <c:pt idx="1533">
                  <c:v>145.8217548782759</c:v>
                </c:pt>
                <c:pt idx="1534">
                  <c:v>144.84575479229406</c:v>
                </c:pt>
                <c:pt idx="1535">
                  <c:v>143.96036221357352</c:v>
                </c:pt>
                <c:pt idx="1536">
                  <c:v>144.77390630853822</c:v>
                </c:pt>
                <c:pt idx="1537">
                  <c:v>144.70329724252645</c:v>
                </c:pt>
                <c:pt idx="1538">
                  <c:v>144.11381890602837</c:v>
                </c:pt>
                <c:pt idx="1539">
                  <c:v>144.90230833132759</c:v>
                </c:pt>
                <c:pt idx="1540">
                  <c:v>143.40595476383339</c:v>
                </c:pt>
                <c:pt idx="1541">
                  <c:v>145.39000067203261</c:v>
                </c:pt>
                <c:pt idx="1542">
                  <c:v>144.50771370113947</c:v>
                </c:pt>
                <c:pt idx="1543">
                  <c:v>147.75652250819616</c:v>
                </c:pt>
                <c:pt idx="1544">
                  <c:v>149.84583007947225</c:v>
                </c:pt>
                <c:pt idx="1545">
                  <c:v>150.55350372878866</c:v>
                </c:pt>
                <c:pt idx="1546">
                  <c:v>150.76472081985247</c:v>
                </c:pt>
                <c:pt idx="1547">
                  <c:v>151.2441114897388</c:v>
                </c:pt>
                <c:pt idx="1548">
                  <c:v>150.3135717676974</c:v>
                </c:pt>
                <c:pt idx="1549">
                  <c:v>149.32384692365807</c:v>
                </c:pt>
                <c:pt idx="1550">
                  <c:v>149.43458829207731</c:v>
                </c:pt>
                <c:pt idx="1551">
                  <c:v>147.86601849907092</c:v>
                </c:pt>
                <c:pt idx="1552">
                  <c:v>148.25018038834054</c:v>
                </c:pt>
                <c:pt idx="1553">
                  <c:v>150.12873805068205</c:v>
                </c:pt>
                <c:pt idx="1554">
                  <c:v>149.14559050855365</c:v>
                </c:pt>
                <c:pt idx="1555">
                  <c:v>147.71065632599704</c:v>
                </c:pt>
                <c:pt idx="1556">
                  <c:v>143.98550219667763</c:v>
                </c:pt>
                <c:pt idx="1557">
                  <c:v>141.19181873229115</c:v>
                </c:pt>
                <c:pt idx="1558">
                  <c:v>138.58763319091142</c:v>
                </c:pt>
                <c:pt idx="1559">
                  <c:v>139.90876807562438</c:v>
                </c:pt>
                <c:pt idx="1560">
                  <c:v>139.08873596538766</c:v>
                </c:pt>
                <c:pt idx="1561">
                  <c:v>140.67259783358284</c:v>
                </c:pt>
                <c:pt idx="1562">
                  <c:v>145.34623178773123</c:v>
                </c:pt>
                <c:pt idx="1563">
                  <c:v>146.17760594990995</c:v>
                </c:pt>
                <c:pt idx="1564">
                  <c:v>146.61934370471033</c:v>
                </c:pt>
                <c:pt idx="1565">
                  <c:v>149.34554986781404</c:v>
                </c:pt>
                <c:pt idx="1566">
                  <c:v>138.02064559588524</c:v>
                </c:pt>
                <c:pt idx="1567">
                  <c:v>133.32909736475088</c:v>
                </c:pt>
                <c:pt idx="1568">
                  <c:v>136.38247791633029</c:v>
                </c:pt>
                <c:pt idx="1569">
                  <c:v>139.78560659359573</c:v>
                </c:pt>
                <c:pt idx="1570">
                  <c:v>141.27213631310948</c:v>
                </c:pt>
                <c:pt idx="1571">
                  <c:v>142.5584896924826</c:v>
                </c:pt>
                <c:pt idx="1572">
                  <c:v>141.43740069450212</c:v>
                </c:pt>
                <c:pt idx="1573">
                  <c:v>138.95813543846089</c:v>
                </c:pt>
                <c:pt idx="1574">
                  <c:v>136.60942104434335</c:v>
                </c:pt>
                <c:pt idx="1575">
                  <c:v>137.55868072008769</c:v>
                </c:pt>
                <c:pt idx="1576">
                  <c:v>140.40849159778114</c:v>
                </c:pt>
                <c:pt idx="1577">
                  <c:v>142.76849782700421</c:v>
                </c:pt>
                <c:pt idx="1578">
                  <c:v>144.85796542995701</c:v>
                </c:pt>
                <c:pt idx="1579">
                  <c:v>144.60541822697749</c:v>
                </c:pt>
                <c:pt idx="1580">
                  <c:v>146.16831793212961</c:v>
                </c:pt>
                <c:pt idx="1581">
                  <c:v>145.87028178024124</c:v>
                </c:pt>
                <c:pt idx="1582">
                  <c:v>145.8051523092052</c:v>
                </c:pt>
                <c:pt idx="1583">
                  <c:v>145.1029732647321</c:v>
                </c:pt>
                <c:pt idx="1584">
                  <c:v>146.76354250948674</c:v>
                </c:pt>
                <c:pt idx="1585">
                  <c:v>146.75606141488598</c:v>
                </c:pt>
                <c:pt idx="1586">
                  <c:v>146.97339160563172</c:v>
                </c:pt>
                <c:pt idx="1587">
                  <c:v>147.21795620784576</c:v>
                </c:pt>
                <c:pt idx="1588">
                  <c:v>147.53116755661563</c:v>
                </c:pt>
                <c:pt idx="1589">
                  <c:v>148.61184458303782</c:v>
                </c:pt>
                <c:pt idx="1590">
                  <c:v>147.22461771952865</c:v>
                </c:pt>
                <c:pt idx="1591">
                  <c:v>148.49003873486058</c:v>
                </c:pt>
                <c:pt idx="1592">
                  <c:v>147.56183348869837</c:v>
                </c:pt>
                <c:pt idx="1593">
                  <c:v>144.76852780943548</c:v>
                </c:pt>
                <c:pt idx="1594">
                  <c:v>144.8285759988207</c:v>
                </c:pt>
                <c:pt idx="1595">
                  <c:v>145.88986082813122</c:v>
                </c:pt>
                <c:pt idx="1596">
                  <c:v>148.00957154844033</c:v>
                </c:pt>
                <c:pt idx="1597">
                  <c:v>148.47849316677249</c:v>
                </c:pt>
                <c:pt idx="1598">
                  <c:v>150.65646192902165</c:v>
                </c:pt>
                <c:pt idx="1599">
                  <c:v>150.27416402250182</c:v>
                </c:pt>
                <c:pt idx="1600">
                  <c:v>151.7581728568247</c:v>
                </c:pt>
                <c:pt idx="1601">
                  <c:v>151.60325325411179</c:v>
                </c:pt>
                <c:pt idx="1602">
                  <c:v>151.81200221525469</c:v>
                </c:pt>
                <c:pt idx="1603">
                  <c:v>150.47276200884383</c:v>
                </c:pt>
                <c:pt idx="1604">
                  <c:v>148.83764122204593</c:v>
                </c:pt>
                <c:pt idx="1605">
                  <c:v>149.71089898500824</c:v>
                </c:pt>
                <c:pt idx="1606">
                  <c:v>148.57766678340235</c:v>
                </c:pt>
                <c:pt idx="1607">
                  <c:v>148.30070812773093</c:v>
                </c:pt>
                <c:pt idx="1608">
                  <c:v>149.80737071510259</c:v>
                </c:pt>
                <c:pt idx="1609">
                  <c:v>150.30393686746208</c:v>
                </c:pt>
                <c:pt idx="1610">
                  <c:v>149.29459964479727</c:v>
                </c:pt>
                <c:pt idx="1611">
                  <c:v>150.28341153571296</c:v>
                </c:pt>
                <c:pt idx="1612">
                  <c:v>149.77810886784093</c:v>
                </c:pt>
                <c:pt idx="1613">
                  <c:v>150.95078247647788</c:v>
                </c:pt>
                <c:pt idx="1614">
                  <c:v>150.49920696749615</c:v>
                </c:pt>
                <c:pt idx="1615">
                  <c:v>150.43686270983412</c:v>
                </c:pt>
                <c:pt idx="1616">
                  <c:v>153.18099926345818</c:v>
                </c:pt>
                <c:pt idx="1617">
                  <c:v>153.20475480700915</c:v>
                </c:pt>
                <c:pt idx="1618">
                  <c:v>152.72299412317474</c:v>
                </c:pt>
                <c:pt idx="1619">
                  <c:v>153.73648753403253</c:v>
                </c:pt>
                <c:pt idx="1620">
                  <c:v>153.24282049345419</c:v>
                </c:pt>
                <c:pt idx="1621">
                  <c:v>151.52356388039934</c:v>
                </c:pt>
                <c:pt idx="1622">
                  <c:v>149.7319927051262</c:v>
                </c:pt>
                <c:pt idx="1623">
                  <c:v>148.32188362955401</c:v>
                </c:pt>
                <c:pt idx="1624">
                  <c:v>147.93606303954741</c:v>
                </c:pt>
                <c:pt idx="1625">
                  <c:v>148.50941305257109</c:v>
                </c:pt>
                <c:pt idx="1626">
                  <c:v>146.92006154603291</c:v>
                </c:pt>
                <c:pt idx="1627">
                  <c:v>148.55564344479296</c:v>
                </c:pt>
                <c:pt idx="1628">
                  <c:v>148.48536890016879</c:v>
                </c:pt>
                <c:pt idx="1629">
                  <c:v>149.28752657578869</c:v>
                </c:pt>
                <c:pt idx="1630">
                  <c:v>152.34233869349089</c:v>
                </c:pt>
                <c:pt idx="1631">
                  <c:v>151.46910443862998</c:v>
                </c:pt>
                <c:pt idx="1632">
                  <c:v>148.93327427578785</c:v>
                </c:pt>
                <c:pt idx="1633">
                  <c:v>148.6982954606394</c:v>
                </c:pt>
                <c:pt idx="1634">
                  <c:v>149.76976327108616</c:v>
                </c:pt>
                <c:pt idx="1635">
                  <c:v>149.84956400477222</c:v>
                </c:pt>
                <c:pt idx="1636">
                  <c:v>150.52087801568354</c:v>
                </c:pt>
                <c:pt idx="1637">
                  <c:v>150.42591643278354</c:v>
                </c:pt>
                <c:pt idx="1638">
                  <c:v>151.71310252870867</c:v>
                </c:pt>
                <c:pt idx="1639">
                  <c:v>151.32706760662199</c:v>
                </c:pt>
                <c:pt idx="1640">
                  <c:v>151.06949805779536</c:v>
                </c:pt>
                <c:pt idx="1641">
                  <c:v>149.68581826880782</c:v>
                </c:pt>
                <c:pt idx="1642">
                  <c:v>151.30903435436193</c:v>
                </c:pt>
                <c:pt idx="1643">
                  <c:v>150.65275780272353</c:v>
                </c:pt>
                <c:pt idx="1644">
                  <c:v>150.1481600467956</c:v>
                </c:pt>
                <c:pt idx="1645">
                  <c:v>148.67441575458068</c:v>
                </c:pt>
                <c:pt idx="1646">
                  <c:v>150.95641581222984</c:v>
                </c:pt>
                <c:pt idx="1647">
                  <c:v>150.26763936549415</c:v>
                </c:pt>
                <c:pt idx="1648">
                  <c:v>152.1839075543252</c:v>
                </c:pt>
                <c:pt idx="1649">
                  <c:v>152.67949685125697</c:v>
                </c:pt>
                <c:pt idx="1650">
                  <c:v>153.38609332183941</c:v>
                </c:pt>
                <c:pt idx="1651">
                  <c:v>153.41738370856112</c:v>
                </c:pt>
                <c:pt idx="1652">
                  <c:v>154.1769470220197</c:v>
                </c:pt>
                <c:pt idx="1653">
                  <c:v>153.70377025384806</c:v>
                </c:pt>
                <c:pt idx="1654">
                  <c:v>153.3424325968781</c:v>
                </c:pt>
                <c:pt idx="1655">
                  <c:v>153.56536682577641</c:v>
                </c:pt>
                <c:pt idx="1656">
                  <c:v>153.45387998090814</c:v>
                </c:pt>
                <c:pt idx="1657">
                  <c:v>152.51479901334278</c:v>
                </c:pt>
                <c:pt idx="1658">
                  <c:v>150.8946316553729</c:v>
                </c:pt>
                <c:pt idx="1659">
                  <c:v>148.77721692101699</c:v>
                </c:pt>
                <c:pt idx="1660">
                  <c:v>148.43962974917437</c:v>
                </c:pt>
                <c:pt idx="1661">
                  <c:v>147.41141541360471</c:v>
                </c:pt>
                <c:pt idx="1662">
                  <c:v>149.90800273373927</c:v>
                </c:pt>
                <c:pt idx="1663">
                  <c:v>150.49676971451959</c:v>
                </c:pt>
                <c:pt idx="1664">
                  <c:v>151.90674220933232</c:v>
                </c:pt>
                <c:pt idx="1665">
                  <c:v>151.02570131829424</c:v>
                </c:pt>
                <c:pt idx="1666">
                  <c:v>150.38587120777319</c:v>
                </c:pt>
                <c:pt idx="1667">
                  <c:v>150.49859269737456</c:v>
                </c:pt>
                <c:pt idx="1668">
                  <c:v>151.25356237966756</c:v>
                </c:pt>
                <c:pt idx="1669">
                  <c:v>150.43204259013868</c:v>
                </c:pt>
                <c:pt idx="1670">
                  <c:v>151.13272651536309</c:v>
                </c:pt>
                <c:pt idx="1671">
                  <c:v>150.38311044671403</c:v>
                </c:pt>
                <c:pt idx="1672">
                  <c:v>150.84534171576115</c:v>
                </c:pt>
                <c:pt idx="1673">
                  <c:v>151.53768217925642</c:v>
                </c:pt>
                <c:pt idx="1674">
                  <c:v>151.06517449471551</c:v>
                </c:pt>
                <c:pt idx="1675">
                  <c:v>151.43995862331226</c:v>
                </c:pt>
                <c:pt idx="1676">
                  <c:v>151.78224071819142</c:v>
                </c:pt>
                <c:pt idx="1677">
                  <c:v>150.34767638250517</c:v>
                </c:pt>
                <c:pt idx="1678">
                  <c:v>151.27925675962618</c:v>
                </c:pt>
                <c:pt idx="1679">
                  <c:v>152.04174841177326</c:v>
                </c:pt>
                <c:pt idx="1680">
                  <c:v>151.02930665157962</c:v>
                </c:pt>
                <c:pt idx="1681">
                  <c:v>150.28889635877673</c:v>
                </c:pt>
                <c:pt idx="1682">
                  <c:v>151.82132482192185</c:v>
                </c:pt>
                <c:pt idx="1683">
                  <c:v>153.99207019967761</c:v>
                </c:pt>
                <c:pt idx="1684">
                  <c:v>156.04075969455158</c:v>
                </c:pt>
                <c:pt idx="1685">
                  <c:v>158.03094782002307</c:v>
                </c:pt>
                <c:pt idx="1686">
                  <c:v>158.65482763587121</c:v>
                </c:pt>
                <c:pt idx="1687">
                  <c:v>158.59930545016553</c:v>
                </c:pt>
                <c:pt idx="1688">
                  <c:v>160.23675461242075</c:v>
                </c:pt>
                <c:pt idx="1689">
                  <c:v>159.17023199087365</c:v>
                </c:pt>
                <c:pt idx="1690">
                  <c:v>160.88941166959944</c:v>
                </c:pt>
                <c:pt idx="1691">
                  <c:v>161.36569215940324</c:v>
                </c:pt>
                <c:pt idx="1692">
                  <c:v>161.36274471096027</c:v>
                </c:pt>
                <c:pt idx="1693">
                  <c:v>162.30409486331726</c:v>
                </c:pt>
                <c:pt idx="1694">
                  <c:v>162.12056269816887</c:v>
                </c:pt>
                <c:pt idx="1695">
                  <c:v>161.93320103836379</c:v>
                </c:pt>
                <c:pt idx="1696">
                  <c:v>162.29623224566791</c:v>
                </c:pt>
                <c:pt idx="1697">
                  <c:v>162.29623224566791</c:v>
                </c:pt>
                <c:pt idx="1698">
                  <c:v>162.59165336269939</c:v>
                </c:pt>
                <c:pt idx="1699">
                  <c:v>162.44102452720651</c:v>
                </c:pt>
                <c:pt idx="1700">
                  <c:v>162.12464950504679</c:v>
                </c:pt>
                <c:pt idx="1701">
                  <c:v>162.59853272380408</c:v>
                </c:pt>
                <c:pt idx="1702">
                  <c:v>163.85287545371455</c:v>
                </c:pt>
                <c:pt idx="1703">
                  <c:v>164.24506432977563</c:v>
                </c:pt>
                <c:pt idx="1704">
                  <c:v>164.13573595328012</c:v>
                </c:pt>
                <c:pt idx="1705">
                  <c:v>164.19477880676877</c:v>
                </c:pt>
                <c:pt idx="1706">
                  <c:v>164.36045718483007</c:v>
                </c:pt>
                <c:pt idx="1707">
                  <c:v>163.74045132000685</c:v>
                </c:pt>
                <c:pt idx="1708">
                  <c:v>163.69680643157827</c:v>
                </c:pt>
                <c:pt idx="1709">
                  <c:v>163.98110775189625</c:v>
                </c:pt>
                <c:pt idx="1710">
                  <c:v>162.78887452001206</c:v>
                </c:pt>
                <c:pt idx="1711">
                  <c:v>164.57600854786091</c:v>
                </c:pt>
                <c:pt idx="1712">
                  <c:v>163.2869297044578</c:v>
                </c:pt>
                <c:pt idx="1713">
                  <c:v>162.82309318934387</c:v>
                </c:pt>
                <c:pt idx="1714">
                  <c:v>163.18343421997358</c:v>
                </c:pt>
                <c:pt idx="1715">
                  <c:v>163.2863327998127</c:v>
                </c:pt>
                <c:pt idx="1716">
                  <c:v>163.60556197892197</c:v>
                </c:pt>
                <c:pt idx="1717">
                  <c:v>162.51294008981233</c:v>
                </c:pt>
                <c:pt idx="1718">
                  <c:v>163.13656195136463</c:v>
                </c:pt>
                <c:pt idx="1719">
                  <c:v>165.17184239528783</c:v>
                </c:pt>
                <c:pt idx="1720">
                  <c:v>164.96946435085087</c:v>
                </c:pt>
                <c:pt idx="1721">
                  <c:v>164.45516722154949</c:v>
                </c:pt>
                <c:pt idx="1722">
                  <c:v>162.41082881818258</c:v>
                </c:pt>
                <c:pt idx="1723">
                  <c:v>160.98570247166128</c:v>
                </c:pt>
                <c:pt idx="1724">
                  <c:v>162.20543603788616</c:v>
                </c:pt>
                <c:pt idx="1725">
                  <c:v>162.51112077213418</c:v>
                </c:pt>
                <c:pt idx="1726">
                  <c:v>163.34236135916461</c:v>
                </c:pt>
                <c:pt idx="1727">
                  <c:v>161.5526371600242</c:v>
                </c:pt>
                <c:pt idx="1728">
                  <c:v>161.59378453628898</c:v>
                </c:pt>
                <c:pt idx="1729">
                  <c:v>161.79313925560544</c:v>
                </c:pt>
                <c:pt idx="1730">
                  <c:v>163.42139309272642</c:v>
                </c:pt>
                <c:pt idx="1731">
                  <c:v>163.3808142120032</c:v>
                </c:pt>
                <c:pt idx="1732">
                  <c:v>164.97863001946226</c:v>
                </c:pt>
                <c:pt idx="1733">
                  <c:v>165.18961571984292</c:v>
                </c:pt>
                <c:pt idx="1734">
                  <c:v>165.74967897299331</c:v>
                </c:pt>
                <c:pt idx="1735">
                  <c:v>165.30220241390882</c:v>
                </c:pt>
                <c:pt idx="1736">
                  <c:v>165.14496757657741</c:v>
                </c:pt>
                <c:pt idx="1737">
                  <c:v>165.30406595430014</c:v>
                </c:pt>
                <c:pt idx="1738">
                  <c:v>166.40843592010981</c:v>
                </c:pt>
                <c:pt idx="1739">
                  <c:v>166.36528158027613</c:v>
                </c:pt>
                <c:pt idx="1740">
                  <c:v>166.01340670568104</c:v>
                </c:pt>
                <c:pt idx="1741">
                  <c:v>164.52830074208208</c:v>
                </c:pt>
                <c:pt idx="1742">
                  <c:v>164.835107907751</c:v>
                </c:pt>
                <c:pt idx="1743">
                  <c:v>165.22633801228724</c:v>
                </c:pt>
                <c:pt idx="1744">
                  <c:v>168.37071625066292</c:v>
                </c:pt>
                <c:pt idx="1745">
                  <c:v>168.22481221228861</c:v>
                </c:pt>
                <c:pt idx="1746">
                  <c:v>168.8447698210409</c:v>
                </c:pt>
                <c:pt idx="1747">
                  <c:v>168.10258837305864</c:v>
                </c:pt>
                <c:pt idx="1748">
                  <c:v>167.90709752725346</c:v>
                </c:pt>
                <c:pt idx="1749">
                  <c:v>168.09916595937898</c:v>
                </c:pt>
                <c:pt idx="1750">
                  <c:v>169.04641746975076</c:v>
                </c:pt>
                <c:pt idx="1751">
                  <c:v>169.41440611998507</c:v>
                </c:pt>
                <c:pt idx="1752">
                  <c:v>169.57524538763244</c:v>
                </c:pt>
                <c:pt idx="1753">
                  <c:v>168.98445995295691</c:v>
                </c:pt>
                <c:pt idx="1754">
                  <c:v>169.52981265589148</c:v>
                </c:pt>
                <c:pt idx="1755">
                  <c:v>170.89218739579567</c:v>
                </c:pt>
                <c:pt idx="1756">
                  <c:v>171.38005002137047</c:v>
                </c:pt>
                <c:pt idx="1757">
                  <c:v>170.91145185421144</c:v>
                </c:pt>
                <c:pt idx="1758">
                  <c:v>170.21321132998548</c:v>
                </c:pt>
                <c:pt idx="1759">
                  <c:v>169.68645664035441</c:v>
                </c:pt>
                <c:pt idx="1760">
                  <c:v>171.2105469856651</c:v>
                </c:pt>
                <c:pt idx="1761">
                  <c:v>171.17492062297887</c:v>
                </c:pt>
                <c:pt idx="1762">
                  <c:v>170.76328337084277</c:v>
                </c:pt>
                <c:pt idx="1763">
                  <c:v>172.16599877249701</c:v>
                </c:pt>
                <c:pt idx="1764">
                  <c:v>172.56982195151571</c:v>
                </c:pt>
                <c:pt idx="1765">
                  <c:v>173.27224659416279</c:v>
                </c:pt>
                <c:pt idx="1766">
                  <c:v>174.16006577641511</c:v>
                </c:pt>
                <c:pt idx="1767">
                  <c:v>173.07830432813478</c:v>
                </c:pt>
                <c:pt idx="1768">
                  <c:v>173.46326728862056</c:v>
                </c:pt>
                <c:pt idx="1769">
                  <c:v>173.21711335140529</c:v>
                </c:pt>
                <c:pt idx="1770">
                  <c:v>173.92554807318353</c:v>
                </c:pt>
                <c:pt idx="1771">
                  <c:v>174.21942098734888</c:v>
                </c:pt>
                <c:pt idx="1772">
                  <c:v>173.66059050990509</c:v>
                </c:pt>
                <c:pt idx="1773">
                  <c:v>173.09689853482658</c:v>
                </c:pt>
                <c:pt idx="1774">
                  <c:v>173.09890214269569</c:v>
                </c:pt>
                <c:pt idx="1775">
                  <c:v>172.29411583713613</c:v>
                </c:pt>
                <c:pt idx="1776">
                  <c:v>172.29411583713613</c:v>
                </c:pt>
                <c:pt idx="1777">
                  <c:v>172.29219817808331</c:v>
                </c:pt>
                <c:pt idx="1778">
                  <c:v>170.49703507514988</c:v>
                </c:pt>
                <c:pt idx="1779">
                  <c:v>171.29518653525159</c:v>
                </c:pt>
                <c:pt idx="1780">
                  <c:v>172.13374091087471</c:v>
                </c:pt>
                <c:pt idx="1781">
                  <c:v>172.03800532538162</c:v>
                </c:pt>
                <c:pt idx="1782">
                  <c:v>178.25275961231097</c:v>
                </c:pt>
                <c:pt idx="1783">
                  <c:v>178.6720445885127</c:v>
                </c:pt>
                <c:pt idx="1784">
                  <c:v>178.80691285332199</c:v>
                </c:pt>
                <c:pt idx="1785">
                  <c:v>178.19251775914643</c:v>
                </c:pt>
                <c:pt idx="1786">
                  <c:v>178.13377846199307</c:v>
                </c:pt>
                <c:pt idx="1787">
                  <c:v>178.13386278531468</c:v>
                </c:pt>
                <c:pt idx="1788">
                  <c:v>179.47226239578987</c:v>
                </c:pt>
                <c:pt idx="1789">
                  <c:v>179.63210473954396</c:v>
                </c:pt>
                <c:pt idx="1790">
                  <c:v>181.97278418792305</c:v>
                </c:pt>
                <c:pt idx="1791">
                  <c:v>183.63117655482378</c:v>
                </c:pt>
                <c:pt idx="1792">
                  <c:v>182.98182033351844</c:v>
                </c:pt>
                <c:pt idx="1793">
                  <c:v>183.37111231319747</c:v>
                </c:pt>
                <c:pt idx="1794">
                  <c:v>183.37867772931972</c:v>
                </c:pt>
                <c:pt idx="1795">
                  <c:v>182.39073456498048</c:v>
                </c:pt>
                <c:pt idx="1796">
                  <c:v>183.126240704449</c:v>
                </c:pt>
                <c:pt idx="1797">
                  <c:v>183.69413151175215</c:v>
                </c:pt>
                <c:pt idx="1798">
                  <c:v>183.87140370417305</c:v>
                </c:pt>
                <c:pt idx="1799">
                  <c:v>181.05559144095338</c:v>
                </c:pt>
                <c:pt idx="1800">
                  <c:v>180.00342289904913</c:v>
                </c:pt>
                <c:pt idx="1801">
                  <c:v>181.45798926196809</c:v>
                </c:pt>
                <c:pt idx="1802">
                  <c:v>181.2055532516861</c:v>
                </c:pt>
                <c:pt idx="1803">
                  <c:v>182.07240269415698</c:v>
                </c:pt>
                <c:pt idx="1804">
                  <c:v>182.00475119070381</c:v>
                </c:pt>
                <c:pt idx="1805">
                  <c:v>181.95799405071847</c:v>
                </c:pt>
                <c:pt idx="1806">
                  <c:v>181.78929347510334</c:v>
                </c:pt>
                <c:pt idx="1807">
                  <c:v>181.57360449270737</c:v>
                </c:pt>
                <c:pt idx="1808">
                  <c:v>181.13793004765193</c:v>
                </c:pt>
                <c:pt idx="1809">
                  <c:v>180.91936511905556</c:v>
                </c:pt>
                <c:pt idx="1810">
                  <c:v>181.94436772208721</c:v>
                </c:pt>
                <c:pt idx="1811">
                  <c:v>183.03315645802289</c:v>
                </c:pt>
                <c:pt idx="1812">
                  <c:v>182.41564783009795</c:v>
                </c:pt>
                <c:pt idx="1813">
                  <c:v>181.35087277882349</c:v>
                </c:pt>
                <c:pt idx="1814">
                  <c:v>181.355027591446</c:v>
                </c:pt>
                <c:pt idx="1815">
                  <c:v>181.78579681543695</c:v>
                </c:pt>
                <c:pt idx="1816">
                  <c:v>182.92925811803025</c:v>
                </c:pt>
                <c:pt idx="1817">
                  <c:v>180.97553020484781</c:v>
                </c:pt>
                <c:pt idx="1818">
                  <c:v>181.86187616866312</c:v>
                </c:pt>
                <c:pt idx="1819">
                  <c:v>181.55940282124055</c:v>
                </c:pt>
                <c:pt idx="1820">
                  <c:v>180.44481759264963</c:v>
                </c:pt>
                <c:pt idx="1821">
                  <c:v>181.55203171798385</c:v>
                </c:pt>
                <c:pt idx="1822">
                  <c:v>183.20707533438613</c:v>
                </c:pt>
                <c:pt idx="1823">
                  <c:v>182.23594541328077</c:v>
                </c:pt>
                <c:pt idx="1824">
                  <c:v>181.94410347650353</c:v>
                </c:pt>
                <c:pt idx="1825">
                  <c:v>181.77345537502333</c:v>
                </c:pt>
                <c:pt idx="1826">
                  <c:v>181.04126880901396</c:v>
                </c:pt>
                <c:pt idx="1827">
                  <c:v>181.86005618132083</c:v>
                </c:pt>
                <c:pt idx="1828">
                  <c:v>180.48292440387715</c:v>
                </c:pt>
                <c:pt idx="1829">
                  <c:v>180.45024139263865</c:v>
                </c:pt>
                <c:pt idx="1830">
                  <c:v>177.34878063573814</c:v>
                </c:pt>
                <c:pt idx="1831">
                  <c:v>176.34068652677661</c:v>
                </c:pt>
                <c:pt idx="1832">
                  <c:v>178.67941506897793</c:v>
                </c:pt>
                <c:pt idx="1833">
                  <c:v>178.17914804142572</c:v>
                </c:pt>
                <c:pt idx="1834">
                  <c:v>178.33365864633859</c:v>
                </c:pt>
                <c:pt idx="1835">
                  <c:v>177.54188561137633</c:v>
                </c:pt>
                <c:pt idx="1836">
                  <c:v>177.52786341196824</c:v>
                </c:pt>
                <c:pt idx="1837">
                  <c:v>178.30378121975167</c:v>
                </c:pt>
                <c:pt idx="1838">
                  <c:v>177.64869292303172</c:v>
                </c:pt>
                <c:pt idx="1839">
                  <c:v>180.131627437666</c:v>
                </c:pt>
                <c:pt idx="1840">
                  <c:v>180.8184908118468</c:v>
                </c:pt>
                <c:pt idx="1841">
                  <c:v>180.88547796989155</c:v>
                </c:pt>
                <c:pt idx="1842">
                  <c:v>180.65886837861436</c:v>
                </c:pt>
                <c:pt idx="1843">
                  <c:v>178.83301930041765</c:v>
                </c:pt>
                <c:pt idx="1844">
                  <c:v>179.81506364933861</c:v>
                </c:pt>
                <c:pt idx="1845">
                  <c:v>179.60165189651016</c:v>
                </c:pt>
                <c:pt idx="1846">
                  <c:v>177.21904416076427</c:v>
                </c:pt>
                <c:pt idx="1847">
                  <c:v>177.12395252277057</c:v>
                </c:pt>
                <c:pt idx="1848">
                  <c:v>178.02677425685209</c:v>
                </c:pt>
                <c:pt idx="1849">
                  <c:v>179.0919525858537</c:v>
                </c:pt>
                <c:pt idx="1850">
                  <c:v>179.13901442405333</c:v>
                </c:pt>
                <c:pt idx="1851">
                  <c:v>177.63139279048286</c:v>
                </c:pt>
                <c:pt idx="1852">
                  <c:v>176.9151341849203</c:v>
                </c:pt>
                <c:pt idx="1853">
                  <c:v>178.26129838241087</c:v>
                </c:pt>
                <c:pt idx="1854">
                  <c:v>177.4850508813625</c:v>
                </c:pt>
                <c:pt idx="1855">
                  <c:v>177.96563629837539</c:v>
                </c:pt>
                <c:pt idx="1856">
                  <c:v>179.9384103865128</c:v>
                </c:pt>
                <c:pt idx="1857">
                  <c:v>179.93917175819192</c:v>
                </c:pt>
                <c:pt idx="1858">
                  <c:v>180.37564181813389</c:v>
                </c:pt>
                <c:pt idx="1859">
                  <c:v>178.27391044745181</c:v>
                </c:pt>
                <c:pt idx="1860">
                  <c:v>176.68740367975067</c:v>
                </c:pt>
                <c:pt idx="1861">
                  <c:v>175.19840266130916</c:v>
                </c:pt>
                <c:pt idx="1862">
                  <c:v>177.4142133094384</c:v>
                </c:pt>
                <c:pt idx="1863">
                  <c:v>177.85825875506768</c:v>
                </c:pt>
                <c:pt idx="1864">
                  <c:v>179.13239355203618</c:v>
                </c:pt>
                <c:pt idx="1865">
                  <c:v>178.15025801127712</c:v>
                </c:pt>
                <c:pt idx="1866">
                  <c:v>177.19818359544246</c:v>
                </c:pt>
                <c:pt idx="1867">
                  <c:v>176.21713341135276</c:v>
                </c:pt>
                <c:pt idx="1868">
                  <c:v>177.73599072624339</c:v>
                </c:pt>
                <c:pt idx="1869">
                  <c:v>176.95578441846831</c:v>
                </c:pt>
                <c:pt idx="1870">
                  <c:v>177.11806691058035</c:v>
                </c:pt>
                <c:pt idx="1871">
                  <c:v>176.81209362685715</c:v>
                </c:pt>
                <c:pt idx="1872">
                  <c:v>175.97968213486277</c:v>
                </c:pt>
                <c:pt idx="1873">
                  <c:v>174.07404792809257</c:v>
                </c:pt>
                <c:pt idx="1874">
                  <c:v>175.05756721425806</c:v>
                </c:pt>
                <c:pt idx="1875">
                  <c:v>176.0995509258766</c:v>
                </c:pt>
                <c:pt idx="1876">
                  <c:v>177.15159103236232</c:v>
                </c:pt>
                <c:pt idx="1877">
                  <c:v>176.43237055730637</c:v>
                </c:pt>
                <c:pt idx="1878">
                  <c:v>176.10073635082361</c:v>
                </c:pt>
                <c:pt idx="1879">
                  <c:v>176.56558775535987</c:v>
                </c:pt>
                <c:pt idx="1880">
                  <c:v>177.08848275385455</c:v>
                </c:pt>
                <c:pt idx="1881">
                  <c:v>177.22478163591248</c:v>
                </c:pt>
                <c:pt idx="1882">
                  <c:v>179.56492392528881</c:v>
                </c:pt>
                <c:pt idx="1883">
                  <c:v>180.40370448671814</c:v>
                </c:pt>
                <c:pt idx="1884">
                  <c:v>180.69363572615816</c:v>
                </c:pt>
                <c:pt idx="1885">
                  <c:v>180.74758718627751</c:v>
                </c:pt>
                <c:pt idx="1886">
                  <c:v>180.23786360939766</c:v>
                </c:pt>
                <c:pt idx="1887">
                  <c:v>180.93778505154836</c:v>
                </c:pt>
                <c:pt idx="1888">
                  <c:v>181.09602183491469</c:v>
                </c:pt>
                <c:pt idx="1889">
                  <c:v>180.79902564151348</c:v>
                </c:pt>
                <c:pt idx="1890">
                  <c:v>181.31478809097888</c:v>
                </c:pt>
                <c:pt idx="1891">
                  <c:v>181.41332202716526</c:v>
                </c:pt>
                <c:pt idx="1892">
                  <c:v>181.19010850343801</c:v>
                </c:pt>
                <c:pt idx="1893">
                  <c:v>181.25980901876326</c:v>
                </c:pt>
                <c:pt idx="1894">
                  <c:v>182.22201904603224</c:v>
                </c:pt>
                <c:pt idx="1895">
                  <c:v>182.66423102885744</c:v>
                </c:pt>
                <c:pt idx="1896">
                  <c:v>183.91664752143893</c:v>
                </c:pt>
                <c:pt idx="1897">
                  <c:v>184.44571603613826</c:v>
                </c:pt>
                <c:pt idx="1898">
                  <c:v>184.68739546513598</c:v>
                </c:pt>
                <c:pt idx="1899">
                  <c:v>184.12520156070519</c:v>
                </c:pt>
                <c:pt idx="1900">
                  <c:v>184.97506023238091</c:v>
                </c:pt>
                <c:pt idx="1901">
                  <c:v>184.40710982242098</c:v>
                </c:pt>
                <c:pt idx="1902">
                  <c:v>184.75895827316282</c:v>
                </c:pt>
                <c:pt idx="1903">
                  <c:v>184.34182052092766</c:v>
                </c:pt>
                <c:pt idx="1904">
                  <c:v>184.91479564349618</c:v>
                </c:pt>
                <c:pt idx="1905">
                  <c:v>184.96028908369738</c:v>
                </c:pt>
                <c:pt idx="1906">
                  <c:v>185.01708115859222</c:v>
                </c:pt>
                <c:pt idx="1907">
                  <c:v>185.00556410396715</c:v>
                </c:pt>
                <c:pt idx="1908">
                  <c:v>185.04675843036603</c:v>
                </c:pt>
                <c:pt idx="1909">
                  <c:v>185.75928793822584</c:v>
                </c:pt>
                <c:pt idx="1910">
                  <c:v>184.77969039104266</c:v>
                </c:pt>
                <c:pt idx="1911">
                  <c:v>185.13907605253345</c:v>
                </c:pt>
                <c:pt idx="1912">
                  <c:v>185.30697760812797</c:v>
                </c:pt>
                <c:pt idx="1913">
                  <c:v>185.43760152908234</c:v>
                </c:pt>
                <c:pt idx="1914">
                  <c:v>184.50850364520522</c:v>
                </c:pt>
                <c:pt idx="1915">
                  <c:v>186.81784804292334</c:v>
                </c:pt>
                <c:pt idx="1916">
                  <c:v>187.41150305609696</c:v>
                </c:pt>
                <c:pt idx="1917">
                  <c:v>187.89717995037213</c:v>
                </c:pt>
                <c:pt idx="1918">
                  <c:v>188.38159000985257</c:v>
                </c:pt>
                <c:pt idx="1919">
                  <c:v>189.61643071434204</c:v>
                </c:pt>
                <c:pt idx="1920">
                  <c:v>189.34213622266179</c:v>
                </c:pt>
                <c:pt idx="1921">
                  <c:v>189.39152312991422</c:v>
                </c:pt>
                <c:pt idx="1922">
                  <c:v>189.14065850289577</c:v>
                </c:pt>
                <c:pt idx="1923">
                  <c:v>188.13651389023428</c:v>
                </c:pt>
                <c:pt idx="1924">
                  <c:v>188.09918242464306</c:v>
                </c:pt>
                <c:pt idx="1925">
                  <c:v>186.08617453970106</c:v>
                </c:pt>
                <c:pt idx="1926">
                  <c:v>185.25696874276269</c:v>
                </c:pt>
                <c:pt idx="1927">
                  <c:v>184.24272192232704</c:v>
                </c:pt>
                <c:pt idx="1928">
                  <c:v>183.41066826602665</c:v>
                </c:pt>
                <c:pt idx="1929">
                  <c:v>182.72097964232196</c:v>
                </c:pt>
                <c:pt idx="1930">
                  <c:v>183.90125331023083</c:v>
                </c:pt>
                <c:pt idx="1931">
                  <c:v>183.07722177564747</c:v>
                </c:pt>
                <c:pt idx="1932">
                  <c:v>183.8809198992854</c:v>
                </c:pt>
                <c:pt idx="1933">
                  <c:v>184.72527138361505</c:v>
                </c:pt>
                <c:pt idx="1934">
                  <c:v>183.87183236200252</c:v>
                </c:pt>
                <c:pt idx="1935">
                  <c:v>184.29617169814441</c:v>
                </c:pt>
                <c:pt idx="1936">
                  <c:v>184.6455976854711</c:v>
                </c:pt>
                <c:pt idx="1937">
                  <c:v>183.79683461664081</c:v>
                </c:pt>
                <c:pt idx="1938">
                  <c:v>184.78828520678633</c:v>
                </c:pt>
                <c:pt idx="1939">
                  <c:v>185.095054319323</c:v>
                </c:pt>
                <c:pt idx="1940">
                  <c:v>184.54042011631643</c:v>
                </c:pt>
                <c:pt idx="1941">
                  <c:v>182.58406972861522</c:v>
                </c:pt>
                <c:pt idx="1942">
                  <c:v>184.83560224825342</c:v>
                </c:pt>
                <c:pt idx="1943">
                  <c:v>184.78689061083602</c:v>
                </c:pt>
                <c:pt idx="1944">
                  <c:v>184.42226529658475</c:v>
                </c:pt>
                <c:pt idx="1945">
                  <c:v>185.01970628701778</c:v>
                </c:pt>
                <c:pt idx="1946">
                  <c:v>186.05409622206568</c:v>
                </c:pt>
                <c:pt idx="1947">
                  <c:v>185.68385576729656</c:v>
                </c:pt>
                <c:pt idx="1948">
                  <c:v>186.54705987335939</c:v>
                </c:pt>
                <c:pt idx="1949">
                  <c:v>185.64208414369892</c:v>
                </c:pt>
                <c:pt idx="1950">
                  <c:v>184.50610864171375</c:v>
                </c:pt>
                <c:pt idx="1951">
                  <c:v>184.44513666075051</c:v>
                </c:pt>
                <c:pt idx="1952">
                  <c:v>186.83132993056782</c:v>
                </c:pt>
                <c:pt idx="1953">
                  <c:v>186.01449171653965</c:v>
                </c:pt>
                <c:pt idx="1954">
                  <c:v>184.62187971648595</c:v>
                </c:pt>
                <c:pt idx="1955">
                  <c:v>185.42917056811689</c:v>
                </c:pt>
                <c:pt idx="1956">
                  <c:v>184.80075684604623</c:v>
                </c:pt>
                <c:pt idx="1957">
                  <c:v>184.80075684604623</c:v>
                </c:pt>
                <c:pt idx="1958">
                  <c:v>184.79142136819141</c:v>
                </c:pt>
                <c:pt idx="1959">
                  <c:v>184.78012063065944</c:v>
                </c:pt>
                <c:pt idx="1960">
                  <c:v>183.83475444665089</c:v>
                </c:pt>
                <c:pt idx="1961">
                  <c:v>182.90494572569997</c:v>
                </c:pt>
                <c:pt idx="1962">
                  <c:v>182.90494572569997</c:v>
                </c:pt>
                <c:pt idx="1963">
                  <c:v>182.51412603384691</c:v>
                </c:pt>
                <c:pt idx="1964">
                  <c:v>183.75451047532255</c:v>
                </c:pt>
                <c:pt idx="1965">
                  <c:v>186.54787442452158</c:v>
                </c:pt>
                <c:pt idx="1966">
                  <c:v>188.46939758507031</c:v>
                </c:pt>
                <c:pt idx="1967">
                  <c:v>188.96832875811029</c:v>
                </c:pt>
                <c:pt idx="1968">
                  <c:v>189.76089041570265</c:v>
                </c:pt>
                <c:pt idx="1969">
                  <c:v>189.03120687702881</c:v>
                </c:pt>
                <c:pt idx="1970">
                  <c:v>188.46593727209299</c:v>
                </c:pt>
                <c:pt idx="1971">
                  <c:v>189.16423658429753</c:v>
                </c:pt>
                <c:pt idx="1972">
                  <c:v>189.03650997122631</c:v>
                </c:pt>
                <c:pt idx="1973">
                  <c:v>189.52518618868814</c:v>
                </c:pt>
                <c:pt idx="1974">
                  <c:v>189.154041276909</c:v>
                </c:pt>
                <c:pt idx="1975">
                  <c:v>189.66870711888441</c:v>
                </c:pt>
                <c:pt idx="1976">
                  <c:v>191.07078594304099</c:v>
                </c:pt>
                <c:pt idx="1977">
                  <c:v>191.731330765942</c:v>
                </c:pt>
                <c:pt idx="1978">
                  <c:v>191.95255118826711</c:v>
                </c:pt>
                <c:pt idx="1979">
                  <c:v>190.34302925040038</c:v>
                </c:pt>
                <c:pt idx="1980">
                  <c:v>189.59538326212001</c:v>
                </c:pt>
                <c:pt idx="1981">
                  <c:v>190.56787443518189</c:v>
                </c:pt>
                <c:pt idx="1982">
                  <c:v>190.20527807690573</c:v>
                </c:pt>
                <c:pt idx="1983">
                  <c:v>188.54378395058185</c:v>
                </c:pt>
                <c:pt idx="1984">
                  <c:v>188.69804959421484</c:v>
                </c:pt>
              </c:numCache>
            </c:numRef>
          </c:val>
          <c:smooth val="0"/>
          <c:extLst xmlns:c16r2="http://schemas.microsoft.com/office/drawing/2015/06/chart">
            <c:ext xmlns:c16="http://schemas.microsoft.com/office/drawing/2014/chart" uri="{C3380CC4-5D6E-409C-BE32-E72D297353CC}">
              <c16:uniqueId val="{00000002-7127-4EE7-81B7-88A877082DDF}"/>
            </c:ext>
          </c:extLst>
        </c:ser>
        <c:dLbls>
          <c:showLegendKey val="0"/>
          <c:showVal val="0"/>
          <c:showCatName val="0"/>
          <c:showSerName val="0"/>
          <c:showPercent val="0"/>
          <c:showBubbleSize val="0"/>
        </c:dLbls>
        <c:marker val="1"/>
        <c:smooth val="0"/>
        <c:axId val="235750912"/>
        <c:axId val="235752448"/>
      </c:lineChart>
      <c:dateAx>
        <c:axId val="235750912"/>
        <c:scaling>
          <c:orientation val="minMax"/>
        </c:scaling>
        <c:delete val="0"/>
        <c:axPos val="b"/>
        <c:numFmt formatCode="[$-409]mmm\-yy;@" sourceLinked="0"/>
        <c:majorTickMark val="out"/>
        <c:minorTickMark val="none"/>
        <c:tickLblPos val="low"/>
        <c:spPr>
          <a:ln>
            <a:solidFill>
              <a:srgbClr val="767A7E"/>
            </a:solidFill>
          </a:ln>
        </c:spPr>
        <c:crossAx val="235752448"/>
        <c:crosses val="autoZero"/>
        <c:auto val="1"/>
        <c:lblOffset val="100"/>
        <c:baseTimeUnit val="days"/>
      </c:dateAx>
      <c:valAx>
        <c:axId val="235752448"/>
        <c:scaling>
          <c:orientation val="minMax"/>
        </c:scaling>
        <c:delete val="0"/>
        <c:axPos val="l"/>
        <c:majorGridlines>
          <c:spPr>
            <a:ln>
              <a:solidFill>
                <a:srgbClr val="F2F2F2"/>
              </a:solidFill>
            </a:ln>
          </c:spPr>
        </c:majorGridlines>
        <c:numFmt formatCode="General" sourceLinked="0"/>
        <c:majorTickMark val="out"/>
        <c:minorTickMark val="none"/>
        <c:tickLblPos val="nextTo"/>
        <c:spPr>
          <a:ln>
            <a:solidFill>
              <a:srgbClr val="767A7E"/>
            </a:solidFill>
          </a:ln>
        </c:spPr>
        <c:crossAx val="235750912"/>
        <c:crosses val="autoZero"/>
        <c:crossBetween val="between"/>
      </c:valAx>
      <c:valAx>
        <c:axId val="235762432"/>
        <c:scaling>
          <c:orientation val="minMax"/>
        </c:scaling>
        <c:delete val="0"/>
        <c:axPos val="r"/>
        <c:numFmt formatCode="General" sourceLinked="0"/>
        <c:majorTickMark val="out"/>
        <c:minorTickMark val="none"/>
        <c:tickLblPos val="nextTo"/>
        <c:crossAx val="235763968"/>
        <c:crosses val="max"/>
        <c:crossBetween val="between"/>
      </c:valAx>
      <c:dateAx>
        <c:axId val="235763968"/>
        <c:scaling>
          <c:orientation val="minMax"/>
        </c:scaling>
        <c:delete val="1"/>
        <c:axPos val="b"/>
        <c:numFmt formatCode="m/d/yyyy" sourceLinked="1"/>
        <c:majorTickMark val="out"/>
        <c:minorTickMark val="none"/>
        <c:tickLblPos val="nextTo"/>
        <c:crossAx val="235762432"/>
        <c:crosses val="autoZero"/>
        <c:auto val="1"/>
        <c:lblOffset val="100"/>
        <c:baseTimeUnit val="days"/>
      </c:dateAx>
    </c:plotArea>
    <c:legend>
      <c:legendPos val="b"/>
      <c:overlay val="0"/>
    </c:legend>
    <c:plotVisOnly val="1"/>
    <c:dispBlanksAs val="gap"/>
    <c:showDLblsOverMax val="0"/>
  </c:chart>
  <c:spPr>
    <a:ln w="9525">
      <a:noFill/>
    </a:ln>
  </c:spPr>
  <c:txPr>
    <a:bodyPr/>
    <a:lstStyle/>
    <a:p>
      <a:pPr>
        <a:defRPr>
          <a:solidFill>
            <a:srgbClr val="003C64"/>
          </a:solidFill>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xMode val="edge"/>
          <c:yMode val="edge"/>
          <c:x val="7.2727272727272727E-3"/>
          <c:y val="1.3333333333333334E-2"/>
          <c:w val="0.99272727272727268"/>
          <c:h val="0.9"/>
        </c:manualLayout>
      </c:layout>
      <c:barChart>
        <c:barDir val="col"/>
        <c:grouping val="clustered"/>
        <c:varyColors val="0"/>
        <c:ser>
          <c:idx val="0"/>
          <c:order val="0"/>
          <c:tx>
            <c:strRef>
              <c:f>'AFE Euro RP Brut'!$Q$54</c:f>
              <c:strCache>
                <c:ptCount val="1"/>
                <c:pt idx="0">
                  <c:v>Amundi Funds Equity Euro Risk Parity</c:v>
                </c:pt>
              </c:strCache>
            </c:strRef>
          </c:tx>
          <c:spPr>
            <a:solidFill>
              <a:srgbClr val="003C64"/>
            </a:solidFill>
            <a:ln>
              <a:noFill/>
              <a:round/>
            </a:ln>
            <a:effectLst/>
            <a:extLst>
              <a:ext uri="{91240B29-F687-4F45-9708-019B960494DF}">
                <a14:hiddenLine xmlns:a14="http://schemas.microsoft.com/office/drawing/2010/main">
                  <a:noFill/>
                  <a:round/>
                </a14:hiddenLine>
              </a:ext>
            </a:extLst>
          </c:spPr>
          <c:invertIfNegative val="0"/>
          <c:dLbls>
            <c:dLbl>
              <c:idx val="1"/>
              <c:layout>
                <c:manualLayout>
                  <c:x val="-1.055167093226877E-2"/>
                  <c:y val="5.00031876235204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D385-41D8-9E65-17C2A7714008}"/>
                </c:ext>
              </c:extLst>
            </c:dLbl>
            <c:dLbl>
              <c:idx val="2"/>
              <c:layout>
                <c:manualLayout>
                  <c:x val="-1.5384615384615385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D385-41D8-9E65-17C2A7714008}"/>
                </c:ext>
              </c:extLst>
            </c:dLbl>
            <c:dLbl>
              <c:idx val="3"/>
              <c:layout>
                <c:manualLayout>
                  <c:x val="5.7023706213215525E-17"/>
                  <c:y val="6.7471364515374974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D385-41D8-9E65-17C2A7714008}"/>
                </c:ext>
              </c:extLst>
            </c:dLbl>
            <c:dLbl>
              <c:idx val="6"/>
              <c:layout>
                <c:manualLayout>
                  <c:x val="-2.8759138389194351E-3"/>
                  <c:y val="1.000010625411734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D385-41D8-9E65-17C2A7714008}"/>
                </c:ext>
              </c:extLst>
            </c:dLbl>
            <c:dLbl>
              <c:idx val="7"/>
              <c:layout>
                <c:manualLayout>
                  <c:x val="-7.5081128078273674E-3"/>
                  <c:y val="-6.9885989332086618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D385-41D8-9E65-17C2A7714008}"/>
                </c:ext>
              </c:extLst>
            </c:dLbl>
            <c:numFmt formatCode="0.0%" sourceLinked="0"/>
            <c:spPr>
              <a:noFill/>
              <a:ln>
                <a:noFill/>
              </a:ln>
              <a:effectLst/>
            </c:spPr>
            <c:txPr>
              <a:bodyPr/>
              <a:lstStyle/>
              <a:p>
                <a:pPr>
                  <a:defRPr sz="900" b="0" i="0">
                    <a:solidFill>
                      <a:srgbClr val="003C64"/>
                    </a:solidFill>
                    <a:latin typeface="Arial(Corps)"/>
                    <a:ea typeface="Arial(Corps)"/>
                    <a:cs typeface="Arial(Corp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FE Euro RP Brut'!$P$55:$P$63</c:f>
              <c:strCache>
                <c:ptCount val="9"/>
                <c:pt idx="0">
                  <c:v>2010 (partial)</c:v>
                </c:pt>
                <c:pt idx="1">
                  <c:v>2011</c:v>
                </c:pt>
                <c:pt idx="2">
                  <c:v>2012</c:v>
                </c:pt>
                <c:pt idx="3">
                  <c:v>2013</c:v>
                </c:pt>
                <c:pt idx="4">
                  <c:v>2014</c:v>
                </c:pt>
                <c:pt idx="5">
                  <c:v>2015</c:v>
                </c:pt>
                <c:pt idx="6">
                  <c:v>2016</c:v>
                </c:pt>
                <c:pt idx="7">
                  <c:v>2017</c:v>
                </c:pt>
                <c:pt idx="8">
                  <c:v>YTD</c:v>
                </c:pt>
              </c:strCache>
            </c:strRef>
          </c:cat>
          <c:val>
            <c:numRef>
              <c:f>'AFE Euro RP Brut'!$Q$55:$Q$63</c:f>
              <c:numCache>
                <c:formatCode>0\.0%</c:formatCode>
                <c:ptCount val="9"/>
                <c:pt idx="0">
                  <c:v>0.10162110469527996</c:v>
                </c:pt>
                <c:pt idx="1">
                  <c:v>-0.11051402846851854</c:v>
                </c:pt>
                <c:pt idx="2">
                  <c:v>0.16550861268467854</c:v>
                </c:pt>
                <c:pt idx="3">
                  <c:v>0.22790066140919585</c:v>
                </c:pt>
                <c:pt idx="4">
                  <c:v>7.5623938238098543E-2</c:v>
                </c:pt>
                <c:pt idx="5">
                  <c:v>0.14650576628418133</c:v>
                </c:pt>
                <c:pt idx="6">
                  <c:v>4.1043362561319574E-2</c:v>
                </c:pt>
                <c:pt idx="7">
                  <c:v>0.13181969428521167</c:v>
                </c:pt>
                <c:pt idx="8">
                  <c:v>1.8593460378899973E-2</c:v>
                </c:pt>
              </c:numCache>
            </c:numRef>
          </c:val>
          <c:extLst xmlns:c16r2="http://schemas.microsoft.com/office/drawing/2015/06/chart">
            <c:ext xmlns:c16="http://schemas.microsoft.com/office/drawing/2014/chart" uri="{C3380CC4-5D6E-409C-BE32-E72D297353CC}">
              <c16:uniqueId val="{00000005-D385-41D8-9E65-17C2A7714008}"/>
            </c:ext>
          </c:extLst>
        </c:ser>
        <c:ser>
          <c:idx val="1"/>
          <c:order val="1"/>
          <c:tx>
            <c:strRef>
              <c:f>'AFE Euro RP Brut'!$R$54</c:f>
              <c:strCache>
                <c:ptCount val="1"/>
                <c:pt idx="0">
                  <c:v>MSCI EMU Index</c:v>
                </c:pt>
              </c:strCache>
            </c:strRef>
          </c:tx>
          <c:spPr>
            <a:solidFill>
              <a:srgbClr val="00A0E3"/>
            </a:solidFill>
            <a:ln>
              <a:noFill/>
              <a:round/>
            </a:ln>
            <a:effectLst/>
            <a:extLst>
              <a:ext uri="{91240B29-F687-4F45-9708-019B960494DF}">
                <a14:hiddenLine xmlns:a14="http://schemas.microsoft.com/office/drawing/2010/main">
                  <a:noFill/>
                  <a:round/>
                </a14:hiddenLine>
              </a:ext>
            </a:extLst>
          </c:spPr>
          <c:invertIfNegative val="0"/>
          <c:dLbls>
            <c:dLbl>
              <c:idx val="0"/>
              <c:layout>
                <c:manualLayout>
                  <c:x val="7.3069151737059305E-3"/>
                  <c:y val="1.499989374588265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D385-41D8-9E65-17C2A7714008}"/>
                </c:ext>
              </c:extLst>
            </c:dLbl>
            <c:dLbl>
              <c:idx val="1"/>
              <c:layout>
                <c:manualLayout>
                  <c:x val="5.9529028544837801E-3"/>
                  <c:y val="2.6563529336761798E-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D385-41D8-9E65-17C2A7714008}"/>
                </c:ext>
              </c:extLst>
            </c:dLbl>
            <c:dLbl>
              <c:idx val="3"/>
              <c:layout>
                <c:manualLayout>
                  <c:x val="2.540502810399089E-3"/>
                  <c:y val="-1.361487132626389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D385-41D8-9E65-17C2A7714008}"/>
                </c:ext>
              </c:extLst>
            </c:dLbl>
            <c:dLbl>
              <c:idx val="4"/>
              <c:layout>
                <c:manualLayout>
                  <c:x val="7.5415436989505393E-3"/>
                  <c:y val="1.000010625411734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D385-41D8-9E65-17C2A7714008}"/>
                </c:ext>
              </c:extLst>
            </c:dLbl>
            <c:dLbl>
              <c:idx val="5"/>
              <c:layout>
                <c:manualLayout>
                  <c:x val="2.8424829477963777E-3"/>
                  <c:y val="4.8791890685764075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A-D385-41D8-9E65-17C2A7714008}"/>
                </c:ext>
              </c:extLst>
            </c:dLbl>
            <c:dLbl>
              <c:idx val="6"/>
              <c:layout>
                <c:manualLayout>
                  <c:x val="9.230722131739753E-3"/>
                  <c:y val="-1.012070467730624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B-D385-41D8-9E65-17C2A7714008}"/>
                </c:ext>
              </c:extLst>
            </c:dLbl>
            <c:dLbl>
              <c:idx val="7"/>
              <c:layout>
                <c:manualLayout>
                  <c:x val="3.0768665580878183E-3"/>
                  <c:y val="1.012070467730624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C-D385-41D8-9E65-17C2A7714008}"/>
                </c:ext>
              </c:extLst>
            </c:dLbl>
            <c:numFmt formatCode="0.0%" sourceLinked="0"/>
            <c:spPr>
              <a:noFill/>
              <a:ln>
                <a:noFill/>
              </a:ln>
              <a:effectLst/>
            </c:spPr>
            <c:txPr>
              <a:bodyPr/>
              <a:lstStyle/>
              <a:p>
                <a:pPr>
                  <a:defRPr sz="900" b="0" i="0">
                    <a:solidFill>
                      <a:srgbClr val="00A0E3"/>
                    </a:solidFill>
                    <a:latin typeface="Arial(Corps)"/>
                    <a:ea typeface="Arial(Corps)"/>
                    <a:cs typeface="Arial(Corp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FE Euro RP Brut'!$P$55:$P$63</c:f>
              <c:strCache>
                <c:ptCount val="9"/>
                <c:pt idx="0">
                  <c:v>2010 (partial)</c:v>
                </c:pt>
                <c:pt idx="1">
                  <c:v>2011</c:v>
                </c:pt>
                <c:pt idx="2">
                  <c:v>2012</c:v>
                </c:pt>
                <c:pt idx="3">
                  <c:v>2013</c:v>
                </c:pt>
                <c:pt idx="4">
                  <c:v>2014</c:v>
                </c:pt>
                <c:pt idx="5">
                  <c:v>2015</c:v>
                </c:pt>
                <c:pt idx="6">
                  <c:v>2016</c:v>
                </c:pt>
                <c:pt idx="7">
                  <c:v>2017</c:v>
                </c:pt>
                <c:pt idx="8">
                  <c:v>YTD</c:v>
                </c:pt>
              </c:strCache>
            </c:strRef>
          </c:cat>
          <c:val>
            <c:numRef>
              <c:f>'AFE Euro RP Brut'!$R$55:$R$63</c:f>
              <c:numCache>
                <c:formatCode>0\.0%</c:formatCode>
                <c:ptCount val="9"/>
                <c:pt idx="0">
                  <c:v>8.5720935047794544E-2</c:v>
                </c:pt>
                <c:pt idx="1">
                  <c:v>-0.14891514039644815</c:v>
                </c:pt>
                <c:pt idx="2">
                  <c:v>0.19302774631057229</c:v>
                </c:pt>
                <c:pt idx="3">
                  <c:v>0.23364216116809011</c:v>
                </c:pt>
                <c:pt idx="4">
                  <c:v>4.3173832056331074E-2</c:v>
                </c:pt>
                <c:pt idx="5">
                  <c:v>9.8089483407333367E-2</c:v>
                </c:pt>
                <c:pt idx="6">
                  <c:v>4.3737725815759187E-2</c:v>
                </c:pt>
                <c:pt idx="7">
                  <c:v>0.12488681577704708</c:v>
                </c:pt>
                <c:pt idx="8">
                  <c:v>3.167275682748727E-2</c:v>
                </c:pt>
              </c:numCache>
            </c:numRef>
          </c:val>
          <c:extLst xmlns:c16r2="http://schemas.microsoft.com/office/drawing/2015/06/chart">
            <c:ext xmlns:c16="http://schemas.microsoft.com/office/drawing/2014/chart" uri="{C3380CC4-5D6E-409C-BE32-E72D297353CC}">
              <c16:uniqueId val="{0000000D-D385-41D8-9E65-17C2A7714008}"/>
            </c:ext>
          </c:extLst>
        </c:ser>
        <c:dLbls>
          <c:showLegendKey val="0"/>
          <c:showVal val="0"/>
          <c:showCatName val="0"/>
          <c:showSerName val="0"/>
          <c:showPercent val="0"/>
          <c:showBubbleSize val="0"/>
        </c:dLbls>
        <c:gapWidth val="150"/>
        <c:axId val="235501056"/>
        <c:axId val="235502592"/>
      </c:barChart>
      <c:catAx>
        <c:axId val="235501056"/>
        <c:scaling>
          <c:orientation val="minMax"/>
        </c:scaling>
        <c:delete val="0"/>
        <c:axPos val="b"/>
        <c:numFmt formatCode="General" sourceLinked="0"/>
        <c:majorTickMark val="out"/>
        <c:minorTickMark val="none"/>
        <c:tickLblPos val="low"/>
        <c:spPr>
          <a:ln>
            <a:solidFill>
              <a:srgbClr val="003C64"/>
            </a:solidFill>
          </a:ln>
        </c:spPr>
        <c:txPr>
          <a:bodyPr/>
          <a:lstStyle/>
          <a:p>
            <a:pPr>
              <a:defRPr sz="900" b="0" i="0" u="none">
                <a:solidFill>
                  <a:srgbClr val="003C64"/>
                </a:solidFill>
                <a:latin typeface="Arial"/>
                <a:ea typeface="Arial"/>
                <a:cs typeface="Arial"/>
              </a:defRPr>
            </a:pPr>
            <a:endParaRPr lang="en-US"/>
          </a:p>
        </c:txPr>
        <c:crossAx val="235502592"/>
        <c:crosses val="autoZero"/>
        <c:auto val="1"/>
        <c:lblAlgn val="ctr"/>
        <c:lblOffset val="100"/>
        <c:noMultiLvlLbl val="0"/>
      </c:catAx>
      <c:valAx>
        <c:axId val="235502592"/>
        <c:scaling>
          <c:orientation val="minMax"/>
        </c:scaling>
        <c:delete val="1"/>
        <c:axPos val="l"/>
        <c:majorGridlines>
          <c:spPr>
            <a:ln>
              <a:solidFill>
                <a:srgbClr val="FFFFFF"/>
              </a:solidFill>
            </a:ln>
          </c:spPr>
        </c:majorGridlines>
        <c:numFmt formatCode="0\.0%" sourceLinked="1"/>
        <c:majorTickMark val="none"/>
        <c:minorTickMark val="none"/>
        <c:tickLblPos val="nextTo"/>
        <c:crossAx val="235501056"/>
        <c:crosses val="autoZero"/>
        <c:crossBetween val="between"/>
      </c:valAx>
      <c:spPr>
        <a:ln>
          <a:noFill/>
        </a:ln>
      </c:spPr>
    </c:plotArea>
    <c:plotVisOnly val="1"/>
    <c:dispBlanksAs val="gap"/>
    <c:showDLblsOverMax val="0"/>
  </c:chart>
  <c:spPr>
    <a:ln w="9525">
      <a:noFill/>
    </a:ln>
  </c:sp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xMode val="edge"/>
          <c:yMode val="edge"/>
          <c:x val="1.2903225806451613E-2"/>
          <c:y val="2.1052631578947368E-2"/>
          <c:w val="0.98709677419354835"/>
          <c:h val="0.89473684210526316"/>
        </c:manualLayout>
      </c:layout>
      <c:barChart>
        <c:barDir val="bar"/>
        <c:grouping val="clustered"/>
        <c:varyColors val="0"/>
        <c:ser>
          <c:idx val="0"/>
          <c:order val="0"/>
          <c:tx>
            <c:strRef>
              <c:f>'Titres HealthCare'!$C$19</c:f>
              <c:strCache>
                <c:ptCount val="1"/>
                <c:pt idx="0">
                  <c:v>Volatility</c:v>
                </c:pt>
              </c:strCache>
            </c:strRef>
          </c:tx>
          <c:spPr>
            <a:solidFill>
              <a:srgbClr val="009EE0"/>
            </a:solidFill>
            <a:ln>
              <a:noFill/>
              <a:round/>
            </a:ln>
            <a:effectLst/>
            <a:extLst>
              <a:ext uri="{91240B29-F687-4F45-9708-019B960494DF}">
                <a14:hiddenLine xmlns:a14="http://schemas.microsoft.com/office/drawing/2010/main">
                  <a:noFill/>
                  <a:round/>
                </a14:hiddenLine>
              </a:ext>
            </a:extLst>
          </c:spPr>
          <c:invertIfNegative val="0"/>
          <c:cat>
            <c:strRef>
              <c:f>'Titres HealthCare'!$B$20:$B$30</c:f>
              <c:strCache>
                <c:ptCount val="11"/>
                <c:pt idx="0">
                  <c:v>EUROFINS SCIENTIFIC</c:v>
                </c:pt>
                <c:pt idx="1">
                  <c:v>QIAGEN</c:v>
                </c:pt>
                <c:pt idx="2">
                  <c:v>UCB (NPV)</c:v>
                </c:pt>
                <c:pt idx="3">
                  <c:v>ORION CORP B</c:v>
                </c:pt>
                <c:pt idx="4">
                  <c:v>BAYER</c:v>
                </c:pt>
                <c:pt idx="5">
                  <c:v>GRIFOLS</c:v>
                </c:pt>
                <c:pt idx="6">
                  <c:v>SANOFI</c:v>
                </c:pt>
                <c:pt idx="7">
                  <c:v>MERCK KGAA</c:v>
                </c:pt>
                <c:pt idx="8">
                  <c:v>FRESENIUS STA &amp; CO KGAA</c:v>
                </c:pt>
                <c:pt idx="9">
                  <c:v>ESSILOR INTL</c:v>
                </c:pt>
                <c:pt idx="10">
                  <c:v>FRESENIUS MEDCARE STA</c:v>
                </c:pt>
              </c:strCache>
            </c:strRef>
          </c:cat>
          <c:val>
            <c:numRef>
              <c:f>'Titres HealthCare'!$C$20:$C$30</c:f>
              <c:numCache>
                <c:formatCode>0.00%</c:formatCode>
                <c:ptCount val="11"/>
                <c:pt idx="0">
                  <c:v>0.27274467140551378</c:v>
                </c:pt>
                <c:pt idx="1">
                  <c:v>0.26644082033979244</c:v>
                </c:pt>
                <c:pt idx="2">
                  <c:v>0.2656298476095928</c:v>
                </c:pt>
                <c:pt idx="3">
                  <c:v>0.25333062207988677</c:v>
                </c:pt>
                <c:pt idx="4">
                  <c:v>0.24536924565495322</c:v>
                </c:pt>
                <c:pt idx="5">
                  <c:v>0.2208943727835177</c:v>
                </c:pt>
                <c:pt idx="6">
                  <c:v>0.21959898963473215</c:v>
                </c:pt>
                <c:pt idx="7">
                  <c:v>0.21613421511206149</c:v>
                </c:pt>
                <c:pt idx="8">
                  <c:v>0.20807394983432928</c:v>
                </c:pt>
                <c:pt idx="9">
                  <c:v>0.20224341575237631</c:v>
                </c:pt>
                <c:pt idx="10">
                  <c:v>0.19994704404751068</c:v>
                </c:pt>
              </c:numCache>
            </c:numRef>
          </c:val>
          <c:extLst xmlns:c16r2="http://schemas.microsoft.com/office/drawing/2015/06/chart">
            <c:ext xmlns:c16="http://schemas.microsoft.com/office/drawing/2014/chart" uri="{C3380CC4-5D6E-409C-BE32-E72D297353CC}">
              <c16:uniqueId val="{00000000-A4A1-4856-B0B7-9979A39E20E4}"/>
            </c:ext>
          </c:extLst>
        </c:ser>
        <c:ser>
          <c:idx val="1"/>
          <c:order val="1"/>
          <c:tx>
            <c:strRef>
              <c:f>'Titres HealthCare'!$D$19</c:f>
              <c:strCache>
                <c:ptCount val="1"/>
                <c:pt idx="0">
                  <c:v>Weight in Euro Risk Parity</c:v>
                </c:pt>
              </c:strCache>
            </c:strRef>
          </c:tx>
          <c:spPr>
            <a:solidFill>
              <a:srgbClr val="001C4B"/>
            </a:solidFill>
            <a:ln>
              <a:noFill/>
              <a:round/>
            </a:ln>
            <a:effectLst/>
            <a:extLst>
              <a:ext uri="{91240B29-F687-4F45-9708-019B960494DF}">
                <a14:hiddenLine xmlns:a14="http://schemas.microsoft.com/office/drawing/2010/main">
                  <a:noFill/>
                  <a:round/>
                </a14:hiddenLine>
              </a:ext>
            </a:extLst>
          </c:spPr>
          <c:invertIfNegative val="0"/>
          <c:cat>
            <c:strRef>
              <c:f>'Titres HealthCare'!$B$20:$B$30</c:f>
              <c:strCache>
                <c:ptCount val="11"/>
                <c:pt idx="0">
                  <c:v>EUROFINS SCIENTIFIC</c:v>
                </c:pt>
                <c:pt idx="1">
                  <c:v>QIAGEN</c:v>
                </c:pt>
                <c:pt idx="2">
                  <c:v>UCB (NPV)</c:v>
                </c:pt>
                <c:pt idx="3">
                  <c:v>ORION CORP B</c:v>
                </c:pt>
                <c:pt idx="4">
                  <c:v>BAYER</c:v>
                </c:pt>
                <c:pt idx="5">
                  <c:v>GRIFOLS</c:v>
                </c:pt>
                <c:pt idx="6">
                  <c:v>SANOFI</c:v>
                </c:pt>
                <c:pt idx="7">
                  <c:v>MERCK KGAA</c:v>
                </c:pt>
                <c:pt idx="8">
                  <c:v>FRESENIUS STA &amp; CO KGAA</c:v>
                </c:pt>
                <c:pt idx="9">
                  <c:v>ESSILOR INTL</c:v>
                </c:pt>
                <c:pt idx="10">
                  <c:v>FRESENIUS MEDCARE STA</c:v>
                </c:pt>
              </c:strCache>
            </c:strRef>
          </c:cat>
          <c:val>
            <c:numRef>
              <c:f>'Titres HealthCare'!$D$20:$D$30</c:f>
              <c:numCache>
                <c:formatCode>0.00%</c:formatCode>
                <c:ptCount val="11"/>
                <c:pt idx="0">
                  <c:v>7.6918350747227832E-2</c:v>
                </c:pt>
                <c:pt idx="1">
                  <c:v>7.873819887227515E-2</c:v>
                </c:pt>
                <c:pt idx="2">
                  <c:v>7.8978588017866586E-2</c:v>
                </c:pt>
                <c:pt idx="3">
                  <c:v>8.2813005894688291E-2</c:v>
                </c:pt>
                <c:pt idx="4">
                  <c:v>8.5499999169040983E-2</c:v>
                </c:pt>
                <c:pt idx="5">
                  <c:v>9.4973312516959188E-2</c:v>
                </c:pt>
                <c:pt idx="6">
                  <c:v>9.553354655457226E-2</c:v>
                </c:pt>
                <c:pt idx="7">
                  <c:v>9.7065012537369266E-2</c:v>
                </c:pt>
                <c:pt idx="8">
                  <c:v>0.1008250687619016</c:v>
                </c:pt>
                <c:pt idx="9">
                  <c:v>0.10373178390782897</c:v>
                </c:pt>
                <c:pt idx="10">
                  <c:v>0.10492313302026983</c:v>
                </c:pt>
              </c:numCache>
            </c:numRef>
          </c:val>
          <c:extLst xmlns:c16r2="http://schemas.microsoft.com/office/drawing/2015/06/chart">
            <c:ext xmlns:c16="http://schemas.microsoft.com/office/drawing/2014/chart" uri="{C3380CC4-5D6E-409C-BE32-E72D297353CC}">
              <c16:uniqueId val="{00000001-A4A1-4856-B0B7-9979A39E20E4}"/>
            </c:ext>
          </c:extLst>
        </c:ser>
        <c:dLbls>
          <c:showLegendKey val="0"/>
          <c:showVal val="0"/>
          <c:showCatName val="0"/>
          <c:showSerName val="0"/>
          <c:showPercent val="0"/>
          <c:showBubbleSize val="0"/>
        </c:dLbls>
        <c:gapWidth val="150"/>
        <c:axId val="235431040"/>
        <c:axId val="235432576"/>
      </c:barChart>
      <c:catAx>
        <c:axId val="235431040"/>
        <c:scaling>
          <c:orientation val="minMax"/>
        </c:scaling>
        <c:delete val="0"/>
        <c:axPos val="l"/>
        <c:numFmt formatCode="General" sourceLinked="0"/>
        <c:majorTickMark val="out"/>
        <c:minorTickMark val="none"/>
        <c:tickLblPos val="low"/>
        <c:spPr>
          <a:ln w="15875">
            <a:solidFill>
              <a:schemeClr val="tx1"/>
            </a:solidFill>
          </a:ln>
        </c:spPr>
        <c:txPr>
          <a:bodyPr/>
          <a:lstStyle/>
          <a:p>
            <a:pPr>
              <a:defRPr sz="900" b="0" i="0" u="none">
                <a:solidFill>
                  <a:schemeClr val="tx1"/>
                </a:solidFill>
                <a:latin typeface="Arial"/>
                <a:ea typeface="Arial"/>
                <a:cs typeface="Arial"/>
              </a:defRPr>
            </a:pPr>
            <a:endParaRPr lang="en-US"/>
          </a:p>
        </c:txPr>
        <c:crossAx val="235432576"/>
        <c:crosses val="autoZero"/>
        <c:auto val="1"/>
        <c:lblAlgn val="ctr"/>
        <c:lblOffset val="100"/>
        <c:noMultiLvlLbl val="0"/>
      </c:catAx>
      <c:valAx>
        <c:axId val="235432576"/>
        <c:scaling>
          <c:orientation val="minMax"/>
        </c:scaling>
        <c:delete val="0"/>
        <c:axPos val="b"/>
        <c:majorGridlines>
          <c:spPr>
            <a:ln>
              <a:solidFill>
                <a:srgbClr val="F0EDE8"/>
              </a:solidFill>
            </a:ln>
          </c:spPr>
        </c:majorGridlines>
        <c:numFmt formatCode="0%" sourceLinked="0"/>
        <c:majorTickMark val="out"/>
        <c:minorTickMark val="none"/>
        <c:tickLblPos val="nextTo"/>
        <c:spPr>
          <a:ln w="15875">
            <a:solidFill>
              <a:schemeClr val="tx1"/>
            </a:solidFill>
          </a:ln>
        </c:spPr>
        <c:txPr>
          <a:bodyPr/>
          <a:lstStyle/>
          <a:p>
            <a:pPr>
              <a:defRPr sz="900" b="0" i="0" u="none">
                <a:solidFill>
                  <a:schemeClr val="tx1"/>
                </a:solidFill>
                <a:latin typeface="Arial"/>
                <a:ea typeface="Arial"/>
                <a:cs typeface="Arial"/>
              </a:defRPr>
            </a:pPr>
            <a:endParaRPr lang="en-US"/>
          </a:p>
        </c:txPr>
        <c:crossAx val="235431040"/>
        <c:crosses val="autoZero"/>
        <c:crossBetween val="between"/>
      </c:valAx>
    </c:plotArea>
    <c:plotVisOnly val="1"/>
    <c:dispBlanksAs val="gap"/>
    <c:showDLblsOverMax val="0"/>
  </c:chart>
  <c:spPr>
    <a:ln w="9525">
      <a:noFill/>
    </a:ln>
  </c:sp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xMode val="edge"/>
          <c:yMode val="edge"/>
          <c:x val="1.2903225806451613E-2"/>
          <c:y val="2.1052631578947368E-2"/>
          <c:w val="0.98709677419354835"/>
          <c:h val="0.89473684210526316"/>
        </c:manualLayout>
      </c:layout>
      <c:barChart>
        <c:barDir val="bar"/>
        <c:grouping val="clustered"/>
        <c:varyColors val="0"/>
        <c:ser>
          <c:idx val="0"/>
          <c:order val="0"/>
          <c:tx>
            <c:strRef>
              <c:f>'Titres HealthCare'!$C$34</c:f>
              <c:strCache>
                <c:ptCount val="1"/>
                <c:pt idx="0">
                  <c:v>Volatility</c:v>
                </c:pt>
              </c:strCache>
            </c:strRef>
          </c:tx>
          <c:spPr>
            <a:solidFill>
              <a:srgbClr val="009EE0"/>
            </a:solidFill>
            <a:ln>
              <a:noFill/>
              <a:round/>
            </a:ln>
            <a:effectLst/>
            <a:extLst>
              <a:ext uri="{91240B29-F687-4F45-9708-019B960494DF}">
                <a14:hiddenLine xmlns:a14="http://schemas.microsoft.com/office/drawing/2010/main">
                  <a:noFill/>
                  <a:round/>
                </a14:hiddenLine>
              </a:ext>
            </a:extLst>
          </c:spPr>
          <c:invertIfNegative val="0"/>
          <c:cat>
            <c:strRef>
              <c:f>'Titres HealthCare'!$B$35:$B$45</c:f>
              <c:strCache>
                <c:ptCount val="11"/>
                <c:pt idx="0">
                  <c:v>EUROFINS SCIENTIFIC</c:v>
                </c:pt>
                <c:pt idx="1">
                  <c:v>QIAGEN</c:v>
                </c:pt>
                <c:pt idx="2">
                  <c:v>UCB (NPV)</c:v>
                </c:pt>
                <c:pt idx="3">
                  <c:v>ORION CORP B</c:v>
                </c:pt>
                <c:pt idx="4">
                  <c:v>BAYER</c:v>
                </c:pt>
                <c:pt idx="5">
                  <c:v>GRIFOLS</c:v>
                </c:pt>
                <c:pt idx="6">
                  <c:v>SANOFI</c:v>
                </c:pt>
                <c:pt idx="7">
                  <c:v>MERCK KGAA</c:v>
                </c:pt>
                <c:pt idx="8">
                  <c:v>FRESENIUS STA &amp; CO KGAA</c:v>
                </c:pt>
                <c:pt idx="9">
                  <c:v>ESSILOR INTL</c:v>
                </c:pt>
                <c:pt idx="10">
                  <c:v>FRESENIUS MEDCARE STA</c:v>
                </c:pt>
              </c:strCache>
            </c:strRef>
          </c:cat>
          <c:val>
            <c:numRef>
              <c:f>'Titres HealthCare'!$C$35:$C$45</c:f>
              <c:numCache>
                <c:formatCode>0.00%</c:formatCode>
                <c:ptCount val="11"/>
                <c:pt idx="0">
                  <c:v>0.27274467140551378</c:v>
                </c:pt>
                <c:pt idx="1">
                  <c:v>0.26644082033979244</c:v>
                </c:pt>
                <c:pt idx="2">
                  <c:v>0.2656298476095928</c:v>
                </c:pt>
                <c:pt idx="3">
                  <c:v>0.25333062207988677</c:v>
                </c:pt>
                <c:pt idx="4">
                  <c:v>0.24536924565495322</c:v>
                </c:pt>
                <c:pt idx="5">
                  <c:v>0.2208943727835177</c:v>
                </c:pt>
                <c:pt idx="6">
                  <c:v>0.21959898963473215</c:v>
                </c:pt>
                <c:pt idx="7">
                  <c:v>0.21613421511206149</c:v>
                </c:pt>
                <c:pt idx="8">
                  <c:v>0.20807394983432928</c:v>
                </c:pt>
                <c:pt idx="9">
                  <c:v>0.20224341575237631</c:v>
                </c:pt>
                <c:pt idx="10">
                  <c:v>0.19994704404751068</c:v>
                </c:pt>
              </c:numCache>
            </c:numRef>
          </c:val>
          <c:extLst xmlns:c16r2="http://schemas.microsoft.com/office/drawing/2015/06/chart">
            <c:ext xmlns:c16="http://schemas.microsoft.com/office/drawing/2014/chart" uri="{C3380CC4-5D6E-409C-BE32-E72D297353CC}">
              <c16:uniqueId val="{00000000-DD8B-4782-836B-2B9640F95F2B}"/>
            </c:ext>
          </c:extLst>
        </c:ser>
        <c:ser>
          <c:idx val="1"/>
          <c:order val="1"/>
          <c:tx>
            <c:strRef>
              <c:f>'Titres HealthCare'!$D$34</c:f>
              <c:strCache>
                <c:ptCount val="1"/>
                <c:pt idx="0">
                  <c:v>Weight in MSCI EMU</c:v>
                </c:pt>
              </c:strCache>
            </c:strRef>
          </c:tx>
          <c:spPr>
            <a:solidFill>
              <a:srgbClr val="001C4B"/>
            </a:solidFill>
            <a:ln>
              <a:noFill/>
              <a:round/>
            </a:ln>
            <a:effectLst/>
            <a:extLst>
              <a:ext uri="{91240B29-F687-4F45-9708-019B960494DF}">
                <a14:hiddenLine xmlns:a14="http://schemas.microsoft.com/office/drawing/2010/main">
                  <a:noFill/>
                  <a:round/>
                </a14:hiddenLine>
              </a:ext>
            </a:extLst>
          </c:spPr>
          <c:invertIfNegative val="0"/>
          <c:cat>
            <c:strRef>
              <c:f>'Titres HealthCare'!$B$35:$B$45</c:f>
              <c:strCache>
                <c:ptCount val="11"/>
                <c:pt idx="0">
                  <c:v>EUROFINS SCIENTIFIC</c:v>
                </c:pt>
                <c:pt idx="1">
                  <c:v>QIAGEN</c:v>
                </c:pt>
                <c:pt idx="2">
                  <c:v>UCB (NPV)</c:v>
                </c:pt>
                <c:pt idx="3">
                  <c:v>ORION CORP B</c:v>
                </c:pt>
                <c:pt idx="4">
                  <c:v>BAYER</c:v>
                </c:pt>
                <c:pt idx="5">
                  <c:v>GRIFOLS</c:v>
                </c:pt>
                <c:pt idx="6">
                  <c:v>SANOFI</c:v>
                </c:pt>
                <c:pt idx="7">
                  <c:v>MERCK KGAA</c:v>
                </c:pt>
                <c:pt idx="8">
                  <c:v>FRESENIUS STA &amp; CO KGAA</c:v>
                </c:pt>
                <c:pt idx="9">
                  <c:v>ESSILOR INTL</c:v>
                </c:pt>
                <c:pt idx="10">
                  <c:v>FRESENIUS MEDCARE STA</c:v>
                </c:pt>
              </c:strCache>
            </c:strRef>
          </c:cat>
          <c:val>
            <c:numRef>
              <c:f>'Titres HealthCare'!$D$35:$D$45</c:f>
              <c:numCache>
                <c:formatCode>0.00%</c:formatCode>
                <c:ptCount val="11"/>
                <c:pt idx="0">
                  <c:v>1.5741054057067137E-2</c:v>
                </c:pt>
                <c:pt idx="1">
                  <c:v>2.1032374664667425E-2</c:v>
                </c:pt>
                <c:pt idx="2">
                  <c:v>2.7308419862778949E-2</c:v>
                </c:pt>
                <c:pt idx="3">
                  <c:v>1.5398267343668989E-2</c:v>
                </c:pt>
                <c:pt idx="4">
                  <c:v>0.29070037313329505</c:v>
                </c:pt>
                <c:pt idx="5">
                  <c:v>1.9971204792640623E-2</c:v>
                </c:pt>
                <c:pt idx="6">
                  <c:v>0.31636445523890766</c:v>
                </c:pt>
                <c:pt idx="7">
                  <c:v>4.5442228607628858E-2</c:v>
                </c:pt>
                <c:pt idx="8">
                  <c:v>0.10790802741617234</c:v>
                </c:pt>
                <c:pt idx="9">
                  <c:v>7.8874530075043817E-2</c:v>
                </c:pt>
                <c:pt idx="10">
                  <c:v>6.1259064808129107E-2</c:v>
                </c:pt>
              </c:numCache>
            </c:numRef>
          </c:val>
          <c:extLst xmlns:c16r2="http://schemas.microsoft.com/office/drawing/2015/06/chart">
            <c:ext xmlns:c16="http://schemas.microsoft.com/office/drawing/2014/chart" uri="{C3380CC4-5D6E-409C-BE32-E72D297353CC}">
              <c16:uniqueId val="{00000001-DD8B-4782-836B-2B9640F95F2B}"/>
            </c:ext>
          </c:extLst>
        </c:ser>
        <c:dLbls>
          <c:showLegendKey val="0"/>
          <c:showVal val="0"/>
          <c:showCatName val="0"/>
          <c:showSerName val="0"/>
          <c:showPercent val="0"/>
          <c:showBubbleSize val="0"/>
        </c:dLbls>
        <c:gapWidth val="150"/>
        <c:axId val="235441536"/>
        <c:axId val="247825536"/>
      </c:barChart>
      <c:catAx>
        <c:axId val="235441536"/>
        <c:scaling>
          <c:orientation val="minMax"/>
        </c:scaling>
        <c:delete val="0"/>
        <c:axPos val="l"/>
        <c:numFmt formatCode="General" sourceLinked="0"/>
        <c:majorTickMark val="out"/>
        <c:minorTickMark val="none"/>
        <c:tickLblPos val="low"/>
        <c:spPr>
          <a:ln w="15875">
            <a:solidFill>
              <a:schemeClr val="tx1"/>
            </a:solidFill>
          </a:ln>
        </c:spPr>
        <c:txPr>
          <a:bodyPr/>
          <a:lstStyle/>
          <a:p>
            <a:pPr>
              <a:defRPr sz="900" b="0" i="0" u="none">
                <a:solidFill>
                  <a:schemeClr val="tx1"/>
                </a:solidFill>
                <a:latin typeface="Arial"/>
                <a:ea typeface="Arial"/>
                <a:cs typeface="Arial"/>
              </a:defRPr>
            </a:pPr>
            <a:endParaRPr lang="en-US"/>
          </a:p>
        </c:txPr>
        <c:crossAx val="247825536"/>
        <c:crosses val="autoZero"/>
        <c:auto val="1"/>
        <c:lblAlgn val="ctr"/>
        <c:lblOffset val="100"/>
        <c:noMultiLvlLbl val="0"/>
      </c:catAx>
      <c:valAx>
        <c:axId val="247825536"/>
        <c:scaling>
          <c:orientation val="minMax"/>
        </c:scaling>
        <c:delete val="0"/>
        <c:axPos val="b"/>
        <c:majorGridlines>
          <c:spPr>
            <a:ln>
              <a:solidFill>
                <a:srgbClr val="F0EDE8"/>
              </a:solidFill>
            </a:ln>
          </c:spPr>
        </c:majorGridlines>
        <c:numFmt formatCode="0%" sourceLinked="0"/>
        <c:majorTickMark val="out"/>
        <c:minorTickMark val="none"/>
        <c:tickLblPos val="nextTo"/>
        <c:spPr>
          <a:ln w="15875">
            <a:solidFill>
              <a:schemeClr val="tx1"/>
            </a:solidFill>
          </a:ln>
        </c:spPr>
        <c:txPr>
          <a:bodyPr/>
          <a:lstStyle/>
          <a:p>
            <a:pPr>
              <a:defRPr sz="900" b="0" i="0" u="none">
                <a:solidFill>
                  <a:schemeClr val="tx1"/>
                </a:solidFill>
                <a:latin typeface="Arial"/>
                <a:ea typeface="Arial"/>
                <a:cs typeface="Arial"/>
              </a:defRPr>
            </a:pPr>
            <a:endParaRPr lang="en-US"/>
          </a:p>
        </c:txPr>
        <c:crossAx val="235441536"/>
        <c:crosses val="autoZero"/>
        <c:crossBetween val="between"/>
      </c:valAx>
    </c:plotArea>
    <c:plotVisOnly val="1"/>
    <c:dispBlanksAs val="gap"/>
    <c:showDLblsOverMax val="0"/>
  </c:chart>
  <c:spPr>
    <a:ln w="9525">
      <a:noFill/>
    </a:ln>
  </c:sp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tx>
            <c:v>MC to Total Risk</c:v>
          </c:tx>
          <c:spPr>
            <a:solidFill>
              <a:srgbClr val="00A0E3"/>
            </a:solidFill>
            <a:ln>
              <a:noFill/>
              <a:round/>
            </a:ln>
            <a:effectLst/>
            <a:extLst>
              <a:ext uri="{91240B29-F687-4F45-9708-019B960494DF}">
                <a14:hiddenLine xmlns:a14="http://schemas.microsoft.com/office/drawing/2010/main">
                  <a:noFill/>
                  <a:round/>
                </a14:hiddenLine>
              </a:ext>
            </a:extLst>
          </c:spPr>
          <c:invertIfNegative val="0"/>
          <c:cat>
            <c:strRef>
              <c:f>Secteurs!$A$18:$A$27</c:f>
              <c:strCache>
                <c:ptCount val="10"/>
                <c:pt idx="0">
                  <c:v>Financials</c:v>
                </c:pt>
                <c:pt idx="1">
                  <c:v>Energy</c:v>
                </c:pt>
                <c:pt idx="2">
                  <c:v>Materials</c:v>
                </c:pt>
                <c:pt idx="3">
                  <c:v>Information Tech.</c:v>
                </c:pt>
                <c:pt idx="4">
                  <c:v>Cons. Discr.</c:v>
                </c:pt>
                <c:pt idx="5">
                  <c:v>Industrials</c:v>
                </c:pt>
                <c:pt idx="6">
                  <c:v>Telecom. Services</c:v>
                </c:pt>
                <c:pt idx="7">
                  <c:v>Utilities</c:v>
                </c:pt>
                <c:pt idx="8">
                  <c:v>Health Care</c:v>
                </c:pt>
                <c:pt idx="9">
                  <c:v>Cons. Staples.</c:v>
                </c:pt>
              </c:strCache>
            </c:strRef>
          </c:cat>
          <c:val>
            <c:numRef>
              <c:f>Secteurs!$B$18:$B$27</c:f>
              <c:numCache>
                <c:formatCode>0.00%</c:formatCode>
                <c:ptCount val="10"/>
                <c:pt idx="0">
                  <c:v>0.1992271613914223</c:v>
                </c:pt>
                <c:pt idx="1">
                  <c:v>0.17634998101621899</c:v>
                </c:pt>
                <c:pt idx="2">
                  <c:v>0.16913072596106715</c:v>
                </c:pt>
                <c:pt idx="3">
                  <c:v>0.16411407093257183</c:v>
                </c:pt>
                <c:pt idx="4">
                  <c:v>0.16407864823984006</c:v>
                </c:pt>
                <c:pt idx="5">
                  <c:v>0.16158152423829988</c:v>
                </c:pt>
                <c:pt idx="6">
                  <c:v>0.15871100215788883</c:v>
                </c:pt>
                <c:pt idx="7">
                  <c:v>0.15607965898891429</c:v>
                </c:pt>
                <c:pt idx="8">
                  <c:v>0.13032076170205481</c:v>
                </c:pt>
                <c:pt idx="9">
                  <c:v>0.11845446436140024</c:v>
                </c:pt>
              </c:numCache>
            </c:numRef>
          </c:val>
        </c:ser>
        <c:ser>
          <c:idx val="1"/>
          <c:order val="1"/>
          <c:tx>
            <c:v>Weight in Risk Parity Euro</c:v>
          </c:tx>
          <c:spPr>
            <a:solidFill>
              <a:srgbClr val="003C64"/>
            </a:solidFill>
            <a:ln>
              <a:noFill/>
              <a:round/>
            </a:ln>
            <a:effectLst/>
            <a:extLst>
              <a:ext uri="{91240B29-F687-4F45-9708-019B960494DF}">
                <a14:hiddenLine xmlns:a14="http://schemas.microsoft.com/office/drawing/2010/main">
                  <a:noFill/>
                  <a:round/>
                </a14:hiddenLine>
              </a:ext>
            </a:extLst>
          </c:spPr>
          <c:invertIfNegative val="0"/>
          <c:cat>
            <c:strRef>
              <c:f>Secteurs!$A$18:$A$27</c:f>
              <c:strCache>
                <c:ptCount val="10"/>
                <c:pt idx="0">
                  <c:v>Financials</c:v>
                </c:pt>
                <c:pt idx="1">
                  <c:v>Energy</c:v>
                </c:pt>
                <c:pt idx="2">
                  <c:v>Materials</c:v>
                </c:pt>
                <c:pt idx="3">
                  <c:v>Information Tech.</c:v>
                </c:pt>
                <c:pt idx="4">
                  <c:v>Cons. Discr.</c:v>
                </c:pt>
                <c:pt idx="5">
                  <c:v>Industrials</c:v>
                </c:pt>
                <c:pt idx="6">
                  <c:v>Telecom. Services</c:v>
                </c:pt>
                <c:pt idx="7">
                  <c:v>Utilities</c:v>
                </c:pt>
                <c:pt idx="8">
                  <c:v>Health Care</c:v>
                </c:pt>
                <c:pt idx="9">
                  <c:v>Cons. Staples.</c:v>
                </c:pt>
              </c:strCache>
            </c:strRef>
          </c:cat>
          <c:val>
            <c:numRef>
              <c:f>Secteurs!$C$18:$C$27</c:f>
              <c:numCache>
                <c:formatCode>0.00%</c:formatCode>
                <c:ptCount val="10"/>
                <c:pt idx="0">
                  <c:v>7.8670842072755515E-2</c:v>
                </c:pt>
                <c:pt idx="1">
                  <c:v>8.8876496952877318E-2</c:v>
                </c:pt>
                <c:pt idx="2">
                  <c:v>9.2670142940413272E-2</c:v>
                </c:pt>
                <c:pt idx="3">
                  <c:v>9.5502892965634537E-2</c:v>
                </c:pt>
                <c:pt idx="4">
                  <c:v>9.5523510941640591E-2</c:v>
                </c:pt>
                <c:pt idx="5">
                  <c:v>9.6999756774870674E-2</c:v>
                </c:pt>
                <c:pt idx="6">
                  <c:v>9.8754140149879363E-2</c:v>
                </c:pt>
                <c:pt idx="7">
                  <c:v>0.1004190337931298</c:v>
                </c:pt>
                <c:pt idx="8">
                  <c:v>0.12026762540155435</c:v>
                </c:pt>
                <c:pt idx="9">
                  <c:v>0.13231555800724473</c:v>
                </c:pt>
              </c:numCache>
            </c:numRef>
          </c:val>
        </c:ser>
        <c:dLbls>
          <c:showLegendKey val="0"/>
          <c:showVal val="0"/>
          <c:showCatName val="0"/>
          <c:showSerName val="0"/>
          <c:showPercent val="0"/>
          <c:showBubbleSize val="0"/>
        </c:dLbls>
        <c:gapWidth val="150"/>
        <c:axId val="247771904"/>
        <c:axId val="247773440"/>
      </c:barChart>
      <c:catAx>
        <c:axId val="247771904"/>
        <c:scaling>
          <c:orientation val="minMax"/>
        </c:scaling>
        <c:delete val="0"/>
        <c:axPos val="l"/>
        <c:majorTickMark val="out"/>
        <c:minorTickMark val="none"/>
        <c:tickLblPos val="low"/>
        <c:spPr>
          <a:ln>
            <a:solidFill>
              <a:srgbClr val="003C64"/>
            </a:solidFill>
          </a:ln>
        </c:spPr>
        <c:txPr>
          <a:bodyPr/>
          <a:lstStyle/>
          <a:p>
            <a:pPr>
              <a:defRPr sz="900" b="0" i="0" u="none">
                <a:solidFill>
                  <a:srgbClr val="003C64"/>
                </a:solidFill>
                <a:latin typeface="Arial(Corps)"/>
                <a:ea typeface="Arial(Corps)"/>
                <a:cs typeface="Arial(Corps)"/>
              </a:defRPr>
            </a:pPr>
            <a:endParaRPr lang="en-US"/>
          </a:p>
        </c:txPr>
        <c:crossAx val="247773440"/>
        <c:crosses val="autoZero"/>
        <c:auto val="1"/>
        <c:lblAlgn val="ctr"/>
        <c:lblOffset val="100"/>
        <c:noMultiLvlLbl val="0"/>
      </c:catAx>
      <c:valAx>
        <c:axId val="247773440"/>
        <c:scaling>
          <c:orientation val="minMax"/>
        </c:scaling>
        <c:delete val="0"/>
        <c:axPos val="b"/>
        <c:majorGridlines>
          <c:spPr>
            <a:ln>
              <a:solidFill>
                <a:srgbClr val="FFFFFF"/>
              </a:solidFill>
            </a:ln>
          </c:spPr>
        </c:majorGridlines>
        <c:numFmt formatCode="0.0%" sourceLinked="0"/>
        <c:majorTickMark val="out"/>
        <c:minorTickMark val="none"/>
        <c:tickLblPos val="nextTo"/>
        <c:spPr>
          <a:ln>
            <a:solidFill>
              <a:srgbClr val="003C64"/>
            </a:solidFill>
          </a:ln>
        </c:spPr>
        <c:txPr>
          <a:bodyPr/>
          <a:lstStyle/>
          <a:p>
            <a:pPr>
              <a:defRPr sz="900" b="0" i="0" u="none">
                <a:solidFill>
                  <a:srgbClr val="003C64"/>
                </a:solidFill>
                <a:latin typeface="Arial(Corps)"/>
                <a:ea typeface="Arial(Corps)"/>
                <a:cs typeface="Arial(Corps)"/>
              </a:defRPr>
            </a:pPr>
            <a:endParaRPr lang="en-US"/>
          </a:p>
        </c:txPr>
        <c:crossAx val="247771904"/>
        <c:crosses val="autoZero"/>
        <c:crossBetween val="between"/>
      </c:valAx>
    </c:plotArea>
    <c:plotVisOnly val="1"/>
    <c:dispBlanksAs val="gap"/>
    <c:showDLblsOverMax val="0"/>
  </c:chart>
  <c:spPr>
    <a:ln w="9525">
      <a:noFill/>
    </a:ln>
  </c:sp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tx>
            <c:v>MC to Total Risk</c:v>
          </c:tx>
          <c:spPr>
            <a:solidFill>
              <a:srgbClr val="00A0E3"/>
            </a:solidFill>
            <a:ln>
              <a:noFill/>
              <a:round/>
            </a:ln>
            <a:effectLst/>
            <a:extLst>
              <a:ext uri="{91240B29-F687-4F45-9708-019B960494DF}">
                <a14:hiddenLine xmlns:a14="http://schemas.microsoft.com/office/drawing/2010/main">
                  <a:noFill/>
                  <a:round/>
                </a14:hiddenLine>
              </a:ext>
            </a:extLst>
          </c:spPr>
          <c:invertIfNegative val="0"/>
          <c:cat>
            <c:strRef>
              <c:f>Secteurs!$A$31:$A$40</c:f>
              <c:strCache>
                <c:ptCount val="10"/>
                <c:pt idx="0">
                  <c:v>Financials</c:v>
                </c:pt>
                <c:pt idx="1">
                  <c:v>Energy</c:v>
                </c:pt>
                <c:pt idx="2">
                  <c:v>Materials</c:v>
                </c:pt>
                <c:pt idx="3">
                  <c:v>Information Tech.</c:v>
                </c:pt>
                <c:pt idx="4">
                  <c:v>Cons. Discr.</c:v>
                </c:pt>
                <c:pt idx="5">
                  <c:v>Industrials</c:v>
                </c:pt>
                <c:pt idx="6">
                  <c:v>Telecom. Services</c:v>
                </c:pt>
                <c:pt idx="7">
                  <c:v>Utilities</c:v>
                </c:pt>
                <c:pt idx="8">
                  <c:v>Health Care</c:v>
                </c:pt>
                <c:pt idx="9">
                  <c:v>Cons. Staples.</c:v>
                </c:pt>
              </c:strCache>
            </c:strRef>
          </c:cat>
          <c:val>
            <c:numRef>
              <c:f>Secteurs!$B$31:$B$40</c:f>
              <c:numCache>
                <c:formatCode>0.00%</c:formatCode>
                <c:ptCount val="10"/>
                <c:pt idx="0">
                  <c:v>0.1992271613914223</c:v>
                </c:pt>
                <c:pt idx="1">
                  <c:v>0.17634998101621899</c:v>
                </c:pt>
                <c:pt idx="2">
                  <c:v>0.16913072596106715</c:v>
                </c:pt>
                <c:pt idx="3">
                  <c:v>0.16411407093257183</c:v>
                </c:pt>
                <c:pt idx="4">
                  <c:v>0.16407864823984006</c:v>
                </c:pt>
                <c:pt idx="5">
                  <c:v>0.16158152423829988</c:v>
                </c:pt>
                <c:pt idx="6">
                  <c:v>0.15871100215788883</c:v>
                </c:pt>
                <c:pt idx="7">
                  <c:v>0.15607965898891429</c:v>
                </c:pt>
                <c:pt idx="8">
                  <c:v>0.13032076170205481</c:v>
                </c:pt>
                <c:pt idx="9">
                  <c:v>0.11845446436140024</c:v>
                </c:pt>
              </c:numCache>
            </c:numRef>
          </c:val>
        </c:ser>
        <c:ser>
          <c:idx val="1"/>
          <c:order val="1"/>
          <c:tx>
            <c:v>Weight in MSCI EMU Index</c:v>
          </c:tx>
          <c:spPr>
            <a:solidFill>
              <a:srgbClr val="003C64"/>
            </a:solidFill>
            <a:ln>
              <a:noFill/>
              <a:round/>
            </a:ln>
            <a:effectLst/>
            <a:extLst>
              <a:ext uri="{91240B29-F687-4F45-9708-019B960494DF}">
                <a14:hiddenLine xmlns:a14="http://schemas.microsoft.com/office/drawing/2010/main">
                  <a:noFill/>
                  <a:round/>
                </a14:hiddenLine>
              </a:ext>
            </a:extLst>
          </c:spPr>
          <c:invertIfNegative val="0"/>
          <c:cat>
            <c:strRef>
              <c:f>Secteurs!$A$31:$A$40</c:f>
              <c:strCache>
                <c:ptCount val="10"/>
                <c:pt idx="0">
                  <c:v>Financials</c:v>
                </c:pt>
                <c:pt idx="1">
                  <c:v>Energy</c:v>
                </c:pt>
                <c:pt idx="2">
                  <c:v>Materials</c:v>
                </c:pt>
                <c:pt idx="3">
                  <c:v>Information Tech.</c:v>
                </c:pt>
                <c:pt idx="4">
                  <c:v>Cons. Discr.</c:v>
                </c:pt>
                <c:pt idx="5">
                  <c:v>Industrials</c:v>
                </c:pt>
                <c:pt idx="6">
                  <c:v>Telecom. Services</c:v>
                </c:pt>
                <c:pt idx="7">
                  <c:v>Utilities</c:v>
                </c:pt>
                <c:pt idx="8">
                  <c:v>Health Care</c:v>
                </c:pt>
                <c:pt idx="9">
                  <c:v>Cons. Staples.</c:v>
                </c:pt>
              </c:strCache>
            </c:strRef>
          </c:cat>
          <c:val>
            <c:numRef>
              <c:f>Secteurs!$C$31:$C$40</c:f>
              <c:numCache>
                <c:formatCode>0.00%</c:formatCode>
                <c:ptCount val="10"/>
                <c:pt idx="0">
                  <c:v>0.2134668660041813</c:v>
                </c:pt>
                <c:pt idx="1">
                  <c:v>5.923737367864397E-2</c:v>
                </c:pt>
                <c:pt idx="2">
                  <c:v>8.6939239142260871E-2</c:v>
                </c:pt>
                <c:pt idx="3">
                  <c:v>7.3561794218462637E-2</c:v>
                </c:pt>
                <c:pt idx="4">
                  <c:v>0.14010428023198526</c:v>
                </c:pt>
                <c:pt idx="5">
                  <c:v>0.14988668217851339</c:v>
                </c:pt>
                <c:pt idx="6">
                  <c:v>4.5844523420550252E-2</c:v>
                </c:pt>
                <c:pt idx="7">
                  <c:v>4.6734485162394396E-2</c:v>
                </c:pt>
                <c:pt idx="8">
                  <c:v>7.8625154327542357E-2</c:v>
                </c:pt>
                <c:pt idx="9">
                  <c:v>0.10559960163546593</c:v>
                </c:pt>
              </c:numCache>
            </c:numRef>
          </c:val>
        </c:ser>
        <c:dLbls>
          <c:showLegendKey val="0"/>
          <c:showVal val="0"/>
          <c:showCatName val="0"/>
          <c:showSerName val="0"/>
          <c:showPercent val="0"/>
          <c:showBubbleSize val="0"/>
        </c:dLbls>
        <c:gapWidth val="150"/>
        <c:axId val="247790208"/>
        <c:axId val="247861632"/>
      </c:barChart>
      <c:catAx>
        <c:axId val="247790208"/>
        <c:scaling>
          <c:orientation val="minMax"/>
        </c:scaling>
        <c:delete val="0"/>
        <c:axPos val="l"/>
        <c:majorTickMark val="out"/>
        <c:minorTickMark val="none"/>
        <c:tickLblPos val="low"/>
        <c:spPr>
          <a:ln>
            <a:solidFill>
              <a:srgbClr val="003C64"/>
            </a:solidFill>
          </a:ln>
        </c:spPr>
        <c:txPr>
          <a:bodyPr/>
          <a:lstStyle/>
          <a:p>
            <a:pPr>
              <a:defRPr sz="900" b="0" i="0" u="none">
                <a:solidFill>
                  <a:srgbClr val="003C64"/>
                </a:solidFill>
                <a:latin typeface="Arial(Corps)"/>
                <a:ea typeface="Arial(Corps)"/>
                <a:cs typeface="Arial(Corps)"/>
              </a:defRPr>
            </a:pPr>
            <a:endParaRPr lang="en-US"/>
          </a:p>
        </c:txPr>
        <c:crossAx val="247861632"/>
        <c:crosses val="autoZero"/>
        <c:auto val="1"/>
        <c:lblAlgn val="ctr"/>
        <c:lblOffset val="100"/>
        <c:noMultiLvlLbl val="0"/>
      </c:catAx>
      <c:valAx>
        <c:axId val="247861632"/>
        <c:scaling>
          <c:orientation val="minMax"/>
        </c:scaling>
        <c:delete val="0"/>
        <c:axPos val="b"/>
        <c:majorGridlines>
          <c:spPr>
            <a:ln>
              <a:solidFill>
                <a:srgbClr val="FFFFFF"/>
              </a:solidFill>
            </a:ln>
          </c:spPr>
        </c:majorGridlines>
        <c:numFmt formatCode="0.0%" sourceLinked="0"/>
        <c:majorTickMark val="out"/>
        <c:minorTickMark val="none"/>
        <c:tickLblPos val="nextTo"/>
        <c:spPr>
          <a:ln>
            <a:solidFill>
              <a:srgbClr val="003C64"/>
            </a:solidFill>
          </a:ln>
        </c:spPr>
        <c:txPr>
          <a:bodyPr/>
          <a:lstStyle/>
          <a:p>
            <a:pPr>
              <a:defRPr sz="900" b="0" i="0" u="none">
                <a:solidFill>
                  <a:srgbClr val="003C64"/>
                </a:solidFill>
                <a:latin typeface="Arial(Corps)"/>
                <a:ea typeface="Arial(Corps)"/>
                <a:cs typeface="Arial(Corps)"/>
              </a:defRPr>
            </a:pPr>
            <a:endParaRPr lang="en-US"/>
          </a:p>
        </c:txPr>
        <c:crossAx val="247790208"/>
        <c:crosses val="autoZero"/>
        <c:crossBetween val="between"/>
      </c:valAx>
    </c:plotArea>
    <c:plotVisOnly val="1"/>
    <c:dispBlanksAs val="gap"/>
    <c:showDLblsOverMax val="0"/>
  </c:chart>
  <c:spPr>
    <a:ln w="9525">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2082070167152801"/>
          <c:y val="1.8130555910222199E-3"/>
          <c:w val="0.55017040776599901"/>
          <c:h val="0.72172547968946599"/>
        </c:manualLayout>
      </c:layout>
      <c:doughnutChart>
        <c:varyColors val="1"/>
        <c:ser>
          <c:idx val="0"/>
          <c:order val="0"/>
          <c:tx>
            <c:strRef>
              <c:f>Feuil1!$B$1</c:f>
              <c:strCache>
                <c:ptCount val="1"/>
                <c:pt idx="0">
                  <c:v>Breakdown of AuM by client segment (1)_x000d_</c:v>
                </c:pt>
              </c:strCache>
            </c:strRef>
          </c:tx>
          <c:dPt>
            <c:idx val="0"/>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1-2839-4004-8D19-96DEC5668CD9}"/>
              </c:ext>
            </c:extLst>
          </c:dPt>
          <c:dPt>
            <c:idx val="1"/>
            <c:bubble3D val="0"/>
            <c:spPr>
              <a:solidFill>
                <a:schemeClr val="accent6"/>
              </a:solidFill>
              <a:ln w="19050">
                <a:solidFill>
                  <a:schemeClr val="lt1"/>
                </a:solidFill>
              </a:ln>
              <a:effectLst/>
            </c:spPr>
            <c:extLst xmlns:c16r2="http://schemas.microsoft.com/office/drawing/2015/06/chart">
              <c:ext xmlns:c16="http://schemas.microsoft.com/office/drawing/2014/chart" uri="{C3380CC4-5D6E-409C-BE32-E72D297353CC}">
                <c16:uniqueId val="{00000003-2839-4004-8D19-96DEC5668CD9}"/>
              </c:ext>
            </c:extLst>
          </c:dPt>
          <c:dPt>
            <c:idx val="2"/>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5-2839-4004-8D19-96DEC5668CD9}"/>
              </c:ext>
            </c:extLst>
          </c:dPt>
          <c:dPt>
            <c:idx val="3"/>
            <c:bubble3D val="0"/>
            <c:spPr>
              <a:solidFill>
                <a:schemeClr val="accent6">
                  <a:tint val="3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7-2839-4004-8D19-96DEC5668CD9}"/>
              </c:ext>
            </c:extLst>
          </c:dPt>
          <c:dPt>
            <c:idx val="4"/>
            <c:bubble3D val="0"/>
            <c:spPr>
              <a:solidFill>
                <a:schemeClr val="accent6">
                  <a:tint val="9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9-2839-4004-8D19-96DEC5668CD9}"/>
              </c:ext>
            </c:extLst>
          </c:dPt>
          <c:dPt>
            <c:idx val="5"/>
            <c:bubble3D val="0"/>
            <c:spPr>
              <a:solidFill>
                <a:schemeClr val="accent6">
                  <a:tint val="3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B-2839-4004-8D19-96DEC5668CD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Feuil1!$A$2:$A$4</c:f>
              <c:strCache>
                <c:ptCount val="3"/>
                <c:pt idx="0">
                  <c:v>institutional, corporate and insurance</c:v>
                </c:pt>
                <c:pt idx="1">
                  <c:v>Partner networks and other networks</c:v>
                </c:pt>
                <c:pt idx="2">
                  <c:v>Third party distributors</c:v>
                </c:pt>
              </c:strCache>
            </c:strRef>
          </c:cat>
          <c:val>
            <c:numRef>
              <c:f>Feuil1!$B$2:$B$4</c:f>
              <c:numCache>
                <c:formatCode>General</c:formatCode>
                <c:ptCount val="3"/>
                <c:pt idx="0">
                  <c:v>64</c:v>
                </c:pt>
                <c:pt idx="1">
                  <c:v>24</c:v>
                </c:pt>
                <c:pt idx="2">
                  <c:v>12</c:v>
                </c:pt>
              </c:numCache>
            </c:numRef>
          </c:val>
          <c:extLst xmlns:c16r2="http://schemas.microsoft.com/office/drawing/2015/06/chart">
            <c:ext xmlns:c16="http://schemas.microsoft.com/office/drawing/2014/chart" uri="{C3380CC4-5D6E-409C-BE32-E72D297353CC}">
              <c16:uniqueId val="{0000000C-2839-4004-8D19-96DEC5668CD9}"/>
            </c:ext>
          </c:extLst>
        </c:ser>
        <c:dLbls>
          <c:showLegendKey val="0"/>
          <c:showVal val="0"/>
          <c:showCatName val="0"/>
          <c:showSerName val="0"/>
          <c:showPercent val="1"/>
          <c:showBubbleSize val="0"/>
          <c:showLeaderLines val="1"/>
        </c:dLbls>
        <c:firstSliceAng val="0"/>
        <c:holeSize val="60"/>
      </c:doughnutChart>
      <c:spPr>
        <a:noFill/>
        <a:ln>
          <a:noFill/>
        </a:ln>
        <a:effectLst/>
      </c:spPr>
    </c:plotArea>
    <c:legend>
      <c:legendPos val="b"/>
      <c:legendEntry>
        <c:idx val="0"/>
        <c:txPr>
          <a:bodyPr rot="0" spcFirstLastPara="1" vertOverflow="ellipsis" vert="horz" wrap="square" anchor="ctr" anchorCtr="1"/>
          <a:lstStyle/>
          <a:p>
            <a:pPr>
              <a:defRPr sz="800" b="1" i="0" u="none" strike="noStrike" kern="1200" baseline="0">
                <a:solidFill>
                  <a:schemeClr val="accent3"/>
                </a:solidFill>
                <a:latin typeface="+mn-lt"/>
                <a:ea typeface="+mn-ea"/>
                <a:cs typeface="+mn-cs"/>
              </a:defRPr>
            </a:pPr>
            <a:endParaRPr lang="en-US"/>
          </a:p>
        </c:txPr>
      </c:legendEntry>
      <c:legendEntry>
        <c:idx val="1"/>
        <c:txPr>
          <a:bodyPr rot="0" spcFirstLastPara="1" vertOverflow="ellipsis" vert="horz" wrap="square" anchor="ctr" anchorCtr="1"/>
          <a:lstStyle/>
          <a:p>
            <a:pPr>
              <a:defRPr sz="800" b="1" i="0" u="none" strike="noStrike" kern="1200" baseline="0">
                <a:solidFill>
                  <a:schemeClr val="accent6"/>
                </a:solidFill>
                <a:latin typeface="+mn-lt"/>
                <a:ea typeface="+mn-ea"/>
                <a:cs typeface="+mn-cs"/>
              </a:defRPr>
            </a:pPr>
            <a:endParaRPr lang="en-US"/>
          </a:p>
        </c:txPr>
      </c:legendEntry>
      <c:legendEntry>
        <c:idx val="2"/>
        <c:txPr>
          <a:bodyPr rot="0" spcFirstLastPara="1" vertOverflow="ellipsis" vert="horz" wrap="square" anchor="ctr" anchorCtr="1"/>
          <a:lstStyle/>
          <a:p>
            <a:pPr>
              <a:defRPr sz="800" b="1" i="0" u="none" strike="noStrike" kern="1200" baseline="0">
                <a:solidFill>
                  <a:schemeClr val="accent1"/>
                </a:solidFill>
                <a:latin typeface="+mn-lt"/>
                <a:ea typeface="+mn-ea"/>
                <a:cs typeface="+mn-cs"/>
              </a:defRPr>
            </a:pPr>
            <a:endParaRPr lang="en-US"/>
          </a:p>
        </c:txPr>
      </c:legendEntry>
      <c:layout>
        <c:manualLayout>
          <c:xMode val="edge"/>
          <c:yMode val="edge"/>
          <c:x val="0.16931128456820499"/>
          <c:y val="0.763219795837633"/>
          <c:w val="0.64921912396367198"/>
          <c:h val="0.157032550020199"/>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xMode val="edge"/>
          <c:yMode val="edge"/>
          <c:x val="1.1111084191399152E-2"/>
          <c:y val="0.02"/>
          <c:w val="0.98888891580860083"/>
          <c:h val="0.875"/>
        </c:manualLayout>
      </c:layout>
      <c:barChart>
        <c:barDir val="col"/>
        <c:grouping val="clustered"/>
        <c:varyColors val="0"/>
        <c:ser>
          <c:idx val="0"/>
          <c:order val="0"/>
          <c:tx>
            <c:strRef>
              <c:f>'ETF GLOBAL SB USD'!$P$58</c:f>
              <c:strCache>
                <c:ptCount val="1"/>
                <c:pt idx="0">
                  <c:v>Amundi ETF Global MBMS SciBeta - USD</c:v>
                </c:pt>
              </c:strCache>
            </c:strRef>
          </c:tx>
          <c:spPr>
            <a:solidFill>
              <a:srgbClr val="003C64"/>
            </a:solidFill>
            <a:ln>
              <a:noFill/>
              <a:round/>
            </a:ln>
            <a:effectLst/>
            <a:extLst>
              <a:ext uri="{91240B29-F687-4F45-9708-019B960494DF}">
                <a14:hiddenLine xmlns:a14="http://schemas.microsoft.com/office/drawing/2010/main">
                  <a:noFill/>
                  <a:round/>
                </a14:hiddenLine>
              </a:ext>
            </a:extLst>
          </c:spPr>
          <c:invertIfNegative val="0"/>
          <c:dLbls>
            <c:numFmt formatCode="0.0%" sourceLinked="0"/>
            <c:spPr>
              <a:noFill/>
              <a:ln>
                <a:noFill/>
              </a:ln>
              <a:effectLst/>
            </c:spPr>
            <c:txPr>
              <a:bodyPr/>
              <a:lstStyle/>
              <a:p>
                <a:pPr>
                  <a:defRPr sz="900" b="0" i="0">
                    <a:solidFill>
                      <a:srgbClr val="001C4B"/>
                    </a:solidFill>
                    <a:latin typeface="Arial"/>
                    <a:ea typeface="Arial"/>
                    <a:cs typeface="Aria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ETF GLOBAL SB USD'!$O$59:$O$63</c:f>
              <c:strCache>
                <c:ptCount val="5"/>
                <c:pt idx="0">
                  <c:v>2014 (since 05/27/14)</c:v>
                </c:pt>
                <c:pt idx="1">
                  <c:v>2015</c:v>
                </c:pt>
                <c:pt idx="2">
                  <c:v>2016</c:v>
                </c:pt>
                <c:pt idx="3">
                  <c:v>2017</c:v>
                </c:pt>
                <c:pt idx="4">
                  <c:v>YTD</c:v>
                </c:pt>
              </c:strCache>
            </c:strRef>
          </c:cat>
          <c:val>
            <c:numRef>
              <c:f>'ETF GLOBAL SB USD'!$P$59:$P$63</c:f>
              <c:numCache>
                <c:formatCode>0\.0%</c:formatCode>
                <c:ptCount val="5"/>
                <c:pt idx="0">
                  <c:v>1.6839843583700054E-2</c:v>
                </c:pt>
                <c:pt idx="1">
                  <c:v>1.7192786361887702E-2</c:v>
                </c:pt>
                <c:pt idx="2">
                  <c:v>6.3865191625184892E-2</c:v>
                </c:pt>
                <c:pt idx="3">
                  <c:v>0.21516793352962171</c:v>
                </c:pt>
                <c:pt idx="4">
                  <c:v>4.2250777820486807E-2</c:v>
                </c:pt>
              </c:numCache>
            </c:numRef>
          </c:val>
          <c:extLst xmlns:c16r2="http://schemas.microsoft.com/office/drawing/2015/06/chart">
            <c:ext xmlns:c16="http://schemas.microsoft.com/office/drawing/2014/chart" uri="{C3380CC4-5D6E-409C-BE32-E72D297353CC}">
              <c16:uniqueId val="{00000000-A270-45EE-A676-CFA54A68F5EB}"/>
            </c:ext>
          </c:extLst>
        </c:ser>
        <c:ser>
          <c:idx val="1"/>
          <c:order val="1"/>
          <c:tx>
            <c:strRef>
              <c:f>'ETF GLOBAL SB USD'!$R$58</c:f>
              <c:strCache>
                <c:ptCount val="1"/>
                <c:pt idx="0">
                  <c:v>MSCI World Index</c:v>
                </c:pt>
              </c:strCache>
            </c:strRef>
          </c:tx>
          <c:spPr>
            <a:solidFill>
              <a:srgbClr val="00A0E3"/>
            </a:solidFill>
            <a:ln>
              <a:noFill/>
              <a:round/>
            </a:ln>
            <a:effectLst/>
            <a:extLst>
              <a:ext uri="{91240B29-F687-4F45-9708-019B960494DF}">
                <a14:hiddenLine xmlns:a14="http://schemas.microsoft.com/office/drawing/2010/main">
                  <a:noFill/>
                  <a:round/>
                </a14:hiddenLine>
              </a:ext>
            </a:extLst>
          </c:spPr>
          <c:invertIfNegative val="0"/>
          <c:dLbls>
            <c:numFmt formatCode="0.0%" sourceLinked="0"/>
            <c:spPr>
              <a:noFill/>
              <a:ln>
                <a:noFill/>
              </a:ln>
              <a:effectLst/>
            </c:spPr>
            <c:txPr>
              <a:bodyPr/>
              <a:lstStyle/>
              <a:p>
                <a:pPr>
                  <a:defRPr sz="900" b="0" i="0">
                    <a:solidFill>
                      <a:srgbClr val="009EE0"/>
                    </a:solidFill>
                    <a:latin typeface="Arial"/>
                    <a:ea typeface="Arial"/>
                    <a:cs typeface="Aria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ETF GLOBAL SB USD'!$O$59:$O$63</c:f>
              <c:strCache>
                <c:ptCount val="5"/>
                <c:pt idx="0">
                  <c:v>2014 (since 05/27/14)</c:v>
                </c:pt>
                <c:pt idx="1">
                  <c:v>2015</c:v>
                </c:pt>
                <c:pt idx="2">
                  <c:v>2016</c:v>
                </c:pt>
                <c:pt idx="3">
                  <c:v>2017</c:v>
                </c:pt>
                <c:pt idx="4">
                  <c:v>YTD</c:v>
                </c:pt>
              </c:strCache>
            </c:strRef>
          </c:cat>
          <c:val>
            <c:numRef>
              <c:f>'ETF GLOBAL SB USD'!$R$59:$R$63</c:f>
              <c:numCache>
                <c:formatCode>0\.0%</c:formatCode>
                <c:ptCount val="5"/>
                <c:pt idx="0">
                  <c:v>1.0644816452853423E-2</c:v>
                </c:pt>
                <c:pt idx="1">
                  <c:v>-8.7123857874837896E-3</c:v>
                </c:pt>
                <c:pt idx="2">
                  <c:v>7.5105025674436554E-2</c:v>
                </c:pt>
                <c:pt idx="3">
                  <c:v>0.22400321328436701</c:v>
                </c:pt>
                <c:pt idx="4">
                  <c:v>5.2800205170341785E-2</c:v>
                </c:pt>
              </c:numCache>
            </c:numRef>
          </c:val>
          <c:extLst xmlns:c16r2="http://schemas.microsoft.com/office/drawing/2015/06/chart">
            <c:ext xmlns:c16="http://schemas.microsoft.com/office/drawing/2014/chart" uri="{C3380CC4-5D6E-409C-BE32-E72D297353CC}">
              <c16:uniqueId val="{00000001-A270-45EE-A676-CFA54A68F5EB}"/>
            </c:ext>
          </c:extLst>
        </c:ser>
        <c:dLbls>
          <c:showLegendKey val="0"/>
          <c:showVal val="0"/>
          <c:showCatName val="0"/>
          <c:showSerName val="0"/>
          <c:showPercent val="0"/>
          <c:showBubbleSize val="0"/>
        </c:dLbls>
        <c:gapWidth val="150"/>
        <c:axId val="252447360"/>
        <c:axId val="252453248"/>
      </c:barChart>
      <c:catAx>
        <c:axId val="252447360"/>
        <c:scaling>
          <c:orientation val="minMax"/>
        </c:scaling>
        <c:delete val="0"/>
        <c:axPos val="b"/>
        <c:numFmt formatCode="General" sourceLinked="0"/>
        <c:majorTickMark val="out"/>
        <c:minorTickMark val="none"/>
        <c:tickLblPos val="low"/>
        <c:spPr>
          <a:ln>
            <a:solidFill>
              <a:srgbClr val="767A7E"/>
            </a:solidFill>
          </a:ln>
        </c:spPr>
        <c:txPr>
          <a:bodyPr/>
          <a:lstStyle/>
          <a:p>
            <a:pPr>
              <a:defRPr sz="900" b="0" i="0" u="none">
                <a:solidFill>
                  <a:srgbClr val="003C64"/>
                </a:solidFill>
                <a:latin typeface="Arial"/>
                <a:ea typeface="Arial"/>
                <a:cs typeface="Arial"/>
              </a:defRPr>
            </a:pPr>
            <a:endParaRPr lang="en-US"/>
          </a:p>
        </c:txPr>
        <c:crossAx val="252453248"/>
        <c:crosses val="autoZero"/>
        <c:auto val="1"/>
        <c:lblAlgn val="ctr"/>
        <c:lblOffset val="100"/>
        <c:noMultiLvlLbl val="0"/>
      </c:catAx>
      <c:valAx>
        <c:axId val="252453248"/>
        <c:scaling>
          <c:orientation val="minMax"/>
        </c:scaling>
        <c:delete val="1"/>
        <c:axPos val="l"/>
        <c:numFmt formatCode="0\.0%" sourceLinked="1"/>
        <c:majorTickMark val="none"/>
        <c:minorTickMark val="none"/>
        <c:tickLblPos val="nextTo"/>
        <c:crossAx val="252447360"/>
        <c:crosses val="autoZero"/>
        <c:crossBetween val="between"/>
      </c:valAx>
      <c:spPr>
        <a:ln>
          <a:noFill/>
        </a:ln>
      </c:spPr>
    </c:plotArea>
    <c:legend>
      <c:legendPos val="b"/>
      <c:legendEntry>
        <c:idx val="0"/>
        <c:txPr>
          <a:bodyPr/>
          <a:lstStyle/>
          <a:p>
            <a:pPr>
              <a:defRPr sz="900" b="0" i="0" u="none">
                <a:solidFill>
                  <a:srgbClr val="003C64"/>
                </a:solidFill>
                <a:latin typeface="Arial"/>
                <a:ea typeface="Arial"/>
                <a:cs typeface="Arial"/>
              </a:defRPr>
            </a:pPr>
            <a:endParaRPr lang="en-US"/>
          </a:p>
        </c:txPr>
      </c:legendEntry>
      <c:legendEntry>
        <c:idx val="1"/>
        <c:txPr>
          <a:bodyPr/>
          <a:lstStyle/>
          <a:p>
            <a:pPr>
              <a:defRPr sz="900" b="0" i="0" u="none">
                <a:solidFill>
                  <a:schemeClr val="accent1"/>
                </a:solidFill>
                <a:latin typeface="Arial"/>
                <a:ea typeface="Arial"/>
                <a:cs typeface="Arial"/>
              </a:defRPr>
            </a:pPr>
            <a:endParaRPr lang="en-US"/>
          </a:p>
        </c:txPr>
      </c:legendEntry>
      <c:layout>
        <c:manualLayout>
          <c:xMode val="edge"/>
          <c:yMode val="edge"/>
          <c:x val="1.2307757822567036E-2"/>
          <c:y val="0.92025236220472439"/>
          <c:w val="0.98769230769230765"/>
          <c:h val="7.9747637795275592E-2"/>
        </c:manualLayout>
      </c:layout>
      <c:overlay val="0"/>
      <c:txPr>
        <a:bodyPr/>
        <a:lstStyle/>
        <a:p>
          <a:pPr>
            <a:defRPr sz="900" b="0" i="0" u="none">
              <a:solidFill>
                <a:srgbClr val="000000"/>
              </a:solidFill>
              <a:latin typeface="Arial"/>
              <a:ea typeface="Arial"/>
              <a:cs typeface="Arial"/>
            </a:defRPr>
          </a:pPr>
          <a:endParaRPr lang="en-US"/>
        </a:p>
      </c:txPr>
    </c:legend>
    <c:plotVisOnly val="1"/>
    <c:dispBlanksAs val="gap"/>
    <c:showDLblsOverMax val="0"/>
  </c:chart>
  <c:spPr>
    <a:ln w="9525">
      <a:noFill/>
    </a:ln>
  </c:sp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2"/>
          <c:order val="2"/>
          <c:tx>
            <c:strRef>
              <c:f>'ETF GLOBAL SB USD'!$M$4</c:f>
              <c:strCache>
                <c:ptCount val="1"/>
                <c:pt idx="0">
                  <c:v>Excess return/MSCI World</c:v>
                </c:pt>
              </c:strCache>
            </c:strRef>
          </c:tx>
          <c:spPr>
            <a:solidFill>
              <a:schemeClr val="bg1">
                <a:lumMod val="95000"/>
              </a:schemeClr>
            </a:solidFill>
            <a:ln>
              <a:noFill/>
            </a:ln>
          </c:spPr>
          <c:cat>
            <c:numRef>
              <c:f>'ETF GLOBAL SB USD'!$C$5:$C$966</c:f>
              <c:numCache>
                <c:formatCode>m/d/yyyy</c:formatCode>
                <c:ptCount val="962"/>
                <c:pt idx="0">
                  <c:v>41786</c:v>
                </c:pt>
                <c:pt idx="1">
                  <c:v>41787</c:v>
                </c:pt>
                <c:pt idx="2">
                  <c:v>41788</c:v>
                </c:pt>
                <c:pt idx="3">
                  <c:v>41789</c:v>
                </c:pt>
                <c:pt idx="4">
                  <c:v>41792</c:v>
                </c:pt>
                <c:pt idx="5">
                  <c:v>41793</c:v>
                </c:pt>
                <c:pt idx="6">
                  <c:v>41794</c:v>
                </c:pt>
                <c:pt idx="7">
                  <c:v>41795</c:v>
                </c:pt>
                <c:pt idx="8">
                  <c:v>41796</c:v>
                </c:pt>
                <c:pt idx="9">
                  <c:v>41799</c:v>
                </c:pt>
                <c:pt idx="10">
                  <c:v>41800</c:v>
                </c:pt>
                <c:pt idx="11">
                  <c:v>41801</c:v>
                </c:pt>
                <c:pt idx="12">
                  <c:v>41802</c:v>
                </c:pt>
                <c:pt idx="13">
                  <c:v>41803</c:v>
                </c:pt>
                <c:pt idx="14">
                  <c:v>41806</c:v>
                </c:pt>
                <c:pt idx="15">
                  <c:v>41807</c:v>
                </c:pt>
                <c:pt idx="16">
                  <c:v>41808</c:v>
                </c:pt>
                <c:pt idx="17">
                  <c:v>41809</c:v>
                </c:pt>
                <c:pt idx="18">
                  <c:v>41810</c:v>
                </c:pt>
                <c:pt idx="19">
                  <c:v>41813</c:v>
                </c:pt>
                <c:pt idx="20">
                  <c:v>41814</c:v>
                </c:pt>
                <c:pt idx="21">
                  <c:v>41815</c:v>
                </c:pt>
                <c:pt idx="22">
                  <c:v>41816</c:v>
                </c:pt>
                <c:pt idx="23">
                  <c:v>41817</c:v>
                </c:pt>
                <c:pt idx="24">
                  <c:v>41820</c:v>
                </c:pt>
                <c:pt idx="25">
                  <c:v>41821</c:v>
                </c:pt>
                <c:pt idx="26">
                  <c:v>41822</c:v>
                </c:pt>
                <c:pt idx="27">
                  <c:v>41823</c:v>
                </c:pt>
                <c:pt idx="28">
                  <c:v>41824</c:v>
                </c:pt>
                <c:pt idx="29">
                  <c:v>41827</c:v>
                </c:pt>
                <c:pt idx="30">
                  <c:v>41828</c:v>
                </c:pt>
                <c:pt idx="31">
                  <c:v>41829</c:v>
                </c:pt>
                <c:pt idx="32">
                  <c:v>41830</c:v>
                </c:pt>
                <c:pt idx="33">
                  <c:v>41831</c:v>
                </c:pt>
                <c:pt idx="34">
                  <c:v>41834</c:v>
                </c:pt>
                <c:pt idx="35">
                  <c:v>41835</c:v>
                </c:pt>
                <c:pt idx="36">
                  <c:v>41836</c:v>
                </c:pt>
                <c:pt idx="37">
                  <c:v>41837</c:v>
                </c:pt>
                <c:pt idx="38">
                  <c:v>41838</c:v>
                </c:pt>
                <c:pt idx="39">
                  <c:v>41841</c:v>
                </c:pt>
                <c:pt idx="40">
                  <c:v>41842</c:v>
                </c:pt>
                <c:pt idx="41">
                  <c:v>41843</c:v>
                </c:pt>
                <c:pt idx="42">
                  <c:v>41844</c:v>
                </c:pt>
                <c:pt idx="43">
                  <c:v>41845</c:v>
                </c:pt>
                <c:pt idx="44">
                  <c:v>41848</c:v>
                </c:pt>
                <c:pt idx="45">
                  <c:v>41849</c:v>
                </c:pt>
                <c:pt idx="46">
                  <c:v>41850</c:v>
                </c:pt>
                <c:pt idx="47">
                  <c:v>41851</c:v>
                </c:pt>
                <c:pt idx="48">
                  <c:v>41852</c:v>
                </c:pt>
                <c:pt idx="49">
                  <c:v>41855</c:v>
                </c:pt>
                <c:pt idx="50">
                  <c:v>41856</c:v>
                </c:pt>
                <c:pt idx="51">
                  <c:v>41857</c:v>
                </c:pt>
                <c:pt idx="52">
                  <c:v>41858</c:v>
                </c:pt>
                <c:pt idx="53">
                  <c:v>41859</c:v>
                </c:pt>
                <c:pt idx="54">
                  <c:v>41862</c:v>
                </c:pt>
                <c:pt idx="55">
                  <c:v>41863</c:v>
                </c:pt>
                <c:pt idx="56">
                  <c:v>41864</c:v>
                </c:pt>
                <c:pt idx="57">
                  <c:v>41865</c:v>
                </c:pt>
                <c:pt idx="58">
                  <c:v>41866</c:v>
                </c:pt>
                <c:pt idx="59">
                  <c:v>41869</c:v>
                </c:pt>
                <c:pt idx="60">
                  <c:v>41870</c:v>
                </c:pt>
                <c:pt idx="61">
                  <c:v>41871</c:v>
                </c:pt>
                <c:pt idx="62">
                  <c:v>41872</c:v>
                </c:pt>
                <c:pt idx="63">
                  <c:v>41873</c:v>
                </c:pt>
                <c:pt idx="64">
                  <c:v>41876</c:v>
                </c:pt>
                <c:pt idx="65">
                  <c:v>41877</c:v>
                </c:pt>
                <c:pt idx="66">
                  <c:v>41878</c:v>
                </c:pt>
                <c:pt idx="67">
                  <c:v>41879</c:v>
                </c:pt>
                <c:pt idx="68">
                  <c:v>41880</c:v>
                </c:pt>
                <c:pt idx="69">
                  <c:v>41883</c:v>
                </c:pt>
                <c:pt idx="70">
                  <c:v>41884</c:v>
                </c:pt>
                <c:pt idx="71">
                  <c:v>41885</c:v>
                </c:pt>
                <c:pt idx="72">
                  <c:v>41886</c:v>
                </c:pt>
                <c:pt idx="73">
                  <c:v>41887</c:v>
                </c:pt>
                <c:pt idx="74">
                  <c:v>41890</c:v>
                </c:pt>
                <c:pt idx="75">
                  <c:v>41891</c:v>
                </c:pt>
                <c:pt idx="76">
                  <c:v>41892</c:v>
                </c:pt>
                <c:pt idx="77">
                  <c:v>41893</c:v>
                </c:pt>
                <c:pt idx="78">
                  <c:v>41894</c:v>
                </c:pt>
                <c:pt idx="79">
                  <c:v>41897</c:v>
                </c:pt>
                <c:pt idx="80">
                  <c:v>41898</c:v>
                </c:pt>
                <c:pt idx="81">
                  <c:v>41899</c:v>
                </c:pt>
                <c:pt idx="82">
                  <c:v>41900</c:v>
                </c:pt>
                <c:pt idx="83">
                  <c:v>41901</c:v>
                </c:pt>
                <c:pt idx="84">
                  <c:v>41904</c:v>
                </c:pt>
                <c:pt idx="85">
                  <c:v>41905</c:v>
                </c:pt>
                <c:pt idx="86">
                  <c:v>41906</c:v>
                </c:pt>
                <c:pt idx="87">
                  <c:v>41907</c:v>
                </c:pt>
                <c:pt idx="88">
                  <c:v>41908</c:v>
                </c:pt>
                <c:pt idx="89">
                  <c:v>41911</c:v>
                </c:pt>
                <c:pt idx="90">
                  <c:v>41912</c:v>
                </c:pt>
                <c:pt idx="91">
                  <c:v>41913</c:v>
                </c:pt>
                <c:pt idx="92">
                  <c:v>41914</c:v>
                </c:pt>
                <c:pt idx="93">
                  <c:v>41915</c:v>
                </c:pt>
                <c:pt idx="94">
                  <c:v>41918</c:v>
                </c:pt>
                <c:pt idx="95">
                  <c:v>41919</c:v>
                </c:pt>
                <c:pt idx="96">
                  <c:v>41920</c:v>
                </c:pt>
                <c:pt idx="97">
                  <c:v>41921</c:v>
                </c:pt>
                <c:pt idx="98">
                  <c:v>41922</c:v>
                </c:pt>
                <c:pt idx="99">
                  <c:v>41925</c:v>
                </c:pt>
                <c:pt idx="100">
                  <c:v>41926</c:v>
                </c:pt>
                <c:pt idx="101">
                  <c:v>41927</c:v>
                </c:pt>
                <c:pt idx="102">
                  <c:v>41928</c:v>
                </c:pt>
                <c:pt idx="103">
                  <c:v>41929</c:v>
                </c:pt>
                <c:pt idx="104">
                  <c:v>41932</c:v>
                </c:pt>
                <c:pt idx="105">
                  <c:v>41933</c:v>
                </c:pt>
                <c:pt idx="106">
                  <c:v>41934</c:v>
                </c:pt>
                <c:pt idx="107">
                  <c:v>41935</c:v>
                </c:pt>
                <c:pt idx="108">
                  <c:v>41936</c:v>
                </c:pt>
                <c:pt idx="109">
                  <c:v>41939</c:v>
                </c:pt>
                <c:pt idx="110">
                  <c:v>41940</c:v>
                </c:pt>
                <c:pt idx="111">
                  <c:v>41941</c:v>
                </c:pt>
                <c:pt idx="112">
                  <c:v>41942</c:v>
                </c:pt>
                <c:pt idx="113">
                  <c:v>41943</c:v>
                </c:pt>
                <c:pt idx="114">
                  <c:v>41946</c:v>
                </c:pt>
                <c:pt idx="115">
                  <c:v>41947</c:v>
                </c:pt>
                <c:pt idx="116">
                  <c:v>41948</c:v>
                </c:pt>
                <c:pt idx="117">
                  <c:v>41949</c:v>
                </c:pt>
                <c:pt idx="118">
                  <c:v>41950</c:v>
                </c:pt>
                <c:pt idx="119">
                  <c:v>41953</c:v>
                </c:pt>
                <c:pt idx="120">
                  <c:v>41954</c:v>
                </c:pt>
                <c:pt idx="121">
                  <c:v>41955</c:v>
                </c:pt>
                <c:pt idx="122">
                  <c:v>41956</c:v>
                </c:pt>
                <c:pt idx="123">
                  <c:v>41957</c:v>
                </c:pt>
                <c:pt idx="124">
                  <c:v>41960</c:v>
                </c:pt>
                <c:pt idx="125">
                  <c:v>41961</c:v>
                </c:pt>
                <c:pt idx="126">
                  <c:v>41962</c:v>
                </c:pt>
                <c:pt idx="127">
                  <c:v>41963</c:v>
                </c:pt>
                <c:pt idx="128">
                  <c:v>41964</c:v>
                </c:pt>
                <c:pt idx="129">
                  <c:v>41967</c:v>
                </c:pt>
                <c:pt idx="130">
                  <c:v>41968</c:v>
                </c:pt>
                <c:pt idx="131">
                  <c:v>41969</c:v>
                </c:pt>
                <c:pt idx="132">
                  <c:v>41970</c:v>
                </c:pt>
                <c:pt idx="133">
                  <c:v>41971</c:v>
                </c:pt>
                <c:pt idx="134">
                  <c:v>41974</c:v>
                </c:pt>
                <c:pt idx="135">
                  <c:v>41975</c:v>
                </c:pt>
                <c:pt idx="136">
                  <c:v>41976</c:v>
                </c:pt>
                <c:pt idx="137">
                  <c:v>41977</c:v>
                </c:pt>
                <c:pt idx="138">
                  <c:v>41978</c:v>
                </c:pt>
                <c:pt idx="139">
                  <c:v>41981</c:v>
                </c:pt>
                <c:pt idx="140">
                  <c:v>41982</c:v>
                </c:pt>
                <c:pt idx="141">
                  <c:v>41983</c:v>
                </c:pt>
                <c:pt idx="142">
                  <c:v>41984</c:v>
                </c:pt>
                <c:pt idx="143">
                  <c:v>41985</c:v>
                </c:pt>
                <c:pt idx="144">
                  <c:v>41988</c:v>
                </c:pt>
                <c:pt idx="145">
                  <c:v>41989</c:v>
                </c:pt>
                <c:pt idx="146">
                  <c:v>41990</c:v>
                </c:pt>
                <c:pt idx="147">
                  <c:v>41991</c:v>
                </c:pt>
                <c:pt idx="148">
                  <c:v>41992</c:v>
                </c:pt>
                <c:pt idx="149">
                  <c:v>41995</c:v>
                </c:pt>
                <c:pt idx="150">
                  <c:v>41996</c:v>
                </c:pt>
                <c:pt idx="151">
                  <c:v>41997</c:v>
                </c:pt>
                <c:pt idx="152">
                  <c:v>41998</c:v>
                </c:pt>
                <c:pt idx="153">
                  <c:v>41999</c:v>
                </c:pt>
                <c:pt idx="154">
                  <c:v>42002</c:v>
                </c:pt>
                <c:pt idx="155">
                  <c:v>42003</c:v>
                </c:pt>
                <c:pt idx="156">
                  <c:v>42004</c:v>
                </c:pt>
                <c:pt idx="157">
                  <c:v>42005</c:v>
                </c:pt>
                <c:pt idx="158">
                  <c:v>42006</c:v>
                </c:pt>
                <c:pt idx="159">
                  <c:v>42009</c:v>
                </c:pt>
                <c:pt idx="160">
                  <c:v>42010</c:v>
                </c:pt>
                <c:pt idx="161">
                  <c:v>42011</c:v>
                </c:pt>
                <c:pt idx="162">
                  <c:v>42012</c:v>
                </c:pt>
                <c:pt idx="163">
                  <c:v>42013</c:v>
                </c:pt>
                <c:pt idx="164">
                  <c:v>42016</c:v>
                </c:pt>
                <c:pt idx="165">
                  <c:v>42017</c:v>
                </c:pt>
                <c:pt idx="166">
                  <c:v>42018</c:v>
                </c:pt>
                <c:pt idx="167">
                  <c:v>42019</c:v>
                </c:pt>
                <c:pt idx="168">
                  <c:v>42020</c:v>
                </c:pt>
                <c:pt idx="169">
                  <c:v>42023</c:v>
                </c:pt>
                <c:pt idx="170">
                  <c:v>42024</c:v>
                </c:pt>
                <c:pt idx="171">
                  <c:v>42025</c:v>
                </c:pt>
                <c:pt idx="172">
                  <c:v>42026</c:v>
                </c:pt>
                <c:pt idx="173">
                  <c:v>42027</c:v>
                </c:pt>
                <c:pt idx="174">
                  <c:v>42030</c:v>
                </c:pt>
                <c:pt idx="175">
                  <c:v>42031</c:v>
                </c:pt>
                <c:pt idx="176">
                  <c:v>42032</c:v>
                </c:pt>
                <c:pt idx="177">
                  <c:v>42033</c:v>
                </c:pt>
                <c:pt idx="178">
                  <c:v>42034</c:v>
                </c:pt>
                <c:pt idx="179">
                  <c:v>42037</c:v>
                </c:pt>
                <c:pt idx="180">
                  <c:v>42038</c:v>
                </c:pt>
                <c:pt idx="181">
                  <c:v>42039</c:v>
                </c:pt>
                <c:pt idx="182">
                  <c:v>42040</c:v>
                </c:pt>
                <c:pt idx="183">
                  <c:v>42041</c:v>
                </c:pt>
                <c:pt idx="184">
                  <c:v>42044</c:v>
                </c:pt>
                <c:pt idx="185">
                  <c:v>42045</c:v>
                </c:pt>
                <c:pt idx="186">
                  <c:v>42046</c:v>
                </c:pt>
                <c:pt idx="187">
                  <c:v>42047</c:v>
                </c:pt>
                <c:pt idx="188">
                  <c:v>42048</c:v>
                </c:pt>
                <c:pt idx="189">
                  <c:v>42051</c:v>
                </c:pt>
                <c:pt idx="190">
                  <c:v>42052</c:v>
                </c:pt>
                <c:pt idx="191">
                  <c:v>42053</c:v>
                </c:pt>
                <c:pt idx="192">
                  <c:v>42054</c:v>
                </c:pt>
                <c:pt idx="193">
                  <c:v>42055</c:v>
                </c:pt>
                <c:pt idx="194">
                  <c:v>42058</c:v>
                </c:pt>
                <c:pt idx="195">
                  <c:v>42059</c:v>
                </c:pt>
                <c:pt idx="196">
                  <c:v>42060</c:v>
                </c:pt>
                <c:pt idx="197">
                  <c:v>42061</c:v>
                </c:pt>
                <c:pt idx="198">
                  <c:v>42062</c:v>
                </c:pt>
                <c:pt idx="199">
                  <c:v>42065</c:v>
                </c:pt>
                <c:pt idx="200">
                  <c:v>42066</c:v>
                </c:pt>
                <c:pt idx="201">
                  <c:v>42067</c:v>
                </c:pt>
                <c:pt idx="202">
                  <c:v>42068</c:v>
                </c:pt>
                <c:pt idx="203">
                  <c:v>42069</c:v>
                </c:pt>
                <c:pt idx="204">
                  <c:v>42072</c:v>
                </c:pt>
                <c:pt idx="205">
                  <c:v>42073</c:v>
                </c:pt>
                <c:pt idx="206">
                  <c:v>42074</c:v>
                </c:pt>
                <c:pt idx="207">
                  <c:v>42075</c:v>
                </c:pt>
                <c:pt idx="208">
                  <c:v>42076</c:v>
                </c:pt>
                <c:pt idx="209">
                  <c:v>42079</c:v>
                </c:pt>
                <c:pt idx="210">
                  <c:v>42080</c:v>
                </c:pt>
                <c:pt idx="211">
                  <c:v>42081</c:v>
                </c:pt>
                <c:pt idx="212">
                  <c:v>42082</c:v>
                </c:pt>
                <c:pt idx="213">
                  <c:v>42083</c:v>
                </c:pt>
                <c:pt idx="214">
                  <c:v>42086</c:v>
                </c:pt>
                <c:pt idx="215">
                  <c:v>42087</c:v>
                </c:pt>
                <c:pt idx="216">
                  <c:v>42088</c:v>
                </c:pt>
                <c:pt idx="217">
                  <c:v>42089</c:v>
                </c:pt>
                <c:pt idx="218">
                  <c:v>42090</c:v>
                </c:pt>
                <c:pt idx="219">
                  <c:v>42093</c:v>
                </c:pt>
                <c:pt idx="220">
                  <c:v>42094</c:v>
                </c:pt>
                <c:pt idx="221">
                  <c:v>42095</c:v>
                </c:pt>
                <c:pt idx="222">
                  <c:v>42096</c:v>
                </c:pt>
                <c:pt idx="223">
                  <c:v>42097</c:v>
                </c:pt>
                <c:pt idx="224">
                  <c:v>42100</c:v>
                </c:pt>
                <c:pt idx="225">
                  <c:v>42101</c:v>
                </c:pt>
                <c:pt idx="226">
                  <c:v>42102</c:v>
                </c:pt>
                <c:pt idx="227">
                  <c:v>42103</c:v>
                </c:pt>
                <c:pt idx="228">
                  <c:v>42104</c:v>
                </c:pt>
                <c:pt idx="229">
                  <c:v>42107</c:v>
                </c:pt>
                <c:pt idx="230">
                  <c:v>42108</c:v>
                </c:pt>
                <c:pt idx="231">
                  <c:v>42109</c:v>
                </c:pt>
                <c:pt idx="232">
                  <c:v>42110</c:v>
                </c:pt>
                <c:pt idx="233">
                  <c:v>42111</c:v>
                </c:pt>
                <c:pt idx="234">
                  <c:v>42114</c:v>
                </c:pt>
                <c:pt idx="235">
                  <c:v>42115</c:v>
                </c:pt>
                <c:pt idx="236">
                  <c:v>42116</c:v>
                </c:pt>
                <c:pt idx="237">
                  <c:v>42117</c:v>
                </c:pt>
                <c:pt idx="238">
                  <c:v>42118</c:v>
                </c:pt>
                <c:pt idx="239">
                  <c:v>42121</c:v>
                </c:pt>
                <c:pt idx="240">
                  <c:v>42122</c:v>
                </c:pt>
                <c:pt idx="241">
                  <c:v>42123</c:v>
                </c:pt>
                <c:pt idx="242">
                  <c:v>42124</c:v>
                </c:pt>
                <c:pt idx="243">
                  <c:v>42125</c:v>
                </c:pt>
                <c:pt idx="244">
                  <c:v>42128</c:v>
                </c:pt>
                <c:pt idx="245">
                  <c:v>42129</c:v>
                </c:pt>
                <c:pt idx="246">
                  <c:v>42130</c:v>
                </c:pt>
                <c:pt idx="247">
                  <c:v>42131</c:v>
                </c:pt>
                <c:pt idx="248">
                  <c:v>42132</c:v>
                </c:pt>
                <c:pt idx="249">
                  <c:v>42135</c:v>
                </c:pt>
                <c:pt idx="250">
                  <c:v>42136</c:v>
                </c:pt>
                <c:pt idx="251">
                  <c:v>42137</c:v>
                </c:pt>
                <c:pt idx="252">
                  <c:v>42138</c:v>
                </c:pt>
                <c:pt idx="253">
                  <c:v>42139</c:v>
                </c:pt>
                <c:pt idx="254">
                  <c:v>42142</c:v>
                </c:pt>
                <c:pt idx="255">
                  <c:v>42143</c:v>
                </c:pt>
                <c:pt idx="256">
                  <c:v>42144</c:v>
                </c:pt>
                <c:pt idx="257">
                  <c:v>42145</c:v>
                </c:pt>
                <c:pt idx="258">
                  <c:v>42146</c:v>
                </c:pt>
                <c:pt idx="259">
                  <c:v>42149</c:v>
                </c:pt>
                <c:pt idx="260">
                  <c:v>42150</c:v>
                </c:pt>
                <c:pt idx="261">
                  <c:v>42151</c:v>
                </c:pt>
                <c:pt idx="262">
                  <c:v>42152</c:v>
                </c:pt>
                <c:pt idx="263">
                  <c:v>42153</c:v>
                </c:pt>
                <c:pt idx="264">
                  <c:v>42156</c:v>
                </c:pt>
                <c:pt idx="265">
                  <c:v>42157</c:v>
                </c:pt>
                <c:pt idx="266">
                  <c:v>42158</c:v>
                </c:pt>
                <c:pt idx="267">
                  <c:v>42159</c:v>
                </c:pt>
                <c:pt idx="268">
                  <c:v>42160</c:v>
                </c:pt>
                <c:pt idx="269">
                  <c:v>42163</c:v>
                </c:pt>
                <c:pt idx="270">
                  <c:v>42164</c:v>
                </c:pt>
                <c:pt idx="271">
                  <c:v>42165</c:v>
                </c:pt>
                <c:pt idx="272">
                  <c:v>42166</c:v>
                </c:pt>
                <c:pt idx="273">
                  <c:v>42167</c:v>
                </c:pt>
                <c:pt idx="274">
                  <c:v>42170</c:v>
                </c:pt>
                <c:pt idx="275">
                  <c:v>42171</c:v>
                </c:pt>
                <c:pt idx="276">
                  <c:v>42172</c:v>
                </c:pt>
                <c:pt idx="277">
                  <c:v>42173</c:v>
                </c:pt>
                <c:pt idx="278">
                  <c:v>42174</c:v>
                </c:pt>
                <c:pt idx="279">
                  <c:v>42177</c:v>
                </c:pt>
                <c:pt idx="280">
                  <c:v>42178</c:v>
                </c:pt>
                <c:pt idx="281">
                  <c:v>42179</c:v>
                </c:pt>
                <c:pt idx="282">
                  <c:v>42180</c:v>
                </c:pt>
                <c:pt idx="283">
                  <c:v>42181</c:v>
                </c:pt>
                <c:pt idx="284">
                  <c:v>42184</c:v>
                </c:pt>
                <c:pt idx="285">
                  <c:v>42185</c:v>
                </c:pt>
                <c:pt idx="286">
                  <c:v>42186</c:v>
                </c:pt>
                <c:pt idx="287">
                  <c:v>42187</c:v>
                </c:pt>
                <c:pt idx="288">
                  <c:v>42188</c:v>
                </c:pt>
                <c:pt idx="289">
                  <c:v>42191</c:v>
                </c:pt>
                <c:pt idx="290">
                  <c:v>42192</c:v>
                </c:pt>
                <c:pt idx="291">
                  <c:v>42193</c:v>
                </c:pt>
                <c:pt idx="292">
                  <c:v>42194</c:v>
                </c:pt>
                <c:pt idx="293">
                  <c:v>42195</c:v>
                </c:pt>
                <c:pt idx="294">
                  <c:v>42198</c:v>
                </c:pt>
                <c:pt idx="295">
                  <c:v>42199</c:v>
                </c:pt>
                <c:pt idx="296">
                  <c:v>42200</c:v>
                </c:pt>
                <c:pt idx="297">
                  <c:v>42201</c:v>
                </c:pt>
                <c:pt idx="298">
                  <c:v>42202</c:v>
                </c:pt>
                <c:pt idx="299">
                  <c:v>42205</c:v>
                </c:pt>
                <c:pt idx="300">
                  <c:v>42206</c:v>
                </c:pt>
                <c:pt idx="301">
                  <c:v>42207</c:v>
                </c:pt>
                <c:pt idx="302">
                  <c:v>42208</c:v>
                </c:pt>
                <c:pt idx="303">
                  <c:v>42209</c:v>
                </c:pt>
                <c:pt idx="304">
                  <c:v>42212</c:v>
                </c:pt>
                <c:pt idx="305">
                  <c:v>42213</c:v>
                </c:pt>
                <c:pt idx="306">
                  <c:v>42214</c:v>
                </c:pt>
                <c:pt idx="307">
                  <c:v>42215</c:v>
                </c:pt>
                <c:pt idx="308">
                  <c:v>42216</c:v>
                </c:pt>
                <c:pt idx="309">
                  <c:v>42219</c:v>
                </c:pt>
                <c:pt idx="310">
                  <c:v>42220</c:v>
                </c:pt>
                <c:pt idx="311">
                  <c:v>42221</c:v>
                </c:pt>
                <c:pt idx="312">
                  <c:v>42222</c:v>
                </c:pt>
                <c:pt idx="313">
                  <c:v>42223</c:v>
                </c:pt>
                <c:pt idx="314">
                  <c:v>42226</c:v>
                </c:pt>
                <c:pt idx="315">
                  <c:v>42227</c:v>
                </c:pt>
                <c:pt idx="316">
                  <c:v>42228</c:v>
                </c:pt>
                <c:pt idx="317">
                  <c:v>42229</c:v>
                </c:pt>
                <c:pt idx="318">
                  <c:v>42230</c:v>
                </c:pt>
                <c:pt idx="319">
                  <c:v>42233</c:v>
                </c:pt>
                <c:pt idx="320">
                  <c:v>42234</c:v>
                </c:pt>
                <c:pt idx="321">
                  <c:v>42235</c:v>
                </c:pt>
                <c:pt idx="322">
                  <c:v>42236</c:v>
                </c:pt>
                <c:pt idx="323">
                  <c:v>42237</c:v>
                </c:pt>
                <c:pt idx="324">
                  <c:v>42240</c:v>
                </c:pt>
                <c:pt idx="325">
                  <c:v>42241</c:v>
                </c:pt>
                <c:pt idx="326">
                  <c:v>42242</c:v>
                </c:pt>
                <c:pt idx="327">
                  <c:v>42243</c:v>
                </c:pt>
                <c:pt idx="328">
                  <c:v>42244</c:v>
                </c:pt>
                <c:pt idx="329">
                  <c:v>42247</c:v>
                </c:pt>
                <c:pt idx="330">
                  <c:v>42248</c:v>
                </c:pt>
                <c:pt idx="331">
                  <c:v>42249</c:v>
                </c:pt>
                <c:pt idx="332">
                  <c:v>42250</c:v>
                </c:pt>
                <c:pt idx="333">
                  <c:v>42251</c:v>
                </c:pt>
                <c:pt idx="334">
                  <c:v>42254</c:v>
                </c:pt>
                <c:pt idx="335">
                  <c:v>42255</c:v>
                </c:pt>
                <c:pt idx="336">
                  <c:v>42256</c:v>
                </c:pt>
                <c:pt idx="337">
                  <c:v>42257</c:v>
                </c:pt>
                <c:pt idx="338">
                  <c:v>42258</c:v>
                </c:pt>
                <c:pt idx="339">
                  <c:v>42261</c:v>
                </c:pt>
                <c:pt idx="340">
                  <c:v>42262</c:v>
                </c:pt>
                <c:pt idx="341">
                  <c:v>42263</c:v>
                </c:pt>
                <c:pt idx="342">
                  <c:v>42264</c:v>
                </c:pt>
                <c:pt idx="343">
                  <c:v>42265</c:v>
                </c:pt>
                <c:pt idx="344">
                  <c:v>42268</c:v>
                </c:pt>
                <c:pt idx="345">
                  <c:v>42269</c:v>
                </c:pt>
                <c:pt idx="346">
                  <c:v>42270</c:v>
                </c:pt>
                <c:pt idx="347">
                  <c:v>42271</c:v>
                </c:pt>
                <c:pt idx="348">
                  <c:v>42272</c:v>
                </c:pt>
                <c:pt idx="349">
                  <c:v>42275</c:v>
                </c:pt>
                <c:pt idx="350">
                  <c:v>42276</c:v>
                </c:pt>
                <c:pt idx="351">
                  <c:v>42277</c:v>
                </c:pt>
                <c:pt idx="352">
                  <c:v>42278</c:v>
                </c:pt>
                <c:pt idx="353">
                  <c:v>42279</c:v>
                </c:pt>
                <c:pt idx="354">
                  <c:v>42282</c:v>
                </c:pt>
                <c:pt idx="355">
                  <c:v>42283</c:v>
                </c:pt>
                <c:pt idx="356">
                  <c:v>42284</c:v>
                </c:pt>
                <c:pt idx="357">
                  <c:v>42285</c:v>
                </c:pt>
                <c:pt idx="358">
                  <c:v>42286</c:v>
                </c:pt>
                <c:pt idx="359">
                  <c:v>42289</c:v>
                </c:pt>
                <c:pt idx="360">
                  <c:v>42290</c:v>
                </c:pt>
                <c:pt idx="361">
                  <c:v>42291</c:v>
                </c:pt>
                <c:pt idx="362">
                  <c:v>42292</c:v>
                </c:pt>
                <c:pt idx="363">
                  <c:v>42293</c:v>
                </c:pt>
                <c:pt idx="364">
                  <c:v>42296</c:v>
                </c:pt>
                <c:pt idx="365">
                  <c:v>42297</c:v>
                </c:pt>
                <c:pt idx="366">
                  <c:v>42298</c:v>
                </c:pt>
                <c:pt idx="367">
                  <c:v>42299</c:v>
                </c:pt>
                <c:pt idx="368">
                  <c:v>42300</c:v>
                </c:pt>
                <c:pt idx="369">
                  <c:v>42303</c:v>
                </c:pt>
                <c:pt idx="370">
                  <c:v>42304</c:v>
                </c:pt>
                <c:pt idx="371">
                  <c:v>42305</c:v>
                </c:pt>
                <c:pt idx="372">
                  <c:v>42306</c:v>
                </c:pt>
                <c:pt idx="373">
                  <c:v>42307</c:v>
                </c:pt>
                <c:pt idx="374">
                  <c:v>42310</c:v>
                </c:pt>
                <c:pt idx="375">
                  <c:v>42311</c:v>
                </c:pt>
                <c:pt idx="376">
                  <c:v>42312</c:v>
                </c:pt>
                <c:pt idx="377">
                  <c:v>42313</c:v>
                </c:pt>
                <c:pt idx="378">
                  <c:v>42314</c:v>
                </c:pt>
                <c:pt idx="379">
                  <c:v>42317</c:v>
                </c:pt>
                <c:pt idx="380">
                  <c:v>42318</c:v>
                </c:pt>
                <c:pt idx="381">
                  <c:v>42319</c:v>
                </c:pt>
                <c:pt idx="382">
                  <c:v>42320</c:v>
                </c:pt>
                <c:pt idx="383">
                  <c:v>42321</c:v>
                </c:pt>
                <c:pt idx="384">
                  <c:v>42324</c:v>
                </c:pt>
                <c:pt idx="385">
                  <c:v>42325</c:v>
                </c:pt>
                <c:pt idx="386">
                  <c:v>42326</c:v>
                </c:pt>
                <c:pt idx="387">
                  <c:v>42327</c:v>
                </c:pt>
                <c:pt idx="388">
                  <c:v>42328</c:v>
                </c:pt>
                <c:pt idx="389">
                  <c:v>42331</c:v>
                </c:pt>
                <c:pt idx="390">
                  <c:v>42332</c:v>
                </c:pt>
                <c:pt idx="391">
                  <c:v>42333</c:v>
                </c:pt>
                <c:pt idx="392">
                  <c:v>42334</c:v>
                </c:pt>
                <c:pt idx="393">
                  <c:v>42335</c:v>
                </c:pt>
                <c:pt idx="394">
                  <c:v>42338</c:v>
                </c:pt>
                <c:pt idx="395">
                  <c:v>42339</c:v>
                </c:pt>
                <c:pt idx="396">
                  <c:v>42340</c:v>
                </c:pt>
                <c:pt idx="397">
                  <c:v>42341</c:v>
                </c:pt>
                <c:pt idx="398">
                  <c:v>42342</c:v>
                </c:pt>
                <c:pt idx="399">
                  <c:v>42345</c:v>
                </c:pt>
                <c:pt idx="400">
                  <c:v>42346</c:v>
                </c:pt>
                <c:pt idx="401">
                  <c:v>42347</c:v>
                </c:pt>
                <c:pt idx="402">
                  <c:v>42348</c:v>
                </c:pt>
                <c:pt idx="403">
                  <c:v>42349</c:v>
                </c:pt>
                <c:pt idx="404">
                  <c:v>42352</c:v>
                </c:pt>
                <c:pt idx="405">
                  <c:v>42353</c:v>
                </c:pt>
                <c:pt idx="406">
                  <c:v>42354</c:v>
                </c:pt>
                <c:pt idx="407">
                  <c:v>42355</c:v>
                </c:pt>
                <c:pt idx="408">
                  <c:v>42356</c:v>
                </c:pt>
                <c:pt idx="409">
                  <c:v>42359</c:v>
                </c:pt>
                <c:pt idx="410">
                  <c:v>42360</c:v>
                </c:pt>
                <c:pt idx="411">
                  <c:v>42361</c:v>
                </c:pt>
                <c:pt idx="412">
                  <c:v>42362</c:v>
                </c:pt>
                <c:pt idx="413">
                  <c:v>42363</c:v>
                </c:pt>
                <c:pt idx="414">
                  <c:v>42366</c:v>
                </c:pt>
                <c:pt idx="415">
                  <c:v>42367</c:v>
                </c:pt>
                <c:pt idx="416">
                  <c:v>42368</c:v>
                </c:pt>
                <c:pt idx="417">
                  <c:v>42369</c:v>
                </c:pt>
                <c:pt idx="418">
                  <c:v>42370</c:v>
                </c:pt>
                <c:pt idx="419">
                  <c:v>42373</c:v>
                </c:pt>
                <c:pt idx="420">
                  <c:v>42374</c:v>
                </c:pt>
                <c:pt idx="421">
                  <c:v>42375</c:v>
                </c:pt>
                <c:pt idx="422">
                  <c:v>42376</c:v>
                </c:pt>
                <c:pt idx="423">
                  <c:v>42377</c:v>
                </c:pt>
                <c:pt idx="424">
                  <c:v>42380</c:v>
                </c:pt>
                <c:pt idx="425">
                  <c:v>42381</c:v>
                </c:pt>
                <c:pt idx="426">
                  <c:v>42382</c:v>
                </c:pt>
                <c:pt idx="427">
                  <c:v>42383</c:v>
                </c:pt>
                <c:pt idx="428">
                  <c:v>42384</c:v>
                </c:pt>
                <c:pt idx="429">
                  <c:v>42387</c:v>
                </c:pt>
                <c:pt idx="430">
                  <c:v>42388</c:v>
                </c:pt>
                <c:pt idx="431">
                  <c:v>42389</c:v>
                </c:pt>
                <c:pt idx="432">
                  <c:v>42390</c:v>
                </c:pt>
                <c:pt idx="433">
                  <c:v>42391</c:v>
                </c:pt>
                <c:pt idx="434">
                  <c:v>42394</c:v>
                </c:pt>
                <c:pt idx="435">
                  <c:v>42395</c:v>
                </c:pt>
                <c:pt idx="436">
                  <c:v>42396</c:v>
                </c:pt>
                <c:pt idx="437">
                  <c:v>42397</c:v>
                </c:pt>
                <c:pt idx="438">
                  <c:v>42398</c:v>
                </c:pt>
                <c:pt idx="439">
                  <c:v>42401</c:v>
                </c:pt>
                <c:pt idx="440">
                  <c:v>42402</c:v>
                </c:pt>
                <c:pt idx="441">
                  <c:v>42403</c:v>
                </c:pt>
                <c:pt idx="442">
                  <c:v>42404</c:v>
                </c:pt>
                <c:pt idx="443">
                  <c:v>42405</c:v>
                </c:pt>
                <c:pt idx="444">
                  <c:v>42408</c:v>
                </c:pt>
                <c:pt idx="445">
                  <c:v>42409</c:v>
                </c:pt>
                <c:pt idx="446">
                  <c:v>42410</c:v>
                </c:pt>
                <c:pt idx="447">
                  <c:v>42411</c:v>
                </c:pt>
                <c:pt idx="448">
                  <c:v>42412</c:v>
                </c:pt>
                <c:pt idx="449">
                  <c:v>42415</c:v>
                </c:pt>
                <c:pt idx="450">
                  <c:v>42416</c:v>
                </c:pt>
                <c:pt idx="451">
                  <c:v>42417</c:v>
                </c:pt>
                <c:pt idx="452">
                  <c:v>42418</c:v>
                </c:pt>
                <c:pt idx="453">
                  <c:v>42419</c:v>
                </c:pt>
                <c:pt idx="454">
                  <c:v>42422</c:v>
                </c:pt>
                <c:pt idx="455">
                  <c:v>42423</c:v>
                </c:pt>
                <c:pt idx="456">
                  <c:v>42424</c:v>
                </c:pt>
                <c:pt idx="457">
                  <c:v>42425</c:v>
                </c:pt>
                <c:pt idx="458">
                  <c:v>42426</c:v>
                </c:pt>
                <c:pt idx="459">
                  <c:v>42429</c:v>
                </c:pt>
                <c:pt idx="460">
                  <c:v>42430</c:v>
                </c:pt>
                <c:pt idx="461">
                  <c:v>42431</c:v>
                </c:pt>
                <c:pt idx="462">
                  <c:v>42432</c:v>
                </c:pt>
                <c:pt idx="463">
                  <c:v>42433</c:v>
                </c:pt>
                <c:pt idx="464">
                  <c:v>42436</c:v>
                </c:pt>
                <c:pt idx="465">
                  <c:v>42437</c:v>
                </c:pt>
                <c:pt idx="466">
                  <c:v>42438</c:v>
                </c:pt>
                <c:pt idx="467">
                  <c:v>42439</c:v>
                </c:pt>
                <c:pt idx="468">
                  <c:v>42440</c:v>
                </c:pt>
                <c:pt idx="469">
                  <c:v>42443</c:v>
                </c:pt>
                <c:pt idx="470">
                  <c:v>42444</c:v>
                </c:pt>
                <c:pt idx="471">
                  <c:v>42445</c:v>
                </c:pt>
                <c:pt idx="472">
                  <c:v>42446</c:v>
                </c:pt>
                <c:pt idx="473">
                  <c:v>42447</c:v>
                </c:pt>
                <c:pt idx="474">
                  <c:v>42450</c:v>
                </c:pt>
                <c:pt idx="475">
                  <c:v>42451</c:v>
                </c:pt>
                <c:pt idx="476">
                  <c:v>42452</c:v>
                </c:pt>
                <c:pt idx="477">
                  <c:v>42453</c:v>
                </c:pt>
                <c:pt idx="478">
                  <c:v>42454</c:v>
                </c:pt>
                <c:pt idx="479">
                  <c:v>42457</c:v>
                </c:pt>
                <c:pt idx="480">
                  <c:v>42458</c:v>
                </c:pt>
                <c:pt idx="481">
                  <c:v>42459</c:v>
                </c:pt>
                <c:pt idx="482">
                  <c:v>42460</c:v>
                </c:pt>
                <c:pt idx="483">
                  <c:v>42461</c:v>
                </c:pt>
                <c:pt idx="484">
                  <c:v>42464</c:v>
                </c:pt>
                <c:pt idx="485">
                  <c:v>42465</c:v>
                </c:pt>
                <c:pt idx="486">
                  <c:v>42466</c:v>
                </c:pt>
                <c:pt idx="487">
                  <c:v>42467</c:v>
                </c:pt>
                <c:pt idx="488">
                  <c:v>42468</c:v>
                </c:pt>
                <c:pt idx="489">
                  <c:v>42471</c:v>
                </c:pt>
                <c:pt idx="490">
                  <c:v>42472</c:v>
                </c:pt>
                <c:pt idx="491">
                  <c:v>42473</c:v>
                </c:pt>
                <c:pt idx="492">
                  <c:v>42474</c:v>
                </c:pt>
                <c:pt idx="493">
                  <c:v>42475</c:v>
                </c:pt>
                <c:pt idx="494">
                  <c:v>42478</c:v>
                </c:pt>
                <c:pt idx="495">
                  <c:v>42479</c:v>
                </c:pt>
                <c:pt idx="496">
                  <c:v>42480</c:v>
                </c:pt>
                <c:pt idx="497">
                  <c:v>42481</c:v>
                </c:pt>
                <c:pt idx="498">
                  <c:v>42482</c:v>
                </c:pt>
                <c:pt idx="499">
                  <c:v>42485</c:v>
                </c:pt>
                <c:pt idx="500">
                  <c:v>42486</c:v>
                </c:pt>
                <c:pt idx="501">
                  <c:v>42487</c:v>
                </c:pt>
                <c:pt idx="502">
                  <c:v>42488</c:v>
                </c:pt>
                <c:pt idx="503">
                  <c:v>42489</c:v>
                </c:pt>
                <c:pt idx="504">
                  <c:v>42492</c:v>
                </c:pt>
                <c:pt idx="505">
                  <c:v>42493</c:v>
                </c:pt>
                <c:pt idx="506">
                  <c:v>42494</c:v>
                </c:pt>
                <c:pt idx="507">
                  <c:v>42495</c:v>
                </c:pt>
                <c:pt idx="508">
                  <c:v>42496</c:v>
                </c:pt>
                <c:pt idx="509">
                  <c:v>42499</c:v>
                </c:pt>
                <c:pt idx="510">
                  <c:v>42500</c:v>
                </c:pt>
                <c:pt idx="511">
                  <c:v>42501</c:v>
                </c:pt>
                <c:pt idx="512">
                  <c:v>42502</c:v>
                </c:pt>
                <c:pt idx="513">
                  <c:v>42503</c:v>
                </c:pt>
                <c:pt idx="514">
                  <c:v>42506</c:v>
                </c:pt>
                <c:pt idx="515">
                  <c:v>42507</c:v>
                </c:pt>
                <c:pt idx="516">
                  <c:v>42508</c:v>
                </c:pt>
                <c:pt idx="517">
                  <c:v>42509</c:v>
                </c:pt>
                <c:pt idx="518">
                  <c:v>42510</c:v>
                </c:pt>
                <c:pt idx="519">
                  <c:v>42513</c:v>
                </c:pt>
                <c:pt idx="520">
                  <c:v>42514</c:v>
                </c:pt>
                <c:pt idx="521">
                  <c:v>42515</c:v>
                </c:pt>
                <c:pt idx="522">
                  <c:v>42516</c:v>
                </c:pt>
                <c:pt idx="523">
                  <c:v>42517</c:v>
                </c:pt>
                <c:pt idx="524">
                  <c:v>42520</c:v>
                </c:pt>
                <c:pt idx="525">
                  <c:v>42521</c:v>
                </c:pt>
                <c:pt idx="526">
                  <c:v>42522</c:v>
                </c:pt>
                <c:pt idx="527">
                  <c:v>42523</c:v>
                </c:pt>
                <c:pt idx="528">
                  <c:v>42524</c:v>
                </c:pt>
                <c:pt idx="529">
                  <c:v>42527</c:v>
                </c:pt>
                <c:pt idx="530">
                  <c:v>42528</c:v>
                </c:pt>
                <c:pt idx="531">
                  <c:v>42529</c:v>
                </c:pt>
                <c:pt idx="532">
                  <c:v>42530</c:v>
                </c:pt>
                <c:pt idx="533">
                  <c:v>42531</c:v>
                </c:pt>
                <c:pt idx="534">
                  <c:v>42534</c:v>
                </c:pt>
                <c:pt idx="535">
                  <c:v>42535</c:v>
                </c:pt>
                <c:pt idx="536">
                  <c:v>42536</c:v>
                </c:pt>
                <c:pt idx="537">
                  <c:v>42537</c:v>
                </c:pt>
                <c:pt idx="538">
                  <c:v>42538</c:v>
                </c:pt>
                <c:pt idx="539">
                  <c:v>42541</c:v>
                </c:pt>
                <c:pt idx="540">
                  <c:v>42542</c:v>
                </c:pt>
                <c:pt idx="541">
                  <c:v>42543</c:v>
                </c:pt>
                <c:pt idx="542">
                  <c:v>42544</c:v>
                </c:pt>
                <c:pt idx="543">
                  <c:v>42545</c:v>
                </c:pt>
                <c:pt idx="544">
                  <c:v>42548</c:v>
                </c:pt>
                <c:pt idx="545">
                  <c:v>42549</c:v>
                </c:pt>
                <c:pt idx="546">
                  <c:v>42550</c:v>
                </c:pt>
                <c:pt idx="547">
                  <c:v>42551</c:v>
                </c:pt>
                <c:pt idx="548">
                  <c:v>42552</c:v>
                </c:pt>
                <c:pt idx="549">
                  <c:v>42555</c:v>
                </c:pt>
                <c:pt idx="550">
                  <c:v>42556</c:v>
                </c:pt>
                <c:pt idx="551">
                  <c:v>42557</c:v>
                </c:pt>
                <c:pt idx="552">
                  <c:v>42558</c:v>
                </c:pt>
                <c:pt idx="553">
                  <c:v>42559</c:v>
                </c:pt>
                <c:pt idx="554">
                  <c:v>42562</c:v>
                </c:pt>
                <c:pt idx="555">
                  <c:v>42563</c:v>
                </c:pt>
                <c:pt idx="556">
                  <c:v>42564</c:v>
                </c:pt>
                <c:pt idx="557">
                  <c:v>42565</c:v>
                </c:pt>
                <c:pt idx="558">
                  <c:v>42566</c:v>
                </c:pt>
                <c:pt idx="559">
                  <c:v>42569</c:v>
                </c:pt>
                <c:pt idx="560">
                  <c:v>42570</c:v>
                </c:pt>
                <c:pt idx="561">
                  <c:v>42571</c:v>
                </c:pt>
                <c:pt idx="562">
                  <c:v>42572</c:v>
                </c:pt>
                <c:pt idx="563">
                  <c:v>42573</c:v>
                </c:pt>
                <c:pt idx="564">
                  <c:v>42576</c:v>
                </c:pt>
                <c:pt idx="565">
                  <c:v>42577</c:v>
                </c:pt>
                <c:pt idx="566">
                  <c:v>42578</c:v>
                </c:pt>
                <c:pt idx="567">
                  <c:v>42579</c:v>
                </c:pt>
                <c:pt idx="568">
                  <c:v>42580</c:v>
                </c:pt>
                <c:pt idx="569">
                  <c:v>42583</c:v>
                </c:pt>
                <c:pt idx="570">
                  <c:v>42584</c:v>
                </c:pt>
                <c:pt idx="571">
                  <c:v>42585</c:v>
                </c:pt>
                <c:pt idx="572">
                  <c:v>42586</c:v>
                </c:pt>
                <c:pt idx="573">
                  <c:v>42587</c:v>
                </c:pt>
                <c:pt idx="574">
                  <c:v>42590</c:v>
                </c:pt>
                <c:pt idx="575">
                  <c:v>42591</c:v>
                </c:pt>
                <c:pt idx="576">
                  <c:v>42592</c:v>
                </c:pt>
                <c:pt idx="577">
                  <c:v>42593</c:v>
                </c:pt>
                <c:pt idx="578">
                  <c:v>42594</c:v>
                </c:pt>
                <c:pt idx="579">
                  <c:v>42597</c:v>
                </c:pt>
                <c:pt idx="580">
                  <c:v>42598</c:v>
                </c:pt>
                <c:pt idx="581">
                  <c:v>42599</c:v>
                </c:pt>
                <c:pt idx="582">
                  <c:v>42600</c:v>
                </c:pt>
                <c:pt idx="583">
                  <c:v>42601</c:v>
                </c:pt>
                <c:pt idx="584">
                  <c:v>42604</c:v>
                </c:pt>
                <c:pt idx="585">
                  <c:v>42605</c:v>
                </c:pt>
                <c:pt idx="586">
                  <c:v>42606</c:v>
                </c:pt>
                <c:pt idx="587">
                  <c:v>42607</c:v>
                </c:pt>
                <c:pt idx="588">
                  <c:v>42608</c:v>
                </c:pt>
                <c:pt idx="589">
                  <c:v>42611</c:v>
                </c:pt>
                <c:pt idx="590">
                  <c:v>42612</c:v>
                </c:pt>
                <c:pt idx="591">
                  <c:v>42613</c:v>
                </c:pt>
                <c:pt idx="592">
                  <c:v>42614</c:v>
                </c:pt>
                <c:pt idx="593">
                  <c:v>42615</c:v>
                </c:pt>
                <c:pt idx="594">
                  <c:v>42618</c:v>
                </c:pt>
                <c:pt idx="595">
                  <c:v>42619</c:v>
                </c:pt>
                <c:pt idx="596">
                  <c:v>42620</c:v>
                </c:pt>
                <c:pt idx="597">
                  <c:v>42621</c:v>
                </c:pt>
                <c:pt idx="598">
                  <c:v>42622</c:v>
                </c:pt>
                <c:pt idx="599">
                  <c:v>42625</c:v>
                </c:pt>
                <c:pt idx="600">
                  <c:v>42626</c:v>
                </c:pt>
                <c:pt idx="601">
                  <c:v>42627</c:v>
                </c:pt>
                <c:pt idx="602">
                  <c:v>42628</c:v>
                </c:pt>
                <c:pt idx="603">
                  <c:v>42629</c:v>
                </c:pt>
                <c:pt idx="604">
                  <c:v>42632</c:v>
                </c:pt>
                <c:pt idx="605">
                  <c:v>42633</c:v>
                </c:pt>
                <c:pt idx="606">
                  <c:v>42634</c:v>
                </c:pt>
                <c:pt idx="607">
                  <c:v>42635</c:v>
                </c:pt>
                <c:pt idx="608">
                  <c:v>42636</c:v>
                </c:pt>
                <c:pt idx="609">
                  <c:v>42639</c:v>
                </c:pt>
                <c:pt idx="610">
                  <c:v>42640</c:v>
                </c:pt>
                <c:pt idx="611">
                  <c:v>42641</c:v>
                </c:pt>
                <c:pt idx="612">
                  <c:v>42642</c:v>
                </c:pt>
                <c:pt idx="613">
                  <c:v>42643</c:v>
                </c:pt>
                <c:pt idx="614">
                  <c:v>42646</c:v>
                </c:pt>
                <c:pt idx="615">
                  <c:v>42647</c:v>
                </c:pt>
                <c:pt idx="616">
                  <c:v>42648</c:v>
                </c:pt>
                <c:pt idx="617">
                  <c:v>42649</c:v>
                </c:pt>
                <c:pt idx="618">
                  <c:v>42650</c:v>
                </c:pt>
                <c:pt idx="619">
                  <c:v>42653</c:v>
                </c:pt>
                <c:pt idx="620">
                  <c:v>42654</c:v>
                </c:pt>
                <c:pt idx="621">
                  <c:v>42655</c:v>
                </c:pt>
                <c:pt idx="622">
                  <c:v>42656</c:v>
                </c:pt>
                <c:pt idx="623">
                  <c:v>42657</c:v>
                </c:pt>
                <c:pt idx="624">
                  <c:v>42660</c:v>
                </c:pt>
                <c:pt idx="625">
                  <c:v>42661</c:v>
                </c:pt>
                <c:pt idx="626">
                  <c:v>42662</c:v>
                </c:pt>
                <c:pt idx="627">
                  <c:v>42663</c:v>
                </c:pt>
                <c:pt idx="628">
                  <c:v>42664</c:v>
                </c:pt>
                <c:pt idx="629">
                  <c:v>42667</c:v>
                </c:pt>
                <c:pt idx="630">
                  <c:v>42668</c:v>
                </c:pt>
                <c:pt idx="631">
                  <c:v>42669</c:v>
                </c:pt>
                <c:pt idx="632">
                  <c:v>42670</c:v>
                </c:pt>
                <c:pt idx="633">
                  <c:v>42671</c:v>
                </c:pt>
                <c:pt idx="634">
                  <c:v>42674</c:v>
                </c:pt>
                <c:pt idx="635">
                  <c:v>42675</c:v>
                </c:pt>
                <c:pt idx="636">
                  <c:v>42676</c:v>
                </c:pt>
                <c:pt idx="637">
                  <c:v>42677</c:v>
                </c:pt>
                <c:pt idx="638">
                  <c:v>42678</c:v>
                </c:pt>
                <c:pt idx="639">
                  <c:v>42681</c:v>
                </c:pt>
                <c:pt idx="640">
                  <c:v>42682</c:v>
                </c:pt>
                <c:pt idx="641">
                  <c:v>42683</c:v>
                </c:pt>
                <c:pt idx="642">
                  <c:v>42684</c:v>
                </c:pt>
                <c:pt idx="643">
                  <c:v>42685</c:v>
                </c:pt>
                <c:pt idx="644">
                  <c:v>42688</c:v>
                </c:pt>
                <c:pt idx="645">
                  <c:v>42689</c:v>
                </c:pt>
                <c:pt idx="646">
                  <c:v>42690</c:v>
                </c:pt>
                <c:pt idx="647">
                  <c:v>42691</c:v>
                </c:pt>
                <c:pt idx="648">
                  <c:v>42692</c:v>
                </c:pt>
                <c:pt idx="649">
                  <c:v>42695</c:v>
                </c:pt>
                <c:pt idx="650">
                  <c:v>42696</c:v>
                </c:pt>
                <c:pt idx="651">
                  <c:v>42697</c:v>
                </c:pt>
                <c:pt idx="652">
                  <c:v>42698</c:v>
                </c:pt>
                <c:pt idx="653">
                  <c:v>42699</c:v>
                </c:pt>
                <c:pt idx="654">
                  <c:v>42702</c:v>
                </c:pt>
                <c:pt idx="655">
                  <c:v>42703</c:v>
                </c:pt>
                <c:pt idx="656">
                  <c:v>42704</c:v>
                </c:pt>
                <c:pt idx="657">
                  <c:v>42705</c:v>
                </c:pt>
                <c:pt idx="658">
                  <c:v>42706</c:v>
                </c:pt>
                <c:pt idx="659">
                  <c:v>42709</c:v>
                </c:pt>
                <c:pt idx="660">
                  <c:v>42710</c:v>
                </c:pt>
                <c:pt idx="661">
                  <c:v>42711</c:v>
                </c:pt>
                <c:pt idx="662">
                  <c:v>42712</c:v>
                </c:pt>
                <c:pt idx="663">
                  <c:v>42713</c:v>
                </c:pt>
                <c:pt idx="664">
                  <c:v>42716</c:v>
                </c:pt>
                <c:pt idx="665">
                  <c:v>42717</c:v>
                </c:pt>
                <c:pt idx="666">
                  <c:v>42718</c:v>
                </c:pt>
                <c:pt idx="667">
                  <c:v>42719</c:v>
                </c:pt>
                <c:pt idx="668">
                  <c:v>42720</c:v>
                </c:pt>
                <c:pt idx="669">
                  <c:v>42723</c:v>
                </c:pt>
                <c:pt idx="670">
                  <c:v>42724</c:v>
                </c:pt>
                <c:pt idx="671">
                  <c:v>42725</c:v>
                </c:pt>
                <c:pt idx="672">
                  <c:v>42726</c:v>
                </c:pt>
                <c:pt idx="673">
                  <c:v>42727</c:v>
                </c:pt>
                <c:pt idx="674">
                  <c:v>42730</c:v>
                </c:pt>
                <c:pt idx="675">
                  <c:v>42731</c:v>
                </c:pt>
                <c:pt idx="676">
                  <c:v>42732</c:v>
                </c:pt>
                <c:pt idx="677">
                  <c:v>42733</c:v>
                </c:pt>
                <c:pt idx="678">
                  <c:v>42734</c:v>
                </c:pt>
                <c:pt idx="679">
                  <c:v>42737</c:v>
                </c:pt>
                <c:pt idx="680">
                  <c:v>42738</c:v>
                </c:pt>
                <c:pt idx="681">
                  <c:v>42739</c:v>
                </c:pt>
                <c:pt idx="682">
                  <c:v>42740</c:v>
                </c:pt>
                <c:pt idx="683">
                  <c:v>42741</c:v>
                </c:pt>
                <c:pt idx="684">
                  <c:v>42744</c:v>
                </c:pt>
                <c:pt idx="685">
                  <c:v>42745</c:v>
                </c:pt>
                <c:pt idx="686">
                  <c:v>42746</c:v>
                </c:pt>
                <c:pt idx="687">
                  <c:v>42747</c:v>
                </c:pt>
                <c:pt idx="688">
                  <c:v>42748</c:v>
                </c:pt>
                <c:pt idx="689">
                  <c:v>42751</c:v>
                </c:pt>
                <c:pt idx="690">
                  <c:v>42752</c:v>
                </c:pt>
                <c:pt idx="691">
                  <c:v>42753</c:v>
                </c:pt>
                <c:pt idx="692">
                  <c:v>42754</c:v>
                </c:pt>
                <c:pt idx="693">
                  <c:v>42755</c:v>
                </c:pt>
                <c:pt idx="694">
                  <c:v>42758</c:v>
                </c:pt>
                <c:pt idx="695">
                  <c:v>42759</c:v>
                </c:pt>
                <c:pt idx="696">
                  <c:v>42760</c:v>
                </c:pt>
                <c:pt idx="697">
                  <c:v>42761</c:v>
                </c:pt>
                <c:pt idx="698">
                  <c:v>42762</c:v>
                </c:pt>
                <c:pt idx="699">
                  <c:v>42765</c:v>
                </c:pt>
                <c:pt idx="700">
                  <c:v>42766</c:v>
                </c:pt>
                <c:pt idx="701">
                  <c:v>42767</c:v>
                </c:pt>
                <c:pt idx="702">
                  <c:v>42768</c:v>
                </c:pt>
                <c:pt idx="703">
                  <c:v>42769</c:v>
                </c:pt>
                <c:pt idx="704">
                  <c:v>42772</c:v>
                </c:pt>
                <c:pt idx="705">
                  <c:v>42773</c:v>
                </c:pt>
                <c:pt idx="706">
                  <c:v>42774</c:v>
                </c:pt>
                <c:pt idx="707">
                  <c:v>42775</c:v>
                </c:pt>
                <c:pt idx="708">
                  <c:v>42776</c:v>
                </c:pt>
                <c:pt idx="709">
                  <c:v>42779</c:v>
                </c:pt>
                <c:pt idx="710">
                  <c:v>42780</c:v>
                </c:pt>
                <c:pt idx="711">
                  <c:v>42781</c:v>
                </c:pt>
                <c:pt idx="712">
                  <c:v>42782</c:v>
                </c:pt>
                <c:pt idx="713">
                  <c:v>42783</c:v>
                </c:pt>
                <c:pt idx="714">
                  <c:v>42786</c:v>
                </c:pt>
                <c:pt idx="715">
                  <c:v>42787</c:v>
                </c:pt>
                <c:pt idx="716">
                  <c:v>42788</c:v>
                </c:pt>
                <c:pt idx="717">
                  <c:v>42789</c:v>
                </c:pt>
                <c:pt idx="718">
                  <c:v>42790</c:v>
                </c:pt>
                <c:pt idx="719">
                  <c:v>42793</c:v>
                </c:pt>
                <c:pt idx="720">
                  <c:v>42794</c:v>
                </c:pt>
                <c:pt idx="721">
                  <c:v>42795</c:v>
                </c:pt>
                <c:pt idx="722">
                  <c:v>42796</c:v>
                </c:pt>
                <c:pt idx="723">
                  <c:v>42797</c:v>
                </c:pt>
                <c:pt idx="724">
                  <c:v>42800</c:v>
                </c:pt>
                <c:pt idx="725">
                  <c:v>42801</c:v>
                </c:pt>
                <c:pt idx="726">
                  <c:v>42802</c:v>
                </c:pt>
                <c:pt idx="727">
                  <c:v>42803</c:v>
                </c:pt>
                <c:pt idx="728">
                  <c:v>42804</c:v>
                </c:pt>
                <c:pt idx="729">
                  <c:v>42807</c:v>
                </c:pt>
                <c:pt idx="730">
                  <c:v>42808</c:v>
                </c:pt>
                <c:pt idx="731">
                  <c:v>42809</c:v>
                </c:pt>
                <c:pt idx="732">
                  <c:v>42810</c:v>
                </c:pt>
                <c:pt idx="733">
                  <c:v>42811</c:v>
                </c:pt>
                <c:pt idx="734">
                  <c:v>42814</c:v>
                </c:pt>
                <c:pt idx="735">
                  <c:v>42815</c:v>
                </c:pt>
                <c:pt idx="736">
                  <c:v>42816</c:v>
                </c:pt>
                <c:pt idx="737">
                  <c:v>42817</c:v>
                </c:pt>
                <c:pt idx="738">
                  <c:v>42818</c:v>
                </c:pt>
                <c:pt idx="739">
                  <c:v>42821</c:v>
                </c:pt>
                <c:pt idx="740">
                  <c:v>42822</c:v>
                </c:pt>
                <c:pt idx="741">
                  <c:v>42823</c:v>
                </c:pt>
                <c:pt idx="742">
                  <c:v>42824</c:v>
                </c:pt>
                <c:pt idx="743">
                  <c:v>42825</c:v>
                </c:pt>
                <c:pt idx="744">
                  <c:v>42828</c:v>
                </c:pt>
                <c:pt idx="745">
                  <c:v>42829</c:v>
                </c:pt>
                <c:pt idx="746">
                  <c:v>42830</c:v>
                </c:pt>
                <c:pt idx="747">
                  <c:v>42831</c:v>
                </c:pt>
                <c:pt idx="748">
                  <c:v>42832</c:v>
                </c:pt>
                <c:pt idx="749">
                  <c:v>42835</c:v>
                </c:pt>
                <c:pt idx="750">
                  <c:v>42836</c:v>
                </c:pt>
                <c:pt idx="751">
                  <c:v>42837</c:v>
                </c:pt>
                <c:pt idx="752">
                  <c:v>42838</c:v>
                </c:pt>
                <c:pt idx="753">
                  <c:v>42839</c:v>
                </c:pt>
                <c:pt idx="754">
                  <c:v>42842</c:v>
                </c:pt>
                <c:pt idx="755">
                  <c:v>42843</c:v>
                </c:pt>
                <c:pt idx="756">
                  <c:v>42844</c:v>
                </c:pt>
                <c:pt idx="757">
                  <c:v>42845</c:v>
                </c:pt>
                <c:pt idx="758">
                  <c:v>42846</c:v>
                </c:pt>
                <c:pt idx="759">
                  <c:v>42849</c:v>
                </c:pt>
                <c:pt idx="760">
                  <c:v>42850</c:v>
                </c:pt>
                <c:pt idx="761">
                  <c:v>42851</c:v>
                </c:pt>
                <c:pt idx="762">
                  <c:v>42852</c:v>
                </c:pt>
                <c:pt idx="763">
                  <c:v>42853</c:v>
                </c:pt>
                <c:pt idx="764">
                  <c:v>42856</c:v>
                </c:pt>
                <c:pt idx="765">
                  <c:v>42857</c:v>
                </c:pt>
                <c:pt idx="766">
                  <c:v>42858</c:v>
                </c:pt>
                <c:pt idx="767">
                  <c:v>42859</c:v>
                </c:pt>
                <c:pt idx="768">
                  <c:v>42860</c:v>
                </c:pt>
                <c:pt idx="769">
                  <c:v>42863</c:v>
                </c:pt>
                <c:pt idx="770">
                  <c:v>42864</c:v>
                </c:pt>
                <c:pt idx="771">
                  <c:v>42865</c:v>
                </c:pt>
                <c:pt idx="772">
                  <c:v>42866</c:v>
                </c:pt>
                <c:pt idx="773">
                  <c:v>42867</c:v>
                </c:pt>
                <c:pt idx="774">
                  <c:v>42870</c:v>
                </c:pt>
                <c:pt idx="775">
                  <c:v>42871</c:v>
                </c:pt>
                <c:pt idx="776">
                  <c:v>42872</c:v>
                </c:pt>
                <c:pt idx="777">
                  <c:v>42873</c:v>
                </c:pt>
                <c:pt idx="778">
                  <c:v>42874</c:v>
                </c:pt>
                <c:pt idx="779">
                  <c:v>42877</c:v>
                </c:pt>
                <c:pt idx="780">
                  <c:v>42878</c:v>
                </c:pt>
                <c:pt idx="781">
                  <c:v>42879</c:v>
                </c:pt>
                <c:pt idx="782">
                  <c:v>42880</c:v>
                </c:pt>
                <c:pt idx="783">
                  <c:v>42881</c:v>
                </c:pt>
                <c:pt idx="784">
                  <c:v>42884</c:v>
                </c:pt>
                <c:pt idx="785">
                  <c:v>42885</c:v>
                </c:pt>
                <c:pt idx="786">
                  <c:v>42886</c:v>
                </c:pt>
                <c:pt idx="787">
                  <c:v>42887</c:v>
                </c:pt>
                <c:pt idx="788">
                  <c:v>42888</c:v>
                </c:pt>
                <c:pt idx="789">
                  <c:v>42891</c:v>
                </c:pt>
                <c:pt idx="790">
                  <c:v>42892</c:v>
                </c:pt>
                <c:pt idx="791">
                  <c:v>42893</c:v>
                </c:pt>
                <c:pt idx="792">
                  <c:v>42894</c:v>
                </c:pt>
                <c:pt idx="793">
                  <c:v>42895</c:v>
                </c:pt>
                <c:pt idx="794">
                  <c:v>42898</c:v>
                </c:pt>
                <c:pt idx="795">
                  <c:v>42899</c:v>
                </c:pt>
                <c:pt idx="796">
                  <c:v>42900</c:v>
                </c:pt>
                <c:pt idx="797">
                  <c:v>42901</c:v>
                </c:pt>
                <c:pt idx="798">
                  <c:v>42902</c:v>
                </c:pt>
                <c:pt idx="799">
                  <c:v>42905</c:v>
                </c:pt>
                <c:pt idx="800">
                  <c:v>42906</c:v>
                </c:pt>
                <c:pt idx="801">
                  <c:v>42907</c:v>
                </c:pt>
                <c:pt idx="802">
                  <c:v>42908</c:v>
                </c:pt>
                <c:pt idx="803">
                  <c:v>42909</c:v>
                </c:pt>
                <c:pt idx="804">
                  <c:v>42912</c:v>
                </c:pt>
                <c:pt idx="805">
                  <c:v>42913</c:v>
                </c:pt>
                <c:pt idx="806">
                  <c:v>42914</c:v>
                </c:pt>
                <c:pt idx="807">
                  <c:v>42915</c:v>
                </c:pt>
                <c:pt idx="808">
                  <c:v>42916</c:v>
                </c:pt>
                <c:pt idx="809">
                  <c:v>42919</c:v>
                </c:pt>
                <c:pt idx="810">
                  <c:v>42920</c:v>
                </c:pt>
                <c:pt idx="811">
                  <c:v>42921</c:v>
                </c:pt>
                <c:pt idx="812">
                  <c:v>42922</c:v>
                </c:pt>
                <c:pt idx="813">
                  <c:v>42923</c:v>
                </c:pt>
                <c:pt idx="814">
                  <c:v>42926</c:v>
                </c:pt>
                <c:pt idx="815">
                  <c:v>42927</c:v>
                </c:pt>
                <c:pt idx="816">
                  <c:v>42928</c:v>
                </c:pt>
                <c:pt idx="817">
                  <c:v>42929</c:v>
                </c:pt>
                <c:pt idx="818">
                  <c:v>42930</c:v>
                </c:pt>
                <c:pt idx="819">
                  <c:v>42933</c:v>
                </c:pt>
                <c:pt idx="820">
                  <c:v>42934</c:v>
                </c:pt>
                <c:pt idx="821">
                  <c:v>42935</c:v>
                </c:pt>
                <c:pt idx="822">
                  <c:v>42936</c:v>
                </c:pt>
                <c:pt idx="823">
                  <c:v>42937</c:v>
                </c:pt>
                <c:pt idx="824">
                  <c:v>42940</c:v>
                </c:pt>
                <c:pt idx="825">
                  <c:v>42941</c:v>
                </c:pt>
                <c:pt idx="826">
                  <c:v>42942</c:v>
                </c:pt>
                <c:pt idx="827">
                  <c:v>42943</c:v>
                </c:pt>
                <c:pt idx="828">
                  <c:v>42944</c:v>
                </c:pt>
                <c:pt idx="829">
                  <c:v>42947</c:v>
                </c:pt>
                <c:pt idx="830">
                  <c:v>42948</c:v>
                </c:pt>
                <c:pt idx="831">
                  <c:v>42949</c:v>
                </c:pt>
                <c:pt idx="832">
                  <c:v>42950</c:v>
                </c:pt>
                <c:pt idx="833">
                  <c:v>42951</c:v>
                </c:pt>
                <c:pt idx="834">
                  <c:v>42954</c:v>
                </c:pt>
                <c:pt idx="835">
                  <c:v>42955</c:v>
                </c:pt>
                <c:pt idx="836">
                  <c:v>42956</c:v>
                </c:pt>
                <c:pt idx="837">
                  <c:v>42957</c:v>
                </c:pt>
                <c:pt idx="838">
                  <c:v>42958</c:v>
                </c:pt>
                <c:pt idx="839">
                  <c:v>42961</c:v>
                </c:pt>
                <c:pt idx="840">
                  <c:v>42962</c:v>
                </c:pt>
                <c:pt idx="841">
                  <c:v>42963</c:v>
                </c:pt>
                <c:pt idx="842">
                  <c:v>42964</c:v>
                </c:pt>
                <c:pt idx="843">
                  <c:v>42965</c:v>
                </c:pt>
                <c:pt idx="844">
                  <c:v>42968</c:v>
                </c:pt>
                <c:pt idx="845">
                  <c:v>42969</c:v>
                </c:pt>
                <c:pt idx="846">
                  <c:v>42970</c:v>
                </c:pt>
                <c:pt idx="847">
                  <c:v>42971</c:v>
                </c:pt>
                <c:pt idx="848">
                  <c:v>42972</c:v>
                </c:pt>
                <c:pt idx="849">
                  <c:v>42975</c:v>
                </c:pt>
                <c:pt idx="850">
                  <c:v>42976</c:v>
                </c:pt>
                <c:pt idx="851">
                  <c:v>42977</c:v>
                </c:pt>
                <c:pt idx="852">
                  <c:v>42978</c:v>
                </c:pt>
                <c:pt idx="853">
                  <c:v>42979</c:v>
                </c:pt>
                <c:pt idx="854">
                  <c:v>42982</c:v>
                </c:pt>
                <c:pt idx="855">
                  <c:v>42983</c:v>
                </c:pt>
                <c:pt idx="856">
                  <c:v>42984</c:v>
                </c:pt>
                <c:pt idx="857">
                  <c:v>42985</c:v>
                </c:pt>
                <c:pt idx="858">
                  <c:v>42986</c:v>
                </c:pt>
                <c:pt idx="859">
                  <c:v>42989</c:v>
                </c:pt>
                <c:pt idx="860">
                  <c:v>42990</c:v>
                </c:pt>
                <c:pt idx="861">
                  <c:v>42991</c:v>
                </c:pt>
                <c:pt idx="862">
                  <c:v>42992</c:v>
                </c:pt>
                <c:pt idx="863">
                  <c:v>42993</c:v>
                </c:pt>
                <c:pt idx="864">
                  <c:v>42996</c:v>
                </c:pt>
                <c:pt idx="865">
                  <c:v>42997</c:v>
                </c:pt>
                <c:pt idx="866">
                  <c:v>42998</c:v>
                </c:pt>
                <c:pt idx="867">
                  <c:v>42999</c:v>
                </c:pt>
                <c:pt idx="868">
                  <c:v>43000</c:v>
                </c:pt>
                <c:pt idx="869">
                  <c:v>43003</c:v>
                </c:pt>
                <c:pt idx="870">
                  <c:v>43004</c:v>
                </c:pt>
                <c:pt idx="871">
                  <c:v>43005</c:v>
                </c:pt>
                <c:pt idx="872">
                  <c:v>43006</c:v>
                </c:pt>
                <c:pt idx="873">
                  <c:v>43007</c:v>
                </c:pt>
                <c:pt idx="874">
                  <c:v>43010</c:v>
                </c:pt>
                <c:pt idx="875">
                  <c:v>43011</c:v>
                </c:pt>
                <c:pt idx="876">
                  <c:v>43012</c:v>
                </c:pt>
                <c:pt idx="877">
                  <c:v>43013</c:v>
                </c:pt>
                <c:pt idx="878">
                  <c:v>43014</c:v>
                </c:pt>
                <c:pt idx="879">
                  <c:v>43017</c:v>
                </c:pt>
                <c:pt idx="880">
                  <c:v>43018</c:v>
                </c:pt>
                <c:pt idx="881">
                  <c:v>43019</c:v>
                </c:pt>
                <c:pt idx="882">
                  <c:v>43020</c:v>
                </c:pt>
                <c:pt idx="883">
                  <c:v>43021</c:v>
                </c:pt>
                <c:pt idx="884">
                  <c:v>43024</c:v>
                </c:pt>
                <c:pt idx="885">
                  <c:v>43025</c:v>
                </c:pt>
                <c:pt idx="886">
                  <c:v>43026</c:v>
                </c:pt>
                <c:pt idx="887">
                  <c:v>43027</c:v>
                </c:pt>
                <c:pt idx="888">
                  <c:v>43028</c:v>
                </c:pt>
                <c:pt idx="889">
                  <c:v>43031</c:v>
                </c:pt>
                <c:pt idx="890">
                  <c:v>43032</c:v>
                </c:pt>
                <c:pt idx="891">
                  <c:v>43033</c:v>
                </c:pt>
                <c:pt idx="892">
                  <c:v>43034</c:v>
                </c:pt>
                <c:pt idx="893">
                  <c:v>43035</c:v>
                </c:pt>
                <c:pt idx="894">
                  <c:v>43038</c:v>
                </c:pt>
                <c:pt idx="895">
                  <c:v>43039</c:v>
                </c:pt>
                <c:pt idx="896">
                  <c:v>43040</c:v>
                </c:pt>
                <c:pt idx="897">
                  <c:v>43041</c:v>
                </c:pt>
                <c:pt idx="898">
                  <c:v>43042</c:v>
                </c:pt>
                <c:pt idx="899">
                  <c:v>43045</c:v>
                </c:pt>
                <c:pt idx="900">
                  <c:v>43046</c:v>
                </c:pt>
                <c:pt idx="901">
                  <c:v>43047</c:v>
                </c:pt>
                <c:pt idx="902">
                  <c:v>43048</c:v>
                </c:pt>
                <c:pt idx="903">
                  <c:v>43049</c:v>
                </c:pt>
                <c:pt idx="904">
                  <c:v>43052</c:v>
                </c:pt>
                <c:pt idx="905">
                  <c:v>43053</c:v>
                </c:pt>
                <c:pt idx="906">
                  <c:v>43054</c:v>
                </c:pt>
                <c:pt idx="907">
                  <c:v>43055</c:v>
                </c:pt>
                <c:pt idx="908">
                  <c:v>43056</c:v>
                </c:pt>
                <c:pt idx="909">
                  <c:v>43059</c:v>
                </c:pt>
                <c:pt idx="910">
                  <c:v>43060</c:v>
                </c:pt>
                <c:pt idx="911">
                  <c:v>43061</c:v>
                </c:pt>
                <c:pt idx="912">
                  <c:v>43062</c:v>
                </c:pt>
                <c:pt idx="913">
                  <c:v>43063</c:v>
                </c:pt>
                <c:pt idx="914">
                  <c:v>43066</c:v>
                </c:pt>
                <c:pt idx="915">
                  <c:v>43067</c:v>
                </c:pt>
                <c:pt idx="916">
                  <c:v>43068</c:v>
                </c:pt>
                <c:pt idx="917">
                  <c:v>43069</c:v>
                </c:pt>
                <c:pt idx="918">
                  <c:v>43070</c:v>
                </c:pt>
                <c:pt idx="919">
                  <c:v>43073</c:v>
                </c:pt>
                <c:pt idx="920">
                  <c:v>43074</c:v>
                </c:pt>
                <c:pt idx="921">
                  <c:v>43075</c:v>
                </c:pt>
                <c:pt idx="922">
                  <c:v>43076</c:v>
                </c:pt>
                <c:pt idx="923">
                  <c:v>43077</c:v>
                </c:pt>
                <c:pt idx="924">
                  <c:v>43080</c:v>
                </c:pt>
                <c:pt idx="925">
                  <c:v>43081</c:v>
                </c:pt>
                <c:pt idx="926">
                  <c:v>43082</c:v>
                </c:pt>
                <c:pt idx="927">
                  <c:v>43083</c:v>
                </c:pt>
                <c:pt idx="928">
                  <c:v>43084</c:v>
                </c:pt>
                <c:pt idx="929">
                  <c:v>43087</c:v>
                </c:pt>
                <c:pt idx="930">
                  <c:v>43088</c:v>
                </c:pt>
                <c:pt idx="931">
                  <c:v>43089</c:v>
                </c:pt>
                <c:pt idx="932">
                  <c:v>43090</c:v>
                </c:pt>
                <c:pt idx="933">
                  <c:v>43091</c:v>
                </c:pt>
                <c:pt idx="934">
                  <c:v>43094</c:v>
                </c:pt>
                <c:pt idx="935">
                  <c:v>43095</c:v>
                </c:pt>
                <c:pt idx="936">
                  <c:v>43096</c:v>
                </c:pt>
                <c:pt idx="937">
                  <c:v>43097</c:v>
                </c:pt>
                <c:pt idx="938">
                  <c:v>43098</c:v>
                </c:pt>
                <c:pt idx="939">
                  <c:v>43101</c:v>
                </c:pt>
                <c:pt idx="940">
                  <c:v>43102</c:v>
                </c:pt>
                <c:pt idx="941">
                  <c:v>43103</c:v>
                </c:pt>
                <c:pt idx="942">
                  <c:v>43104</c:v>
                </c:pt>
                <c:pt idx="943">
                  <c:v>43105</c:v>
                </c:pt>
                <c:pt idx="944">
                  <c:v>43108</c:v>
                </c:pt>
                <c:pt idx="945">
                  <c:v>43109</c:v>
                </c:pt>
                <c:pt idx="946">
                  <c:v>43110</c:v>
                </c:pt>
                <c:pt idx="947">
                  <c:v>43111</c:v>
                </c:pt>
                <c:pt idx="948">
                  <c:v>43112</c:v>
                </c:pt>
                <c:pt idx="949">
                  <c:v>43115</c:v>
                </c:pt>
                <c:pt idx="950">
                  <c:v>43116</c:v>
                </c:pt>
                <c:pt idx="951">
                  <c:v>43117</c:v>
                </c:pt>
                <c:pt idx="952">
                  <c:v>43118</c:v>
                </c:pt>
                <c:pt idx="953">
                  <c:v>43119</c:v>
                </c:pt>
                <c:pt idx="954">
                  <c:v>43122</c:v>
                </c:pt>
                <c:pt idx="955">
                  <c:v>43123</c:v>
                </c:pt>
                <c:pt idx="956">
                  <c:v>43124</c:v>
                </c:pt>
                <c:pt idx="957">
                  <c:v>43125</c:v>
                </c:pt>
                <c:pt idx="958">
                  <c:v>43126</c:v>
                </c:pt>
                <c:pt idx="959">
                  <c:v>43129</c:v>
                </c:pt>
                <c:pt idx="960">
                  <c:v>43130</c:v>
                </c:pt>
                <c:pt idx="961">
                  <c:v>43131</c:v>
                </c:pt>
              </c:numCache>
            </c:numRef>
          </c:cat>
          <c:val>
            <c:numRef>
              <c:f>'ETF GLOBAL SB USD'!$M$5:$M$966</c:f>
              <c:numCache>
                <c:formatCode>0.00%</c:formatCode>
                <c:ptCount val="962"/>
                <c:pt idx="1">
                  <c:v>0.14661722453863035</c:v>
                </c:pt>
                <c:pt idx="2">
                  <c:v>8.5312772934543091E-2</c:v>
                </c:pt>
                <c:pt idx="3">
                  <c:v>9.132083430181126E-2</c:v>
                </c:pt>
                <c:pt idx="4">
                  <c:v>0.19610910573426565</c:v>
                </c:pt>
                <c:pt idx="5">
                  <c:v>0.21577764734455229</c:v>
                </c:pt>
                <c:pt idx="6">
                  <c:v>0.29998910329494777</c:v>
                </c:pt>
                <c:pt idx="7">
                  <c:v>0.22849534687702544</c:v>
                </c:pt>
                <c:pt idx="8">
                  <c:v>0.32628276680519264</c:v>
                </c:pt>
                <c:pt idx="9">
                  <c:v>0.26179542992109361</c:v>
                </c:pt>
                <c:pt idx="10">
                  <c:v>0.13892985695380844</c:v>
                </c:pt>
                <c:pt idx="11">
                  <c:v>8.6721611521340947E-2</c:v>
                </c:pt>
                <c:pt idx="12">
                  <c:v>0.19277089969682493</c:v>
                </c:pt>
                <c:pt idx="13">
                  <c:v>0.10378621736361993</c:v>
                </c:pt>
                <c:pt idx="14">
                  <c:v>6.0148667807666811E-2</c:v>
                </c:pt>
                <c:pt idx="15">
                  <c:v>0.13136326349538763</c:v>
                </c:pt>
                <c:pt idx="16">
                  <c:v>0.15687812116783562</c:v>
                </c:pt>
                <c:pt idx="17">
                  <c:v>0.12003132175972553</c:v>
                </c:pt>
                <c:pt idx="18">
                  <c:v>5.6409185569080478E-2</c:v>
                </c:pt>
                <c:pt idx="19">
                  <c:v>-1.8699021040674779E-2</c:v>
                </c:pt>
                <c:pt idx="20">
                  <c:v>-2.1590552487481318E-2</c:v>
                </c:pt>
                <c:pt idx="21">
                  <c:v>-6.5173216462582673E-2</c:v>
                </c:pt>
                <c:pt idx="22">
                  <c:v>0.11638601358880862</c:v>
                </c:pt>
                <c:pt idx="23">
                  <c:v>0.13745273964367755</c:v>
                </c:pt>
                <c:pt idx="24">
                  <c:v>0.30528508170320379</c:v>
                </c:pt>
                <c:pt idx="25">
                  <c:v>0.17953274775345562</c:v>
                </c:pt>
                <c:pt idx="26">
                  <c:v>2.0362308114684424E-2</c:v>
                </c:pt>
                <c:pt idx="27">
                  <c:v>-8.0928471844629257E-2</c:v>
                </c:pt>
                <c:pt idx="28">
                  <c:v>-9.6547199361893377E-2</c:v>
                </c:pt>
                <c:pt idx="29">
                  <c:v>-0.16028941836651711</c:v>
                </c:pt>
                <c:pt idx="30">
                  <c:v>-6.0212237449803752E-2</c:v>
                </c:pt>
                <c:pt idx="31">
                  <c:v>-0.17869109061851418</c:v>
                </c:pt>
                <c:pt idx="32">
                  <c:v>-9.7296506957221141E-2</c:v>
                </c:pt>
                <c:pt idx="33">
                  <c:v>-0.14780986533737916</c:v>
                </c:pt>
                <c:pt idx="34">
                  <c:v>-0.28952805800230408</c:v>
                </c:pt>
                <c:pt idx="35">
                  <c:v>-0.26753723395053441</c:v>
                </c:pt>
                <c:pt idx="36">
                  <c:v>-0.30149437655427391</c:v>
                </c:pt>
                <c:pt idx="37">
                  <c:v>-0.17521147150270622</c:v>
                </c:pt>
                <c:pt idx="38">
                  <c:v>-0.25921278804676717</c:v>
                </c:pt>
                <c:pt idx="39">
                  <c:v>-0.25405853968973702</c:v>
                </c:pt>
                <c:pt idx="40">
                  <c:v>-0.30406041840649323</c:v>
                </c:pt>
                <c:pt idx="41">
                  <c:v>-0.34074071506910286</c:v>
                </c:pt>
                <c:pt idx="42">
                  <c:v>-0.29501811617954843</c:v>
                </c:pt>
                <c:pt idx="43">
                  <c:v>-0.21106654929990043</c:v>
                </c:pt>
                <c:pt idx="44">
                  <c:v>-0.17250266270423253</c:v>
                </c:pt>
                <c:pt idx="45">
                  <c:v>-0.24855453737207256</c:v>
                </c:pt>
                <c:pt idx="46">
                  <c:v>-0.35731779062044211</c:v>
                </c:pt>
                <c:pt idx="47">
                  <c:v>-0.20688482417702403</c:v>
                </c:pt>
                <c:pt idx="48">
                  <c:v>-8.3688553957685485E-2</c:v>
                </c:pt>
                <c:pt idx="49">
                  <c:v>-0.13113865515754242</c:v>
                </c:pt>
                <c:pt idx="50">
                  <c:v>-0.13777007630008598</c:v>
                </c:pt>
                <c:pt idx="51">
                  <c:v>-0.27234990617631638</c:v>
                </c:pt>
                <c:pt idx="52">
                  <c:v>-0.27648515500516169</c:v>
                </c:pt>
                <c:pt idx="53">
                  <c:v>-0.23406631391402755</c:v>
                </c:pt>
                <c:pt idx="54">
                  <c:v>-9.3522722588957663E-2</c:v>
                </c:pt>
                <c:pt idx="55">
                  <c:v>-2.4841988664888959E-2</c:v>
                </c:pt>
                <c:pt idx="56">
                  <c:v>-0.10209451508994505</c:v>
                </c:pt>
                <c:pt idx="57">
                  <c:v>-6.3749074765382829E-2</c:v>
                </c:pt>
                <c:pt idx="58">
                  <c:v>4.2050807036773108E-2</c:v>
                </c:pt>
                <c:pt idx="59">
                  <c:v>-8.0402103220535537E-2</c:v>
                </c:pt>
                <c:pt idx="60">
                  <c:v>-0.11973665222735974</c:v>
                </c:pt>
                <c:pt idx="61">
                  <c:v>-9.9030088175055653E-2</c:v>
                </c:pt>
                <c:pt idx="62">
                  <c:v>-0.21976411948564589</c:v>
                </c:pt>
                <c:pt idx="63">
                  <c:v>-0.14074614779215722</c:v>
                </c:pt>
                <c:pt idx="64">
                  <c:v>-0.22611805569411558</c:v>
                </c:pt>
                <c:pt idx="65">
                  <c:v>-0.26980138088887884</c:v>
                </c:pt>
                <c:pt idx="66">
                  <c:v>-0.13249871805410862</c:v>
                </c:pt>
                <c:pt idx="67">
                  <c:v>-2.5643187155637293E-2</c:v>
                </c:pt>
                <c:pt idx="68">
                  <c:v>-8.5435955347534787E-2</c:v>
                </c:pt>
                <c:pt idx="69">
                  <c:v>-9.9442602016623027E-2</c:v>
                </c:pt>
                <c:pt idx="70">
                  <c:v>-0.1474059632901259</c:v>
                </c:pt>
                <c:pt idx="71">
                  <c:v>-0.11170756301299889</c:v>
                </c:pt>
                <c:pt idx="72">
                  <c:v>-0.11550010002972044</c:v>
                </c:pt>
                <c:pt idx="73">
                  <c:v>-9.0453989304876359E-2</c:v>
                </c:pt>
                <c:pt idx="74">
                  <c:v>-0.14782843368931253</c:v>
                </c:pt>
                <c:pt idx="75">
                  <c:v>-0.16014177873016422</c:v>
                </c:pt>
                <c:pt idx="76">
                  <c:v>-0.30651729810060147</c:v>
                </c:pt>
                <c:pt idx="77">
                  <c:v>-0.34247965819022852</c:v>
                </c:pt>
                <c:pt idx="78">
                  <c:v>-0.41896206554915238</c:v>
                </c:pt>
                <c:pt idx="79">
                  <c:v>-0.54294210127550002</c:v>
                </c:pt>
                <c:pt idx="80">
                  <c:v>-0.66728587489276947</c:v>
                </c:pt>
                <c:pt idx="81">
                  <c:v>-0.65277367499010097</c:v>
                </c:pt>
                <c:pt idx="82">
                  <c:v>-0.83564633103107155</c:v>
                </c:pt>
                <c:pt idx="83">
                  <c:v>-0.90997259189916235</c:v>
                </c:pt>
                <c:pt idx="84">
                  <c:v>-0.87111671698448845</c:v>
                </c:pt>
                <c:pt idx="85">
                  <c:v>-0.92647757326062674</c:v>
                </c:pt>
                <c:pt idx="86">
                  <c:v>-1.0590113126076943</c:v>
                </c:pt>
                <c:pt idx="87">
                  <c:v>-0.82083675978201143</c:v>
                </c:pt>
                <c:pt idx="88">
                  <c:v>-0.92613364218419747</c:v>
                </c:pt>
                <c:pt idx="89">
                  <c:v>-0.83113300597631223</c:v>
                </c:pt>
                <c:pt idx="90">
                  <c:v>-0.89120632136558697</c:v>
                </c:pt>
                <c:pt idx="91">
                  <c:v>-0.78766498792214179</c:v>
                </c:pt>
                <c:pt idx="92">
                  <c:v>-0.27820944403066505</c:v>
                </c:pt>
                <c:pt idx="93">
                  <c:v>-0.74820438470561612</c:v>
                </c:pt>
                <c:pt idx="94">
                  <c:v>-0.74972563050990004</c:v>
                </c:pt>
                <c:pt idx="95">
                  <c:v>-0.61050885342990568</c:v>
                </c:pt>
                <c:pt idx="96">
                  <c:v>-0.74185316992172545</c:v>
                </c:pt>
                <c:pt idx="97">
                  <c:v>-0.73680159579269855</c:v>
                </c:pt>
                <c:pt idx="98">
                  <c:v>-0.6055448454718686</c:v>
                </c:pt>
                <c:pt idx="99">
                  <c:v>-0.64871672887501575</c:v>
                </c:pt>
                <c:pt idx="100">
                  <c:v>-0.42908325278442305</c:v>
                </c:pt>
                <c:pt idx="101">
                  <c:v>-0.23762874728409145</c:v>
                </c:pt>
                <c:pt idx="102">
                  <c:v>-9.0948725943192699E-2</c:v>
                </c:pt>
                <c:pt idx="103">
                  <c:v>-0.29722087395495578</c:v>
                </c:pt>
                <c:pt idx="104">
                  <c:v>-0.12456918948664963</c:v>
                </c:pt>
                <c:pt idx="105">
                  <c:v>-9.209837418627842E-2</c:v>
                </c:pt>
                <c:pt idx="106">
                  <c:v>6.0137346398946079E-2</c:v>
                </c:pt>
                <c:pt idx="107">
                  <c:v>-0.119104151624569</c:v>
                </c:pt>
                <c:pt idx="108">
                  <c:v>-0.11748590406099879</c:v>
                </c:pt>
                <c:pt idx="109">
                  <c:v>-7.3753386909572782E-2</c:v>
                </c:pt>
                <c:pt idx="110">
                  <c:v>-0.10113202674453703</c:v>
                </c:pt>
                <c:pt idx="111">
                  <c:v>-0.14159239035635096</c:v>
                </c:pt>
                <c:pt idx="112">
                  <c:v>-0.17578667358745292</c:v>
                </c:pt>
                <c:pt idx="113">
                  <c:v>-0.37729994940826828</c:v>
                </c:pt>
                <c:pt idx="114">
                  <c:v>-0.27173799130662246</c:v>
                </c:pt>
                <c:pt idx="115">
                  <c:v>-0.28144261341257959</c:v>
                </c:pt>
                <c:pt idx="116">
                  <c:v>-0.21069907697479096</c:v>
                </c:pt>
                <c:pt idx="117">
                  <c:v>-0.31384855390322741</c:v>
                </c:pt>
                <c:pt idx="118">
                  <c:v>-0.35029474318476161</c:v>
                </c:pt>
                <c:pt idx="119">
                  <c:v>-0.31514611765364009</c:v>
                </c:pt>
                <c:pt idx="120">
                  <c:v>-0.33686773855788488</c:v>
                </c:pt>
                <c:pt idx="121">
                  <c:v>-0.39578801708289291</c:v>
                </c:pt>
                <c:pt idx="122">
                  <c:v>-0.46572416296301355</c:v>
                </c:pt>
                <c:pt idx="123">
                  <c:v>-0.44457392153118747</c:v>
                </c:pt>
                <c:pt idx="124">
                  <c:v>-0.31351665188142874</c:v>
                </c:pt>
                <c:pt idx="125">
                  <c:v>-0.29290329934021031</c:v>
                </c:pt>
                <c:pt idx="126">
                  <c:v>-0.26507868063637829</c:v>
                </c:pt>
                <c:pt idx="127">
                  <c:v>-0.25723015578245167</c:v>
                </c:pt>
                <c:pt idx="128">
                  <c:v>-0.40372661893661643</c:v>
                </c:pt>
                <c:pt idx="129">
                  <c:v>-0.36655699341108061</c:v>
                </c:pt>
                <c:pt idx="130">
                  <c:v>-0.3458431218258653</c:v>
                </c:pt>
                <c:pt idx="131">
                  <c:v>-0.38251983922776844</c:v>
                </c:pt>
                <c:pt idx="132">
                  <c:v>-0.33072506165530058</c:v>
                </c:pt>
                <c:pt idx="133">
                  <c:v>-0.23296742523420733</c:v>
                </c:pt>
                <c:pt idx="134">
                  <c:v>-0.21644993561753267</c:v>
                </c:pt>
                <c:pt idx="135">
                  <c:v>-0.33297585219808923</c:v>
                </c:pt>
                <c:pt idx="136">
                  <c:v>-0.18770995147474423</c:v>
                </c:pt>
                <c:pt idx="137">
                  <c:v>-0.17571438980330356</c:v>
                </c:pt>
                <c:pt idx="138">
                  <c:v>-0.23937096645052236</c:v>
                </c:pt>
                <c:pt idx="139">
                  <c:v>-0.14109441135600775</c:v>
                </c:pt>
                <c:pt idx="140">
                  <c:v>-5.705797396464618E-2</c:v>
                </c:pt>
                <c:pt idx="141">
                  <c:v>0.12796491831839774</c:v>
                </c:pt>
                <c:pt idx="142">
                  <c:v>0.16135573066063102</c:v>
                </c:pt>
                <c:pt idx="143">
                  <c:v>0.458867494649283</c:v>
                </c:pt>
                <c:pt idx="144">
                  <c:v>0.74800422724372595</c:v>
                </c:pt>
                <c:pt idx="145">
                  <c:v>0.79643841663704507</c:v>
                </c:pt>
                <c:pt idx="146">
                  <c:v>0.71466894794647828</c:v>
                </c:pt>
                <c:pt idx="147">
                  <c:v>0.41730661178335993</c:v>
                </c:pt>
                <c:pt idx="148">
                  <c:v>0.36043717863256575</c:v>
                </c:pt>
                <c:pt idx="149">
                  <c:v>0.39600494883629267</c:v>
                </c:pt>
                <c:pt idx="150">
                  <c:v>0.43010097433253236</c:v>
                </c:pt>
                <c:pt idx="151">
                  <c:v>0.52799534901245693</c:v>
                </c:pt>
                <c:pt idx="152">
                  <c:v>0.55397339696887116</c:v>
                </c:pt>
                <c:pt idx="153">
                  <c:v>0.33097812676167848</c:v>
                </c:pt>
                <c:pt idx="154">
                  <c:v>0.48871508008264186</c:v>
                </c:pt>
                <c:pt idx="155">
                  <c:v>0.59685086855394331</c:v>
                </c:pt>
                <c:pt idx="156">
                  <c:v>0.61950271308467109</c:v>
                </c:pt>
                <c:pt idx="157">
                  <c:v>0.61901833914141946</c:v>
                </c:pt>
                <c:pt idx="158">
                  <c:v>0.7486262048253991</c:v>
                </c:pt>
                <c:pt idx="159">
                  <c:v>1.1257377345226161</c:v>
                </c:pt>
                <c:pt idx="160">
                  <c:v>1.2647143557263831</c:v>
                </c:pt>
                <c:pt idx="161">
                  <c:v>1.2340726456586992</c:v>
                </c:pt>
                <c:pt idx="162">
                  <c:v>1.0285345302355182</c:v>
                </c:pt>
                <c:pt idx="163">
                  <c:v>1.2861605612169029</c:v>
                </c:pt>
                <c:pt idx="164">
                  <c:v>1.2986280502809961</c:v>
                </c:pt>
                <c:pt idx="165">
                  <c:v>1.3780269081317726</c:v>
                </c:pt>
                <c:pt idx="166">
                  <c:v>1.6708746363859603</c:v>
                </c:pt>
                <c:pt idx="167">
                  <c:v>1.8368815633957354</c:v>
                </c:pt>
                <c:pt idx="168">
                  <c:v>1.6589256987166294</c:v>
                </c:pt>
                <c:pt idx="169">
                  <c:v>1.7134836124092061</c:v>
                </c:pt>
                <c:pt idx="170">
                  <c:v>1.5887346389016557</c:v>
                </c:pt>
                <c:pt idx="171">
                  <c:v>1.6105359681051539</c:v>
                </c:pt>
                <c:pt idx="172">
                  <c:v>1.4248032136874826</c:v>
                </c:pt>
                <c:pt idx="173">
                  <c:v>1.4997577438786749</c:v>
                </c:pt>
                <c:pt idx="174">
                  <c:v>1.5984646595617704</c:v>
                </c:pt>
                <c:pt idx="175">
                  <c:v>1.9765415318552044</c:v>
                </c:pt>
                <c:pt idx="176">
                  <c:v>2.1860460691308816</c:v>
                </c:pt>
                <c:pt idx="177">
                  <c:v>2.1509753062251065</c:v>
                </c:pt>
                <c:pt idx="178">
                  <c:v>2.0637912484829712</c:v>
                </c:pt>
                <c:pt idx="179">
                  <c:v>1.7778987629006906</c:v>
                </c:pt>
                <c:pt idx="180">
                  <c:v>1.5959611134696132</c:v>
                </c:pt>
                <c:pt idx="181">
                  <c:v>1.6184532287224727</c:v>
                </c:pt>
                <c:pt idx="182">
                  <c:v>1.6739070557788835</c:v>
                </c:pt>
                <c:pt idx="183">
                  <c:v>1.3356356485784175</c:v>
                </c:pt>
                <c:pt idx="184">
                  <c:v>1.132779913447024</c:v>
                </c:pt>
                <c:pt idx="185">
                  <c:v>1.2501960624204287</c:v>
                </c:pt>
                <c:pt idx="186">
                  <c:v>1.2073754506203187</c:v>
                </c:pt>
                <c:pt idx="187">
                  <c:v>1.1271407814300858</c:v>
                </c:pt>
                <c:pt idx="188">
                  <c:v>0.85216145918565189</c:v>
                </c:pt>
                <c:pt idx="189">
                  <c:v>0.78994505942199567</c:v>
                </c:pt>
                <c:pt idx="190">
                  <c:v>0.75542345898061569</c:v>
                </c:pt>
                <c:pt idx="191">
                  <c:v>1.0375748954627824</c:v>
                </c:pt>
                <c:pt idx="192">
                  <c:v>1.0233962260695364</c:v>
                </c:pt>
                <c:pt idx="193">
                  <c:v>0.99319399100326677</c:v>
                </c:pt>
                <c:pt idx="194">
                  <c:v>1.1355860863335607</c:v>
                </c:pt>
                <c:pt idx="195">
                  <c:v>1.0006924280222478</c:v>
                </c:pt>
                <c:pt idx="196">
                  <c:v>1.0313730266278185</c:v>
                </c:pt>
                <c:pt idx="197">
                  <c:v>0.88985435191079887</c:v>
                </c:pt>
                <c:pt idx="198">
                  <c:v>0.97255627099308128</c:v>
                </c:pt>
                <c:pt idx="199">
                  <c:v>0.86977595733925739</c:v>
                </c:pt>
                <c:pt idx="200">
                  <c:v>0.96837486172785248</c:v>
                </c:pt>
                <c:pt idx="201">
                  <c:v>0.87385784567766223</c:v>
                </c:pt>
                <c:pt idx="202">
                  <c:v>1.0107206681232981</c:v>
                </c:pt>
                <c:pt idx="203">
                  <c:v>0.94344995956885214</c:v>
                </c:pt>
                <c:pt idx="204">
                  <c:v>0.87859595534406765</c:v>
                </c:pt>
                <c:pt idx="205">
                  <c:v>1.1523929712334393</c:v>
                </c:pt>
                <c:pt idx="206">
                  <c:v>1.1846567831488954</c:v>
                </c:pt>
                <c:pt idx="207">
                  <c:v>1.1762838746825821</c:v>
                </c:pt>
                <c:pt idx="208">
                  <c:v>1.2474673307173845</c:v>
                </c:pt>
                <c:pt idx="209">
                  <c:v>1.1717762862936354</c:v>
                </c:pt>
                <c:pt idx="210">
                  <c:v>1.1914842067703404</c:v>
                </c:pt>
                <c:pt idx="211">
                  <c:v>1.1876916708687872</c:v>
                </c:pt>
                <c:pt idx="212">
                  <c:v>1.2814405631362433</c:v>
                </c:pt>
                <c:pt idx="213">
                  <c:v>1.2027199952161283</c:v>
                </c:pt>
                <c:pt idx="214">
                  <c:v>1.2877271438986355</c:v>
                </c:pt>
                <c:pt idx="215">
                  <c:v>1.3769233805839747</c:v>
                </c:pt>
                <c:pt idx="216">
                  <c:v>1.5254041151598443</c:v>
                </c:pt>
                <c:pt idx="217">
                  <c:v>1.3799597656815763</c:v>
                </c:pt>
                <c:pt idx="218">
                  <c:v>1.5435170591119061</c:v>
                </c:pt>
                <c:pt idx="219">
                  <c:v>1.5188013574198465</c:v>
                </c:pt>
                <c:pt idx="220">
                  <c:v>1.7404581430001258</c:v>
                </c:pt>
                <c:pt idx="221">
                  <c:v>1.7541843650210609</c:v>
                </c:pt>
                <c:pt idx="222">
                  <c:v>1.8710435669078578</c:v>
                </c:pt>
                <c:pt idx="223">
                  <c:v>1.8167367089371282</c:v>
                </c:pt>
                <c:pt idx="224">
                  <c:v>0.97087022237217013</c:v>
                </c:pt>
                <c:pt idx="225">
                  <c:v>1.7905485658014157</c:v>
                </c:pt>
                <c:pt idx="226">
                  <c:v>1.9957132350964315</c:v>
                </c:pt>
                <c:pt idx="227">
                  <c:v>1.850630066371707</c:v>
                </c:pt>
                <c:pt idx="228">
                  <c:v>1.7549846686570447</c:v>
                </c:pt>
                <c:pt idx="229">
                  <c:v>1.7456432862660307</c:v>
                </c:pt>
                <c:pt idx="230">
                  <c:v>1.8051018300557331</c:v>
                </c:pt>
                <c:pt idx="231">
                  <c:v>1.5924152900628599</c:v>
                </c:pt>
                <c:pt idx="232">
                  <c:v>1.6728014434042393</c:v>
                </c:pt>
                <c:pt idx="233">
                  <c:v>1.7301777218166876</c:v>
                </c:pt>
                <c:pt idx="234">
                  <c:v>1.5181832266579676</c:v>
                </c:pt>
                <c:pt idx="235">
                  <c:v>1.6401062502455801</c:v>
                </c:pt>
                <c:pt idx="236">
                  <c:v>1.4695026901324724</c:v>
                </c:pt>
                <c:pt idx="237">
                  <c:v>1.4599906262502742</c:v>
                </c:pt>
                <c:pt idx="238">
                  <c:v>1.3870613973619186</c:v>
                </c:pt>
                <c:pt idx="239">
                  <c:v>1.2933906196206806</c:v>
                </c:pt>
                <c:pt idx="240">
                  <c:v>1.2598031217474812</c:v>
                </c:pt>
                <c:pt idx="241">
                  <c:v>1.197328142640643</c:v>
                </c:pt>
                <c:pt idx="242">
                  <c:v>1.3752331785568401</c:v>
                </c:pt>
                <c:pt idx="243">
                  <c:v>0.83906174104133413</c:v>
                </c:pt>
                <c:pt idx="244">
                  <c:v>1.3316421921504258</c:v>
                </c:pt>
                <c:pt idx="245">
                  <c:v>1.2322123683575228</c:v>
                </c:pt>
                <c:pt idx="246">
                  <c:v>1.2656369821970941</c:v>
                </c:pt>
                <c:pt idx="247">
                  <c:v>1.3568383475840022</c:v>
                </c:pt>
                <c:pt idx="248">
                  <c:v>1.1797876906893094</c:v>
                </c:pt>
                <c:pt idx="249">
                  <c:v>1.3835676857064101</c:v>
                </c:pt>
                <c:pt idx="250">
                  <c:v>1.3947916352678362</c:v>
                </c:pt>
                <c:pt idx="251">
                  <c:v>1.4982574549889733</c:v>
                </c:pt>
                <c:pt idx="252">
                  <c:v>1.4148631434498355</c:v>
                </c:pt>
                <c:pt idx="253">
                  <c:v>1.6155908046625882</c:v>
                </c:pt>
                <c:pt idx="254">
                  <c:v>1.6111336369036451</c:v>
                </c:pt>
                <c:pt idx="255">
                  <c:v>1.6300054421510595</c:v>
                </c:pt>
                <c:pt idx="256">
                  <c:v>1.5172069406188911</c:v>
                </c:pt>
                <c:pt idx="257">
                  <c:v>1.2786399336252003</c:v>
                </c:pt>
                <c:pt idx="258">
                  <c:v>1.4131063133003607</c:v>
                </c:pt>
                <c:pt idx="259">
                  <c:v>1.3781426222031712</c:v>
                </c:pt>
                <c:pt idx="260">
                  <c:v>1.4271829177899775</c:v>
                </c:pt>
                <c:pt idx="261">
                  <c:v>1.189800923401819</c:v>
                </c:pt>
                <c:pt idx="262">
                  <c:v>1.2171336644321968</c:v>
                </c:pt>
                <c:pt idx="263">
                  <c:v>1.4749215657727603</c:v>
                </c:pt>
                <c:pt idx="264">
                  <c:v>1.513645187658696</c:v>
                </c:pt>
                <c:pt idx="265">
                  <c:v>1.4625013237846503</c:v>
                </c:pt>
                <c:pt idx="266">
                  <c:v>1.2377396068867625</c:v>
                </c:pt>
                <c:pt idx="267">
                  <c:v>1.3299072415823758</c:v>
                </c:pt>
                <c:pt idx="268">
                  <c:v>1.3029185067236995</c:v>
                </c:pt>
                <c:pt idx="269">
                  <c:v>1.3440868517935911</c:v>
                </c:pt>
                <c:pt idx="270">
                  <c:v>1.3055584201751032</c:v>
                </c:pt>
                <c:pt idx="271">
                  <c:v>1.1234259811090936</c:v>
                </c:pt>
                <c:pt idx="272">
                  <c:v>1.1696259836921428</c:v>
                </c:pt>
                <c:pt idx="273">
                  <c:v>1.2690830171772092</c:v>
                </c:pt>
                <c:pt idx="274">
                  <c:v>1.2859306269916999</c:v>
                </c:pt>
                <c:pt idx="275">
                  <c:v>1.2198852504477173</c:v>
                </c:pt>
                <c:pt idx="276">
                  <c:v>1.2838211624042231</c:v>
                </c:pt>
                <c:pt idx="277">
                  <c:v>1.298187168269564</c:v>
                </c:pt>
                <c:pt idx="278">
                  <c:v>1.3225317650467758</c:v>
                </c:pt>
                <c:pt idx="279">
                  <c:v>1.0356653585040618</c:v>
                </c:pt>
                <c:pt idx="280">
                  <c:v>0.94184055300819125</c:v>
                </c:pt>
                <c:pt idx="281">
                  <c:v>0.91250851686422152</c:v>
                </c:pt>
                <c:pt idx="282">
                  <c:v>0.98680534345129445</c:v>
                </c:pt>
                <c:pt idx="283">
                  <c:v>1.0715402149410949</c:v>
                </c:pt>
                <c:pt idx="284">
                  <c:v>1.2446811895422911</c:v>
                </c:pt>
                <c:pt idx="285">
                  <c:v>1.2996812176144914</c:v>
                </c:pt>
                <c:pt idx="286">
                  <c:v>1.3895776800544724</c:v>
                </c:pt>
                <c:pt idx="287">
                  <c:v>1.3488564748643768</c:v>
                </c:pt>
                <c:pt idx="288">
                  <c:v>1.3529413750609791</c:v>
                </c:pt>
                <c:pt idx="289">
                  <c:v>1.3704813728760286</c:v>
                </c:pt>
                <c:pt idx="290">
                  <c:v>1.4489390042136421</c:v>
                </c:pt>
                <c:pt idx="291">
                  <c:v>1.5020880837471111</c:v>
                </c:pt>
                <c:pt idx="292">
                  <c:v>1.4599440506467403</c:v>
                </c:pt>
                <c:pt idx="293">
                  <c:v>1.3157371045029151</c:v>
                </c:pt>
                <c:pt idx="294">
                  <c:v>1.1849592140326308</c:v>
                </c:pt>
                <c:pt idx="295">
                  <c:v>1.0409580780168994</c:v>
                </c:pt>
                <c:pt idx="296">
                  <c:v>1.0447820566756718</c:v>
                </c:pt>
                <c:pt idx="297">
                  <c:v>0.91991414023395635</c:v>
                </c:pt>
                <c:pt idx="298">
                  <c:v>0.67760957355945095</c:v>
                </c:pt>
                <c:pt idx="299">
                  <c:v>0.5338719308470985</c:v>
                </c:pt>
                <c:pt idx="300">
                  <c:v>0.60255386802859334</c:v>
                </c:pt>
                <c:pt idx="301">
                  <c:v>0.97928863336711913</c:v>
                </c:pt>
                <c:pt idx="302">
                  <c:v>1.0688141791879389</c:v>
                </c:pt>
                <c:pt idx="303">
                  <c:v>1.3375771770286775</c:v>
                </c:pt>
                <c:pt idx="304">
                  <c:v>1.2956337048482283</c:v>
                </c:pt>
                <c:pt idx="305">
                  <c:v>1.198214604525603</c:v>
                </c:pt>
                <c:pt idx="306">
                  <c:v>1.1687628761656867</c:v>
                </c:pt>
                <c:pt idx="307">
                  <c:v>1.0759772722546614</c:v>
                </c:pt>
                <c:pt idx="308">
                  <c:v>1.3206416662790588</c:v>
                </c:pt>
                <c:pt idx="309">
                  <c:v>1.4367489496767547</c:v>
                </c:pt>
                <c:pt idx="310">
                  <c:v>1.5836373863375997</c:v>
                </c:pt>
                <c:pt idx="311">
                  <c:v>1.5830939244365823</c:v>
                </c:pt>
                <c:pt idx="312">
                  <c:v>1.7448583242185549</c:v>
                </c:pt>
                <c:pt idx="313">
                  <c:v>1.7768889771747922</c:v>
                </c:pt>
                <c:pt idx="314">
                  <c:v>1.7219932352629002</c:v>
                </c:pt>
                <c:pt idx="315">
                  <c:v>1.9612088586986403</c:v>
                </c:pt>
                <c:pt idx="316">
                  <c:v>2.169343559012944</c:v>
                </c:pt>
                <c:pt idx="317">
                  <c:v>2.2459087524942305</c:v>
                </c:pt>
                <c:pt idx="318">
                  <c:v>2.4073812895569375</c:v>
                </c:pt>
                <c:pt idx="319">
                  <c:v>2.4374182553956985</c:v>
                </c:pt>
                <c:pt idx="320">
                  <c:v>2.5552884586557099</c:v>
                </c:pt>
                <c:pt idx="321">
                  <c:v>2.6758952406557484</c:v>
                </c:pt>
                <c:pt idx="322">
                  <c:v>2.8270541628226766</c:v>
                </c:pt>
                <c:pt idx="323">
                  <c:v>3.1870600637428055</c:v>
                </c:pt>
                <c:pt idx="324">
                  <c:v>3.2839303220559231</c:v>
                </c:pt>
                <c:pt idx="325">
                  <c:v>3.0772064999090389</c:v>
                </c:pt>
                <c:pt idx="326">
                  <c:v>2.792253654290505</c:v>
                </c:pt>
                <c:pt idx="327">
                  <c:v>2.6301061970997779</c:v>
                </c:pt>
                <c:pt idx="328">
                  <c:v>2.6707624855553007</c:v>
                </c:pt>
                <c:pt idx="329">
                  <c:v>2.7569016854136521</c:v>
                </c:pt>
                <c:pt idx="330">
                  <c:v>2.9909299057962642</c:v>
                </c:pt>
                <c:pt idx="331">
                  <c:v>2.7502294922384039</c:v>
                </c:pt>
                <c:pt idx="332">
                  <c:v>2.9007402233012698</c:v>
                </c:pt>
                <c:pt idx="333">
                  <c:v>3.0206994984753663</c:v>
                </c:pt>
                <c:pt idx="334">
                  <c:v>2.9847846576308967</c:v>
                </c:pt>
                <c:pt idx="335">
                  <c:v>2.7875531972549794</c:v>
                </c:pt>
                <c:pt idx="336">
                  <c:v>2.8043363048114571</c:v>
                </c:pt>
                <c:pt idx="337">
                  <c:v>2.8548341026448441</c:v>
                </c:pt>
                <c:pt idx="338">
                  <c:v>2.93735090457875</c:v>
                </c:pt>
                <c:pt idx="339">
                  <c:v>3.0160198047417168</c:v>
                </c:pt>
                <c:pt idx="340">
                  <c:v>2.8462737522091857</c:v>
                </c:pt>
                <c:pt idx="341">
                  <c:v>2.7110609164900836</c:v>
                </c:pt>
                <c:pt idx="342">
                  <c:v>2.8922082017927551</c:v>
                </c:pt>
                <c:pt idx="343">
                  <c:v>3.19434139254885</c:v>
                </c:pt>
                <c:pt idx="344">
                  <c:v>3.2294539754553</c:v>
                </c:pt>
                <c:pt idx="345">
                  <c:v>3.2864797626766205</c:v>
                </c:pt>
                <c:pt idx="346">
                  <c:v>3.4392332017846456</c:v>
                </c:pt>
                <c:pt idx="347">
                  <c:v>3.5564609026557861</c:v>
                </c:pt>
                <c:pt idx="348">
                  <c:v>3.6396121314757295</c:v>
                </c:pt>
                <c:pt idx="349">
                  <c:v>3.8504355201774416</c:v>
                </c:pt>
                <c:pt idx="350">
                  <c:v>3.7542619694661994</c:v>
                </c:pt>
                <c:pt idx="351">
                  <c:v>3.66975628055215</c:v>
                </c:pt>
                <c:pt idx="352">
                  <c:v>3.6132079347469528</c:v>
                </c:pt>
                <c:pt idx="353">
                  <c:v>3.5106112337212068</c:v>
                </c:pt>
                <c:pt idx="354">
                  <c:v>3.4076852344129094</c:v>
                </c:pt>
                <c:pt idx="355">
                  <c:v>3.2003621129915274</c:v>
                </c:pt>
                <c:pt idx="356">
                  <c:v>2.957874273405011</c:v>
                </c:pt>
                <c:pt idx="357">
                  <c:v>2.8948539971042493</c:v>
                </c:pt>
                <c:pt idx="358">
                  <c:v>2.7856637881145758</c:v>
                </c:pt>
                <c:pt idx="359">
                  <c:v>2.8521369401840104</c:v>
                </c:pt>
                <c:pt idx="360">
                  <c:v>2.9504652204307433</c:v>
                </c:pt>
                <c:pt idx="361">
                  <c:v>2.9769737973122119</c:v>
                </c:pt>
                <c:pt idx="362">
                  <c:v>2.874398735175447</c:v>
                </c:pt>
                <c:pt idx="363">
                  <c:v>2.7800177182769943</c:v>
                </c:pt>
                <c:pt idx="364">
                  <c:v>2.9266162890585719</c:v>
                </c:pt>
                <c:pt idx="365">
                  <c:v>3.123359187208564</c:v>
                </c:pt>
                <c:pt idx="366">
                  <c:v>3.1199085055166194</c:v>
                </c:pt>
                <c:pt idx="367">
                  <c:v>2.8353447651442849</c:v>
                </c:pt>
                <c:pt idx="368">
                  <c:v>2.29652116395674</c:v>
                </c:pt>
                <c:pt idx="369">
                  <c:v>2.360854995057764</c:v>
                </c:pt>
                <c:pt idx="370">
                  <c:v>2.3196990776045254</c:v>
                </c:pt>
                <c:pt idx="371">
                  <c:v>2.1524413640076432</c:v>
                </c:pt>
                <c:pt idx="372">
                  <c:v>2.1756276692331511</c:v>
                </c:pt>
                <c:pt idx="373">
                  <c:v>2.3607984303281171</c:v>
                </c:pt>
                <c:pt idx="374">
                  <c:v>2.2736783536228558</c:v>
                </c:pt>
                <c:pt idx="375">
                  <c:v>1.9739710237950874</c:v>
                </c:pt>
                <c:pt idx="376">
                  <c:v>1.9012819021896377</c:v>
                </c:pt>
                <c:pt idx="377">
                  <c:v>2.0442593121083519</c:v>
                </c:pt>
                <c:pt idx="378">
                  <c:v>1.8071622840787143</c:v>
                </c:pt>
                <c:pt idx="379">
                  <c:v>1.8036239902474023</c:v>
                </c:pt>
                <c:pt idx="380">
                  <c:v>1.935341784148136</c:v>
                </c:pt>
                <c:pt idx="381">
                  <c:v>2.0020771637320252</c:v>
                </c:pt>
                <c:pt idx="382">
                  <c:v>2.1175144838947944</c:v>
                </c:pt>
                <c:pt idx="383">
                  <c:v>2.2625596378401553</c:v>
                </c:pt>
                <c:pt idx="384">
                  <c:v>2.2285556228910508</c:v>
                </c:pt>
                <c:pt idx="385">
                  <c:v>2.1729068548164889</c:v>
                </c:pt>
                <c:pt idx="386">
                  <c:v>2.0209781969719103</c:v>
                </c:pt>
                <c:pt idx="387">
                  <c:v>2.1140050657676852</c:v>
                </c:pt>
                <c:pt idx="388">
                  <c:v>2.1638188174664776</c:v>
                </c:pt>
                <c:pt idx="389">
                  <c:v>2.2851391897460047</c:v>
                </c:pt>
                <c:pt idx="390">
                  <c:v>2.2400451698358097</c:v>
                </c:pt>
                <c:pt idx="391">
                  <c:v>2.3271208938190568</c:v>
                </c:pt>
                <c:pt idx="392">
                  <c:v>2.2920679436369795</c:v>
                </c:pt>
                <c:pt idx="393">
                  <c:v>2.4199814116376075</c:v>
                </c:pt>
                <c:pt idx="394">
                  <c:v>2.5279093358373927</c:v>
                </c:pt>
                <c:pt idx="395">
                  <c:v>2.5363210335022188</c:v>
                </c:pt>
                <c:pt idx="396">
                  <c:v>2.5706590104472156</c:v>
                </c:pt>
                <c:pt idx="397">
                  <c:v>2.8187710222209432</c:v>
                </c:pt>
                <c:pt idx="398">
                  <c:v>2.8172849024784767</c:v>
                </c:pt>
                <c:pt idx="399">
                  <c:v>2.9613482116950678</c:v>
                </c:pt>
                <c:pt idx="400">
                  <c:v>3.0119248348328966</c:v>
                </c:pt>
                <c:pt idx="401">
                  <c:v>2.9521823118743669</c:v>
                </c:pt>
                <c:pt idx="402">
                  <c:v>2.8223278278390609</c:v>
                </c:pt>
                <c:pt idx="403">
                  <c:v>3.0447649826667771</c:v>
                </c:pt>
                <c:pt idx="404">
                  <c:v>3.0050036129951678</c:v>
                </c:pt>
                <c:pt idx="405">
                  <c:v>2.9407974915925053</c:v>
                </c:pt>
                <c:pt idx="406">
                  <c:v>2.8198204255049433</c:v>
                </c:pt>
                <c:pt idx="407">
                  <c:v>2.9462171241349182</c:v>
                </c:pt>
                <c:pt idx="408">
                  <c:v>3.1976314946441988</c:v>
                </c:pt>
                <c:pt idx="409">
                  <c:v>3.162468211996071</c:v>
                </c:pt>
                <c:pt idx="410">
                  <c:v>3.1244555613666449</c:v>
                </c:pt>
                <c:pt idx="411">
                  <c:v>2.9707376947892925</c:v>
                </c:pt>
                <c:pt idx="412">
                  <c:v>2.9517324653589725</c:v>
                </c:pt>
                <c:pt idx="413">
                  <c:v>2.9938097080958528</c:v>
                </c:pt>
                <c:pt idx="414">
                  <c:v>3.0571427886845726</c:v>
                </c:pt>
                <c:pt idx="415">
                  <c:v>3.0326791730459774</c:v>
                </c:pt>
                <c:pt idx="416">
                  <c:v>3.1233945377077106</c:v>
                </c:pt>
                <c:pt idx="417">
                  <c:v>3.2482464860894567</c:v>
                </c:pt>
                <c:pt idx="418">
                  <c:v>3.2482464860894567</c:v>
                </c:pt>
                <c:pt idx="419">
                  <c:v>3.3769680989193205</c:v>
                </c:pt>
                <c:pt idx="420">
                  <c:v>3.4682553763643966</c:v>
                </c:pt>
                <c:pt idx="421">
                  <c:v>3.5764091783593557</c:v>
                </c:pt>
                <c:pt idx="422">
                  <c:v>3.993516278243078</c:v>
                </c:pt>
                <c:pt idx="423">
                  <c:v>4.0019413753254156</c:v>
                </c:pt>
                <c:pt idx="424">
                  <c:v>4.0070736233810891</c:v>
                </c:pt>
                <c:pt idx="425">
                  <c:v>3.8347133681901084</c:v>
                </c:pt>
                <c:pt idx="426">
                  <c:v>3.9444643607754273</c:v>
                </c:pt>
                <c:pt idx="427">
                  <c:v>3.4655893242790228</c:v>
                </c:pt>
                <c:pt idx="428">
                  <c:v>3.8545324613455705</c:v>
                </c:pt>
                <c:pt idx="429">
                  <c:v>3.6951306783158344</c:v>
                </c:pt>
                <c:pt idx="430">
                  <c:v>3.655784035310532</c:v>
                </c:pt>
                <c:pt idx="431">
                  <c:v>3.6231609458371992</c:v>
                </c:pt>
                <c:pt idx="432">
                  <c:v>3.3743399585275711</c:v>
                </c:pt>
                <c:pt idx="433">
                  <c:v>3.365306793627866</c:v>
                </c:pt>
                <c:pt idx="434">
                  <c:v>3.6120901332988495</c:v>
                </c:pt>
                <c:pt idx="435">
                  <c:v>3.6135640271135401</c:v>
                </c:pt>
                <c:pt idx="436">
                  <c:v>3.8206932539263931</c:v>
                </c:pt>
                <c:pt idx="437">
                  <c:v>3.6369855056428406</c:v>
                </c:pt>
                <c:pt idx="438">
                  <c:v>3.6530740357690945</c:v>
                </c:pt>
                <c:pt idx="439">
                  <c:v>3.9884330191637076</c:v>
                </c:pt>
                <c:pt idx="440">
                  <c:v>4.2420697036330068</c:v>
                </c:pt>
                <c:pt idx="441">
                  <c:v>4.4224032767641432</c:v>
                </c:pt>
                <c:pt idx="442">
                  <c:v>4.1408590044654545</c:v>
                </c:pt>
                <c:pt idx="443">
                  <c:v>4.2685782851696104</c:v>
                </c:pt>
                <c:pt idx="444">
                  <c:v>4.0457043317774577</c:v>
                </c:pt>
                <c:pt idx="445">
                  <c:v>4.1373943777287963</c:v>
                </c:pt>
                <c:pt idx="446">
                  <c:v>4.214287606610668</c:v>
                </c:pt>
                <c:pt idx="447">
                  <c:v>4.374492675158848</c:v>
                </c:pt>
                <c:pt idx="448">
                  <c:v>4.0951042476356605</c:v>
                </c:pt>
                <c:pt idx="449">
                  <c:v>4.1560555583779859</c:v>
                </c:pt>
                <c:pt idx="450">
                  <c:v>4.0990547846527363</c:v>
                </c:pt>
                <c:pt idx="451">
                  <c:v>3.9115004131434148</c:v>
                </c:pt>
                <c:pt idx="452">
                  <c:v>4.2503276298775745</c:v>
                </c:pt>
                <c:pt idx="453">
                  <c:v>4.4016944990365516</c:v>
                </c:pt>
                <c:pt idx="454">
                  <c:v>4.3583318035196044</c:v>
                </c:pt>
                <c:pt idx="455">
                  <c:v>4.5965480467424698</c:v>
                </c:pt>
                <c:pt idx="456">
                  <c:v>4.8288335255225263</c:v>
                </c:pt>
                <c:pt idx="457">
                  <c:v>4.8895838754642398</c:v>
                </c:pt>
                <c:pt idx="458">
                  <c:v>4.696002961570926</c:v>
                </c:pt>
                <c:pt idx="459">
                  <c:v>4.7652132607795039</c:v>
                </c:pt>
                <c:pt idx="460">
                  <c:v>4.5797107957269816</c:v>
                </c:pt>
                <c:pt idx="461">
                  <c:v>4.3568726821363555</c:v>
                </c:pt>
                <c:pt idx="462">
                  <c:v>4.436860905098456</c:v>
                </c:pt>
                <c:pt idx="463">
                  <c:v>4.3341767927613546</c:v>
                </c:pt>
                <c:pt idx="464">
                  <c:v>4.2889072821886032</c:v>
                </c:pt>
                <c:pt idx="465">
                  <c:v>4.3531951645536253</c:v>
                </c:pt>
                <c:pt idx="466">
                  <c:v>4.2763680872259044</c:v>
                </c:pt>
                <c:pt idx="467">
                  <c:v>4.4544147806896603</c:v>
                </c:pt>
                <c:pt idx="468">
                  <c:v>4.4853505160237006</c:v>
                </c:pt>
                <c:pt idx="469">
                  <c:v>4.5047436429981502</c:v>
                </c:pt>
                <c:pt idx="470">
                  <c:v>4.5838322237788276</c:v>
                </c:pt>
                <c:pt idx="471">
                  <c:v>4.6781406758210125</c:v>
                </c:pt>
                <c:pt idx="472">
                  <c:v>4.8215862554560118</c:v>
                </c:pt>
                <c:pt idx="473">
                  <c:v>4.742178268590223</c:v>
                </c:pt>
                <c:pt idx="474">
                  <c:v>4.6211578063595908</c:v>
                </c:pt>
                <c:pt idx="475">
                  <c:v>4.6645614166046556</c:v>
                </c:pt>
                <c:pt idx="476">
                  <c:v>4.723562483754705</c:v>
                </c:pt>
                <c:pt idx="477">
                  <c:v>4.7789738998923497</c:v>
                </c:pt>
                <c:pt idx="478">
                  <c:v>4.688167916864515</c:v>
                </c:pt>
                <c:pt idx="479">
                  <c:v>4.4507277196830159</c:v>
                </c:pt>
                <c:pt idx="480">
                  <c:v>4.9846218344959539</c:v>
                </c:pt>
                <c:pt idx="481">
                  <c:v>4.9932734185146757</c:v>
                </c:pt>
                <c:pt idx="482">
                  <c:v>5.0339546930514985</c:v>
                </c:pt>
                <c:pt idx="483">
                  <c:v>5.0444642038770837</c:v>
                </c:pt>
                <c:pt idx="484">
                  <c:v>5.0152074913213767</c:v>
                </c:pt>
                <c:pt idx="485">
                  <c:v>5.0885691088987102</c:v>
                </c:pt>
                <c:pt idx="486">
                  <c:v>4.9117817000727371</c:v>
                </c:pt>
                <c:pt idx="487">
                  <c:v>5.0385592211213464</c:v>
                </c:pt>
                <c:pt idx="488">
                  <c:v>5.0818834838974425</c:v>
                </c:pt>
                <c:pt idx="489">
                  <c:v>5.1115484904844806</c:v>
                </c:pt>
                <c:pt idx="490">
                  <c:v>4.8160903734212468</c:v>
                </c:pt>
                <c:pt idx="491">
                  <c:v>4.4790187705536368</c:v>
                </c:pt>
                <c:pt idx="492">
                  <c:v>4.2266694309666377</c:v>
                </c:pt>
                <c:pt idx="493">
                  <c:v>4.3292201065424791</c:v>
                </c:pt>
                <c:pt idx="494">
                  <c:v>4.348768774192763</c:v>
                </c:pt>
                <c:pt idx="495">
                  <c:v>4.2931966519272038</c:v>
                </c:pt>
                <c:pt idx="496">
                  <c:v>4.0002078721544478</c:v>
                </c:pt>
                <c:pt idx="497">
                  <c:v>3.6250591295572292</c:v>
                </c:pt>
                <c:pt idx="498">
                  <c:v>3.763437021594811</c:v>
                </c:pt>
                <c:pt idx="499">
                  <c:v>3.9284109663890519</c:v>
                </c:pt>
                <c:pt idx="500">
                  <c:v>4.1739685167976006</c:v>
                </c:pt>
                <c:pt idx="501">
                  <c:v>4.4639512814687237</c:v>
                </c:pt>
                <c:pt idx="502">
                  <c:v>4.583661730624442</c:v>
                </c:pt>
                <c:pt idx="503">
                  <c:v>4.7988776012564358</c:v>
                </c:pt>
                <c:pt idx="504">
                  <c:v>4.8579580974141408</c:v>
                </c:pt>
                <c:pt idx="505">
                  <c:v>5.0081801619238036</c:v>
                </c:pt>
                <c:pt idx="506">
                  <c:v>5.1991802965563068</c:v>
                </c:pt>
                <c:pt idx="507">
                  <c:v>5.1315982583913495</c:v>
                </c:pt>
                <c:pt idx="508">
                  <c:v>5.2000959146262034</c:v>
                </c:pt>
                <c:pt idx="509">
                  <c:v>5.265496353194294</c:v>
                </c:pt>
                <c:pt idx="510">
                  <c:v>5.1191519822644125</c:v>
                </c:pt>
                <c:pt idx="511">
                  <c:v>5.1083376831241338</c:v>
                </c:pt>
                <c:pt idx="512">
                  <c:v>5.1562307714434752</c:v>
                </c:pt>
                <c:pt idx="513">
                  <c:v>5.1929669537082219</c:v>
                </c:pt>
                <c:pt idx="514">
                  <c:v>5.0887280103885075</c:v>
                </c:pt>
                <c:pt idx="515">
                  <c:v>5.1433215265546437</c:v>
                </c:pt>
                <c:pt idx="516">
                  <c:v>4.9782859710338982</c:v>
                </c:pt>
                <c:pt idx="517">
                  <c:v>5.0343549669242407</c:v>
                </c:pt>
                <c:pt idx="518">
                  <c:v>5.0506123348248053</c:v>
                </c:pt>
                <c:pt idx="519">
                  <c:v>5.1396457984399433</c:v>
                </c:pt>
                <c:pt idx="520">
                  <c:v>5.0225057760193295</c:v>
                </c:pt>
                <c:pt idx="521">
                  <c:v>4.6310604458085436</c:v>
                </c:pt>
                <c:pt idx="522">
                  <c:v>4.7245279980721904</c:v>
                </c:pt>
                <c:pt idx="523">
                  <c:v>4.6896272727295667</c:v>
                </c:pt>
                <c:pt idx="524">
                  <c:v>4.656312870954622</c:v>
                </c:pt>
                <c:pt idx="525">
                  <c:v>4.7669895244481353</c:v>
                </c:pt>
                <c:pt idx="526">
                  <c:v>4.8438769926116692</c:v>
                </c:pt>
                <c:pt idx="527">
                  <c:v>4.9208721792681445</c:v>
                </c:pt>
                <c:pt idx="528">
                  <c:v>5.1468317043231337</c:v>
                </c:pt>
                <c:pt idx="529">
                  <c:v>4.9634559101540674</c:v>
                </c:pt>
                <c:pt idx="530">
                  <c:v>5.0386482765149765</c:v>
                </c:pt>
                <c:pt idx="531">
                  <c:v>5.1238507066183985</c:v>
                </c:pt>
                <c:pt idx="532">
                  <c:v>5.2889628156492847</c:v>
                </c:pt>
                <c:pt idx="533">
                  <c:v>5.2177849407737824</c:v>
                </c:pt>
                <c:pt idx="534">
                  <c:v>5.1132412762907364</c:v>
                </c:pt>
                <c:pt idx="535">
                  <c:v>5.0301800698080825</c:v>
                </c:pt>
                <c:pt idx="536">
                  <c:v>5.1226708823018186</c:v>
                </c:pt>
                <c:pt idx="537">
                  <c:v>4.9711943259235483</c:v>
                </c:pt>
                <c:pt idx="538">
                  <c:v>5.0172025068529251</c:v>
                </c:pt>
                <c:pt idx="539">
                  <c:v>5.0373583621207274</c:v>
                </c:pt>
                <c:pt idx="540">
                  <c:v>4.964885231941409</c:v>
                </c:pt>
                <c:pt idx="541">
                  <c:v>4.95159379636236</c:v>
                </c:pt>
                <c:pt idx="542">
                  <c:v>4.8247386241158097</c:v>
                </c:pt>
                <c:pt idx="543">
                  <c:v>5.10993012313115</c:v>
                </c:pt>
                <c:pt idx="544">
                  <c:v>4.9867333416422213</c:v>
                </c:pt>
                <c:pt idx="545">
                  <c:v>4.9948601250543305</c:v>
                </c:pt>
                <c:pt idx="546">
                  <c:v>4.941712189548781</c:v>
                </c:pt>
                <c:pt idx="547">
                  <c:v>5.1223592082865395</c:v>
                </c:pt>
                <c:pt idx="548">
                  <c:v>5.160276874644282</c:v>
                </c:pt>
                <c:pt idx="549">
                  <c:v>5.1083808783268125</c:v>
                </c:pt>
                <c:pt idx="550">
                  <c:v>5.1173945967546075</c:v>
                </c:pt>
                <c:pt idx="551">
                  <c:v>5.1084385228850948</c:v>
                </c:pt>
                <c:pt idx="552">
                  <c:v>4.9350202036613666</c:v>
                </c:pt>
                <c:pt idx="553">
                  <c:v>4.9692488007053441</c:v>
                </c:pt>
                <c:pt idx="554">
                  <c:v>4.9344895914707365</c:v>
                </c:pt>
                <c:pt idx="555">
                  <c:v>4.6281162212416405</c:v>
                </c:pt>
                <c:pt idx="556">
                  <c:v>4.7102002988994229</c:v>
                </c:pt>
                <c:pt idx="557">
                  <c:v>4.5551815605288084</c:v>
                </c:pt>
                <c:pt idx="558">
                  <c:v>4.3669347606869167</c:v>
                </c:pt>
                <c:pt idx="559">
                  <c:v>4.3465715154833902</c:v>
                </c:pt>
                <c:pt idx="560">
                  <c:v>4.4942113731217717</c:v>
                </c:pt>
                <c:pt idx="561">
                  <c:v>4.3093397504415378</c:v>
                </c:pt>
                <c:pt idx="562">
                  <c:v>4.2743682116017681</c:v>
                </c:pt>
                <c:pt idx="563">
                  <c:v>4.4374073456752399</c:v>
                </c:pt>
                <c:pt idx="564">
                  <c:v>4.5274227758572465</c:v>
                </c:pt>
                <c:pt idx="565">
                  <c:v>4.6224551714267648</c:v>
                </c:pt>
                <c:pt idx="566">
                  <c:v>4.3037083739780684</c:v>
                </c:pt>
                <c:pt idx="567">
                  <c:v>4.566538420663278</c:v>
                </c:pt>
                <c:pt idx="568">
                  <c:v>4.6379839008388046</c:v>
                </c:pt>
                <c:pt idx="569">
                  <c:v>4.5747800913690213</c:v>
                </c:pt>
                <c:pt idx="570">
                  <c:v>4.5843272051219799</c:v>
                </c:pt>
                <c:pt idx="571">
                  <c:v>4.3829901713887836</c:v>
                </c:pt>
                <c:pt idx="572">
                  <c:v>4.3176479376027146</c:v>
                </c:pt>
                <c:pt idx="573">
                  <c:v>4.0925212752586333</c:v>
                </c:pt>
                <c:pt idx="574">
                  <c:v>4.0287791962170729</c:v>
                </c:pt>
                <c:pt idx="575">
                  <c:v>3.9825932761365408</c:v>
                </c:pt>
                <c:pt idx="576">
                  <c:v>4.1314784861994838</c:v>
                </c:pt>
                <c:pt idx="577">
                  <c:v>4.0402315282289436</c:v>
                </c:pt>
                <c:pt idx="578">
                  <c:v>4.1502012108463759</c:v>
                </c:pt>
                <c:pt idx="579">
                  <c:v>3.9998047470520959</c:v>
                </c:pt>
                <c:pt idx="580">
                  <c:v>3.8383790706944581</c:v>
                </c:pt>
                <c:pt idx="581">
                  <c:v>3.7793433364731186</c:v>
                </c:pt>
                <c:pt idx="582">
                  <c:v>3.9756660180082264</c:v>
                </c:pt>
                <c:pt idx="583">
                  <c:v>3.9534761800863407</c:v>
                </c:pt>
                <c:pt idx="584">
                  <c:v>4.0951243193063789</c:v>
                </c:pt>
                <c:pt idx="585">
                  <c:v>4.1312081493496322</c:v>
                </c:pt>
                <c:pt idx="586">
                  <c:v>4.0473057635293088</c:v>
                </c:pt>
                <c:pt idx="587">
                  <c:v>4.1262207379060953</c:v>
                </c:pt>
                <c:pt idx="588">
                  <c:v>3.9107985879761884</c:v>
                </c:pt>
                <c:pt idx="589">
                  <c:v>3.9429688026160363</c:v>
                </c:pt>
                <c:pt idx="590">
                  <c:v>3.7817289990849758</c:v>
                </c:pt>
                <c:pt idx="591">
                  <c:v>3.8400086057928888</c:v>
                </c:pt>
                <c:pt idx="592">
                  <c:v>3.8925588250275922</c:v>
                </c:pt>
                <c:pt idx="593">
                  <c:v>3.9154199527561957</c:v>
                </c:pt>
                <c:pt idx="594">
                  <c:v>3.9617085153349905</c:v>
                </c:pt>
                <c:pt idx="595">
                  <c:v>4.0831005693849391</c:v>
                </c:pt>
                <c:pt idx="596">
                  <c:v>4.1396717449937341</c:v>
                </c:pt>
                <c:pt idx="597">
                  <c:v>4.0361788856616982</c:v>
                </c:pt>
                <c:pt idx="598">
                  <c:v>3.7669375718307805</c:v>
                </c:pt>
                <c:pt idx="599">
                  <c:v>3.8000364790205481</c:v>
                </c:pt>
                <c:pt idx="600">
                  <c:v>3.7960370713806952</c:v>
                </c:pt>
                <c:pt idx="601">
                  <c:v>3.6943609571014662</c:v>
                </c:pt>
                <c:pt idx="602">
                  <c:v>3.6691966261542177</c:v>
                </c:pt>
                <c:pt idx="603">
                  <c:v>3.7660718191117581</c:v>
                </c:pt>
                <c:pt idx="604">
                  <c:v>3.9640767058084236</c:v>
                </c:pt>
                <c:pt idx="605">
                  <c:v>3.8661646401177734</c:v>
                </c:pt>
                <c:pt idx="606">
                  <c:v>3.9906524898602385</c:v>
                </c:pt>
                <c:pt idx="607">
                  <c:v>4.0475308407042974</c:v>
                </c:pt>
                <c:pt idx="608">
                  <c:v>4.1057271641133468</c:v>
                </c:pt>
                <c:pt idx="609">
                  <c:v>4.2814003998766736</c:v>
                </c:pt>
                <c:pt idx="610">
                  <c:v>4.1011946303013218</c:v>
                </c:pt>
                <c:pt idx="611">
                  <c:v>4.0422891565637116</c:v>
                </c:pt>
                <c:pt idx="612">
                  <c:v>3.9028924387730655</c:v>
                </c:pt>
                <c:pt idx="613">
                  <c:v>3.9143172077017425</c:v>
                </c:pt>
                <c:pt idx="614">
                  <c:v>3.7358520277431353</c:v>
                </c:pt>
                <c:pt idx="615">
                  <c:v>3.3861842378434233</c:v>
                </c:pt>
                <c:pt idx="616">
                  <c:v>3.0819742149884775</c:v>
                </c:pt>
                <c:pt idx="617">
                  <c:v>2.9773298177120324</c:v>
                </c:pt>
                <c:pt idx="618">
                  <c:v>2.8025594090912023</c:v>
                </c:pt>
                <c:pt idx="619">
                  <c:v>2.7388218743021326</c:v>
                </c:pt>
                <c:pt idx="620">
                  <c:v>2.7243244286755299</c:v>
                </c:pt>
                <c:pt idx="621">
                  <c:v>2.8736303658395883</c:v>
                </c:pt>
                <c:pt idx="622">
                  <c:v>3.1185917515816755</c:v>
                </c:pt>
                <c:pt idx="623">
                  <c:v>2.9842020753108613</c:v>
                </c:pt>
                <c:pt idx="624">
                  <c:v>3.0154626212568587</c:v>
                </c:pt>
                <c:pt idx="625">
                  <c:v>3.0900830569760558</c:v>
                </c:pt>
                <c:pt idx="626">
                  <c:v>3.1680391419736793</c:v>
                </c:pt>
                <c:pt idx="627">
                  <c:v>3.092778654606704</c:v>
                </c:pt>
                <c:pt idx="628">
                  <c:v>3.00058192458755</c:v>
                </c:pt>
                <c:pt idx="629">
                  <c:v>2.9603420635480973</c:v>
                </c:pt>
                <c:pt idx="630">
                  <c:v>2.8870243673274842</c:v>
                </c:pt>
                <c:pt idx="631">
                  <c:v>2.924659624494538</c:v>
                </c:pt>
                <c:pt idx="632">
                  <c:v>2.6301995427176905</c:v>
                </c:pt>
                <c:pt idx="633">
                  <c:v>2.9311395121173263</c:v>
                </c:pt>
                <c:pt idx="634">
                  <c:v>3.3534848501894174</c:v>
                </c:pt>
                <c:pt idx="635">
                  <c:v>3.2361559157961608</c:v>
                </c:pt>
                <c:pt idx="636">
                  <c:v>3.326965490883552</c:v>
                </c:pt>
                <c:pt idx="637">
                  <c:v>3.4855316211934593</c:v>
                </c:pt>
                <c:pt idx="638">
                  <c:v>3.4861577006254265</c:v>
                </c:pt>
                <c:pt idx="639">
                  <c:v>3.1892514003855865</c:v>
                </c:pt>
                <c:pt idx="640">
                  <c:v>3.1929230025496054</c:v>
                </c:pt>
                <c:pt idx="641">
                  <c:v>2.7599558095938477</c:v>
                </c:pt>
                <c:pt idx="642">
                  <c:v>2.4455026455569424</c:v>
                </c:pt>
                <c:pt idx="643">
                  <c:v>2.356450969123415</c:v>
                </c:pt>
                <c:pt idx="644">
                  <c:v>2.6095057387355638</c:v>
                </c:pt>
                <c:pt idx="645">
                  <c:v>2.6485511164907365</c:v>
                </c:pt>
                <c:pt idx="646">
                  <c:v>2.5312503510948545</c:v>
                </c:pt>
                <c:pt idx="647">
                  <c:v>2.5636363980452472</c:v>
                </c:pt>
                <c:pt idx="648">
                  <c:v>2.6441472211421058</c:v>
                </c:pt>
                <c:pt idx="649">
                  <c:v>2.4959850271918782</c:v>
                </c:pt>
                <c:pt idx="650">
                  <c:v>2.6627304532573106</c:v>
                </c:pt>
                <c:pt idx="651">
                  <c:v>2.614320846942789</c:v>
                </c:pt>
                <c:pt idx="652">
                  <c:v>2.5681541509503631</c:v>
                </c:pt>
                <c:pt idx="653">
                  <c:v>2.6263815484775392</c:v>
                </c:pt>
                <c:pt idx="654">
                  <c:v>2.7667464903805836</c:v>
                </c:pt>
                <c:pt idx="655">
                  <c:v>2.8663620913015961</c:v>
                </c:pt>
                <c:pt idx="656">
                  <c:v>2.5998225027947797</c:v>
                </c:pt>
                <c:pt idx="657">
                  <c:v>2.5190658585333665</c:v>
                </c:pt>
                <c:pt idx="658">
                  <c:v>2.6651823712384726</c:v>
                </c:pt>
                <c:pt idx="659">
                  <c:v>2.6066240428399112</c:v>
                </c:pt>
                <c:pt idx="660">
                  <c:v>2.6315841880527842</c:v>
                </c:pt>
                <c:pt idx="661">
                  <c:v>2.5906728846734381</c:v>
                </c:pt>
                <c:pt idx="662">
                  <c:v>2.5983900288270831</c:v>
                </c:pt>
                <c:pt idx="663">
                  <c:v>2.3903145623876441</c:v>
                </c:pt>
                <c:pt idx="664">
                  <c:v>2.3181761393453684</c:v>
                </c:pt>
                <c:pt idx="665">
                  <c:v>2.1933285453865352</c:v>
                </c:pt>
                <c:pt idx="666">
                  <c:v>1.9603816936251377</c:v>
                </c:pt>
                <c:pt idx="667">
                  <c:v>1.7360927913440349</c:v>
                </c:pt>
                <c:pt idx="668">
                  <c:v>1.8995693055923226</c:v>
                </c:pt>
                <c:pt idx="669">
                  <c:v>1.9464585897800646</c:v>
                </c:pt>
                <c:pt idx="670">
                  <c:v>1.9117828578020948</c:v>
                </c:pt>
                <c:pt idx="671">
                  <c:v>1.9273078696173798</c:v>
                </c:pt>
                <c:pt idx="672">
                  <c:v>1.8974093136454258</c:v>
                </c:pt>
                <c:pt idx="673">
                  <c:v>1.9991542024566513</c:v>
                </c:pt>
                <c:pt idx="674">
                  <c:v>2.0401150699910033</c:v>
                </c:pt>
                <c:pt idx="675">
                  <c:v>2.0562970800273348</c:v>
                </c:pt>
                <c:pt idx="676">
                  <c:v>1.9645178150674667</c:v>
                </c:pt>
                <c:pt idx="677">
                  <c:v>2.167610214886551</c:v>
                </c:pt>
                <c:pt idx="678">
                  <c:v>2.3296451856304117</c:v>
                </c:pt>
                <c:pt idx="679">
                  <c:v>2.3743309407996804</c:v>
                </c:pt>
                <c:pt idx="680">
                  <c:v>2.1234326534630696</c:v>
                </c:pt>
                <c:pt idx="681">
                  <c:v>2.2443852482036704</c:v>
                </c:pt>
                <c:pt idx="682">
                  <c:v>2.1899079804918387</c:v>
                </c:pt>
                <c:pt idx="683">
                  <c:v>2.0461761188114735</c:v>
                </c:pt>
                <c:pt idx="684">
                  <c:v>1.7988529902291361</c:v>
                </c:pt>
                <c:pt idx="685">
                  <c:v>1.8280080724105687</c:v>
                </c:pt>
                <c:pt idx="686">
                  <c:v>1.8110780610918766</c:v>
                </c:pt>
                <c:pt idx="687">
                  <c:v>1.8831476448096254</c:v>
                </c:pt>
                <c:pt idx="688">
                  <c:v>1.8079186815308219</c:v>
                </c:pt>
                <c:pt idx="689">
                  <c:v>1.8279585210027136</c:v>
                </c:pt>
                <c:pt idx="690">
                  <c:v>1.9940028847290705</c:v>
                </c:pt>
                <c:pt idx="691">
                  <c:v>2.0791552946548109</c:v>
                </c:pt>
                <c:pt idx="692">
                  <c:v>1.9430720892948301</c:v>
                </c:pt>
                <c:pt idx="693">
                  <c:v>1.9526646183014833</c:v>
                </c:pt>
                <c:pt idx="694">
                  <c:v>2.060988256603153</c:v>
                </c:pt>
                <c:pt idx="695">
                  <c:v>2.140035623362138</c:v>
                </c:pt>
                <c:pt idx="696">
                  <c:v>1.9362603060286148</c:v>
                </c:pt>
                <c:pt idx="697">
                  <c:v>1.893888737256745</c:v>
                </c:pt>
                <c:pt idx="698">
                  <c:v>1.8282853581120548</c:v>
                </c:pt>
                <c:pt idx="699">
                  <c:v>1.9095734634764483</c:v>
                </c:pt>
                <c:pt idx="700">
                  <c:v>2.2818580763697156</c:v>
                </c:pt>
                <c:pt idx="701">
                  <c:v>2.0821293474061235</c:v>
                </c:pt>
                <c:pt idx="702">
                  <c:v>2.233870809860278</c:v>
                </c:pt>
                <c:pt idx="703">
                  <c:v>2.1512786242569462</c:v>
                </c:pt>
                <c:pt idx="704">
                  <c:v>2.1032304462021187</c:v>
                </c:pt>
                <c:pt idx="705">
                  <c:v>2.1613838658306435</c:v>
                </c:pt>
                <c:pt idx="706">
                  <c:v>2.2901490376578977</c:v>
                </c:pt>
                <c:pt idx="707">
                  <c:v>2.247111041037698</c:v>
                </c:pt>
                <c:pt idx="708">
                  <c:v>2.3018363019012043</c:v>
                </c:pt>
                <c:pt idx="709">
                  <c:v>2.1976526013392998</c:v>
                </c:pt>
                <c:pt idx="710">
                  <c:v>2.0934469683823096</c:v>
                </c:pt>
                <c:pt idx="711">
                  <c:v>1.9118796517136758</c:v>
                </c:pt>
                <c:pt idx="712">
                  <c:v>1.9572081699459289</c:v>
                </c:pt>
                <c:pt idx="713">
                  <c:v>1.8916106728271416</c:v>
                </c:pt>
                <c:pt idx="714">
                  <c:v>1.9357910850559676</c:v>
                </c:pt>
                <c:pt idx="715">
                  <c:v>1.916333517037188</c:v>
                </c:pt>
                <c:pt idx="716">
                  <c:v>1.8273061072783463</c:v>
                </c:pt>
                <c:pt idx="717">
                  <c:v>1.911955430156965</c:v>
                </c:pt>
                <c:pt idx="718">
                  <c:v>2.0289970287203687</c:v>
                </c:pt>
                <c:pt idx="719">
                  <c:v>2.0445846146373015</c:v>
                </c:pt>
                <c:pt idx="720">
                  <c:v>2.1269572368632197</c:v>
                </c:pt>
                <c:pt idx="721">
                  <c:v>1.8032380308936666</c:v>
                </c:pt>
                <c:pt idx="722">
                  <c:v>1.7172232169174322</c:v>
                </c:pt>
                <c:pt idx="723">
                  <c:v>1.6023677552812075</c:v>
                </c:pt>
                <c:pt idx="724">
                  <c:v>1.5647010673677215</c:v>
                </c:pt>
                <c:pt idx="725">
                  <c:v>1.4812278439336808</c:v>
                </c:pt>
                <c:pt idx="726">
                  <c:v>1.3330300816059406</c:v>
                </c:pt>
                <c:pt idx="727">
                  <c:v>1.2484294868833956</c:v>
                </c:pt>
                <c:pt idx="728">
                  <c:v>1.2403179269456928</c:v>
                </c:pt>
                <c:pt idx="729">
                  <c:v>1.3503729032020999</c:v>
                </c:pt>
                <c:pt idx="730">
                  <c:v>1.3210906422215629</c:v>
                </c:pt>
                <c:pt idx="731">
                  <c:v>1.3968379584732986</c:v>
                </c:pt>
                <c:pt idx="732">
                  <c:v>1.3793181321000816</c:v>
                </c:pt>
                <c:pt idx="733">
                  <c:v>1.5394127013814938</c:v>
                </c:pt>
                <c:pt idx="734">
                  <c:v>1.4880283040683366</c:v>
                </c:pt>
                <c:pt idx="735">
                  <c:v>1.5915580901929047</c:v>
                </c:pt>
                <c:pt idx="736">
                  <c:v>1.6358166731409796</c:v>
                </c:pt>
                <c:pt idx="737">
                  <c:v>1.7362909912974089</c:v>
                </c:pt>
                <c:pt idx="738">
                  <c:v>1.7891759349558924</c:v>
                </c:pt>
                <c:pt idx="739">
                  <c:v>1.7440128532625465</c:v>
                </c:pt>
                <c:pt idx="740">
                  <c:v>1.6996107679084957</c:v>
                </c:pt>
                <c:pt idx="741">
                  <c:v>1.5848869898304798</c:v>
                </c:pt>
                <c:pt idx="742">
                  <c:v>1.5664227931764003</c:v>
                </c:pt>
                <c:pt idx="743">
                  <c:v>1.7296549249277575</c:v>
                </c:pt>
                <c:pt idx="744">
                  <c:v>1.7513149214655357</c:v>
                </c:pt>
                <c:pt idx="745">
                  <c:v>1.7147455481700575</c:v>
                </c:pt>
                <c:pt idx="746">
                  <c:v>1.8002658743324957</c:v>
                </c:pt>
                <c:pt idx="747">
                  <c:v>1.9251156113602974</c:v>
                </c:pt>
                <c:pt idx="748">
                  <c:v>1.9375091956801498</c:v>
                </c:pt>
                <c:pt idx="749">
                  <c:v>1.9976453481495042</c:v>
                </c:pt>
                <c:pt idx="750">
                  <c:v>2.1553722994736404</c:v>
                </c:pt>
                <c:pt idx="751">
                  <c:v>2.1606166731036041</c:v>
                </c:pt>
                <c:pt idx="752">
                  <c:v>2.2627187222828695</c:v>
                </c:pt>
                <c:pt idx="753">
                  <c:v>2.3149742821606054</c:v>
                </c:pt>
                <c:pt idx="754">
                  <c:v>1.4579505079028507</c:v>
                </c:pt>
                <c:pt idx="755">
                  <c:v>2.3589582078616189</c:v>
                </c:pt>
                <c:pt idx="756">
                  <c:v>2.4962050439827834</c:v>
                </c:pt>
                <c:pt idx="757">
                  <c:v>2.4004120119264059</c:v>
                </c:pt>
                <c:pt idx="758">
                  <c:v>2.4155561693437164</c:v>
                </c:pt>
                <c:pt idx="759">
                  <c:v>2.2686719009510767</c:v>
                </c:pt>
                <c:pt idx="760">
                  <c:v>2.1903238625432522</c:v>
                </c:pt>
                <c:pt idx="761">
                  <c:v>2.2530057319271037</c:v>
                </c:pt>
                <c:pt idx="762">
                  <c:v>2.2433426314314033</c:v>
                </c:pt>
                <c:pt idx="763">
                  <c:v>2.124265206196057</c:v>
                </c:pt>
                <c:pt idx="764">
                  <c:v>1.8623086518868917</c:v>
                </c:pt>
                <c:pt idx="765">
                  <c:v>2.1340280397944582</c:v>
                </c:pt>
                <c:pt idx="766">
                  <c:v>1.9248784358735946</c:v>
                </c:pt>
                <c:pt idx="767">
                  <c:v>1.9768532030617649</c:v>
                </c:pt>
                <c:pt idx="768">
                  <c:v>2.0214618578737316</c:v>
                </c:pt>
                <c:pt idx="769">
                  <c:v>1.900612706714</c:v>
                </c:pt>
                <c:pt idx="770">
                  <c:v>1.8450564518557968</c:v>
                </c:pt>
                <c:pt idx="771">
                  <c:v>1.9963808242097372</c:v>
                </c:pt>
                <c:pt idx="772">
                  <c:v>1.845406806481023</c:v>
                </c:pt>
                <c:pt idx="773">
                  <c:v>1.7323090931566725</c:v>
                </c:pt>
                <c:pt idx="774">
                  <c:v>1.8382956232580057</c:v>
                </c:pt>
                <c:pt idx="775">
                  <c:v>1.6523228210352414</c:v>
                </c:pt>
                <c:pt idx="776">
                  <c:v>2.0338601726285219</c:v>
                </c:pt>
                <c:pt idx="777">
                  <c:v>2.0276360774359006</c:v>
                </c:pt>
                <c:pt idx="778">
                  <c:v>2.0578674397139451</c:v>
                </c:pt>
                <c:pt idx="779">
                  <c:v>2.1346461000128869</c:v>
                </c:pt>
                <c:pt idx="780">
                  <c:v>2.2501498204641734</c:v>
                </c:pt>
                <c:pt idx="781">
                  <c:v>2.2927398518533408</c:v>
                </c:pt>
                <c:pt idx="782">
                  <c:v>2.402428680134804</c:v>
                </c:pt>
                <c:pt idx="783">
                  <c:v>2.3834105534857031</c:v>
                </c:pt>
                <c:pt idx="784">
                  <c:v>2.355962500221338</c:v>
                </c:pt>
                <c:pt idx="785">
                  <c:v>2.3560442164228732</c:v>
                </c:pt>
                <c:pt idx="786">
                  <c:v>2.4992424738525614</c:v>
                </c:pt>
                <c:pt idx="787">
                  <c:v>2.7541517339093673</c:v>
                </c:pt>
                <c:pt idx="788">
                  <c:v>2.5472835546870272</c:v>
                </c:pt>
                <c:pt idx="789">
                  <c:v>2.4656297353010217</c:v>
                </c:pt>
                <c:pt idx="790">
                  <c:v>2.4659691527802892</c:v>
                </c:pt>
                <c:pt idx="791">
                  <c:v>2.6222606443626688</c:v>
                </c:pt>
                <c:pt idx="792">
                  <c:v>2.5354637124410004</c:v>
                </c:pt>
                <c:pt idx="793">
                  <c:v>2.7432087525921247</c:v>
                </c:pt>
                <c:pt idx="794">
                  <c:v>2.7684593294007556</c:v>
                </c:pt>
                <c:pt idx="795">
                  <c:v>2.832053792511914</c:v>
                </c:pt>
                <c:pt idx="796">
                  <c:v>2.9710759817076138</c:v>
                </c:pt>
                <c:pt idx="797">
                  <c:v>2.9211794642221207</c:v>
                </c:pt>
                <c:pt idx="798">
                  <c:v>2.8802715105721148</c:v>
                </c:pt>
                <c:pt idx="799">
                  <c:v>2.6483566694665228</c:v>
                </c:pt>
                <c:pt idx="800">
                  <c:v>2.6126518282728739</c:v>
                </c:pt>
                <c:pt idx="801">
                  <c:v>2.4800680101250663</c:v>
                </c:pt>
                <c:pt idx="802">
                  <c:v>2.3358843502614803</c:v>
                </c:pt>
                <c:pt idx="803">
                  <c:v>2.300932140508209</c:v>
                </c:pt>
                <c:pt idx="804">
                  <c:v>2.3865752314843434</c:v>
                </c:pt>
                <c:pt idx="805">
                  <c:v>2.4923534700118779</c:v>
                </c:pt>
                <c:pt idx="806">
                  <c:v>2.3048363729354406</c:v>
                </c:pt>
                <c:pt idx="807">
                  <c:v>2.5143820881703931</c:v>
                </c:pt>
                <c:pt idx="808">
                  <c:v>2.6919806899350789</c:v>
                </c:pt>
                <c:pt idx="809">
                  <c:v>2.7672476112014124</c:v>
                </c:pt>
                <c:pt idx="810">
                  <c:v>2.7635572609856922</c:v>
                </c:pt>
                <c:pt idx="811">
                  <c:v>2.6804289109841761</c:v>
                </c:pt>
                <c:pt idx="812">
                  <c:v>2.7338814142419352</c:v>
                </c:pt>
                <c:pt idx="813">
                  <c:v>2.7145606166671428</c:v>
                </c:pt>
                <c:pt idx="814">
                  <c:v>2.6139403821539418</c:v>
                </c:pt>
                <c:pt idx="815">
                  <c:v>2.5757677721365013</c:v>
                </c:pt>
                <c:pt idx="816">
                  <c:v>2.4501320911171263</c:v>
                </c:pt>
                <c:pt idx="817">
                  <c:v>2.5089386667910674</c:v>
                </c:pt>
                <c:pt idx="818">
                  <c:v>2.4794818408443007</c:v>
                </c:pt>
                <c:pt idx="819">
                  <c:v>2.6631999157867625</c:v>
                </c:pt>
                <c:pt idx="820">
                  <c:v>2.5252575393923848</c:v>
                </c:pt>
                <c:pt idx="821">
                  <c:v>2.4582774499203595</c:v>
                </c:pt>
                <c:pt idx="822">
                  <c:v>2.3794657917136419</c:v>
                </c:pt>
                <c:pt idx="823">
                  <c:v>2.5487331534957747</c:v>
                </c:pt>
                <c:pt idx="824">
                  <c:v>2.5132563573739191</c:v>
                </c:pt>
                <c:pt idx="825">
                  <c:v>2.5070224635185525</c:v>
                </c:pt>
                <c:pt idx="826">
                  <c:v>2.3502375214384159</c:v>
                </c:pt>
                <c:pt idx="827">
                  <c:v>2.3468015879238777</c:v>
                </c:pt>
                <c:pt idx="828">
                  <c:v>2.4750989977260645</c:v>
                </c:pt>
                <c:pt idx="829">
                  <c:v>2.6360762944049441</c:v>
                </c:pt>
                <c:pt idx="830">
                  <c:v>2.6534670096771293</c:v>
                </c:pt>
                <c:pt idx="831">
                  <c:v>2.5591813994100931</c:v>
                </c:pt>
                <c:pt idx="832">
                  <c:v>2.5880714335879134</c:v>
                </c:pt>
                <c:pt idx="833">
                  <c:v>2.5067130507878659</c:v>
                </c:pt>
                <c:pt idx="834">
                  <c:v>2.4793719210146605</c:v>
                </c:pt>
                <c:pt idx="835">
                  <c:v>2.4611273273651904</c:v>
                </c:pt>
                <c:pt idx="836">
                  <c:v>2.4589230265932258</c:v>
                </c:pt>
                <c:pt idx="837">
                  <c:v>2.6547606026721979</c:v>
                </c:pt>
                <c:pt idx="838">
                  <c:v>2.4909494078480208</c:v>
                </c:pt>
                <c:pt idx="839">
                  <c:v>2.4894092764579199</c:v>
                </c:pt>
                <c:pt idx="840">
                  <c:v>2.4565074027682101</c:v>
                </c:pt>
                <c:pt idx="841">
                  <c:v>2.5266300143561153</c:v>
                </c:pt>
                <c:pt idx="842">
                  <c:v>2.6962659049120816</c:v>
                </c:pt>
                <c:pt idx="843">
                  <c:v>2.7208814146837739</c:v>
                </c:pt>
                <c:pt idx="844">
                  <c:v>2.7972568582110995</c:v>
                </c:pt>
                <c:pt idx="845">
                  <c:v>2.6419920970584485</c:v>
                </c:pt>
                <c:pt idx="846">
                  <c:v>2.721504347565471</c:v>
                </c:pt>
                <c:pt idx="847">
                  <c:v>2.7026288783204961</c:v>
                </c:pt>
                <c:pt idx="848">
                  <c:v>2.7573547672291312</c:v>
                </c:pt>
                <c:pt idx="849">
                  <c:v>2.6587265872733212</c:v>
                </c:pt>
                <c:pt idx="850">
                  <c:v>2.4505637461605403</c:v>
                </c:pt>
                <c:pt idx="851">
                  <c:v>2.4152046042872684</c:v>
                </c:pt>
                <c:pt idx="852">
                  <c:v>2.3815695097311504</c:v>
                </c:pt>
                <c:pt idx="853">
                  <c:v>2.4124847989270961</c:v>
                </c:pt>
                <c:pt idx="854">
                  <c:v>2.3883364569651064</c:v>
                </c:pt>
                <c:pt idx="855">
                  <c:v>2.3543112212406356</c:v>
                </c:pt>
                <c:pt idx="856">
                  <c:v>2.2173098002341618</c:v>
                </c:pt>
                <c:pt idx="857">
                  <c:v>2.091877368496057</c:v>
                </c:pt>
                <c:pt idx="858">
                  <c:v>2.4747534429069731</c:v>
                </c:pt>
                <c:pt idx="859">
                  <c:v>2.4497427385520325</c:v>
                </c:pt>
                <c:pt idx="860">
                  <c:v>2.2872150799835964</c:v>
                </c:pt>
                <c:pt idx="861">
                  <c:v>2.1185227616661138</c:v>
                </c:pt>
                <c:pt idx="862">
                  <c:v>2.1400456704708688</c:v>
                </c:pt>
                <c:pt idx="863">
                  <c:v>2.1535152586602635</c:v>
                </c:pt>
                <c:pt idx="864">
                  <c:v>2.1241170225612791</c:v>
                </c:pt>
                <c:pt idx="865">
                  <c:v>1.891156021953833</c:v>
                </c:pt>
                <c:pt idx="866">
                  <c:v>1.89037741435736</c:v>
                </c:pt>
                <c:pt idx="867">
                  <c:v>1.8637277185039522</c:v>
                </c:pt>
                <c:pt idx="868">
                  <c:v>1.8458779673560457</c:v>
                </c:pt>
                <c:pt idx="869">
                  <c:v>2.0044049959146264</c:v>
                </c:pt>
                <c:pt idx="870">
                  <c:v>2.022193156091376</c:v>
                </c:pt>
                <c:pt idx="871">
                  <c:v>1.8622884435655607</c:v>
                </c:pt>
                <c:pt idx="872">
                  <c:v>1.9560367747960754</c:v>
                </c:pt>
                <c:pt idx="873">
                  <c:v>1.9482012657879437</c:v>
                </c:pt>
                <c:pt idx="874">
                  <c:v>1.9206374585920116</c:v>
                </c:pt>
                <c:pt idx="875">
                  <c:v>1.9066256984151693</c:v>
                </c:pt>
                <c:pt idx="876">
                  <c:v>2.0057040614629358</c:v>
                </c:pt>
                <c:pt idx="877">
                  <c:v>1.8843532646880305</c:v>
                </c:pt>
                <c:pt idx="878">
                  <c:v>1.7360317141700676</c:v>
                </c:pt>
                <c:pt idx="879">
                  <c:v>1.6229366417118172</c:v>
                </c:pt>
                <c:pt idx="880">
                  <c:v>1.7246956977812857</c:v>
                </c:pt>
                <c:pt idx="881">
                  <c:v>1.6450916480124107</c:v>
                </c:pt>
                <c:pt idx="882">
                  <c:v>1.8273715613564292</c:v>
                </c:pt>
                <c:pt idx="883">
                  <c:v>1.7914975105625786</c:v>
                </c:pt>
                <c:pt idx="884">
                  <c:v>1.6363841008987379</c:v>
                </c:pt>
                <c:pt idx="885">
                  <c:v>1.5506999538392279</c:v>
                </c:pt>
                <c:pt idx="886">
                  <c:v>1.56916567493397</c:v>
                </c:pt>
                <c:pt idx="887">
                  <c:v>1.6665406383660724</c:v>
                </c:pt>
                <c:pt idx="888">
                  <c:v>1.8432099328137355</c:v>
                </c:pt>
                <c:pt idx="889">
                  <c:v>1.9837541545403781</c:v>
                </c:pt>
                <c:pt idx="890">
                  <c:v>1.955714137675983</c:v>
                </c:pt>
                <c:pt idx="891">
                  <c:v>1.9555918485035448</c:v>
                </c:pt>
                <c:pt idx="892">
                  <c:v>2.1076105249389201</c:v>
                </c:pt>
                <c:pt idx="893">
                  <c:v>1.675043966482761</c:v>
                </c:pt>
                <c:pt idx="894">
                  <c:v>1.5771704208876685</c:v>
                </c:pt>
                <c:pt idx="895">
                  <c:v>1.6297370817064376</c:v>
                </c:pt>
                <c:pt idx="896">
                  <c:v>1.5193487961793011</c:v>
                </c:pt>
                <c:pt idx="897">
                  <c:v>1.5653530614519156</c:v>
                </c:pt>
                <c:pt idx="898">
                  <c:v>1.4598333101133392</c:v>
                </c:pt>
                <c:pt idx="899">
                  <c:v>1.4710380107615464</c:v>
                </c:pt>
                <c:pt idx="900">
                  <c:v>1.4922155584309849</c:v>
                </c:pt>
                <c:pt idx="901">
                  <c:v>1.3803409368099437</c:v>
                </c:pt>
                <c:pt idx="902">
                  <c:v>1.5031405975706491</c:v>
                </c:pt>
                <c:pt idx="903">
                  <c:v>1.4930928254355109</c:v>
                </c:pt>
                <c:pt idx="904">
                  <c:v>1.5993568618050489</c:v>
                </c:pt>
                <c:pt idx="905">
                  <c:v>1.9849628836888229</c:v>
                </c:pt>
                <c:pt idx="906">
                  <c:v>1.9120133404764914</c:v>
                </c:pt>
                <c:pt idx="907">
                  <c:v>1.9089429207309223</c:v>
                </c:pt>
                <c:pt idx="908">
                  <c:v>2.0594830786380527</c:v>
                </c:pt>
                <c:pt idx="909">
                  <c:v>2.0724969067097021</c:v>
                </c:pt>
                <c:pt idx="910">
                  <c:v>1.7895332306272564</c:v>
                </c:pt>
                <c:pt idx="911">
                  <c:v>1.7737663680024696</c:v>
                </c:pt>
                <c:pt idx="912">
                  <c:v>1.8052443982888917</c:v>
                </c:pt>
                <c:pt idx="913">
                  <c:v>1.6459378770633748</c:v>
                </c:pt>
                <c:pt idx="914">
                  <c:v>1.6342557924040193</c:v>
                </c:pt>
                <c:pt idx="915">
                  <c:v>1.6778039313944362</c:v>
                </c:pt>
                <c:pt idx="916">
                  <c:v>2.2484556969804146</c:v>
                </c:pt>
                <c:pt idx="917">
                  <c:v>2.3028813530437446</c:v>
                </c:pt>
                <c:pt idx="918">
                  <c:v>2.315963383908894</c:v>
                </c:pt>
                <c:pt idx="919">
                  <c:v>2.4420121694000159</c:v>
                </c:pt>
                <c:pt idx="920">
                  <c:v>2.2767293551528383</c:v>
                </c:pt>
                <c:pt idx="921">
                  <c:v>2.1324725252669054</c:v>
                </c:pt>
                <c:pt idx="922">
                  <c:v>2.2145499808406441</c:v>
                </c:pt>
                <c:pt idx="923">
                  <c:v>2.2899843136146103</c:v>
                </c:pt>
                <c:pt idx="924">
                  <c:v>2.0537416698587379</c:v>
                </c:pt>
                <c:pt idx="925">
                  <c:v>1.8051208936913667</c:v>
                </c:pt>
                <c:pt idx="926">
                  <c:v>1.6674532543278815</c:v>
                </c:pt>
                <c:pt idx="927">
                  <c:v>1.6658705393787159</c:v>
                </c:pt>
                <c:pt idx="928">
                  <c:v>1.619086152751521</c:v>
                </c:pt>
                <c:pt idx="929">
                  <c:v>1.5567286334116375</c:v>
                </c:pt>
                <c:pt idx="930">
                  <c:v>1.5540613658068025</c:v>
                </c:pt>
                <c:pt idx="931">
                  <c:v>1.5882654319982805</c:v>
                </c:pt>
                <c:pt idx="932">
                  <c:v>1.3866217665922989</c:v>
                </c:pt>
                <c:pt idx="933">
                  <c:v>1.5196377561987902</c:v>
                </c:pt>
                <c:pt idx="934">
                  <c:v>1.4976307627771348</c:v>
                </c:pt>
                <c:pt idx="935">
                  <c:v>1.5345849467809103</c:v>
                </c:pt>
                <c:pt idx="936">
                  <c:v>1.7120211257659435</c:v>
                </c:pt>
                <c:pt idx="937">
                  <c:v>1.8656884353136149</c:v>
                </c:pt>
                <c:pt idx="938">
                  <c:v>1.8792772657407113</c:v>
                </c:pt>
                <c:pt idx="939">
                  <c:v>1.8792772657407113</c:v>
                </c:pt>
                <c:pt idx="940">
                  <c:v>1.6051538191599946</c:v>
                </c:pt>
                <c:pt idx="941">
                  <c:v>1.4864900065812208</c:v>
                </c:pt>
                <c:pt idx="942">
                  <c:v>1.2757949214753239</c:v>
                </c:pt>
                <c:pt idx="943">
                  <c:v>1.1062808300087568</c:v>
                </c:pt>
                <c:pt idx="944">
                  <c:v>1.1946708444485807</c:v>
                </c:pt>
                <c:pt idx="945">
                  <c:v>1.1334441176896632</c:v>
                </c:pt>
                <c:pt idx="946">
                  <c:v>0.99881223588224088</c:v>
                </c:pt>
                <c:pt idx="947">
                  <c:v>0.93787110530058726</c:v>
                </c:pt>
                <c:pt idx="948">
                  <c:v>0.75395039949211196</c:v>
                </c:pt>
                <c:pt idx="949">
                  <c:v>0.7155574794284405</c:v>
                </c:pt>
                <c:pt idx="950">
                  <c:v>0.64635785923636035</c:v>
                </c:pt>
                <c:pt idx="951">
                  <c:v>0.6540156930888088</c:v>
                </c:pt>
                <c:pt idx="952">
                  <c:v>0.48155539079237997</c:v>
                </c:pt>
                <c:pt idx="953">
                  <c:v>0.58376468111461577</c:v>
                </c:pt>
                <c:pt idx="954">
                  <c:v>0.42767790384874615</c:v>
                </c:pt>
                <c:pt idx="955">
                  <c:v>0.44130722696991143</c:v>
                </c:pt>
                <c:pt idx="956">
                  <c:v>0.58323135887420108</c:v>
                </c:pt>
                <c:pt idx="957">
                  <c:v>0.6439675789138164</c:v>
                </c:pt>
                <c:pt idx="958">
                  <c:v>0.39526682405960401</c:v>
                </c:pt>
                <c:pt idx="959">
                  <c:v>0.28835465243039948</c:v>
                </c:pt>
                <c:pt idx="960">
                  <c:v>0.45434899046509258</c:v>
                </c:pt>
                <c:pt idx="961">
                  <c:v>0.56789136574897725</c:v>
                </c:pt>
              </c:numCache>
            </c:numRef>
          </c:val>
          <c:extLst xmlns:c16r2="http://schemas.microsoft.com/office/drawing/2015/06/chart">
            <c:ext xmlns:c16="http://schemas.microsoft.com/office/drawing/2014/chart" uri="{C3380CC4-5D6E-409C-BE32-E72D297353CC}">
              <c16:uniqueId val="{00000000-7127-4EE7-81B7-88A877082DDF}"/>
            </c:ext>
          </c:extLst>
        </c:ser>
        <c:dLbls>
          <c:showLegendKey val="0"/>
          <c:showVal val="0"/>
          <c:showCatName val="0"/>
          <c:showSerName val="0"/>
          <c:showPercent val="0"/>
          <c:showBubbleSize val="0"/>
        </c:dLbls>
        <c:axId val="252839424"/>
        <c:axId val="252837888"/>
      </c:areaChart>
      <c:lineChart>
        <c:grouping val="standard"/>
        <c:varyColors val="0"/>
        <c:ser>
          <c:idx val="0"/>
          <c:order val="0"/>
          <c:tx>
            <c:strRef>
              <c:f>'ETF GLOBAL SB USD'!$D$4</c:f>
              <c:strCache>
                <c:ptCount val="1"/>
                <c:pt idx="0">
                  <c:v>AMUNDI ETF Global Equity Multi Smart Allocation Scientific Beta </c:v>
                </c:pt>
              </c:strCache>
            </c:strRef>
          </c:tx>
          <c:spPr>
            <a:ln w="28575">
              <a:solidFill>
                <a:srgbClr val="001C4B"/>
              </a:solidFill>
              <a:prstDash val="solid"/>
            </a:ln>
          </c:spPr>
          <c:marker>
            <c:symbol val="none"/>
          </c:marker>
          <c:cat>
            <c:numRef>
              <c:f>'ETF GLOBAL SB USD'!$C$5:$C$966</c:f>
              <c:numCache>
                <c:formatCode>m/d/yyyy</c:formatCode>
                <c:ptCount val="962"/>
                <c:pt idx="0">
                  <c:v>41786</c:v>
                </c:pt>
                <c:pt idx="1">
                  <c:v>41787</c:v>
                </c:pt>
                <c:pt idx="2">
                  <c:v>41788</c:v>
                </c:pt>
                <c:pt idx="3">
                  <c:v>41789</c:v>
                </c:pt>
                <c:pt idx="4">
                  <c:v>41792</c:v>
                </c:pt>
                <c:pt idx="5">
                  <c:v>41793</c:v>
                </c:pt>
                <c:pt idx="6">
                  <c:v>41794</c:v>
                </c:pt>
                <c:pt idx="7">
                  <c:v>41795</c:v>
                </c:pt>
                <c:pt idx="8">
                  <c:v>41796</c:v>
                </c:pt>
                <c:pt idx="9">
                  <c:v>41799</c:v>
                </c:pt>
                <c:pt idx="10">
                  <c:v>41800</c:v>
                </c:pt>
                <c:pt idx="11">
                  <c:v>41801</c:v>
                </c:pt>
                <c:pt idx="12">
                  <c:v>41802</c:v>
                </c:pt>
                <c:pt idx="13">
                  <c:v>41803</c:v>
                </c:pt>
                <c:pt idx="14">
                  <c:v>41806</c:v>
                </c:pt>
                <c:pt idx="15">
                  <c:v>41807</c:v>
                </c:pt>
                <c:pt idx="16">
                  <c:v>41808</c:v>
                </c:pt>
                <c:pt idx="17">
                  <c:v>41809</c:v>
                </c:pt>
                <c:pt idx="18">
                  <c:v>41810</c:v>
                </c:pt>
                <c:pt idx="19">
                  <c:v>41813</c:v>
                </c:pt>
                <c:pt idx="20">
                  <c:v>41814</c:v>
                </c:pt>
                <c:pt idx="21">
                  <c:v>41815</c:v>
                </c:pt>
                <c:pt idx="22">
                  <c:v>41816</c:v>
                </c:pt>
                <c:pt idx="23">
                  <c:v>41817</c:v>
                </c:pt>
                <c:pt idx="24">
                  <c:v>41820</c:v>
                </c:pt>
                <c:pt idx="25">
                  <c:v>41821</c:v>
                </c:pt>
                <c:pt idx="26">
                  <c:v>41822</c:v>
                </c:pt>
                <c:pt idx="27">
                  <c:v>41823</c:v>
                </c:pt>
                <c:pt idx="28">
                  <c:v>41824</c:v>
                </c:pt>
                <c:pt idx="29">
                  <c:v>41827</c:v>
                </c:pt>
                <c:pt idx="30">
                  <c:v>41828</c:v>
                </c:pt>
                <c:pt idx="31">
                  <c:v>41829</c:v>
                </c:pt>
                <c:pt idx="32">
                  <c:v>41830</c:v>
                </c:pt>
                <c:pt idx="33">
                  <c:v>41831</c:v>
                </c:pt>
                <c:pt idx="34">
                  <c:v>41834</c:v>
                </c:pt>
                <c:pt idx="35">
                  <c:v>41835</c:v>
                </c:pt>
                <c:pt idx="36">
                  <c:v>41836</c:v>
                </c:pt>
                <c:pt idx="37">
                  <c:v>41837</c:v>
                </c:pt>
                <c:pt idx="38">
                  <c:v>41838</c:v>
                </c:pt>
                <c:pt idx="39">
                  <c:v>41841</c:v>
                </c:pt>
                <c:pt idx="40">
                  <c:v>41842</c:v>
                </c:pt>
                <c:pt idx="41">
                  <c:v>41843</c:v>
                </c:pt>
                <c:pt idx="42">
                  <c:v>41844</c:v>
                </c:pt>
                <c:pt idx="43">
                  <c:v>41845</c:v>
                </c:pt>
                <c:pt idx="44">
                  <c:v>41848</c:v>
                </c:pt>
                <c:pt idx="45">
                  <c:v>41849</c:v>
                </c:pt>
                <c:pt idx="46">
                  <c:v>41850</c:v>
                </c:pt>
                <c:pt idx="47">
                  <c:v>41851</c:v>
                </c:pt>
                <c:pt idx="48">
                  <c:v>41852</c:v>
                </c:pt>
                <c:pt idx="49">
                  <c:v>41855</c:v>
                </c:pt>
                <c:pt idx="50">
                  <c:v>41856</c:v>
                </c:pt>
                <c:pt idx="51">
                  <c:v>41857</c:v>
                </c:pt>
                <c:pt idx="52">
                  <c:v>41858</c:v>
                </c:pt>
                <c:pt idx="53">
                  <c:v>41859</c:v>
                </c:pt>
                <c:pt idx="54">
                  <c:v>41862</c:v>
                </c:pt>
                <c:pt idx="55">
                  <c:v>41863</c:v>
                </c:pt>
                <c:pt idx="56">
                  <c:v>41864</c:v>
                </c:pt>
                <c:pt idx="57">
                  <c:v>41865</c:v>
                </c:pt>
                <c:pt idx="58">
                  <c:v>41866</c:v>
                </c:pt>
                <c:pt idx="59">
                  <c:v>41869</c:v>
                </c:pt>
                <c:pt idx="60">
                  <c:v>41870</c:v>
                </c:pt>
                <c:pt idx="61">
                  <c:v>41871</c:v>
                </c:pt>
                <c:pt idx="62">
                  <c:v>41872</c:v>
                </c:pt>
                <c:pt idx="63">
                  <c:v>41873</c:v>
                </c:pt>
                <c:pt idx="64">
                  <c:v>41876</c:v>
                </c:pt>
                <c:pt idx="65">
                  <c:v>41877</c:v>
                </c:pt>
                <c:pt idx="66">
                  <c:v>41878</c:v>
                </c:pt>
                <c:pt idx="67">
                  <c:v>41879</c:v>
                </c:pt>
                <c:pt idx="68">
                  <c:v>41880</c:v>
                </c:pt>
                <c:pt idx="69">
                  <c:v>41883</c:v>
                </c:pt>
                <c:pt idx="70">
                  <c:v>41884</c:v>
                </c:pt>
                <c:pt idx="71">
                  <c:v>41885</c:v>
                </c:pt>
                <c:pt idx="72">
                  <c:v>41886</c:v>
                </c:pt>
                <c:pt idx="73">
                  <c:v>41887</c:v>
                </c:pt>
                <c:pt idx="74">
                  <c:v>41890</c:v>
                </c:pt>
                <c:pt idx="75">
                  <c:v>41891</c:v>
                </c:pt>
                <c:pt idx="76">
                  <c:v>41892</c:v>
                </c:pt>
                <c:pt idx="77">
                  <c:v>41893</c:v>
                </c:pt>
                <c:pt idx="78">
                  <c:v>41894</c:v>
                </c:pt>
                <c:pt idx="79">
                  <c:v>41897</c:v>
                </c:pt>
                <c:pt idx="80">
                  <c:v>41898</c:v>
                </c:pt>
                <c:pt idx="81">
                  <c:v>41899</c:v>
                </c:pt>
                <c:pt idx="82">
                  <c:v>41900</c:v>
                </c:pt>
                <c:pt idx="83">
                  <c:v>41901</c:v>
                </c:pt>
                <c:pt idx="84">
                  <c:v>41904</c:v>
                </c:pt>
                <c:pt idx="85">
                  <c:v>41905</c:v>
                </c:pt>
                <c:pt idx="86">
                  <c:v>41906</c:v>
                </c:pt>
                <c:pt idx="87">
                  <c:v>41907</c:v>
                </c:pt>
                <c:pt idx="88">
                  <c:v>41908</c:v>
                </c:pt>
                <c:pt idx="89">
                  <c:v>41911</c:v>
                </c:pt>
                <c:pt idx="90">
                  <c:v>41912</c:v>
                </c:pt>
                <c:pt idx="91">
                  <c:v>41913</c:v>
                </c:pt>
                <c:pt idx="92">
                  <c:v>41914</c:v>
                </c:pt>
                <c:pt idx="93">
                  <c:v>41915</c:v>
                </c:pt>
                <c:pt idx="94">
                  <c:v>41918</c:v>
                </c:pt>
                <c:pt idx="95">
                  <c:v>41919</c:v>
                </c:pt>
                <c:pt idx="96">
                  <c:v>41920</c:v>
                </c:pt>
                <c:pt idx="97">
                  <c:v>41921</c:v>
                </c:pt>
                <c:pt idx="98">
                  <c:v>41922</c:v>
                </c:pt>
                <c:pt idx="99">
                  <c:v>41925</c:v>
                </c:pt>
                <c:pt idx="100">
                  <c:v>41926</c:v>
                </c:pt>
                <c:pt idx="101">
                  <c:v>41927</c:v>
                </c:pt>
                <c:pt idx="102">
                  <c:v>41928</c:v>
                </c:pt>
                <c:pt idx="103">
                  <c:v>41929</c:v>
                </c:pt>
                <c:pt idx="104">
                  <c:v>41932</c:v>
                </c:pt>
                <c:pt idx="105">
                  <c:v>41933</c:v>
                </c:pt>
                <c:pt idx="106">
                  <c:v>41934</c:v>
                </c:pt>
                <c:pt idx="107">
                  <c:v>41935</c:v>
                </c:pt>
                <c:pt idx="108">
                  <c:v>41936</c:v>
                </c:pt>
                <c:pt idx="109">
                  <c:v>41939</c:v>
                </c:pt>
                <c:pt idx="110">
                  <c:v>41940</c:v>
                </c:pt>
                <c:pt idx="111">
                  <c:v>41941</c:v>
                </c:pt>
                <c:pt idx="112">
                  <c:v>41942</c:v>
                </c:pt>
                <c:pt idx="113">
                  <c:v>41943</c:v>
                </c:pt>
                <c:pt idx="114">
                  <c:v>41946</c:v>
                </c:pt>
                <c:pt idx="115">
                  <c:v>41947</c:v>
                </c:pt>
                <c:pt idx="116">
                  <c:v>41948</c:v>
                </c:pt>
                <c:pt idx="117">
                  <c:v>41949</c:v>
                </c:pt>
                <c:pt idx="118">
                  <c:v>41950</c:v>
                </c:pt>
                <c:pt idx="119">
                  <c:v>41953</c:v>
                </c:pt>
                <c:pt idx="120">
                  <c:v>41954</c:v>
                </c:pt>
                <c:pt idx="121">
                  <c:v>41955</c:v>
                </c:pt>
                <c:pt idx="122">
                  <c:v>41956</c:v>
                </c:pt>
                <c:pt idx="123">
                  <c:v>41957</c:v>
                </c:pt>
                <c:pt idx="124">
                  <c:v>41960</c:v>
                </c:pt>
                <c:pt idx="125">
                  <c:v>41961</c:v>
                </c:pt>
                <c:pt idx="126">
                  <c:v>41962</c:v>
                </c:pt>
                <c:pt idx="127">
                  <c:v>41963</c:v>
                </c:pt>
                <c:pt idx="128">
                  <c:v>41964</c:v>
                </c:pt>
                <c:pt idx="129">
                  <c:v>41967</c:v>
                </c:pt>
                <c:pt idx="130">
                  <c:v>41968</c:v>
                </c:pt>
                <c:pt idx="131">
                  <c:v>41969</c:v>
                </c:pt>
                <c:pt idx="132">
                  <c:v>41970</c:v>
                </c:pt>
                <c:pt idx="133">
                  <c:v>41971</c:v>
                </c:pt>
                <c:pt idx="134">
                  <c:v>41974</c:v>
                </c:pt>
                <c:pt idx="135">
                  <c:v>41975</c:v>
                </c:pt>
                <c:pt idx="136">
                  <c:v>41976</c:v>
                </c:pt>
                <c:pt idx="137">
                  <c:v>41977</c:v>
                </c:pt>
                <c:pt idx="138">
                  <c:v>41978</c:v>
                </c:pt>
                <c:pt idx="139">
                  <c:v>41981</c:v>
                </c:pt>
                <c:pt idx="140">
                  <c:v>41982</c:v>
                </c:pt>
                <c:pt idx="141">
                  <c:v>41983</c:v>
                </c:pt>
                <c:pt idx="142">
                  <c:v>41984</c:v>
                </c:pt>
                <c:pt idx="143">
                  <c:v>41985</c:v>
                </c:pt>
                <c:pt idx="144">
                  <c:v>41988</c:v>
                </c:pt>
                <c:pt idx="145">
                  <c:v>41989</c:v>
                </c:pt>
                <c:pt idx="146">
                  <c:v>41990</c:v>
                </c:pt>
                <c:pt idx="147">
                  <c:v>41991</c:v>
                </c:pt>
                <c:pt idx="148">
                  <c:v>41992</c:v>
                </c:pt>
                <c:pt idx="149">
                  <c:v>41995</c:v>
                </c:pt>
                <c:pt idx="150">
                  <c:v>41996</c:v>
                </c:pt>
                <c:pt idx="151">
                  <c:v>41997</c:v>
                </c:pt>
                <c:pt idx="152">
                  <c:v>41998</c:v>
                </c:pt>
                <c:pt idx="153">
                  <c:v>41999</c:v>
                </c:pt>
                <c:pt idx="154">
                  <c:v>42002</c:v>
                </c:pt>
                <c:pt idx="155">
                  <c:v>42003</c:v>
                </c:pt>
                <c:pt idx="156">
                  <c:v>42004</c:v>
                </c:pt>
                <c:pt idx="157">
                  <c:v>42005</c:v>
                </c:pt>
                <c:pt idx="158">
                  <c:v>42006</c:v>
                </c:pt>
                <c:pt idx="159">
                  <c:v>42009</c:v>
                </c:pt>
                <c:pt idx="160">
                  <c:v>42010</c:v>
                </c:pt>
                <c:pt idx="161">
                  <c:v>42011</c:v>
                </c:pt>
                <c:pt idx="162">
                  <c:v>42012</c:v>
                </c:pt>
                <c:pt idx="163">
                  <c:v>42013</c:v>
                </c:pt>
                <c:pt idx="164">
                  <c:v>42016</c:v>
                </c:pt>
                <c:pt idx="165">
                  <c:v>42017</c:v>
                </c:pt>
                <c:pt idx="166">
                  <c:v>42018</c:v>
                </c:pt>
                <c:pt idx="167">
                  <c:v>42019</c:v>
                </c:pt>
                <c:pt idx="168">
                  <c:v>42020</c:v>
                </c:pt>
                <c:pt idx="169">
                  <c:v>42023</c:v>
                </c:pt>
                <c:pt idx="170">
                  <c:v>42024</c:v>
                </c:pt>
                <c:pt idx="171">
                  <c:v>42025</c:v>
                </c:pt>
                <c:pt idx="172">
                  <c:v>42026</c:v>
                </c:pt>
                <c:pt idx="173">
                  <c:v>42027</c:v>
                </c:pt>
                <c:pt idx="174">
                  <c:v>42030</c:v>
                </c:pt>
                <c:pt idx="175">
                  <c:v>42031</c:v>
                </c:pt>
                <c:pt idx="176">
                  <c:v>42032</c:v>
                </c:pt>
                <c:pt idx="177">
                  <c:v>42033</c:v>
                </c:pt>
                <c:pt idx="178">
                  <c:v>42034</c:v>
                </c:pt>
                <c:pt idx="179">
                  <c:v>42037</c:v>
                </c:pt>
                <c:pt idx="180">
                  <c:v>42038</c:v>
                </c:pt>
                <c:pt idx="181">
                  <c:v>42039</c:v>
                </c:pt>
                <c:pt idx="182">
                  <c:v>42040</c:v>
                </c:pt>
                <c:pt idx="183">
                  <c:v>42041</c:v>
                </c:pt>
                <c:pt idx="184">
                  <c:v>42044</c:v>
                </c:pt>
                <c:pt idx="185">
                  <c:v>42045</c:v>
                </c:pt>
                <c:pt idx="186">
                  <c:v>42046</c:v>
                </c:pt>
                <c:pt idx="187">
                  <c:v>42047</c:v>
                </c:pt>
                <c:pt idx="188">
                  <c:v>42048</c:v>
                </c:pt>
                <c:pt idx="189">
                  <c:v>42051</c:v>
                </c:pt>
                <c:pt idx="190">
                  <c:v>42052</c:v>
                </c:pt>
                <c:pt idx="191">
                  <c:v>42053</c:v>
                </c:pt>
                <c:pt idx="192">
                  <c:v>42054</c:v>
                </c:pt>
                <c:pt idx="193">
                  <c:v>42055</c:v>
                </c:pt>
                <c:pt idx="194">
                  <c:v>42058</c:v>
                </c:pt>
                <c:pt idx="195">
                  <c:v>42059</c:v>
                </c:pt>
                <c:pt idx="196">
                  <c:v>42060</c:v>
                </c:pt>
                <c:pt idx="197">
                  <c:v>42061</c:v>
                </c:pt>
                <c:pt idx="198">
                  <c:v>42062</c:v>
                </c:pt>
                <c:pt idx="199">
                  <c:v>42065</c:v>
                </c:pt>
                <c:pt idx="200">
                  <c:v>42066</c:v>
                </c:pt>
                <c:pt idx="201">
                  <c:v>42067</c:v>
                </c:pt>
                <c:pt idx="202">
                  <c:v>42068</c:v>
                </c:pt>
                <c:pt idx="203">
                  <c:v>42069</c:v>
                </c:pt>
                <c:pt idx="204">
                  <c:v>42072</c:v>
                </c:pt>
                <c:pt idx="205">
                  <c:v>42073</c:v>
                </c:pt>
                <c:pt idx="206">
                  <c:v>42074</c:v>
                </c:pt>
                <c:pt idx="207">
                  <c:v>42075</c:v>
                </c:pt>
                <c:pt idx="208">
                  <c:v>42076</c:v>
                </c:pt>
                <c:pt idx="209">
                  <c:v>42079</c:v>
                </c:pt>
                <c:pt idx="210">
                  <c:v>42080</c:v>
                </c:pt>
                <c:pt idx="211">
                  <c:v>42081</c:v>
                </c:pt>
                <c:pt idx="212">
                  <c:v>42082</c:v>
                </c:pt>
                <c:pt idx="213">
                  <c:v>42083</c:v>
                </c:pt>
                <c:pt idx="214">
                  <c:v>42086</c:v>
                </c:pt>
                <c:pt idx="215">
                  <c:v>42087</c:v>
                </c:pt>
                <c:pt idx="216">
                  <c:v>42088</c:v>
                </c:pt>
                <c:pt idx="217">
                  <c:v>42089</c:v>
                </c:pt>
                <c:pt idx="218">
                  <c:v>42090</c:v>
                </c:pt>
                <c:pt idx="219">
                  <c:v>42093</c:v>
                </c:pt>
                <c:pt idx="220">
                  <c:v>42094</c:v>
                </c:pt>
                <c:pt idx="221">
                  <c:v>42095</c:v>
                </c:pt>
                <c:pt idx="222">
                  <c:v>42096</c:v>
                </c:pt>
                <c:pt idx="223">
                  <c:v>42097</c:v>
                </c:pt>
                <c:pt idx="224">
                  <c:v>42100</c:v>
                </c:pt>
                <c:pt idx="225">
                  <c:v>42101</c:v>
                </c:pt>
                <c:pt idx="226">
                  <c:v>42102</c:v>
                </c:pt>
                <c:pt idx="227">
                  <c:v>42103</c:v>
                </c:pt>
                <c:pt idx="228">
                  <c:v>42104</c:v>
                </c:pt>
                <c:pt idx="229">
                  <c:v>42107</c:v>
                </c:pt>
                <c:pt idx="230">
                  <c:v>42108</c:v>
                </c:pt>
                <c:pt idx="231">
                  <c:v>42109</c:v>
                </c:pt>
                <c:pt idx="232">
                  <c:v>42110</c:v>
                </c:pt>
                <c:pt idx="233">
                  <c:v>42111</c:v>
                </c:pt>
                <c:pt idx="234">
                  <c:v>42114</c:v>
                </c:pt>
                <c:pt idx="235">
                  <c:v>42115</c:v>
                </c:pt>
                <c:pt idx="236">
                  <c:v>42116</c:v>
                </c:pt>
                <c:pt idx="237">
                  <c:v>42117</c:v>
                </c:pt>
                <c:pt idx="238">
                  <c:v>42118</c:v>
                </c:pt>
                <c:pt idx="239">
                  <c:v>42121</c:v>
                </c:pt>
                <c:pt idx="240">
                  <c:v>42122</c:v>
                </c:pt>
                <c:pt idx="241">
                  <c:v>42123</c:v>
                </c:pt>
                <c:pt idx="242">
                  <c:v>42124</c:v>
                </c:pt>
                <c:pt idx="243">
                  <c:v>42125</c:v>
                </c:pt>
                <c:pt idx="244">
                  <c:v>42128</c:v>
                </c:pt>
                <c:pt idx="245">
                  <c:v>42129</c:v>
                </c:pt>
                <c:pt idx="246">
                  <c:v>42130</c:v>
                </c:pt>
                <c:pt idx="247">
                  <c:v>42131</c:v>
                </c:pt>
                <c:pt idx="248">
                  <c:v>42132</c:v>
                </c:pt>
                <c:pt idx="249">
                  <c:v>42135</c:v>
                </c:pt>
                <c:pt idx="250">
                  <c:v>42136</c:v>
                </c:pt>
                <c:pt idx="251">
                  <c:v>42137</c:v>
                </c:pt>
                <c:pt idx="252">
                  <c:v>42138</c:v>
                </c:pt>
                <c:pt idx="253">
                  <c:v>42139</c:v>
                </c:pt>
                <c:pt idx="254">
                  <c:v>42142</c:v>
                </c:pt>
                <c:pt idx="255">
                  <c:v>42143</c:v>
                </c:pt>
                <c:pt idx="256">
                  <c:v>42144</c:v>
                </c:pt>
                <c:pt idx="257">
                  <c:v>42145</c:v>
                </c:pt>
                <c:pt idx="258">
                  <c:v>42146</c:v>
                </c:pt>
                <c:pt idx="259">
                  <c:v>42149</c:v>
                </c:pt>
                <c:pt idx="260">
                  <c:v>42150</c:v>
                </c:pt>
                <c:pt idx="261">
                  <c:v>42151</c:v>
                </c:pt>
                <c:pt idx="262">
                  <c:v>42152</c:v>
                </c:pt>
                <c:pt idx="263">
                  <c:v>42153</c:v>
                </c:pt>
                <c:pt idx="264">
                  <c:v>42156</c:v>
                </c:pt>
                <c:pt idx="265">
                  <c:v>42157</c:v>
                </c:pt>
                <c:pt idx="266">
                  <c:v>42158</c:v>
                </c:pt>
                <c:pt idx="267">
                  <c:v>42159</c:v>
                </c:pt>
                <c:pt idx="268">
                  <c:v>42160</c:v>
                </c:pt>
                <c:pt idx="269">
                  <c:v>42163</c:v>
                </c:pt>
                <c:pt idx="270">
                  <c:v>42164</c:v>
                </c:pt>
                <c:pt idx="271">
                  <c:v>42165</c:v>
                </c:pt>
                <c:pt idx="272">
                  <c:v>42166</c:v>
                </c:pt>
                <c:pt idx="273">
                  <c:v>42167</c:v>
                </c:pt>
                <c:pt idx="274">
                  <c:v>42170</c:v>
                </c:pt>
                <c:pt idx="275">
                  <c:v>42171</c:v>
                </c:pt>
                <c:pt idx="276">
                  <c:v>42172</c:v>
                </c:pt>
                <c:pt idx="277">
                  <c:v>42173</c:v>
                </c:pt>
                <c:pt idx="278">
                  <c:v>42174</c:v>
                </c:pt>
                <c:pt idx="279">
                  <c:v>42177</c:v>
                </c:pt>
                <c:pt idx="280">
                  <c:v>42178</c:v>
                </c:pt>
                <c:pt idx="281">
                  <c:v>42179</c:v>
                </c:pt>
                <c:pt idx="282">
                  <c:v>42180</c:v>
                </c:pt>
                <c:pt idx="283">
                  <c:v>42181</c:v>
                </c:pt>
                <c:pt idx="284">
                  <c:v>42184</c:v>
                </c:pt>
                <c:pt idx="285">
                  <c:v>42185</c:v>
                </c:pt>
                <c:pt idx="286">
                  <c:v>42186</c:v>
                </c:pt>
                <c:pt idx="287">
                  <c:v>42187</c:v>
                </c:pt>
                <c:pt idx="288">
                  <c:v>42188</c:v>
                </c:pt>
                <c:pt idx="289">
                  <c:v>42191</c:v>
                </c:pt>
                <c:pt idx="290">
                  <c:v>42192</c:v>
                </c:pt>
                <c:pt idx="291">
                  <c:v>42193</c:v>
                </c:pt>
                <c:pt idx="292">
                  <c:v>42194</c:v>
                </c:pt>
                <c:pt idx="293">
                  <c:v>42195</c:v>
                </c:pt>
                <c:pt idx="294">
                  <c:v>42198</c:v>
                </c:pt>
                <c:pt idx="295">
                  <c:v>42199</c:v>
                </c:pt>
                <c:pt idx="296">
                  <c:v>42200</c:v>
                </c:pt>
                <c:pt idx="297">
                  <c:v>42201</c:v>
                </c:pt>
                <c:pt idx="298">
                  <c:v>42202</c:v>
                </c:pt>
                <c:pt idx="299">
                  <c:v>42205</c:v>
                </c:pt>
                <c:pt idx="300">
                  <c:v>42206</c:v>
                </c:pt>
                <c:pt idx="301">
                  <c:v>42207</c:v>
                </c:pt>
                <c:pt idx="302">
                  <c:v>42208</c:v>
                </c:pt>
                <c:pt idx="303">
                  <c:v>42209</c:v>
                </c:pt>
                <c:pt idx="304">
                  <c:v>42212</c:v>
                </c:pt>
                <c:pt idx="305">
                  <c:v>42213</c:v>
                </c:pt>
                <c:pt idx="306">
                  <c:v>42214</c:v>
                </c:pt>
                <c:pt idx="307">
                  <c:v>42215</c:v>
                </c:pt>
                <c:pt idx="308">
                  <c:v>42216</c:v>
                </c:pt>
                <c:pt idx="309">
                  <c:v>42219</c:v>
                </c:pt>
                <c:pt idx="310">
                  <c:v>42220</c:v>
                </c:pt>
                <c:pt idx="311">
                  <c:v>42221</c:v>
                </c:pt>
                <c:pt idx="312">
                  <c:v>42222</c:v>
                </c:pt>
                <c:pt idx="313">
                  <c:v>42223</c:v>
                </c:pt>
                <c:pt idx="314">
                  <c:v>42226</c:v>
                </c:pt>
                <c:pt idx="315">
                  <c:v>42227</c:v>
                </c:pt>
                <c:pt idx="316">
                  <c:v>42228</c:v>
                </c:pt>
                <c:pt idx="317">
                  <c:v>42229</c:v>
                </c:pt>
                <c:pt idx="318">
                  <c:v>42230</c:v>
                </c:pt>
                <c:pt idx="319">
                  <c:v>42233</c:v>
                </c:pt>
                <c:pt idx="320">
                  <c:v>42234</c:v>
                </c:pt>
                <c:pt idx="321">
                  <c:v>42235</c:v>
                </c:pt>
                <c:pt idx="322">
                  <c:v>42236</c:v>
                </c:pt>
                <c:pt idx="323">
                  <c:v>42237</c:v>
                </c:pt>
                <c:pt idx="324">
                  <c:v>42240</c:v>
                </c:pt>
                <c:pt idx="325">
                  <c:v>42241</c:v>
                </c:pt>
                <c:pt idx="326">
                  <c:v>42242</c:v>
                </c:pt>
                <c:pt idx="327">
                  <c:v>42243</c:v>
                </c:pt>
                <c:pt idx="328">
                  <c:v>42244</c:v>
                </c:pt>
                <c:pt idx="329">
                  <c:v>42247</c:v>
                </c:pt>
                <c:pt idx="330">
                  <c:v>42248</c:v>
                </c:pt>
                <c:pt idx="331">
                  <c:v>42249</c:v>
                </c:pt>
                <c:pt idx="332">
                  <c:v>42250</c:v>
                </c:pt>
                <c:pt idx="333">
                  <c:v>42251</c:v>
                </c:pt>
                <c:pt idx="334">
                  <c:v>42254</c:v>
                </c:pt>
                <c:pt idx="335">
                  <c:v>42255</c:v>
                </c:pt>
                <c:pt idx="336">
                  <c:v>42256</c:v>
                </c:pt>
                <c:pt idx="337">
                  <c:v>42257</c:v>
                </c:pt>
                <c:pt idx="338">
                  <c:v>42258</c:v>
                </c:pt>
                <c:pt idx="339">
                  <c:v>42261</c:v>
                </c:pt>
                <c:pt idx="340">
                  <c:v>42262</c:v>
                </c:pt>
                <c:pt idx="341">
                  <c:v>42263</c:v>
                </c:pt>
                <c:pt idx="342">
                  <c:v>42264</c:v>
                </c:pt>
                <c:pt idx="343">
                  <c:v>42265</c:v>
                </c:pt>
                <c:pt idx="344">
                  <c:v>42268</c:v>
                </c:pt>
                <c:pt idx="345">
                  <c:v>42269</c:v>
                </c:pt>
                <c:pt idx="346">
                  <c:v>42270</c:v>
                </c:pt>
                <c:pt idx="347">
                  <c:v>42271</c:v>
                </c:pt>
                <c:pt idx="348">
                  <c:v>42272</c:v>
                </c:pt>
                <c:pt idx="349">
                  <c:v>42275</c:v>
                </c:pt>
                <c:pt idx="350">
                  <c:v>42276</c:v>
                </c:pt>
                <c:pt idx="351">
                  <c:v>42277</c:v>
                </c:pt>
                <c:pt idx="352">
                  <c:v>42278</c:v>
                </c:pt>
                <c:pt idx="353">
                  <c:v>42279</c:v>
                </c:pt>
                <c:pt idx="354">
                  <c:v>42282</c:v>
                </c:pt>
                <c:pt idx="355">
                  <c:v>42283</c:v>
                </c:pt>
                <c:pt idx="356">
                  <c:v>42284</c:v>
                </c:pt>
                <c:pt idx="357">
                  <c:v>42285</c:v>
                </c:pt>
                <c:pt idx="358">
                  <c:v>42286</c:v>
                </c:pt>
                <c:pt idx="359">
                  <c:v>42289</c:v>
                </c:pt>
                <c:pt idx="360">
                  <c:v>42290</c:v>
                </c:pt>
                <c:pt idx="361">
                  <c:v>42291</c:v>
                </c:pt>
                <c:pt idx="362">
                  <c:v>42292</c:v>
                </c:pt>
                <c:pt idx="363">
                  <c:v>42293</c:v>
                </c:pt>
                <c:pt idx="364">
                  <c:v>42296</c:v>
                </c:pt>
                <c:pt idx="365">
                  <c:v>42297</c:v>
                </c:pt>
                <c:pt idx="366">
                  <c:v>42298</c:v>
                </c:pt>
                <c:pt idx="367">
                  <c:v>42299</c:v>
                </c:pt>
                <c:pt idx="368">
                  <c:v>42300</c:v>
                </c:pt>
                <c:pt idx="369">
                  <c:v>42303</c:v>
                </c:pt>
                <c:pt idx="370">
                  <c:v>42304</c:v>
                </c:pt>
                <c:pt idx="371">
                  <c:v>42305</c:v>
                </c:pt>
                <c:pt idx="372">
                  <c:v>42306</c:v>
                </c:pt>
                <c:pt idx="373">
                  <c:v>42307</c:v>
                </c:pt>
                <c:pt idx="374">
                  <c:v>42310</c:v>
                </c:pt>
                <c:pt idx="375">
                  <c:v>42311</c:v>
                </c:pt>
                <c:pt idx="376">
                  <c:v>42312</c:v>
                </c:pt>
                <c:pt idx="377">
                  <c:v>42313</c:v>
                </c:pt>
                <c:pt idx="378">
                  <c:v>42314</c:v>
                </c:pt>
                <c:pt idx="379">
                  <c:v>42317</c:v>
                </c:pt>
                <c:pt idx="380">
                  <c:v>42318</c:v>
                </c:pt>
                <c:pt idx="381">
                  <c:v>42319</c:v>
                </c:pt>
                <c:pt idx="382">
                  <c:v>42320</c:v>
                </c:pt>
                <c:pt idx="383">
                  <c:v>42321</c:v>
                </c:pt>
                <c:pt idx="384">
                  <c:v>42324</c:v>
                </c:pt>
                <c:pt idx="385">
                  <c:v>42325</c:v>
                </c:pt>
                <c:pt idx="386">
                  <c:v>42326</c:v>
                </c:pt>
                <c:pt idx="387">
                  <c:v>42327</c:v>
                </c:pt>
                <c:pt idx="388">
                  <c:v>42328</c:v>
                </c:pt>
                <c:pt idx="389">
                  <c:v>42331</c:v>
                </c:pt>
                <c:pt idx="390">
                  <c:v>42332</c:v>
                </c:pt>
                <c:pt idx="391">
                  <c:v>42333</c:v>
                </c:pt>
                <c:pt idx="392">
                  <c:v>42334</c:v>
                </c:pt>
                <c:pt idx="393">
                  <c:v>42335</c:v>
                </c:pt>
                <c:pt idx="394">
                  <c:v>42338</c:v>
                </c:pt>
                <c:pt idx="395">
                  <c:v>42339</c:v>
                </c:pt>
                <c:pt idx="396">
                  <c:v>42340</c:v>
                </c:pt>
                <c:pt idx="397">
                  <c:v>42341</c:v>
                </c:pt>
                <c:pt idx="398">
                  <c:v>42342</c:v>
                </c:pt>
                <c:pt idx="399">
                  <c:v>42345</c:v>
                </c:pt>
                <c:pt idx="400">
                  <c:v>42346</c:v>
                </c:pt>
                <c:pt idx="401">
                  <c:v>42347</c:v>
                </c:pt>
                <c:pt idx="402">
                  <c:v>42348</c:v>
                </c:pt>
                <c:pt idx="403">
                  <c:v>42349</c:v>
                </c:pt>
                <c:pt idx="404">
                  <c:v>42352</c:v>
                </c:pt>
                <c:pt idx="405">
                  <c:v>42353</c:v>
                </c:pt>
                <c:pt idx="406">
                  <c:v>42354</c:v>
                </c:pt>
                <c:pt idx="407">
                  <c:v>42355</c:v>
                </c:pt>
                <c:pt idx="408">
                  <c:v>42356</c:v>
                </c:pt>
                <c:pt idx="409">
                  <c:v>42359</c:v>
                </c:pt>
                <c:pt idx="410">
                  <c:v>42360</c:v>
                </c:pt>
                <c:pt idx="411">
                  <c:v>42361</c:v>
                </c:pt>
                <c:pt idx="412">
                  <c:v>42362</c:v>
                </c:pt>
                <c:pt idx="413">
                  <c:v>42363</c:v>
                </c:pt>
                <c:pt idx="414">
                  <c:v>42366</c:v>
                </c:pt>
                <c:pt idx="415">
                  <c:v>42367</c:v>
                </c:pt>
                <c:pt idx="416">
                  <c:v>42368</c:v>
                </c:pt>
                <c:pt idx="417">
                  <c:v>42369</c:v>
                </c:pt>
                <c:pt idx="418">
                  <c:v>42370</c:v>
                </c:pt>
                <c:pt idx="419">
                  <c:v>42373</c:v>
                </c:pt>
                <c:pt idx="420">
                  <c:v>42374</c:v>
                </c:pt>
                <c:pt idx="421">
                  <c:v>42375</c:v>
                </c:pt>
                <c:pt idx="422">
                  <c:v>42376</c:v>
                </c:pt>
                <c:pt idx="423">
                  <c:v>42377</c:v>
                </c:pt>
                <c:pt idx="424">
                  <c:v>42380</c:v>
                </c:pt>
                <c:pt idx="425">
                  <c:v>42381</c:v>
                </c:pt>
                <c:pt idx="426">
                  <c:v>42382</c:v>
                </c:pt>
                <c:pt idx="427">
                  <c:v>42383</c:v>
                </c:pt>
                <c:pt idx="428">
                  <c:v>42384</c:v>
                </c:pt>
                <c:pt idx="429">
                  <c:v>42387</c:v>
                </c:pt>
                <c:pt idx="430">
                  <c:v>42388</c:v>
                </c:pt>
                <c:pt idx="431">
                  <c:v>42389</c:v>
                </c:pt>
                <c:pt idx="432">
                  <c:v>42390</c:v>
                </c:pt>
                <c:pt idx="433">
                  <c:v>42391</c:v>
                </c:pt>
                <c:pt idx="434">
                  <c:v>42394</c:v>
                </c:pt>
                <c:pt idx="435">
                  <c:v>42395</c:v>
                </c:pt>
                <c:pt idx="436">
                  <c:v>42396</c:v>
                </c:pt>
                <c:pt idx="437">
                  <c:v>42397</c:v>
                </c:pt>
                <c:pt idx="438">
                  <c:v>42398</c:v>
                </c:pt>
                <c:pt idx="439">
                  <c:v>42401</c:v>
                </c:pt>
                <c:pt idx="440">
                  <c:v>42402</c:v>
                </c:pt>
                <c:pt idx="441">
                  <c:v>42403</c:v>
                </c:pt>
                <c:pt idx="442">
                  <c:v>42404</c:v>
                </c:pt>
                <c:pt idx="443">
                  <c:v>42405</c:v>
                </c:pt>
                <c:pt idx="444">
                  <c:v>42408</c:v>
                </c:pt>
                <c:pt idx="445">
                  <c:v>42409</c:v>
                </c:pt>
                <c:pt idx="446">
                  <c:v>42410</c:v>
                </c:pt>
                <c:pt idx="447">
                  <c:v>42411</c:v>
                </c:pt>
                <c:pt idx="448">
                  <c:v>42412</c:v>
                </c:pt>
                <c:pt idx="449">
                  <c:v>42415</c:v>
                </c:pt>
                <c:pt idx="450">
                  <c:v>42416</c:v>
                </c:pt>
                <c:pt idx="451">
                  <c:v>42417</c:v>
                </c:pt>
                <c:pt idx="452">
                  <c:v>42418</c:v>
                </c:pt>
                <c:pt idx="453">
                  <c:v>42419</c:v>
                </c:pt>
                <c:pt idx="454">
                  <c:v>42422</c:v>
                </c:pt>
                <c:pt idx="455">
                  <c:v>42423</c:v>
                </c:pt>
                <c:pt idx="456">
                  <c:v>42424</c:v>
                </c:pt>
                <c:pt idx="457">
                  <c:v>42425</c:v>
                </c:pt>
                <c:pt idx="458">
                  <c:v>42426</c:v>
                </c:pt>
                <c:pt idx="459">
                  <c:v>42429</c:v>
                </c:pt>
                <c:pt idx="460">
                  <c:v>42430</c:v>
                </c:pt>
                <c:pt idx="461">
                  <c:v>42431</c:v>
                </c:pt>
                <c:pt idx="462">
                  <c:v>42432</c:v>
                </c:pt>
                <c:pt idx="463">
                  <c:v>42433</c:v>
                </c:pt>
                <c:pt idx="464">
                  <c:v>42436</c:v>
                </c:pt>
                <c:pt idx="465">
                  <c:v>42437</c:v>
                </c:pt>
                <c:pt idx="466">
                  <c:v>42438</c:v>
                </c:pt>
                <c:pt idx="467">
                  <c:v>42439</c:v>
                </c:pt>
                <c:pt idx="468">
                  <c:v>42440</c:v>
                </c:pt>
                <c:pt idx="469">
                  <c:v>42443</c:v>
                </c:pt>
                <c:pt idx="470">
                  <c:v>42444</c:v>
                </c:pt>
                <c:pt idx="471">
                  <c:v>42445</c:v>
                </c:pt>
                <c:pt idx="472">
                  <c:v>42446</c:v>
                </c:pt>
                <c:pt idx="473">
                  <c:v>42447</c:v>
                </c:pt>
                <c:pt idx="474">
                  <c:v>42450</c:v>
                </c:pt>
                <c:pt idx="475">
                  <c:v>42451</c:v>
                </c:pt>
                <c:pt idx="476">
                  <c:v>42452</c:v>
                </c:pt>
                <c:pt idx="477">
                  <c:v>42453</c:v>
                </c:pt>
                <c:pt idx="478">
                  <c:v>42454</c:v>
                </c:pt>
                <c:pt idx="479">
                  <c:v>42457</c:v>
                </c:pt>
                <c:pt idx="480">
                  <c:v>42458</c:v>
                </c:pt>
                <c:pt idx="481">
                  <c:v>42459</c:v>
                </c:pt>
                <c:pt idx="482">
                  <c:v>42460</c:v>
                </c:pt>
                <c:pt idx="483">
                  <c:v>42461</c:v>
                </c:pt>
                <c:pt idx="484">
                  <c:v>42464</c:v>
                </c:pt>
                <c:pt idx="485">
                  <c:v>42465</c:v>
                </c:pt>
                <c:pt idx="486">
                  <c:v>42466</c:v>
                </c:pt>
                <c:pt idx="487">
                  <c:v>42467</c:v>
                </c:pt>
                <c:pt idx="488">
                  <c:v>42468</c:v>
                </c:pt>
                <c:pt idx="489">
                  <c:v>42471</c:v>
                </c:pt>
                <c:pt idx="490">
                  <c:v>42472</c:v>
                </c:pt>
                <c:pt idx="491">
                  <c:v>42473</c:v>
                </c:pt>
                <c:pt idx="492">
                  <c:v>42474</c:v>
                </c:pt>
                <c:pt idx="493">
                  <c:v>42475</c:v>
                </c:pt>
                <c:pt idx="494">
                  <c:v>42478</c:v>
                </c:pt>
                <c:pt idx="495">
                  <c:v>42479</c:v>
                </c:pt>
                <c:pt idx="496">
                  <c:v>42480</c:v>
                </c:pt>
                <c:pt idx="497">
                  <c:v>42481</c:v>
                </c:pt>
                <c:pt idx="498">
                  <c:v>42482</c:v>
                </c:pt>
                <c:pt idx="499">
                  <c:v>42485</c:v>
                </c:pt>
                <c:pt idx="500">
                  <c:v>42486</c:v>
                </c:pt>
                <c:pt idx="501">
                  <c:v>42487</c:v>
                </c:pt>
                <c:pt idx="502">
                  <c:v>42488</c:v>
                </c:pt>
                <c:pt idx="503">
                  <c:v>42489</c:v>
                </c:pt>
                <c:pt idx="504">
                  <c:v>42492</c:v>
                </c:pt>
                <c:pt idx="505">
                  <c:v>42493</c:v>
                </c:pt>
                <c:pt idx="506">
                  <c:v>42494</c:v>
                </c:pt>
                <c:pt idx="507">
                  <c:v>42495</c:v>
                </c:pt>
                <c:pt idx="508">
                  <c:v>42496</c:v>
                </c:pt>
                <c:pt idx="509">
                  <c:v>42499</c:v>
                </c:pt>
                <c:pt idx="510">
                  <c:v>42500</c:v>
                </c:pt>
                <c:pt idx="511">
                  <c:v>42501</c:v>
                </c:pt>
                <c:pt idx="512">
                  <c:v>42502</c:v>
                </c:pt>
                <c:pt idx="513">
                  <c:v>42503</c:v>
                </c:pt>
                <c:pt idx="514">
                  <c:v>42506</c:v>
                </c:pt>
                <c:pt idx="515">
                  <c:v>42507</c:v>
                </c:pt>
                <c:pt idx="516">
                  <c:v>42508</c:v>
                </c:pt>
                <c:pt idx="517">
                  <c:v>42509</c:v>
                </c:pt>
                <c:pt idx="518">
                  <c:v>42510</c:v>
                </c:pt>
                <c:pt idx="519">
                  <c:v>42513</c:v>
                </c:pt>
                <c:pt idx="520">
                  <c:v>42514</c:v>
                </c:pt>
                <c:pt idx="521">
                  <c:v>42515</c:v>
                </c:pt>
                <c:pt idx="522">
                  <c:v>42516</c:v>
                </c:pt>
                <c:pt idx="523">
                  <c:v>42517</c:v>
                </c:pt>
                <c:pt idx="524">
                  <c:v>42520</c:v>
                </c:pt>
                <c:pt idx="525">
                  <c:v>42521</c:v>
                </c:pt>
                <c:pt idx="526">
                  <c:v>42522</c:v>
                </c:pt>
                <c:pt idx="527">
                  <c:v>42523</c:v>
                </c:pt>
                <c:pt idx="528">
                  <c:v>42524</c:v>
                </c:pt>
                <c:pt idx="529">
                  <c:v>42527</c:v>
                </c:pt>
                <c:pt idx="530">
                  <c:v>42528</c:v>
                </c:pt>
                <c:pt idx="531">
                  <c:v>42529</c:v>
                </c:pt>
                <c:pt idx="532">
                  <c:v>42530</c:v>
                </c:pt>
                <c:pt idx="533">
                  <c:v>42531</c:v>
                </c:pt>
                <c:pt idx="534">
                  <c:v>42534</c:v>
                </c:pt>
                <c:pt idx="535">
                  <c:v>42535</c:v>
                </c:pt>
                <c:pt idx="536">
                  <c:v>42536</c:v>
                </c:pt>
                <c:pt idx="537">
                  <c:v>42537</c:v>
                </c:pt>
                <c:pt idx="538">
                  <c:v>42538</c:v>
                </c:pt>
                <c:pt idx="539">
                  <c:v>42541</c:v>
                </c:pt>
                <c:pt idx="540">
                  <c:v>42542</c:v>
                </c:pt>
                <c:pt idx="541">
                  <c:v>42543</c:v>
                </c:pt>
                <c:pt idx="542">
                  <c:v>42544</c:v>
                </c:pt>
                <c:pt idx="543">
                  <c:v>42545</c:v>
                </c:pt>
                <c:pt idx="544">
                  <c:v>42548</c:v>
                </c:pt>
                <c:pt idx="545">
                  <c:v>42549</c:v>
                </c:pt>
                <c:pt idx="546">
                  <c:v>42550</c:v>
                </c:pt>
                <c:pt idx="547">
                  <c:v>42551</c:v>
                </c:pt>
                <c:pt idx="548">
                  <c:v>42552</c:v>
                </c:pt>
                <c:pt idx="549">
                  <c:v>42555</c:v>
                </c:pt>
                <c:pt idx="550">
                  <c:v>42556</c:v>
                </c:pt>
                <c:pt idx="551">
                  <c:v>42557</c:v>
                </c:pt>
                <c:pt idx="552">
                  <c:v>42558</c:v>
                </c:pt>
                <c:pt idx="553">
                  <c:v>42559</c:v>
                </c:pt>
                <c:pt idx="554">
                  <c:v>42562</c:v>
                </c:pt>
                <c:pt idx="555">
                  <c:v>42563</c:v>
                </c:pt>
                <c:pt idx="556">
                  <c:v>42564</c:v>
                </c:pt>
                <c:pt idx="557">
                  <c:v>42565</c:v>
                </c:pt>
                <c:pt idx="558">
                  <c:v>42566</c:v>
                </c:pt>
                <c:pt idx="559">
                  <c:v>42569</c:v>
                </c:pt>
                <c:pt idx="560">
                  <c:v>42570</c:v>
                </c:pt>
                <c:pt idx="561">
                  <c:v>42571</c:v>
                </c:pt>
                <c:pt idx="562">
                  <c:v>42572</c:v>
                </c:pt>
                <c:pt idx="563">
                  <c:v>42573</c:v>
                </c:pt>
                <c:pt idx="564">
                  <c:v>42576</c:v>
                </c:pt>
                <c:pt idx="565">
                  <c:v>42577</c:v>
                </c:pt>
                <c:pt idx="566">
                  <c:v>42578</c:v>
                </c:pt>
                <c:pt idx="567">
                  <c:v>42579</c:v>
                </c:pt>
                <c:pt idx="568">
                  <c:v>42580</c:v>
                </c:pt>
                <c:pt idx="569">
                  <c:v>42583</c:v>
                </c:pt>
                <c:pt idx="570">
                  <c:v>42584</c:v>
                </c:pt>
                <c:pt idx="571">
                  <c:v>42585</c:v>
                </c:pt>
                <c:pt idx="572">
                  <c:v>42586</c:v>
                </c:pt>
                <c:pt idx="573">
                  <c:v>42587</c:v>
                </c:pt>
                <c:pt idx="574">
                  <c:v>42590</c:v>
                </c:pt>
                <c:pt idx="575">
                  <c:v>42591</c:v>
                </c:pt>
                <c:pt idx="576">
                  <c:v>42592</c:v>
                </c:pt>
                <c:pt idx="577">
                  <c:v>42593</c:v>
                </c:pt>
                <c:pt idx="578">
                  <c:v>42594</c:v>
                </c:pt>
                <c:pt idx="579">
                  <c:v>42597</c:v>
                </c:pt>
                <c:pt idx="580">
                  <c:v>42598</c:v>
                </c:pt>
                <c:pt idx="581">
                  <c:v>42599</c:v>
                </c:pt>
                <c:pt idx="582">
                  <c:v>42600</c:v>
                </c:pt>
                <c:pt idx="583">
                  <c:v>42601</c:v>
                </c:pt>
                <c:pt idx="584">
                  <c:v>42604</c:v>
                </c:pt>
                <c:pt idx="585">
                  <c:v>42605</c:v>
                </c:pt>
                <c:pt idx="586">
                  <c:v>42606</c:v>
                </c:pt>
                <c:pt idx="587">
                  <c:v>42607</c:v>
                </c:pt>
                <c:pt idx="588">
                  <c:v>42608</c:v>
                </c:pt>
                <c:pt idx="589">
                  <c:v>42611</c:v>
                </c:pt>
                <c:pt idx="590">
                  <c:v>42612</c:v>
                </c:pt>
                <c:pt idx="591">
                  <c:v>42613</c:v>
                </c:pt>
                <c:pt idx="592">
                  <c:v>42614</c:v>
                </c:pt>
                <c:pt idx="593">
                  <c:v>42615</c:v>
                </c:pt>
                <c:pt idx="594">
                  <c:v>42618</c:v>
                </c:pt>
                <c:pt idx="595">
                  <c:v>42619</c:v>
                </c:pt>
                <c:pt idx="596">
                  <c:v>42620</c:v>
                </c:pt>
                <c:pt idx="597">
                  <c:v>42621</c:v>
                </c:pt>
                <c:pt idx="598">
                  <c:v>42622</c:v>
                </c:pt>
                <c:pt idx="599">
                  <c:v>42625</c:v>
                </c:pt>
                <c:pt idx="600">
                  <c:v>42626</c:v>
                </c:pt>
                <c:pt idx="601">
                  <c:v>42627</c:v>
                </c:pt>
                <c:pt idx="602">
                  <c:v>42628</c:v>
                </c:pt>
                <c:pt idx="603">
                  <c:v>42629</c:v>
                </c:pt>
                <c:pt idx="604">
                  <c:v>42632</c:v>
                </c:pt>
                <c:pt idx="605">
                  <c:v>42633</c:v>
                </c:pt>
                <c:pt idx="606">
                  <c:v>42634</c:v>
                </c:pt>
                <c:pt idx="607">
                  <c:v>42635</c:v>
                </c:pt>
                <c:pt idx="608">
                  <c:v>42636</c:v>
                </c:pt>
                <c:pt idx="609">
                  <c:v>42639</c:v>
                </c:pt>
                <c:pt idx="610">
                  <c:v>42640</c:v>
                </c:pt>
                <c:pt idx="611">
                  <c:v>42641</c:v>
                </c:pt>
                <c:pt idx="612">
                  <c:v>42642</c:v>
                </c:pt>
                <c:pt idx="613">
                  <c:v>42643</c:v>
                </c:pt>
                <c:pt idx="614">
                  <c:v>42646</c:v>
                </c:pt>
                <c:pt idx="615">
                  <c:v>42647</c:v>
                </c:pt>
                <c:pt idx="616">
                  <c:v>42648</c:v>
                </c:pt>
                <c:pt idx="617">
                  <c:v>42649</c:v>
                </c:pt>
                <c:pt idx="618">
                  <c:v>42650</c:v>
                </c:pt>
                <c:pt idx="619">
                  <c:v>42653</c:v>
                </c:pt>
                <c:pt idx="620">
                  <c:v>42654</c:v>
                </c:pt>
                <c:pt idx="621">
                  <c:v>42655</c:v>
                </c:pt>
                <c:pt idx="622">
                  <c:v>42656</c:v>
                </c:pt>
                <c:pt idx="623">
                  <c:v>42657</c:v>
                </c:pt>
                <c:pt idx="624">
                  <c:v>42660</c:v>
                </c:pt>
                <c:pt idx="625">
                  <c:v>42661</c:v>
                </c:pt>
                <c:pt idx="626">
                  <c:v>42662</c:v>
                </c:pt>
                <c:pt idx="627">
                  <c:v>42663</c:v>
                </c:pt>
                <c:pt idx="628">
                  <c:v>42664</c:v>
                </c:pt>
                <c:pt idx="629">
                  <c:v>42667</c:v>
                </c:pt>
                <c:pt idx="630">
                  <c:v>42668</c:v>
                </c:pt>
                <c:pt idx="631">
                  <c:v>42669</c:v>
                </c:pt>
                <c:pt idx="632">
                  <c:v>42670</c:v>
                </c:pt>
                <c:pt idx="633">
                  <c:v>42671</c:v>
                </c:pt>
                <c:pt idx="634">
                  <c:v>42674</c:v>
                </c:pt>
                <c:pt idx="635">
                  <c:v>42675</c:v>
                </c:pt>
                <c:pt idx="636">
                  <c:v>42676</c:v>
                </c:pt>
                <c:pt idx="637">
                  <c:v>42677</c:v>
                </c:pt>
                <c:pt idx="638">
                  <c:v>42678</c:v>
                </c:pt>
                <c:pt idx="639">
                  <c:v>42681</c:v>
                </c:pt>
                <c:pt idx="640">
                  <c:v>42682</c:v>
                </c:pt>
                <c:pt idx="641">
                  <c:v>42683</c:v>
                </c:pt>
                <c:pt idx="642">
                  <c:v>42684</c:v>
                </c:pt>
                <c:pt idx="643">
                  <c:v>42685</c:v>
                </c:pt>
                <c:pt idx="644">
                  <c:v>42688</c:v>
                </c:pt>
                <c:pt idx="645">
                  <c:v>42689</c:v>
                </c:pt>
                <c:pt idx="646">
                  <c:v>42690</c:v>
                </c:pt>
                <c:pt idx="647">
                  <c:v>42691</c:v>
                </c:pt>
                <c:pt idx="648">
                  <c:v>42692</c:v>
                </c:pt>
                <c:pt idx="649">
                  <c:v>42695</c:v>
                </c:pt>
                <c:pt idx="650">
                  <c:v>42696</c:v>
                </c:pt>
                <c:pt idx="651">
                  <c:v>42697</c:v>
                </c:pt>
                <c:pt idx="652">
                  <c:v>42698</c:v>
                </c:pt>
                <c:pt idx="653">
                  <c:v>42699</c:v>
                </c:pt>
                <c:pt idx="654">
                  <c:v>42702</c:v>
                </c:pt>
                <c:pt idx="655">
                  <c:v>42703</c:v>
                </c:pt>
                <c:pt idx="656">
                  <c:v>42704</c:v>
                </c:pt>
                <c:pt idx="657">
                  <c:v>42705</c:v>
                </c:pt>
                <c:pt idx="658">
                  <c:v>42706</c:v>
                </c:pt>
                <c:pt idx="659">
                  <c:v>42709</c:v>
                </c:pt>
                <c:pt idx="660">
                  <c:v>42710</c:v>
                </c:pt>
                <c:pt idx="661">
                  <c:v>42711</c:v>
                </c:pt>
                <c:pt idx="662">
                  <c:v>42712</c:v>
                </c:pt>
                <c:pt idx="663">
                  <c:v>42713</c:v>
                </c:pt>
                <c:pt idx="664">
                  <c:v>42716</c:v>
                </c:pt>
                <c:pt idx="665">
                  <c:v>42717</c:v>
                </c:pt>
                <c:pt idx="666">
                  <c:v>42718</c:v>
                </c:pt>
                <c:pt idx="667">
                  <c:v>42719</c:v>
                </c:pt>
                <c:pt idx="668">
                  <c:v>42720</c:v>
                </c:pt>
                <c:pt idx="669">
                  <c:v>42723</c:v>
                </c:pt>
                <c:pt idx="670">
                  <c:v>42724</c:v>
                </c:pt>
                <c:pt idx="671">
                  <c:v>42725</c:v>
                </c:pt>
                <c:pt idx="672">
                  <c:v>42726</c:v>
                </c:pt>
                <c:pt idx="673">
                  <c:v>42727</c:v>
                </c:pt>
                <c:pt idx="674">
                  <c:v>42730</c:v>
                </c:pt>
                <c:pt idx="675">
                  <c:v>42731</c:v>
                </c:pt>
                <c:pt idx="676">
                  <c:v>42732</c:v>
                </c:pt>
                <c:pt idx="677">
                  <c:v>42733</c:v>
                </c:pt>
                <c:pt idx="678">
                  <c:v>42734</c:v>
                </c:pt>
                <c:pt idx="679">
                  <c:v>42737</c:v>
                </c:pt>
                <c:pt idx="680">
                  <c:v>42738</c:v>
                </c:pt>
                <c:pt idx="681">
                  <c:v>42739</c:v>
                </c:pt>
                <c:pt idx="682">
                  <c:v>42740</c:v>
                </c:pt>
                <c:pt idx="683">
                  <c:v>42741</c:v>
                </c:pt>
                <c:pt idx="684">
                  <c:v>42744</c:v>
                </c:pt>
                <c:pt idx="685">
                  <c:v>42745</c:v>
                </c:pt>
                <c:pt idx="686">
                  <c:v>42746</c:v>
                </c:pt>
                <c:pt idx="687">
                  <c:v>42747</c:v>
                </c:pt>
                <c:pt idx="688">
                  <c:v>42748</c:v>
                </c:pt>
                <c:pt idx="689">
                  <c:v>42751</c:v>
                </c:pt>
                <c:pt idx="690">
                  <c:v>42752</c:v>
                </c:pt>
                <c:pt idx="691">
                  <c:v>42753</c:v>
                </c:pt>
                <c:pt idx="692">
                  <c:v>42754</c:v>
                </c:pt>
                <c:pt idx="693">
                  <c:v>42755</c:v>
                </c:pt>
                <c:pt idx="694">
                  <c:v>42758</c:v>
                </c:pt>
                <c:pt idx="695">
                  <c:v>42759</c:v>
                </c:pt>
                <c:pt idx="696">
                  <c:v>42760</c:v>
                </c:pt>
                <c:pt idx="697">
                  <c:v>42761</c:v>
                </c:pt>
                <c:pt idx="698">
                  <c:v>42762</c:v>
                </c:pt>
                <c:pt idx="699">
                  <c:v>42765</c:v>
                </c:pt>
                <c:pt idx="700">
                  <c:v>42766</c:v>
                </c:pt>
                <c:pt idx="701">
                  <c:v>42767</c:v>
                </c:pt>
                <c:pt idx="702">
                  <c:v>42768</c:v>
                </c:pt>
                <c:pt idx="703">
                  <c:v>42769</c:v>
                </c:pt>
                <c:pt idx="704">
                  <c:v>42772</c:v>
                </c:pt>
                <c:pt idx="705">
                  <c:v>42773</c:v>
                </c:pt>
                <c:pt idx="706">
                  <c:v>42774</c:v>
                </c:pt>
                <c:pt idx="707">
                  <c:v>42775</c:v>
                </c:pt>
                <c:pt idx="708">
                  <c:v>42776</c:v>
                </c:pt>
                <c:pt idx="709">
                  <c:v>42779</c:v>
                </c:pt>
                <c:pt idx="710">
                  <c:v>42780</c:v>
                </c:pt>
                <c:pt idx="711">
                  <c:v>42781</c:v>
                </c:pt>
                <c:pt idx="712">
                  <c:v>42782</c:v>
                </c:pt>
                <c:pt idx="713">
                  <c:v>42783</c:v>
                </c:pt>
                <c:pt idx="714">
                  <c:v>42786</c:v>
                </c:pt>
                <c:pt idx="715">
                  <c:v>42787</c:v>
                </c:pt>
                <c:pt idx="716">
                  <c:v>42788</c:v>
                </c:pt>
                <c:pt idx="717">
                  <c:v>42789</c:v>
                </c:pt>
                <c:pt idx="718">
                  <c:v>42790</c:v>
                </c:pt>
                <c:pt idx="719">
                  <c:v>42793</c:v>
                </c:pt>
                <c:pt idx="720">
                  <c:v>42794</c:v>
                </c:pt>
                <c:pt idx="721">
                  <c:v>42795</c:v>
                </c:pt>
                <c:pt idx="722">
                  <c:v>42796</c:v>
                </c:pt>
                <c:pt idx="723">
                  <c:v>42797</c:v>
                </c:pt>
                <c:pt idx="724">
                  <c:v>42800</c:v>
                </c:pt>
                <c:pt idx="725">
                  <c:v>42801</c:v>
                </c:pt>
                <c:pt idx="726">
                  <c:v>42802</c:v>
                </c:pt>
                <c:pt idx="727">
                  <c:v>42803</c:v>
                </c:pt>
                <c:pt idx="728">
                  <c:v>42804</c:v>
                </c:pt>
                <c:pt idx="729">
                  <c:v>42807</c:v>
                </c:pt>
                <c:pt idx="730">
                  <c:v>42808</c:v>
                </c:pt>
                <c:pt idx="731">
                  <c:v>42809</c:v>
                </c:pt>
                <c:pt idx="732">
                  <c:v>42810</c:v>
                </c:pt>
                <c:pt idx="733">
                  <c:v>42811</c:v>
                </c:pt>
                <c:pt idx="734">
                  <c:v>42814</c:v>
                </c:pt>
                <c:pt idx="735">
                  <c:v>42815</c:v>
                </c:pt>
                <c:pt idx="736">
                  <c:v>42816</c:v>
                </c:pt>
                <c:pt idx="737">
                  <c:v>42817</c:v>
                </c:pt>
                <c:pt idx="738">
                  <c:v>42818</c:v>
                </c:pt>
                <c:pt idx="739">
                  <c:v>42821</c:v>
                </c:pt>
                <c:pt idx="740">
                  <c:v>42822</c:v>
                </c:pt>
                <c:pt idx="741">
                  <c:v>42823</c:v>
                </c:pt>
                <c:pt idx="742">
                  <c:v>42824</c:v>
                </c:pt>
                <c:pt idx="743">
                  <c:v>42825</c:v>
                </c:pt>
                <c:pt idx="744">
                  <c:v>42828</c:v>
                </c:pt>
                <c:pt idx="745">
                  <c:v>42829</c:v>
                </c:pt>
                <c:pt idx="746">
                  <c:v>42830</c:v>
                </c:pt>
                <c:pt idx="747">
                  <c:v>42831</c:v>
                </c:pt>
                <c:pt idx="748">
                  <c:v>42832</c:v>
                </c:pt>
                <c:pt idx="749">
                  <c:v>42835</c:v>
                </c:pt>
                <c:pt idx="750">
                  <c:v>42836</c:v>
                </c:pt>
                <c:pt idx="751">
                  <c:v>42837</c:v>
                </c:pt>
                <c:pt idx="752">
                  <c:v>42838</c:v>
                </c:pt>
                <c:pt idx="753">
                  <c:v>42839</c:v>
                </c:pt>
                <c:pt idx="754">
                  <c:v>42842</c:v>
                </c:pt>
                <c:pt idx="755">
                  <c:v>42843</c:v>
                </c:pt>
                <c:pt idx="756">
                  <c:v>42844</c:v>
                </c:pt>
                <c:pt idx="757">
                  <c:v>42845</c:v>
                </c:pt>
                <c:pt idx="758">
                  <c:v>42846</c:v>
                </c:pt>
                <c:pt idx="759">
                  <c:v>42849</c:v>
                </c:pt>
                <c:pt idx="760">
                  <c:v>42850</c:v>
                </c:pt>
                <c:pt idx="761">
                  <c:v>42851</c:v>
                </c:pt>
                <c:pt idx="762">
                  <c:v>42852</c:v>
                </c:pt>
                <c:pt idx="763">
                  <c:v>42853</c:v>
                </c:pt>
                <c:pt idx="764">
                  <c:v>42856</c:v>
                </c:pt>
                <c:pt idx="765">
                  <c:v>42857</c:v>
                </c:pt>
                <c:pt idx="766">
                  <c:v>42858</c:v>
                </c:pt>
                <c:pt idx="767">
                  <c:v>42859</c:v>
                </c:pt>
                <c:pt idx="768">
                  <c:v>42860</c:v>
                </c:pt>
                <c:pt idx="769">
                  <c:v>42863</c:v>
                </c:pt>
                <c:pt idx="770">
                  <c:v>42864</c:v>
                </c:pt>
                <c:pt idx="771">
                  <c:v>42865</c:v>
                </c:pt>
                <c:pt idx="772">
                  <c:v>42866</c:v>
                </c:pt>
                <c:pt idx="773">
                  <c:v>42867</c:v>
                </c:pt>
                <c:pt idx="774">
                  <c:v>42870</c:v>
                </c:pt>
                <c:pt idx="775">
                  <c:v>42871</c:v>
                </c:pt>
                <c:pt idx="776">
                  <c:v>42872</c:v>
                </c:pt>
                <c:pt idx="777">
                  <c:v>42873</c:v>
                </c:pt>
                <c:pt idx="778">
                  <c:v>42874</c:v>
                </c:pt>
                <c:pt idx="779">
                  <c:v>42877</c:v>
                </c:pt>
                <c:pt idx="780">
                  <c:v>42878</c:v>
                </c:pt>
                <c:pt idx="781">
                  <c:v>42879</c:v>
                </c:pt>
                <c:pt idx="782">
                  <c:v>42880</c:v>
                </c:pt>
                <c:pt idx="783">
                  <c:v>42881</c:v>
                </c:pt>
                <c:pt idx="784">
                  <c:v>42884</c:v>
                </c:pt>
                <c:pt idx="785">
                  <c:v>42885</c:v>
                </c:pt>
                <c:pt idx="786">
                  <c:v>42886</c:v>
                </c:pt>
                <c:pt idx="787">
                  <c:v>42887</c:v>
                </c:pt>
                <c:pt idx="788">
                  <c:v>42888</c:v>
                </c:pt>
                <c:pt idx="789">
                  <c:v>42891</c:v>
                </c:pt>
                <c:pt idx="790">
                  <c:v>42892</c:v>
                </c:pt>
                <c:pt idx="791">
                  <c:v>42893</c:v>
                </c:pt>
                <c:pt idx="792">
                  <c:v>42894</c:v>
                </c:pt>
                <c:pt idx="793">
                  <c:v>42895</c:v>
                </c:pt>
                <c:pt idx="794">
                  <c:v>42898</c:v>
                </c:pt>
                <c:pt idx="795">
                  <c:v>42899</c:v>
                </c:pt>
                <c:pt idx="796">
                  <c:v>42900</c:v>
                </c:pt>
                <c:pt idx="797">
                  <c:v>42901</c:v>
                </c:pt>
                <c:pt idx="798">
                  <c:v>42902</c:v>
                </c:pt>
                <c:pt idx="799">
                  <c:v>42905</c:v>
                </c:pt>
                <c:pt idx="800">
                  <c:v>42906</c:v>
                </c:pt>
                <c:pt idx="801">
                  <c:v>42907</c:v>
                </c:pt>
                <c:pt idx="802">
                  <c:v>42908</c:v>
                </c:pt>
                <c:pt idx="803">
                  <c:v>42909</c:v>
                </c:pt>
                <c:pt idx="804">
                  <c:v>42912</c:v>
                </c:pt>
                <c:pt idx="805">
                  <c:v>42913</c:v>
                </c:pt>
                <c:pt idx="806">
                  <c:v>42914</c:v>
                </c:pt>
                <c:pt idx="807">
                  <c:v>42915</c:v>
                </c:pt>
                <c:pt idx="808">
                  <c:v>42916</c:v>
                </c:pt>
                <c:pt idx="809">
                  <c:v>42919</c:v>
                </c:pt>
                <c:pt idx="810">
                  <c:v>42920</c:v>
                </c:pt>
                <c:pt idx="811">
                  <c:v>42921</c:v>
                </c:pt>
                <c:pt idx="812">
                  <c:v>42922</c:v>
                </c:pt>
                <c:pt idx="813">
                  <c:v>42923</c:v>
                </c:pt>
                <c:pt idx="814">
                  <c:v>42926</c:v>
                </c:pt>
                <c:pt idx="815">
                  <c:v>42927</c:v>
                </c:pt>
                <c:pt idx="816">
                  <c:v>42928</c:v>
                </c:pt>
                <c:pt idx="817">
                  <c:v>42929</c:v>
                </c:pt>
                <c:pt idx="818">
                  <c:v>42930</c:v>
                </c:pt>
                <c:pt idx="819">
                  <c:v>42933</c:v>
                </c:pt>
                <c:pt idx="820">
                  <c:v>42934</c:v>
                </c:pt>
                <c:pt idx="821">
                  <c:v>42935</c:v>
                </c:pt>
                <c:pt idx="822">
                  <c:v>42936</c:v>
                </c:pt>
                <c:pt idx="823">
                  <c:v>42937</c:v>
                </c:pt>
                <c:pt idx="824">
                  <c:v>42940</c:v>
                </c:pt>
                <c:pt idx="825">
                  <c:v>42941</c:v>
                </c:pt>
                <c:pt idx="826">
                  <c:v>42942</c:v>
                </c:pt>
                <c:pt idx="827">
                  <c:v>42943</c:v>
                </c:pt>
                <c:pt idx="828">
                  <c:v>42944</c:v>
                </c:pt>
                <c:pt idx="829">
                  <c:v>42947</c:v>
                </c:pt>
                <c:pt idx="830">
                  <c:v>42948</c:v>
                </c:pt>
                <c:pt idx="831">
                  <c:v>42949</c:v>
                </c:pt>
                <c:pt idx="832">
                  <c:v>42950</c:v>
                </c:pt>
                <c:pt idx="833">
                  <c:v>42951</c:v>
                </c:pt>
                <c:pt idx="834">
                  <c:v>42954</c:v>
                </c:pt>
                <c:pt idx="835">
                  <c:v>42955</c:v>
                </c:pt>
                <c:pt idx="836">
                  <c:v>42956</c:v>
                </c:pt>
                <c:pt idx="837">
                  <c:v>42957</c:v>
                </c:pt>
                <c:pt idx="838">
                  <c:v>42958</c:v>
                </c:pt>
                <c:pt idx="839">
                  <c:v>42961</c:v>
                </c:pt>
                <c:pt idx="840">
                  <c:v>42962</c:v>
                </c:pt>
                <c:pt idx="841">
                  <c:v>42963</c:v>
                </c:pt>
                <c:pt idx="842">
                  <c:v>42964</c:v>
                </c:pt>
                <c:pt idx="843">
                  <c:v>42965</c:v>
                </c:pt>
                <c:pt idx="844">
                  <c:v>42968</c:v>
                </c:pt>
                <c:pt idx="845">
                  <c:v>42969</c:v>
                </c:pt>
                <c:pt idx="846">
                  <c:v>42970</c:v>
                </c:pt>
                <c:pt idx="847">
                  <c:v>42971</c:v>
                </c:pt>
                <c:pt idx="848">
                  <c:v>42972</c:v>
                </c:pt>
                <c:pt idx="849">
                  <c:v>42975</c:v>
                </c:pt>
                <c:pt idx="850">
                  <c:v>42976</c:v>
                </c:pt>
                <c:pt idx="851">
                  <c:v>42977</c:v>
                </c:pt>
                <c:pt idx="852">
                  <c:v>42978</c:v>
                </c:pt>
                <c:pt idx="853">
                  <c:v>42979</c:v>
                </c:pt>
                <c:pt idx="854">
                  <c:v>42982</c:v>
                </c:pt>
                <c:pt idx="855">
                  <c:v>42983</c:v>
                </c:pt>
                <c:pt idx="856">
                  <c:v>42984</c:v>
                </c:pt>
                <c:pt idx="857">
                  <c:v>42985</c:v>
                </c:pt>
                <c:pt idx="858">
                  <c:v>42986</c:v>
                </c:pt>
                <c:pt idx="859">
                  <c:v>42989</c:v>
                </c:pt>
                <c:pt idx="860">
                  <c:v>42990</c:v>
                </c:pt>
                <c:pt idx="861">
                  <c:v>42991</c:v>
                </c:pt>
                <c:pt idx="862">
                  <c:v>42992</c:v>
                </c:pt>
                <c:pt idx="863">
                  <c:v>42993</c:v>
                </c:pt>
                <c:pt idx="864">
                  <c:v>42996</c:v>
                </c:pt>
                <c:pt idx="865">
                  <c:v>42997</c:v>
                </c:pt>
                <c:pt idx="866">
                  <c:v>42998</c:v>
                </c:pt>
                <c:pt idx="867">
                  <c:v>42999</c:v>
                </c:pt>
                <c:pt idx="868">
                  <c:v>43000</c:v>
                </c:pt>
                <c:pt idx="869">
                  <c:v>43003</c:v>
                </c:pt>
                <c:pt idx="870">
                  <c:v>43004</c:v>
                </c:pt>
                <c:pt idx="871">
                  <c:v>43005</c:v>
                </c:pt>
                <c:pt idx="872">
                  <c:v>43006</c:v>
                </c:pt>
                <c:pt idx="873">
                  <c:v>43007</c:v>
                </c:pt>
                <c:pt idx="874">
                  <c:v>43010</c:v>
                </c:pt>
                <c:pt idx="875">
                  <c:v>43011</c:v>
                </c:pt>
                <c:pt idx="876">
                  <c:v>43012</c:v>
                </c:pt>
                <c:pt idx="877">
                  <c:v>43013</c:v>
                </c:pt>
                <c:pt idx="878">
                  <c:v>43014</c:v>
                </c:pt>
                <c:pt idx="879">
                  <c:v>43017</c:v>
                </c:pt>
                <c:pt idx="880">
                  <c:v>43018</c:v>
                </c:pt>
                <c:pt idx="881">
                  <c:v>43019</c:v>
                </c:pt>
                <c:pt idx="882">
                  <c:v>43020</c:v>
                </c:pt>
                <c:pt idx="883">
                  <c:v>43021</c:v>
                </c:pt>
                <c:pt idx="884">
                  <c:v>43024</c:v>
                </c:pt>
                <c:pt idx="885">
                  <c:v>43025</c:v>
                </c:pt>
                <c:pt idx="886">
                  <c:v>43026</c:v>
                </c:pt>
                <c:pt idx="887">
                  <c:v>43027</c:v>
                </c:pt>
                <c:pt idx="888">
                  <c:v>43028</c:v>
                </c:pt>
                <c:pt idx="889">
                  <c:v>43031</c:v>
                </c:pt>
                <c:pt idx="890">
                  <c:v>43032</c:v>
                </c:pt>
                <c:pt idx="891">
                  <c:v>43033</c:v>
                </c:pt>
                <c:pt idx="892">
                  <c:v>43034</c:v>
                </c:pt>
                <c:pt idx="893">
                  <c:v>43035</c:v>
                </c:pt>
                <c:pt idx="894">
                  <c:v>43038</c:v>
                </c:pt>
                <c:pt idx="895">
                  <c:v>43039</c:v>
                </c:pt>
                <c:pt idx="896">
                  <c:v>43040</c:v>
                </c:pt>
                <c:pt idx="897">
                  <c:v>43041</c:v>
                </c:pt>
                <c:pt idx="898">
                  <c:v>43042</c:v>
                </c:pt>
                <c:pt idx="899">
                  <c:v>43045</c:v>
                </c:pt>
                <c:pt idx="900">
                  <c:v>43046</c:v>
                </c:pt>
                <c:pt idx="901">
                  <c:v>43047</c:v>
                </c:pt>
                <c:pt idx="902">
                  <c:v>43048</c:v>
                </c:pt>
                <c:pt idx="903">
                  <c:v>43049</c:v>
                </c:pt>
                <c:pt idx="904">
                  <c:v>43052</c:v>
                </c:pt>
                <c:pt idx="905">
                  <c:v>43053</c:v>
                </c:pt>
                <c:pt idx="906">
                  <c:v>43054</c:v>
                </c:pt>
                <c:pt idx="907">
                  <c:v>43055</c:v>
                </c:pt>
                <c:pt idx="908">
                  <c:v>43056</c:v>
                </c:pt>
                <c:pt idx="909">
                  <c:v>43059</c:v>
                </c:pt>
                <c:pt idx="910">
                  <c:v>43060</c:v>
                </c:pt>
                <c:pt idx="911">
                  <c:v>43061</c:v>
                </c:pt>
                <c:pt idx="912">
                  <c:v>43062</c:v>
                </c:pt>
                <c:pt idx="913">
                  <c:v>43063</c:v>
                </c:pt>
                <c:pt idx="914">
                  <c:v>43066</c:v>
                </c:pt>
                <c:pt idx="915">
                  <c:v>43067</c:v>
                </c:pt>
                <c:pt idx="916">
                  <c:v>43068</c:v>
                </c:pt>
                <c:pt idx="917">
                  <c:v>43069</c:v>
                </c:pt>
                <c:pt idx="918">
                  <c:v>43070</c:v>
                </c:pt>
                <c:pt idx="919">
                  <c:v>43073</c:v>
                </c:pt>
                <c:pt idx="920">
                  <c:v>43074</c:v>
                </c:pt>
                <c:pt idx="921">
                  <c:v>43075</c:v>
                </c:pt>
                <c:pt idx="922">
                  <c:v>43076</c:v>
                </c:pt>
                <c:pt idx="923">
                  <c:v>43077</c:v>
                </c:pt>
                <c:pt idx="924">
                  <c:v>43080</c:v>
                </c:pt>
                <c:pt idx="925">
                  <c:v>43081</c:v>
                </c:pt>
                <c:pt idx="926">
                  <c:v>43082</c:v>
                </c:pt>
                <c:pt idx="927">
                  <c:v>43083</c:v>
                </c:pt>
                <c:pt idx="928">
                  <c:v>43084</c:v>
                </c:pt>
                <c:pt idx="929">
                  <c:v>43087</c:v>
                </c:pt>
                <c:pt idx="930">
                  <c:v>43088</c:v>
                </c:pt>
                <c:pt idx="931">
                  <c:v>43089</c:v>
                </c:pt>
                <c:pt idx="932">
                  <c:v>43090</c:v>
                </c:pt>
                <c:pt idx="933">
                  <c:v>43091</c:v>
                </c:pt>
                <c:pt idx="934">
                  <c:v>43094</c:v>
                </c:pt>
                <c:pt idx="935">
                  <c:v>43095</c:v>
                </c:pt>
                <c:pt idx="936">
                  <c:v>43096</c:v>
                </c:pt>
                <c:pt idx="937">
                  <c:v>43097</c:v>
                </c:pt>
                <c:pt idx="938">
                  <c:v>43098</c:v>
                </c:pt>
                <c:pt idx="939">
                  <c:v>43101</c:v>
                </c:pt>
                <c:pt idx="940">
                  <c:v>43102</c:v>
                </c:pt>
                <c:pt idx="941">
                  <c:v>43103</c:v>
                </c:pt>
                <c:pt idx="942">
                  <c:v>43104</c:v>
                </c:pt>
                <c:pt idx="943">
                  <c:v>43105</c:v>
                </c:pt>
                <c:pt idx="944">
                  <c:v>43108</c:v>
                </c:pt>
                <c:pt idx="945">
                  <c:v>43109</c:v>
                </c:pt>
                <c:pt idx="946">
                  <c:v>43110</c:v>
                </c:pt>
                <c:pt idx="947">
                  <c:v>43111</c:v>
                </c:pt>
                <c:pt idx="948">
                  <c:v>43112</c:v>
                </c:pt>
                <c:pt idx="949">
                  <c:v>43115</c:v>
                </c:pt>
                <c:pt idx="950">
                  <c:v>43116</c:v>
                </c:pt>
                <c:pt idx="951">
                  <c:v>43117</c:v>
                </c:pt>
                <c:pt idx="952">
                  <c:v>43118</c:v>
                </c:pt>
                <c:pt idx="953">
                  <c:v>43119</c:v>
                </c:pt>
                <c:pt idx="954">
                  <c:v>43122</c:v>
                </c:pt>
                <c:pt idx="955">
                  <c:v>43123</c:v>
                </c:pt>
                <c:pt idx="956">
                  <c:v>43124</c:v>
                </c:pt>
                <c:pt idx="957">
                  <c:v>43125</c:v>
                </c:pt>
                <c:pt idx="958">
                  <c:v>43126</c:v>
                </c:pt>
                <c:pt idx="959">
                  <c:v>43129</c:v>
                </c:pt>
                <c:pt idx="960">
                  <c:v>43130</c:v>
                </c:pt>
                <c:pt idx="961">
                  <c:v>43131</c:v>
                </c:pt>
              </c:numCache>
            </c:numRef>
          </c:cat>
          <c:val>
            <c:numRef>
              <c:f>'ETF GLOBAL SB USD'!$D$5:$D$966</c:f>
              <c:numCache>
                <c:formatCode>#,##0.00_);[Red]\(#,##0.00\)</c:formatCode>
                <c:ptCount val="962"/>
                <c:pt idx="0">
                  <c:v>100</c:v>
                </c:pt>
                <c:pt idx="1">
                  <c:v>100.07091989007399</c:v>
                </c:pt>
                <c:pt idx="2">
                  <c:v>100.43438432670399</c:v>
                </c:pt>
                <c:pt idx="3">
                  <c:v>100.555539138914</c:v>
                </c:pt>
                <c:pt idx="4">
                  <c:v>100.79489376791399</c:v>
                </c:pt>
                <c:pt idx="5">
                  <c:v>100.73283886409898</c:v>
                </c:pt>
                <c:pt idx="6">
                  <c:v>100.94559853432202</c:v>
                </c:pt>
                <c:pt idx="7">
                  <c:v>101.33861292514898</c:v>
                </c:pt>
                <c:pt idx="8">
                  <c:v>101.965071954138</c:v>
                </c:pt>
                <c:pt idx="9">
                  <c:v>101.99166691291602</c:v>
                </c:pt>
                <c:pt idx="10">
                  <c:v>101.83209716024902</c:v>
                </c:pt>
                <c:pt idx="11">
                  <c:v>101.5583957751</c:v>
                </c:pt>
                <c:pt idx="12">
                  <c:v>101.340834711523</c:v>
                </c:pt>
                <c:pt idx="13">
                  <c:v>101.35376594491601</c:v>
                </c:pt>
                <c:pt idx="14">
                  <c:v>101.297994392115</c:v>
                </c:pt>
                <c:pt idx="15">
                  <c:v>101.47346288725501</c:v>
                </c:pt>
                <c:pt idx="16">
                  <c:v>102.036073431668</c:v>
                </c:pt>
                <c:pt idx="17">
                  <c:v>102.62824858589701</c:v>
                </c:pt>
                <c:pt idx="18">
                  <c:v>102.50820515365</c:v>
                </c:pt>
                <c:pt idx="19">
                  <c:v>102.369715669466</c:v>
                </c:pt>
                <c:pt idx="20">
                  <c:v>101.87432242405401</c:v>
                </c:pt>
                <c:pt idx="21">
                  <c:v>101.86066120123999</c:v>
                </c:pt>
                <c:pt idx="22">
                  <c:v>102.00955330245201</c:v>
                </c:pt>
                <c:pt idx="23">
                  <c:v>102.24711473580901</c:v>
                </c:pt>
                <c:pt idx="24">
                  <c:v>102.566729907419</c:v>
                </c:pt>
                <c:pt idx="25">
                  <c:v>103.11465408420798</c:v>
                </c:pt>
                <c:pt idx="26">
                  <c:v>103.089183029905</c:v>
                </c:pt>
                <c:pt idx="27">
                  <c:v>103.409532401213</c:v>
                </c:pt>
                <c:pt idx="28">
                  <c:v>103.35450635064601</c:v>
                </c:pt>
                <c:pt idx="29">
                  <c:v>102.787421581613</c:v>
                </c:pt>
                <c:pt idx="30">
                  <c:v>102.12642597869701</c:v>
                </c:pt>
                <c:pt idx="31">
                  <c:v>102.27238568288</c:v>
                </c:pt>
                <c:pt idx="32">
                  <c:v>101.67640134690301</c:v>
                </c:pt>
                <c:pt idx="33">
                  <c:v>101.71889921095899</c:v>
                </c:pt>
                <c:pt idx="34">
                  <c:v>102.22478026108801</c:v>
                </c:pt>
                <c:pt idx="35">
                  <c:v>101.91846281727102</c:v>
                </c:pt>
                <c:pt idx="36">
                  <c:v>102.481250464086</c:v>
                </c:pt>
                <c:pt idx="37">
                  <c:v>101.64872717513799</c:v>
                </c:pt>
                <c:pt idx="38">
                  <c:v>102.105100164617</c:v>
                </c:pt>
                <c:pt idx="39">
                  <c:v>101.86603869325302</c:v>
                </c:pt>
                <c:pt idx="40">
                  <c:v>102.44364488333902</c:v>
                </c:pt>
                <c:pt idx="41">
                  <c:v>102.60736911919702</c:v>
                </c:pt>
                <c:pt idx="42">
                  <c:v>102.77996567022201</c:v>
                </c:pt>
                <c:pt idx="43">
                  <c:v>102.393796696181</c:v>
                </c:pt>
                <c:pt idx="44">
                  <c:v>102.432642157077</c:v>
                </c:pt>
                <c:pt idx="45">
                  <c:v>102.123323789072</c:v>
                </c:pt>
                <c:pt idx="46">
                  <c:v>101.78738915643902</c:v>
                </c:pt>
                <c:pt idx="47">
                  <c:v>100.42253325774702</c:v>
                </c:pt>
                <c:pt idx="48">
                  <c:v>100.04222176162401</c:v>
                </c:pt>
                <c:pt idx="49">
                  <c:v>100.25544196288401</c:v>
                </c:pt>
                <c:pt idx="50">
                  <c:v>99.552820207283702</c:v>
                </c:pt>
                <c:pt idx="51">
                  <c:v>99.151780588625897</c:v>
                </c:pt>
                <c:pt idx="52">
                  <c:v>98.662026336025505</c:v>
                </c:pt>
                <c:pt idx="53">
                  <c:v>99.050462559243897</c:v>
                </c:pt>
                <c:pt idx="54">
                  <c:v>99.846196323806893</c:v>
                </c:pt>
                <c:pt idx="55">
                  <c:v>99.785192323591502</c:v>
                </c:pt>
                <c:pt idx="56">
                  <c:v>100.30081620970502</c:v>
                </c:pt>
                <c:pt idx="57">
                  <c:v>100.75139484439902</c:v>
                </c:pt>
                <c:pt idx="58">
                  <c:v>100.77615604902901</c:v>
                </c:pt>
                <c:pt idx="59">
                  <c:v>101.43006046114699</c:v>
                </c:pt>
                <c:pt idx="60">
                  <c:v>101.85110380186899</c:v>
                </c:pt>
                <c:pt idx="61">
                  <c:v>101.943896543809</c:v>
                </c:pt>
                <c:pt idx="62">
                  <c:v>102.18455763982402</c:v>
                </c:pt>
                <c:pt idx="63">
                  <c:v>101.91951466716101</c:v>
                </c:pt>
                <c:pt idx="64">
                  <c:v>102.38422874781099</c:v>
                </c:pt>
                <c:pt idx="65">
                  <c:v>102.57167282320401</c:v>
                </c:pt>
                <c:pt idx="66">
                  <c:v>102.81827141456699</c:v>
                </c:pt>
                <c:pt idx="67">
                  <c:v>102.55913312201199</c:v>
                </c:pt>
                <c:pt idx="68">
                  <c:v>102.761372976787</c:v>
                </c:pt>
                <c:pt idx="69">
                  <c:v>102.72925943390598</c:v>
                </c:pt>
                <c:pt idx="70">
                  <c:v>102.620949724036</c:v>
                </c:pt>
                <c:pt idx="71">
                  <c:v>102.95925811452599</c:v>
                </c:pt>
                <c:pt idx="72">
                  <c:v>102.759257599497</c:v>
                </c:pt>
                <c:pt idx="73">
                  <c:v>102.90531646704399</c:v>
                </c:pt>
                <c:pt idx="74">
                  <c:v>102.485718408431</c:v>
                </c:pt>
                <c:pt idx="75">
                  <c:v>101.821304089457</c:v>
                </c:pt>
                <c:pt idx="76">
                  <c:v>101.83720977640701</c:v>
                </c:pt>
                <c:pt idx="77">
                  <c:v>101.885653710095</c:v>
                </c:pt>
                <c:pt idx="78">
                  <c:v>101.36911291496</c:v>
                </c:pt>
                <c:pt idx="79">
                  <c:v>101.09142247590901</c:v>
                </c:pt>
                <c:pt idx="80">
                  <c:v>101.30256057532002</c:v>
                </c:pt>
                <c:pt idx="81">
                  <c:v>101.48412075031801</c:v>
                </c:pt>
                <c:pt idx="82">
                  <c:v>101.74259919823501</c:v>
                </c:pt>
                <c:pt idx="83">
                  <c:v>101.52776104749599</c:v>
                </c:pt>
                <c:pt idx="84">
                  <c:v>100.75600735671499</c:v>
                </c:pt>
                <c:pt idx="85">
                  <c:v>100.10626434941</c:v>
                </c:pt>
                <c:pt idx="86">
                  <c:v>100.41503841802599</c:v>
                </c:pt>
                <c:pt idx="87">
                  <c:v>99.442805030996396</c:v>
                </c:pt>
                <c:pt idx="88">
                  <c:v>99.680574788400506</c:v>
                </c:pt>
                <c:pt idx="89">
                  <c:v>99.444206370431601</c:v>
                </c:pt>
                <c:pt idx="90">
                  <c:v>99.164226533139896</c:v>
                </c:pt>
                <c:pt idx="91">
                  <c:v>98.1416178415231</c:v>
                </c:pt>
                <c:pt idx="92">
                  <c:v>97.994759320308304</c:v>
                </c:pt>
                <c:pt idx="93">
                  <c:v>97.957369842949305</c:v>
                </c:pt>
                <c:pt idx="94">
                  <c:v>98.223925371070493</c:v>
                </c:pt>
                <c:pt idx="95">
                  <c:v>97.275713625553607</c:v>
                </c:pt>
                <c:pt idx="96">
                  <c:v>97.871604468858905</c:v>
                </c:pt>
                <c:pt idx="97">
                  <c:v>96.670794633599996</c:v>
                </c:pt>
                <c:pt idx="98">
                  <c:v>95.258956267376504</c:v>
                </c:pt>
                <c:pt idx="99">
                  <c:v>94.4474335133267</c:v>
                </c:pt>
                <c:pt idx="100">
                  <c:v>94.498062726884498</c:v>
                </c:pt>
                <c:pt idx="101">
                  <c:v>93.778436003127098</c:v>
                </c:pt>
                <c:pt idx="102">
                  <c:v>93.773041999284999</c:v>
                </c:pt>
                <c:pt idx="103">
                  <c:v>94.801791113244803</c:v>
                </c:pt>
                <c:pt idx="104">
                  <c:v>95.712043890629104</c:v>
                </c:pt>
                <c:pt idx="105">
                  <c:v>97.223906981937205</c:v>
                </c:pt>
                <c:pt idx="106">
                  <c:v>97.149301906099097</c:v>
                </c:pt>
                <c:pt idx="107">
                  <c:v>97.734427596188993</c:v>
                </c:pt>
                <c:pt idx="108">
                  <c:v>98.202610550756503</c:v>
                </c:pt>
                <c:pt idx="109">
                  <c:v>98.185034135090902</c:v>
                </c:pt>
                <c:pt idx="110">
                  <c:v>99.202827878470202</c:v>
                </c:pt>
                <c:pt idx="111">
                  <c:v>99.273997819113106</c:v>
                </c:pt>
                <c:pt idx="112">
                  <c:v>99.413979565142199</c:v>
                </c:pt>
                <c:pt idx="113">
                  <c:v>100.32539209393101</c:v>
                </c:pt>
                <c:pt idx="114">
                  <c:v>99.901483722065393</c:v>
                </c:pt>
                <c:pt idx="115">
                  <c:v>99.841488697184801</c:v>
                </c:pt>
                <c:pt idx="116">
                  <c:v>100.415272914353</c:v>
                </c:pt>
                <c:pt idx="117">
                  <c:v>100.39846617464198</c:v>
                </c:pt>
                <c:pt idx="118">
                  <c:v>100.35285987576698</c:v>
                </c:pt>
                <c:pt idx="119">
                  <c:v>100.84472953312201</c:v>
                </c:pt>
                <c:pt idx="120">
                  <c:v>100.956774646879</c:v>
                </c:pt>
                <c:pt idx="121">
                  <c:v>100.80689023467799</c:v>
                </c:pt>
                <c:pt idx="122">
                  <c:v>100.821996292501</c:v>
                </c:pt>
                <c:pt idx="123">
                  <c:v>100.90550975429299</c:v>
                </c:pt>
                <c:pt idx="124">
                  <c:v>100.907524964728</c:v>
                </c:pt>
                <c:pt idx="125">
                  <c:v>101.721801409617</c:v>
                </c:pt>
                <c:pt idx="126">
                  <c:v>101.54592303251999</c:v>
                </c:pt>
                <c:pt idx="127">
                  <c:v>101.607603362067</c:v>
                </c:pt>
                <c:pt idx="128">
                  <c:v>102.163242257984</c:v>
                </c:pt>
                <c:pt idx="129">
                  <c:v>102.370810186879</c:v>
                </c:pt>
                <c:pt idx="130">
                  <c:v>102.55881271719799</c:v>
                </c:pt>
                <c:pt idx="131">
                  <c:v>102.83725853254299</c:v>
                </c:pt>
                <c:pt idx="132">
                  <c:v>102.695825990754</c:v>
                </c:pt>
                <c:pt idx="133">
                  <c:v>102.48789992198898</c:v>
                </c:pt>
                <c:pt idx="134">
                  <c:v>101.940914324959</c:v>
                </c:pt>
                <c:pt idx="135">
                  <c:v>102.18832762640599</c:v>
                </c:pt>
                <c:pt idx="136">
                  <c:v>102.56500656101699</c:v>
                </c:pt>
                <c:pt idx="137">
                  <c:v>102.396844932129</c:v>
                </c:pt>
                <c:pt idx="138">
                  <c:v>102.44646736521</c:v>
                </c:pt>
                <c:pt idx="139">
                  <c:v>101.84025569450901</c:v>
                </c:pt>
                <c:pt idx="140">
                  <c:v>101.659287569615</c:v>
                </c:pt>
                <c:pt idx="141">
                  <c:v>100.45768827368802</c:v>
                </c:pt>
                <c:pt idx="142">
                  <c:v>100.54306133994</c:v>
                </c:pt>
                <c:pt idx="143">
                  <c:v>99.423413709296398</c:v>
                </c:pt>
                <c:pt idx="144">
                  <c:v>98.508355928307594</c:v>
                </c:pt>
                <c:pt idx="145">
                  <c:v>98.614360260956005</c:v>
                </c:pt>
                <c:pt idx="146">
                  <c:v>99.532240293146501</c:v>
                </c:pt>
                <c:pt idx="147">
                  <c:v>101.241789086187</c:v>
                </c:pt>
                <c:pt idx="148">
                  <c:v>101.81731598827798</c:v>
                </c:pt>
                <c:pt idx="149">
                  <c:v>102.22877447510901</c:v>
                </c:pt>
                <c:pt idx="150">
                  <c:v>102.31502939616099</c:v>
                </c:pt>
                <c:pt idx="151">
                  <c:v>102.54070558587</c:v>
                </c:pt>
                <c:pt idx="152">
                  <c:v>102.54070558587</c:v>
                </c:pt>
                <c:pt idx="153">
                  <c:v>102.54070558587</c:v>
                </c:pt>
                <c:pt idx="154">
                  <c:v>102.85016658841499</c:v>
                </c:pt>
                <c:pt idx="155">
                  <c:v>102.33158638597899</c:v>
                </c:pt>
                <c:pt idx="156">
                  <c:v>101.68398435837001</c:v>
                </c:pt>
                <c:pt idx="157">
                  <c:v>101.68398435837001</c:v>
                </c:pt>
                <c:pt idx="158">
                  <c:v>101.52909815005199</c:v>
                </c:pt>
                <c:pt idx="159">
                  <c:v>99.930853964515194</c:v>
                </c:pt>
                <c:pt idx="160">
                  <c:v>99.072422554575297</c:v>
                </c:pt>
                <c:pt idx="161">
                  <c:v>99.5177637834081</c:v>
                </c:pt>
                <c:pt idx="162">
                  <c:v>101.203459219408</c:v>
                </c:pt>
                <c:pt idx="163">
                  <c:v>100.848083566542</c:v>
                </c:pt>
                <c:pt idx="164">
                  <c:v>100.44166035035001</c:v>
                </c:pt>
                <c:pt idx="165">
                  <c:v>100.61338957105002</c:v>
                </c:pt>
                <c:pt idx="166">
                  <c:v>100.149800644595</c:v>
                </c:pt>
                <c:pt idx="167">
                  <c:v>100.14719853535901</c:v>
                </c:pt>
                <c:pt idx="168">
                  <c:v>100.722027127817</c:v>
                </c:pt>
                <c:pt idx="169">
                  <c:v>101.17535242979</c:v>
                </c:pt>
                <c:pt idx="170">
                  <c:v>101.25191600203</c:v>
                </c:pt>
                <c:pt idx="171">
                  <c:v>101.81501272948201</c:v>
                </c:pt>
                <c:pt idx="172">
                  <c:v>102.58823048904702</c:v>
                </c:pt>
                <c:pt idx="173">
                  <c:v>102.501686748826</c:v>
                </c:pt>
                <c:pt idx="174">
                  <c:v>102.885585736096</c:v>
                </c:pt>
                <c:pt idx="175">
                  <c:v>102.85240838457199</c:v>
                </c:pt>
                <c:pt idx="176">
                  <c:v>102.10345429847401</c:v>
                </c:pt>
                <c:pt idx="177">
                  <c:v>102.345875083724</c:v>
                </c:pt>
                <c:pt idx="178">
                  <c:v>101.297019178318</c:v>
                </c:pt>
                <c:pt idx="179">
                  <c:v>102.00681085174801</c:v>
                </c:pt>
                <c:pt idx="180">
                  <c:v>103.06076083518701</c:v>
                </c:pt>
                <c:pt idx="181">
                  <c:v>103.089866864665</c:v>
                </c:pt>
                <c:pt idx="182">
                  <c:v>103.89209482289601</c:v>
                </c:pt>
                <c:pt idx="183">
                  <c:v>103.15397603287499</c:v>
                </c:pt>
                <c:pt idx="184">
                  <c:v>102.57940298429401</c:v>
                </c:pt>
                <c:pt idx="185">
                  <c:v>103.386574543789</c:v>
                </c:pt>
                <c:pt idx="186">
                  <c:v>103.10842531655999</c:v>
                </c:pt>
                <c:pt idx="187">
                  <c:v>104.215530541261</c:v>
                </c:pt>
                <c:pt idx="188">
                  <c:v>104.593853656809</c:v>
                </c:pt>
                <c:pt idx="189">
                  <c:v>104.57538665725301</c:v>
                </c:pt>
                <c:pt idx="190">
                  <c:v>104.66685760471699</c:v>
                </c:pt>
                <c:pt idx="191">
                  <c:v>105.204168725638</c:v>
                </c:pt>
                <c:pt idx="192">
                  <c:v>105.31513592691599</c:v>
                </c:pt>
                <c:pt idx="193">
                  <c:v>105.721923325652</c:v>
                </c:pt>
                <c:pt idx="194">
                  <c:v>106.00022605905902</c:v>
                </c:pt>
                <c:pt idx="195">
                  <c:v>106.14248374460999</c:v>
                </c:pt>
                <c:pt idx="196">
                  <c:v>106.303020006335</c:v>
                </c:pt>
                <c:pt idx="197">
                  <c:v>106.00255587124001</c:v>
                </c:pt>
                <c:pt idx="198">
                  <c:v>106.019723288667</c:v>
                </c:pt>
                <c:pt idx="199">
                  <c:v>106.14602433917399</c:v>
                </c:pt>
                <c:pt idx="200">
                  <c:v>105.780505211272</c:v>
                </c:pt>
                <c:pt idx="201">
                  <c:v>105.24301679878701</c:v>
                </c:pt>
                <c:pt idx="202">
                  <c:v>105.579114109557</c:v>
                </c:pt>
                <c:pt idx="203">
                  <c:v>104.22918331527899</c:v>
                </c:pt>
                <c:pt idx="204">
                  <c:v>104.16078039247</c:v>
                </c:pt>
                <c:pt idx="205">
                  <c:v>102.70307105055601</c:v>
                </c:pt>
                <c:pt idx="206">
                  <c:v>102.64612752392298</c:v>
                </c:pt>
                <c:pt idx="207">
                  <c:v>103.716931492687</c:v>
                </c:pt>
                <c:pt idx="208">
                  <c:v>103.26748617205199</c:v>
                </c:pt>
                <c:pt idx="209">
                  <c:v>104.39815308795799</c:v>
                </c:pt>
                <c:pt idx="210">
                  <c:v>104.213323362065</c:v>
                </c:pt>
                <c:pt idx="211">
                  <c:v>105.25125546511501</c:v>
                </c:pt>
                <c:pt idx="212">
                  <c:v>105.192968216195</c:v>
                </c:pt>
                <c:pt idx="213">
                  <c:v>106.50347210618001</c:v>
                </c:pt>
                <c:pt idx="214">
                  <c:v>106.79732936272698</c:v>
                </c:pt>
                <c:pt idx="215">
                  <c:v>106.55988933868102</c:v>
                </c:pt>
                <c:pt idx="216">
                  <c:v>105.76586602401402</c:v>
                </c:pt>
                <c:pt idx="217">
                  <c:v>104.944124854104</c:v>
                </c:pt>
                <c:pt idx="218">
                  <c:v>105.176465652809</c:v>
                </c:pt>
                <c:pt idx="219">
                  <c:v>105.897840065705</c:v>
                </c:pt>
                <c:pt idx="220">
                  <c:v>105.14326431999402</c:v>
                </c:pt>
                <c:pt idx="221">
                  <c:v>105.00514367047199</c:v>
                </c:pt>
                <c:pt idx="222">
                  <c:v>105.80244393130501</c:v>
                </c:pt>
                <c:pt idx="223">
                  <c:v>105.80244393130501</c:v>
                </c:pt>
                <c:pt idx="224">
                  <c:v>105.80244393130501</c:v>
                </c:pt>
                <c:pt idx="225">
                  <c:v>106.618189555195</c:v>
                </c:pt>
                <c:pt idx="226">
                  <c:v>106.97202274907201</c:v>
                </c:pt>
                <c:pt idx="227">
                  <c:v>107.15411598868198</c:v>
                </c:pt>
                <c:pt idx="228">
                  <c:v>107.513827798951</c:v>
                </c:pt>
                <c:pt idx="229">
                  <c:v>107.06942300353199</c:v>
                </c:pt>
                <c:pt idx="230">
                  <c:v>107.591952357735</c:v>
                </c:pt>
                <c:pt idx="231">
                  <c:v>107.617951827111</c:v>
                </c:pt>
                <c:pt idx="232">
                  <c:v>107.873198928299</c:v>
                </c:pt>
                <c:pt idx="233">
                  <c:v>106.89223562303</c:v>
                </c:pt>
                <c:pt idx="234">
                  <c:v>107.299610179306</c:v>
                </c:pt>
                <c:pt idx="235">
                  <c:v>107.59730351696702</c:v>
                </c:pt>
                <c:pt idx="236">
                  <c:v>107.71635993458402</c:v>
                </c:pt>
                <c:pt idx="237">
                  <c:v>108.06201318542399</c:v>
                </c:pt>
                <c:pt idx="238">
                  <c:v>108.44803698709802</c:v>
                </c:pt>
                <c:pt idx="239">
                  <c:v>108.460273775282</c:v>
                </c:pt>
                <c:pt idx="240">
                  <c:v>108.54173516126299</c:v>
                </c:pt>
                <c:pt idx="241">
                  <c:v>108.042098717374</c:v>
                </c:pt>
                <c:pt idx="242">
                  <c:v>107.20310245209701</c:v>
                </c:pt>
                <c:pt idx="243">
                  <c:v>107.20310245209701</c:v>
                </c:pt>
                <c:pt idx="244">
                  <c:v>107.918447562107</c:v>
                </c:pt>
                <c:pt idx="245">
                  <c:v>106.79577688119699</c:v>
                </c:pt>
                <c:pt idx="246">
                  <c:v>106.814275050452</c:v>
                </c:pt>
                <c:pt idx="247">
                  <c:v>106.72476810334402</c:v>
                </c:pt>
                <c:pt idx="248">
                  <c:v>108.07805212082199</c:v>
                </c:pt>
                <c:pt idx="249">
                  <c:v>107.979306312283</c:v>
                </c:pt>
                <c:pt idx="250">
                  <c:v>107.754881887453</c:v>
                </c:pt>
                <c:pt idx="251">
                  <c:v>108.1833233861</c:v>
                </c:pt>
                <c:pt idx="252">
                  <c:v>108.928310593841</c:v>
                </c:pt>
                <c:pt idx="253">
                  <c:v>109.358815963133</c:v>
                </c:pt>
                <c:pt idx="254">
                  <c:v>109.47290067381901</c:v>
                </c:pt>
                <c:pt idx="255">
                  <c:v>109.206027331211</c:v>
                </c:pt>
                <c:pt idx="256">
                  <c:v>109.116679774598</c:v>
                </c:pt>
                <c:pt idx="257">
                  <c:v>109.305678907844</c:v>
                </c:pt>
                <c:pt idx="258">
                  <c:v>109.014074061771</c:v>
                </c:pt>
                <c:pt idx="259">
                  <c:v>108.998759686705</c:v>
                </c:pt>
                <c:pt idx="260">
                  <c:v>107.699408758936</c:v>
                </c:pt>
                <c:pt idx="261">
                  <c:v>108.21508978931899</c:v>
                </c:pt>
                <c:pt idx="262">
                  <c:v>108.12667504757701</c:v>
                </c:pt>
                <c:pt idx="263">
                  <c:v>107.66733740393599</c:v>
                </c:pt>
                <c:pt idx="264">
                  <c:v>107.652518312095</c:v>
                </c:pt>
                <c:pt idx="265">
                  <c:v>107.85194881619699</c:v>
                </c:pt>
                <c:pt idx="266">
                  <c:v>108.08577466957099</c:v>
                </c:pt>
                <c:pt idx="267">
                  <c:v>107.32295704977</c:v>
                </c:pt>
                <c:pt idx="268">
                  <c:v>106.402543282585</c:v>
                </c:pt>
                <c:pt idx="269">
                  <c:v>105.96461107645298</c:v>
                </c:pt>
                <c:pt idx="270">
                  <c:v>105.89497251814602</c:v>
                </c:pt>
                <c:pt idx="271">
                  <c:v>107.21503100375</c:v>
                </c:pt>
                <c:pt idx="272">
                  <c:v>107.448516551724</c:v>
                </c:pt>
                <c:pt idx="273">
                  <c:v>106.997385182716</c:v>
                </c:pt>
                <c:pt idx="274">
                  <c:v>106.234013256941</c:v>
                </c:pt>
                <c:pt idx="275">
                  <c:v>106.56244580818</c:v>
                </c:pt>
                <c:pt idx="276">
                  <c:v>106.534261222596</c:v>
                </c:pt>
                <c:pt idx="277">
                  <c:v>107.66374910214699</c:v>
                </c:pt>
                <c:pt idx="278">
                  <c:v>107.34549564806299</c:v>
                </c:pt>
                <c:pt idx="279">
                  <c:v>108.332465212611</c:v>
                </c:pt>
                <c:pt idx="280">
                  <c:v>108.234803449898</c:v>
                </c:pt>
                <c:pt idx="281">
                  <c:v>107.592702746546</c:v>
                </c:pt>
                <c:pt idx="282">
                  <c:v>107.422787160745</c:v>
                </c:pt>
                <c:pt idx="283">
                  <c:v>107.214462416903</c:v>
                </c:pt>
                <c:pt idx="284">
                  <c:v>105.08423631670001</c:v>
                </c:pt>
                <c:pt idx="285">
                  <c:v>105.02287895973798</c:v>
                </c:pt>
                <c:pt idx="286">
                  <c:v>105.81507118689699</c:v>
                </c:pt>
                <c:pt idx="287">
                  <c:v>105.78358420562502</c:v>
                </c:pt>
                <c:pt idx="288">
                  <c:v>105.62486022956298</c:v>
                </c:pt>
                <c:pt idx="289">
                  <c:v>104.739501189495</c:v>
                </c:pt>
                <c:pt idx="290">
                  <c:v>104.54780068215102</c:v>
                </c:pt>
                <c:pt idx="291">
                  <c:v>103.53345062608599</c:v>
                </c:pt>
                <c:pt idx="292">
                  <c:v>104.12609067228101</c:v>
                </c:pt>
                <c:pt idx="293">
                  <c:v>105.52744415872598</c:v>
                </c:pt>
                <c:pt idx="294">
                  <c:v>106.318869907877</c:v>
                </c:pt>
                <c:pt idx="295">
                  <c:v>106.816401163366</c:v>
                </c:pt>
                <c:pt idx="296">
                  <c:v>106.744104919943</c:v>
                </c:pt>
                <c:pt idx="297">
                  <c:v>107.44654694690701</c:v>
                </c:pt>
                <c:pt idx="298">
                  <c:v>107.13949156615202</c:v>
                </c:pt>
                <c:pt idx="299">
                  <c:v>107.07822828377699</c:v>
                </c:pt>
                <c:pt idx="300">
                  <c:v>106.889815596413</c:v>
                </c:pt>
                <c:pt idx="301">
                  <c:v>106.59964065422001</c:v>
                </c:pt>
                <c:pt idx="302">
                  <c:v>106.46719770638001</c:v>
                </c:pt>
                <c:pt idx="303">
                  <c:v>105.70229783965802</c:v>
                </c:pt>
                <c:pt idx="304">
                  <c:v>104.94900132115302</c:v>
                </c:pt>
                <c:pt idx="305">
                  <c:v>105.65806393434301</c:v>
                </c:pt>
                <c:pt idx="306">
                  <c:v>106.451675383553</c:v>
                </c:pt>
                <c:pt idx="307">
                  <c:v>106.30987104638501</c:v>
                </c:pt>
                <c:pt idx="308">
                  <c:v>106.90567122093699</c:v>
                </c:pt>
                <c:pt idx="309">
                  <c:v>106.75976121536598</c:v>
                </c:pt>
                <c:pt idx="310">
                  <c:v>106.76972426406898</c:v>
                </c:pt>
                <c:pt idx="311">
                  <c:v>107.01751339974</c:v>
                </c:pt>
                <c:pt idx="312">
                  <c:v>106.60185069084001</c:v>
                </c:pt>
                <c:pt idx="313">
                  <c:v>106.319142912671</c:v>
                </c:pt>
                <c:pt idx="314">
                  <c:v>107.419084701125</c:v>
                </c:pt>
                <c:pt idx="315">
                  <c:v>106.65189664847099</c:v>
                </c:pt>
                <c:pt idx="316">
                  <c:v>106.44137005216901</c:v>
                </c:pt>
                <c:pt idx="317">
                  <c:v>106.510087996903</c:v>
                </c:pt>
                <c:pt idx="318">
                  <c:v>106.820462526187</c:v>
                </c:pt>
                <c:pt idx="319">
                  <c:v>107.17066946584799</c:v>
                </c:pt>
                <c:pt idx="320">
                  <c:v>107.01399781093998</c:v>
                </c:pt>
                <c:pt idx="321">
                  <c:v>106.047871662595</c:v>
                </c:pt>
                <c:pt idx="322">
                  <c:v>104.484520009634</c:v>
                </c:pt>
                <c:pt idx="323">
                  <c:v>102.079686669816</c:v>
                </c:pt>
                <c:pt idx="324">
                  <c:v>98.497203296202201</c:v>
                </c:pt>
                <c:pt idx="325">
                  <c:v>97.959972731777498</c:v>
                </c:pt>
                <c:pt idx="326">
                  <c:v>99.6355631094617</c:v>
                </c:pt>
                <c:pt idx="327">
                  <c:v>101.52235712021699</c:v>
                </c:pt>
                <c:pt idx="328">
                  <c:v>102.02028420943201</c:v>
                </c:pt>
                <c:pt idx="329">
                  <c:v>101.354884463674</c:v>
                </c:pt>
                <c:pt idx="330">
                  <c:v>98.912469282628706</c:v>
                </c:pt>
                <c:pt idx="331">
                  <c:v>99.577428176963807</c:v>
                </c:pt>
                <c:pt idx="332">
                  <c:v>100.167244125891</c:v>
                </c:pt>
                <c:pt idx="333">
                  <c:v>98.659197321802296</c:v>
                </c:pt>
                <c:pt idx="334">
                  <c:v>98.801831405705698</c:v>
                </c:pt>
                <c:pt idx="335">
                  <c:v>100.31464141164798</c:v>
                </c:pt>
                <c:pt idx="336">
                  <c:v>100.40972021469801</c:v>
                </c:pt>
                <c:pt idx="337">
                  <c:v>100.305478727994</c:v>
                </c:pt>
                <c:pt idx="338">
                  <c:v>100.49660097753701</c:v>
                </c:pt>
                <c:pt idx="339">
                  <c:v>100.17566798918401</c:v>
                </c:pt>
                <c:pt idx="340">
                  <c:v>100.83076100168</c:v>
                </c:pt>
                <c:pt idx="341">
                  <c:v>101.884789776296</c:v>
                </c:pt>
                <c:pt idx="342">
                  <c:v>102.01778650324</c:v>
                </c:pt>
                <c:pt idx="343">
                  <c:v>100.992035588571</c:v>
                </c:pt>
                <c:pt idx="344">
                  <c:v>100.92484168979701</c:v>
                </c:pt>
                <c:pt idx="345">
                  <c:v>99.294830465671595</c:v>
                </c:pt>
                <c:pt idx="346">
                  <c:v>99.204836189886606</c:v>
                </c:pt>
                <c:pt idx="347">
                  <c:v>98.7672469127601</c:v>
                </c:pt>
                <c:pt idx="348">
                  <c:v>99.289858503426203</c:v>
                </c:pt>
                <c:pt idx="349">
                  <c:v>97.493314801977704</c:v>
                </c:pt>
                <c:pt idx="350">
                  <c:v>96.822737946896893</c:v>
                </c:pt>
                <c:pt idx="351">
                  <c:v>98.6310195042239</c:v>
                </c:pt>
                <c:pt idx="352">
                  <c:v>98.942650226949496</c:v>
                </c:pt>
                <c:pt idx="353">
                  <c:v>99.996414834777795</c:v>
                </c:pt>
                <c:pt idx="354">
                  <c:v>101.718507326317</c:v>
                </c:pt>
                <c:pt idx="355">
                  <c:v>101.72214033218</c:v>
                </c:pt>
                <c:pt idx="356">
                  <c:v>102.243634526752</c:v>
                </c:pt>
                <c:pt idx="357">
                  <c:v>102.792110496475</c:v>
                </c:pt>
                <c:pt idx="358">
                  <c:v>103.296824422227</c:v>
                </c:pt>
                <c:pt idx="359">
                  <c:v>103.400458316276</c:v>
                </c:pt>
                <c:pt idx="360">
                  <c:v>102.70485305454</c:v>
                </c:pt>
                <c:pt idx="361">
                  <c:v>102.25008094647498</c:v>
                </c:pt>
                <c:pt idx="362">
                  <c:v>103.516100552327</c:v>
                </c:pt>
                <c:pt idx="363">
                  <c:v>103.88920202732498</c:v>
                </c:pt>
                <c:pt idx="364">
                  <c:v>103.81847860656799</c:v>
                </c:pt>
                <c:pt idx="365">
                  <c:v>103.872490695107</c:v>
                </c:pt>
                <c:pt idx="366">
                  <c:v>103.59482001887601</c:v>
                </c:pt>
                <c:pt idx="367">
                  <c:v>104.31301046302099</c:v>
                </c:pt>
                <c:pt idx="368">
                  <c:v>104.81267647816399</c:v>
                </c:pt>
                <c:pt idx="369">
                  <c:v>104.779593719345</c:v>
                </c:pt>
                <c:pt idx="370">
                  <c:v>104.21389930668002</c:v>
                </c:pt>
                <c:pt idx="371">
                  <c:v>105.12638868457999</c:v>
                </c:pt>
                <c:pt idx="372">
                  <c:v>104.70996685031</c:v>
                </c:pt>
                <c:pt idx="373">
                  <c:v>104.84718308768998</c:v>
                </c:pt>
                <c:pt idx="374">
                  <c:v>105.32424635588499</c:v>
                </c:pt>
                <c:pt idx="375">
                  <c:v>105.159592613901</c:v>
                </c:pt>
                <c:pt idx="376">
                  <c:v>104.88990686570901</c:v>
                </c:pt>
                <c:pt idx="377">
                  <c:v>104.86788549395899</c:v>
                </c:pt>
                <c:pt idx="378">
                  <c:v>104.257723263971</c:v>
                </c:pt>
                <c:pt idx="379">
                  <c:v>103.49798283540299</c:v>
                </c:pt>
                <c:pt idx="380">
                  <c:v>103.57533093200702</c:v>
                </c:pt>
                <c:pt idx="381">
                  <c:v>103.73100635750401</c:v>
                </c:pt>
                <c:pt idx="382">
                  <c:v>102.645707732345</c:v>
                </c:pt>
                <c:pt idx="383">
                  <c:v>101.757593488002</c:v>
                </c:pt>
                <c:pt idx="384">
                  <c:v>102.52509079414899</c:v>
                </c:pt>
                <c:pt idx="385">
                  <c:v>102.99899488903202</c:v>
                </c:pt>
                <c:pt idx="386">
                  <c:v>103.78024119619</c:v>
                </c:pt>
                <c:pt idx="387">
                  <c:v>104.42567309526601</c:v>
                </c:pt>
                <c:pt idx="388">
                  <c:v>104.620042402362</c:v>
                </c:pt>
                <c:pt idx="389">
                  <c:v>104.41198278056501</c:v>
                </c:pt>
                <c:pt idx="390">
                  <c:v>104.25841154736402</c:v>
                </c:pt>
                <c:pt idx="391">
                  <c:v>104.49353762533499</c:v>
                </c:pt>
                <c:pt idx="392">
                  <c:v>104.82490349088999</c:v>
                </c:pt>
                <c:pt idx="393">
                  <c:v>104.74890169244799</c:v>
                </c:pt>
                <c:pt idx="394">
                  <c:v>104.50435812460998</c:v>
                </c:pt>
                <c:pt idx="395">
                  <c:v>105.46347680888999</c:v>
                </c:pt>
                <c:pt idx="396">
                  <c:v>104.67196984059099</c:v>
                </c:pt>
                <c:pt idx="397">
                  <c:v>103.839631050617</c:v>
                </c:pt>
                <c:pt idx="398">
                  <c:v>104.83462720946</c:v>
                </c:pt>
                <c:pt idx="399">
                  <c:v>104.489028901712</c:v>
                </c:pt>
                <c:pt idx="400">
                  <c:v>103.58713167077499</c:v>
                </c:pt>
                <c:pt idx="401">
                  <c:v>103.15151120952099</c:v>
                </c:pt>
                <c:pt idx="402">
                  <c:v>102.998125051576</c:v>
                </c:pt>
                <c:pt idx="403">
                  <c:v>101.65993612058</c:v>
                </c:pt>
                <c:pt idx="404">
                  <c:v>101.288930172717</c:v>
                </c:pt>
                <c:pt idx="405">
                  <c:v>102.09366700250899</c:v>
                </c:pt>
                <c:pt idx="406">
                  <c:v>103.30347502383998</c:v>
                </c:pt>
                <c:pt idx="407">
                  <c:v>102.623341751963</c:v>
                </c:pt>
                <c:pt idx="408">
                  <c:v>101.582633907524</c:v>
                </c:pt>
                <c:pt idx="409">
                  <c:v>101.86747057171802</c:v>
                </c:pt>
                <c:pt idx="410">
                  <c:v>102.51162946683201</c:v>
                </c:pt>
                <c:pt idx="411">
                  <c:v>103.646812623247</c:v>
                </c:pt>
                <c:pt idx="412">
                  <c:v>103.780274390287</c:v>
                </c:pt>
                <c:pt idx="413">
                  <c:v>103.780274390287</c:v>
                </c:pt>
                <c:pt idx="414">
                  <c:v>103.67811920393099</c:v>
                </c:pt>
                <c:pt idx="415">
                  <c:v>104.58589112040499</c:v>
                </c:pt>
                <c:pt idx="416">
                  <c:v>104.12696578379598</c:v>
                </c:pt>
                <c:pt idx="417">
                  <c:v>103.432215377869</c:v>
                </c:pt>
                <c:pt idx="418">
                  <c:v>103.432215377869</c:v>
                </c:pt>
                <c:pt idx="419">
                  <c:v>101.648067318144</c:v>
                </c:pt>
                <c:pt idx="420">
                  <c:v>101.724802631294</c:v>
                </c:pt>
                <c:pt idx="421">
                  <c:v>100.61453392370601</c:v>
                </c:pt>
                <c:pt idx="422">
                  <c:v>98.993875785334296</c:v>
                </c:pt>
                <c:pt idx="423">
                  <c:v>98.107896578871703</c:v>
                </c:pt>
                <c:pt idx="424">
                  <c:v>97.8793852976344</c:v>
                </c:pt>
                <c:pt idx="425">
                  <c:v>97.955763840634503</c:v>
                </c:pt>
                <c:pt idx="426">
                  <c:v>97.021561202196096</c:v>
                </c:pt>
                <c:pt idx="427">
                  <c:v>96.831581097186103</c:v>
                </c:pt>
                <c:pt idx="428">
                  <c:v>95.531153899512603</c:v>
                </c:pt>
                <c:pt idx="429">
                  <c:v>94.953037601872794</c:v>
                </c:pt>
                <c:pt idx="430">
                  <c:v>95.302375040662596</c:v>
                </c:pt>
                <c:pt idx="431">
                  <c:v>93.541684618316296</c:v>
                </c:pt>
                <c:pt idx="432">
                  <c:v>93.6671487878221</c:v>
                </c:pt>
                <c:pt idx="433">
                  <c:v>96.006342008804197</c:v>
                </c:pt>
                <c:pt idx="434">
                  <c:v>95.310491561580804</c:v>
                </c:pt>
                <c:pt idx="435">
                  <c:v>96.193170644153497</c:v>
                </c:pt>
                <c:pt idx="436">
                  <c:v>96.148425721142601</c:v>
                </c:pt>
                <c:pt idx="437">
                  <c:v>96.048470617379905</c:v>
                </c:pt>
                <c:pt idx="438">
                  <c:v>97.843619090071499</c:v>
                </c:pt>
                <c:pt idx="439">
                  <c:v>98.449563459431005</c:v>
                </c:pt>
                <c:pt idx="440">
                  <c:v>97.038388860949595</c:v>
                </c:pt>
                <c:pt idx="441">
                  <c:v>97.348481583211495</c:v>
                </c:pt>
                <c:pt idx="442">
                  <c:v>97.562513942517697</c:v>
                </c:pt>
                <c:pt idx="443">
                  <c:v>96.185054123235304</c:v>
                </c:pt>
                <c:pt idx="444">
                  <c:v>94.438218275057196</c:v>
                </c:pt>
                <c:pt idx="445">
                  <c:v>93.934220976132593</c:v>
                </c:pt>
                <c:pt idx="446">
                  <c:v>93.9166797770784</c:v>
                </c:pt>
                <c:pt idx="447">
                  <c:v>93.015062145696405</c:v>
                </c:pt>
                <c:pt idx="448">
                  <c:v>93.799451051874399</c:v>
                </c:pt>
                <c:pt idx="449">
                  <c:v>94.917241663464097</c:v>
                </c:pt>
                <c:pt idx="450">
                  <c:v>95.844398091434996</c:v>
                </c:pt>
                <c:pt idx="451">
                  <c:v>97.134270838830304</c:v>
                </c:pt>
                <c:pt idx="452">
                  <c:v>97.4545909720661</c:v>
                </c:pt>
                <c:pt idx="453">
                  <c:v>97.290298317874402</c:v>
                </c:pt>
                <c:pt idx="454">
                  <c:v>98.448374225596893</c:v>
                </c:pt>
                <c:pt idx="455">
                  <c:v>97.644868385534593</c:v>
                </c:pt>
                <c:pt idx="456">
                  <c:v>97.517917673736093</c:v>
                </c:pt>
                <c:pt idx="457">
                  <c:v>98.770716056350807</c:v>
                </c:pt>
                <c:pt idx="458">
                  <c:v>98.617631931046205</c:v>
                </c:pt>
                <c:pt idx="459">
                  <c:v>98.254737226546894</c:v>
                </c:pt>
                <c:pt idx="460">
                  <c:v>99.770683325819306</c:v>
                </c:pt>
                <c:pt idx="461">
                  <c:v>100.329474573653</c:v>
                </c:pt>
                <c:pt idx="462">
                  <c:v>101.05520452095999</c:v>
                </c:pt>
                <c:pt idx="463">
                  <c:v>101.54308770143201</c:v>
                </c:pt>
                <c:pt idx="464">
                  <c:v>101.477679840552</c:v>
                </c:pt>
                <c:pt idx="465">
                  <c:v>100.70717523938799</c:v>
                </c:pt>
                <c:pt idx="466">
                  <c:v>100.929175465383</c:v>
                </c:pt>
                <c:pt idx="467">
                  <c:v>101.036593011455</c:v>
                </c:pt>
                <c:pt idx="468">
                  <c:v>102.83938231153201</c:v>
                </c:pt>
                <c:pt idx="469">
                  <c:v>102.942013191421</c:v>
                </c:pt>
                <c:pt idx="470">
                  <c:v>102.51793240615299</c:v>
                </c:pt>
                <c:pt idx="471">
                  <c:v>102.75774140881499</c:v>
                </c:pt>
                <c:pt idx="472">
                  <c:v>104.217139439273</c:v>
                </c:pt>
                <c:pt idx="473">
                  <c:v>104.301039886274</c:v>
                </c:pt>
                <c:pt idx="474">
                  <c:v>104.075501689622</c:v>
                </c:pt>
                <c:pt idx="475">
                  <c:v>104.11977091909898</c:v>
                </c:pt>
                <c:pt idx="476">
                  <c:v>103.44059947639998</c:v>
                </c:pt>
                <c:pt idx="477">
                  <c:v>102.954440684988</c:v>
                </c:pt>
                <c:pt idx="478">
                  <c:v>102.954440684988</c:v>
                </c:pt>
                <c:pt idx="479">
                  <c:v>102.954440684988</c:v>
                </c:pt>
                <c:pt idx="480">
                  <c:v>104.06786086223701</c:v>
                </c:pt>
                <c:pt idx="481">
                  <c:v>105.111621667649</c:v>
                </c:pt>
                <c:pt idx="482">
                  <c:v>104.86759088487601</c:v>
                </c:pt>
                <c:pt idx="483">
                  <c:v>104.40792227712102</c:v>
                </c:pt>
                <c:pt idx="484">
                  <c:v>104.424363434878</c:v>
                </c:pt>
                <c:pt idx="485">
                  <c:v>103.152180540766</c:v>
                </c:pt>
                <c:pt idx="486">
                  <c:v>103.896105765736</c:v>
                </c:pt>
                <c:pt idx="487">
                  <c:v>103.334906319388</c:v>
                </c:pt>
                <c:pt idx="488">
                  <c:v>104.02165912778001</c:v>
                </c:pt>
                <c:pt idx="489">
                  <c:v>104.062955272671</c:v>
                </c:pt>
                <c:pt idx="490">
                  <c:v>104.50196094255799</c:v>
                </c:pt>
                <c:pt idx="491">
                  <c:v>105.50567429860401</c:v>
                </c:pt>
                <c:pt idx="492">
                  <c:v>105.61654062279599</c:v>
                </c:pt>
                <c:pt idx="493">
                  <c:v>105.63188173925599</c:v>
                </c:pt>
                <c:pt idx="494">
                  <c:v>105.94881255606498</c:v>
                </c:pt>
                <c:pt idx="495">
                  <c:v>106.962277629551</c:v>
                </c:pt>
                <c:pt idx="496">
                  <c:v>106.80140402263298</c:v>
                </c:pt>
                <c:pt idx="497">
                  <c:v>106.15793932580499</c:v>
                </c:pt>
                <c:pt idx="498">
                  <c:v>106.041989026973</c:v>
                </c:pt>
                <c:pt idx="499">
                  <c:v>105.999800956705</c:v>
                </c:pt>
                <c:pt idx="500">
                  <c:v>106.43699304499501</c:v>
                </c:pt>
                <c:pt idx="501">
                  <c:v>106.75740237076801</c:v>
                </c:pt>
                <c:pt idx="502">
                  <c:v>106.383418060765</c:v>
                </c:pt>
                <c:pt idx="503">
                  <c:v>106.212227850335</c:v>
                </c:pt>
                <c:pt idx="504">
                  <c:v>106.580503837934</c:v>
                </c:pt>
                <c:pt idx="505">
                  <c:v>105.70543585189999</c:v>
                </c:pt>
                <c:pt idx="506">
                  <c:v>105.02338051715302</c:v>
                </c:pt>
                <c:pt idx="507">
                  <c:v>104.817643063841</c:v>
                </c:pt>
                <c:pt idx="508">
                  <c:v>105.02216155247299</c:v>
                </c:pt>
                <c:pt idx="509">
                  <c:v>105.07769877253</c:v>
                </c:pt>
                <c:pt idx="510">
                  <c:v>106.124046161531</c:v>
                </c:pt>
                <c:pt idx="511">
                  <c:v>105.59540199139302</c:v>
                </c:pt>
                <c:pt idx="512">
                  <c:v>105.46833235621101</c:v>
                </c:pt>
                <c:pt idx="513">
                  <c:v>104.66842394849701</c:v>
                </c:pt>
                <c:pt idx="514">
                  <c:v>105.34176814540901</c:v>
                </c:pt>
                <c:pt idx="515">
                  <c:v>105.007504245467</c:v>
                </c:pt>
                <c:pt idx="516">
                  <c:v>104.824481158387</c:v>
                </c:pt>
                <c:pt idx="517">
                  <c:v>104.08412363492002</c:v>
                </c:pt>
                <c:pt idx="518">
                  <c:v>104.85376604155398</c:v>
                </c:pt>
                <c:pt idx="519">
                  <c:v>104.70430907944399</c:v>
                </c:pt>
                <c:pt idx="520">
                  <c:v>105.73133141864</c:v>
                </c:pt>
                <c:pt idx="521">
                  <c:v>106.230601513073</c:v>
                </c:pt>
                <c:pt idx="522">
                  <c:v>106.53596703084401</c:v>
                </c:pt>
                <c:pt idx="523">
                  <c:v>106.75436982449101</c:v>
                </c:pt>
                <c:pt idx="524">
                  <c:v>106.76982986433498</c:v>
                </c:pt>
                <c:pt idx="525">
                  <c:v>106.749939928459</c:v>
                </c:pt>
                <c:pt idx="526">
                  <c:v>106.729514837357</c:v>
                </c:pt>
                <c:pt idx="527">
                  <c:v>106.88093403529399</c:v>
                </c:pt>
                <c:pt idx="528">
                  <c:v>107.401134645209</c:v>
                </c:pt>
                <c:pt idx="529">
                  <c:v>107.700553993809</c:v>
                </c:pt>
                <c:pt idx="530">
                  <c:v>108.260029051098</c:v>
                </c:pt>
                <c:pt idx="531">
                  <c:v>108.66020623629899</c:v>
                </c:pt>
                <c:pt idx="532">
                  <c:v>108.19369953399701</c:v>
                </c:pt>
                <c:pt idx="533">
                  <c:v>106.69571086562</c:v>
                </c:pt>
                <c:pt idx="534">
                  <c:v>105.411011285404</c:v>
                </c:pt>
                <c:pt idx="535">
                  <c:v>104.40530596268501</c:v>
                </c:pt>
                <c:pt idx="536">
                  <c:v>104.70624158442401</c:v>
                </c:pt>
                <c:pt idx="537">
                  <c:v>104.21806109549398</c:v>
                </c:pt>
                <c:pt idx="538">
                  <c:v>104.73415884868101</c:v>
                </c:pt>
                <c:pt idx="539">
                  <c:v>106.48958691131098</c:v>
                </c:pt>
                <c:pt idx="540">
                  <c:v>106.705997738286</c:v>
                </c:pt>
                <c:pt idx="541">
                  <c:v>106.64103584009401</c:v>
                </c:pt>
                <c:pt idx="542">
                  <c:v>107.972472309994</c:v>
                </c:pt>
                <c:pt idx="543">
                  <c:v>103.1999877409</c:v>
                </c:pt>
                <c:pt idx="544">
                  <c:v>100.819528105872</c:v>
                </c:pt>
                <c:pt idx="545">
                  <c:v>102.520281142976</c:v>
                </c:pt>
                <c:pt idx="546">
                  <c:v>104.628614345898</c:v>
                </c:pt>
                <c:pt idx="547">
                  <c:v>105.96254820685</c:v>
                </c:pt>
                <c:pt idx="548">
                  <c:v>106.43836066390399</c:v>
                </c:pt>
                <c:pt idx="549">
                  <c:v>106.425546669341</c:v>
                </c:pt>
                <c:pt idx="550">
                  <c:v>105.50225525133099</c:v>
                </c:pt>
                <c:pt idx="551">
                  <c:v>105.21880136695501</c:v>
                </c:pt>
                <c:pt idx="552">
                  <c:v>105.24535101230302</c:v>
                </c:pt>
                <c:pt idx="553">
                  <c:v>106.401851185195</c:v>
                </c:pt>
                <c:pt idx="554">
                  <c:v>107.216179053148</c:v>
                </c:pt>
                <c:pt idx="555">
                  <c:v>107.79709005029801</c:v>
                </c:pt>
                <c:pt idx="556">
                  <c:v>108.10875850739102</c:v>
                </c:pt>
                <c:pt idx="557">
                  <c:v>108.494783809965</c:v>
                </c:pt>
                <c:pt idx="558">
                  <c:v>108.14449498410798</c:v>
                </c:pt>
                <c:pt idx="559">
                  <c:v>108.331026310998</c:v>
                </c:pt>
                <c:pt idx="560">
                  <c:v>108.161857798087</c:v>
                </c:pt>
                <c:pt idx="561">
                  <c:v>108.50706264930298</c:v>
                </c:pt>
                <c:pt idx="562">
                  <c:v>108.356089414054</c:v>
                </c:pt>
                <c:pt idx="563">
                  <c:v>108.61679920135101</c:v>
                </c:pt>
                <c:pt idx="564">
                  <c:v>108.52279026676</c:v>
                </c:pt>
                <c:pt idx="565">
                  <c:v>108.74484995444701</c:v>
                </c:pt>
                <c:pt idx="566">
                  <c:v>108.454201205373</c:v>
                </c:pt>
                <c:pt idx="567">
                  <c:v>108.79937632574401</c:v>
                </c:pt>
                <c:pt idx="568">
                  <c:v>109.738514284594</c:v>
                </c:pt>
                <c:pt idx="569">
                  <c:v>109.423872742916</c:v>
                </c:pt>
                <c:pt idx="570">
                  <c:v>108.757039601247</c:v>
                </c:pt>
                <c:pt idx="571">
                  <c:v>108.38243094348098</c:v>
                </c:pt>
                <c:pt idx="572">
                  <c:v>108.60050669782299</c:v>
                </c:pt>
                <c:pt idx="573">
                  <c:v>108.92611892162101</c:v>
                </c:pt>
                <c:pt idx="574">
                  <c:v>109.065734973754</c:v>
                </c:pt>
                <c:pt idx="575">
                  <c:v>109.547196291521</c:v>
                </c:pt>
                <c:pt idx="576">
                  <c:v>109.649381208722</c:v>
                </c:pt>
                <c:pt idx="577">
                  <c:v>110.11226074783001</c:v>
                </c:pt>
                <c:pt idx="578">
                  <c:v>110.24911183129799</c:v>
                </c:pt>
                <c:pt idx="579">
                  <c:v>110.30964383345801</c:v>
                </c:pt>
                <c:pt idx="580">
                  <c:v>109.63790510222199</c:v>
                </c:pt>
                <c:pt idx="581">
                  <c:v>109.642602575867</c:v>
                </c:pt>
                <c:pt idx="582">
                  <c:v>110.166222233056</c:v>
                </c:pt>
                <c:pt idx="583">
                  <c:v>109.84697241027099</c:v>
                </c:pt>
                <c:pt idx="584">
                  <c:v>110.03704170781801</c:v>
                </c:pt>
                <c:pt idx="585">
                  <c:v>110.43941897561299</c:v>
                </c:pt>
                <c:pt idx="586">
                  <c:v>109.909704495024</c:v>
                </c:pt>
                <c:pt idx="587">
                  <c:v>109.756055483648</c:v>
                </c:pt>
                <c:pt idx="588">
                  <c:v>109.468112241548</c:v>
                </c:pt>
                <c:pt idx="589">
                  <c:v>109.48342362716301</c:v>
                </c:pt>
                <c:pt idx="590">
                  <c:v>109.21204046620301</c:v>
                </c:pt>
                <c:pt idx="591">
                  <c:v>109.02788760698098</c:v>
                </c:pt>
                <c:pt idx="592">
                  <c:v>109.332034160072</c:v>
                </c:pt>
                <c:pt idx="593">
                  <c:v>110.03499027945401</c:v>
                </c:pt>
                <c:pt idx="594">
                  <c:v>110.25264980195499</c:v>
                </c:pt>
                <c:pt idx="595">
                  <c:v>110.89807673460901</c:v>
                </c:pt>
                <c:pt idx="596">
                  <c:v>111.06477758731501</c:v>
                </c:pt>
                <c:pt idx="597">
                  <c:v>110.781561549706</c:v>
                </c:pt>
                <c:pt idx="598">
                  <c:v>108.28075145065901</c:v>
                </c:pt>
                <c:pt idx="599">
                  <c:v>108.79545185409101</c:v>
                </c:pt>
                <c:pt idx="600">
                  <c:v>107.526152852027</c:v>
                </c:pt>
                <c:pt idx="601">
                  <c:v>107.287087120511</c:v>
                </c:pt>
                <c:pt idx="602">
                  <c:v>108.02384721163001</c:v>
                </c:pt>
                <c:pt idx="603">
                  <c:v>107.599320463675</c:v>
                </c:pt>
                <c:pt idx="604">
                  <c:v>108.21680040122598</c:v>
                </c:pt>
                <c:pt idx="605">
                  <c:v>108.12980794625599</c:v>
                </c:pt>
                <c:pt idx="606">
                  <c:v>109.387749765203</c:v>
                </c:pt>
                <c:pt idx="607">
                  <c:v>110.60546574970999</c:v>
                </c:pt>
                <c:pt idx="608">
                  <c:v>109.999670034579</c:v>
                </c:pt>
                <c:pt idx="609">
                  <c:v>109.271175118608</c:v>
                </c:pt>
                <c:pt idx="610">
                  <c:v>109.40457742395699</c:v>
                </c:pt>
                <c:pt idx="611">
                  <c:v>109.782664590688</c:v>
                </c:pt>
                <c:pt idx="612">
                  <c:v>109.28612973407299</c:v>
                </c:pt>
                <c:pt idx="613">
                  <c:v>109.66094650775999</c:v>
                </c:pt>
                <c:pt idx="614">
                  <c:v>109.31380915156301</c:v>
                </c:pt>
                <c:pt idx="615">
                  <c:v>108.661395470133</c:v>
                </c:pt>
                <c:pt idx="616">
                  <c:v>108.579665374879</c:v>
                </c:pt>
                <c:pt idx="617">
                  <c:v>108.31271210995199</c:v>
                </c:pt>
                <c:pt idx="618">
                  <c:v>107.77164044624701</c:v>
                </c:pt>
                <c:pt idx="619">
                  <c:v>108.13031337063499</c:v>
                </c:pt>
                <c:pt idx="620">
                  <c:v>106.95380433848301</c:v>
                </c:pt>
                <c:pt idx="621">
                  <c:v>106.81508021172598</c:v>
                </c:pt>
                <c:pt idx="622">
                  <c:v>106.69948668304401</c:v>
                </c:pt>
                <c:pt idx="623">
                  <c:v>106.81618025302299</c:v>
                </c:pt>
                <c:pt idx="624">
                  <c:v>106.48881390931902</c:v>
                </c:pt>
                <c:pt idx="625">
                  <c:v>107.37639858145801</c:v>
                </c:pt>
                <c:pt idx="626">
                  <c:v>107.80669311350898</c:v>
                </c:pt>
                <c:pt idx="627">
                  <c:v>107.57630878898298</c:v>
                </c:pt>
                <c:pt idx="628">
                  <c:v>107.30789871260899</c:v>
                </c:pt>
                <c:pt idx="629">
                  <c:v>107.58267118999601</c:v>
                </c:pt>
                <c:pt idx="630">
                  <c:v>107.20158120783401</c:v>
                </c:pt>
                <c:pt idx="631">
                  <c:v>107.16147429677601</c:v>
                </c:pt>
                <c:pt idx="632">
                  <c:v>106.552883882136</c:v>
                </c:pt>
                <c:pt idx="633">
                  <c:v>106.63181927787902</c:v>
                </c:pt>
                <c:pt idx="634">
                  <c:v>107.053610788016</c:v>
                </c:pt>
                <c:pt idx="635">
                  <c:v>106.50998227156801</c:v>
                </c:pt>
                <c:pt idx="636">
                  <c:v>105.923689991318</c:v>
                </c:pt>
                <c:pt idx="637">
                  <c:v>105.74545357042101</c:v>
                </c:pt>
                <c:pt idx="638">
                  <c:v>105.32996499960498</c:v>
                </c:pt>
                <c:pt idx="639">
                  <c:v>106.597777459376</c:v>
                </c:pt>
                <c:pt idx="640">
                  <c:v>106.999827687866</c:v>
                </c:pt>
                <c:pt idx="641">
                  <c:v>106.859854865583</c:v>
                </c:pt>
                <c:pt idx="642">
                  <c:v>106.86410637654001</c:v>
                </c:pt>
                <c:pt idx="643">
                  <c:v>106.511706660627</c:v>
                </c:pt>
                <c:pt idx="644">
                  <c:v>106.49856562675998</c:v>
                </c:pt>
                <c:pt idx="645">
                  <c:v>107.13543007580802</c:v>
                </c:pt>
                <c:pt idx="646">
                  <c:v>106.822156153039</c:v>
                </c:pt>
                <c:pt idx="647">
                  <c:v>107.385793528748</c:v>
                </c:pt>
                <c:pt idx="648">
                  <c:v>106.88242057758602</c:v>
                </c:pt>
                <c:pt idx="649">
                  <c:v>107.54348593516001</c:v>
                </c:pt>
                <c:pt idx="650">
                  <c:v>107.87186312762201</c:v>
                </c:pt>
                <c:pt idx="651">
                  <c:v>107.61986447815998</c:v>
                </c:pt>
                <c:pt idx="652">
                  <c:v>107.800241519959</c:v>
                </c:pt>
                <c:pt idx="653">
                  <c:v>108.324753102523</c:v>
                </c:pt>
                <c:pt idx="654">
                  <c:v>107.99040001004401</c:v>
                </c:pt>
                <c:pt idx="655">
                  <c:v>108.251882799334</c:v>
                </c:pt>
                <c:pt idx="656">
                  <c:v>107.79105468859001</c:v>
                </c:pt>
                <c:pt idx="657">
                  <c:v>107.50177355842601</c:v>
                </c:pt>
                <c:pt idx="658">
                  <c:v>107.666779752918</c:v>
                </c:pt>
                <c:pt idx="659">
                  <c:v>108.17746649216001</c:v>
                </c:pt>
                <c:pt idx="660">
                  <c:v>108.801279099878</c:v>
                </c:pt>
                <c:pt idx="661">
                  <c:v>110.091419424886</c:v>
                </c:pt>
                <c:pt idx="662">
                  <c:v>110.32899861410898</c:v>
                </c:pt>
                <c:pt idx="663">
                  <c:v>110.562474946604</c:v>
                </c:pt>
                <c:pt idx="664">
                  <c:v>110.50087263399399</c:v>
                </c:pt>
                <c:pt idx="665">
                  <c:v>111.230467591262</c:v>
                </c:pt>
                <c:pt idx="666">
                  <c:v>110.368719024171</c:v>
                </c:pt>
                <c:pt idx="667">
                  <c:v>109.58126784086998</c:v>
                </c:pt>
                <c:pt idx="668">
                  <c:v>109.760039416993</c:v>
                </c:pt>
                <c:pt idx="669">
                  <c:v>110.06162911734</c:v>
                </c:pt>
                <c:pt idx="670">
                  <c:v>110.19437734408</c:v>
                </c:pt>
                <c:pt idx="671">
                  <c:v>110.133012878237</c:v>
                </c:pt>
                <c:pt idx="672">
                  <c:v>109.97175277032201</c:v>
                </c:pt>
                <c:pt idx="673">
                  <c:v>110.15887871413</c:v>
                </c:pt>
                <c:pt idx="674">
                  <c:v>110.15887871413</c:v>
                </c:pt>
                <c:pt idx="675">
                  <c:v>110.30334089413701</c:v>
                </c:pt>
                <c:pt idx="676">
                  <c:v>109.61406096384701</c:v>
                </c:pt>
                <c:pt idx="677">
                  <c:v>109.980850409154</c:v>
                </c:pt>
                <c:pt idx="678">
                  <c:v>110.037933633194</c:v>
                </c:pt>
                <c:pt idx="679">
                  <c:v>110.19782612219899</c:v>
                </c:pt>
                <c:pt idx="680">
                  <c:v>110.24940913975701</c:v>
                </c:pt>
                <c:pt idx="681">
                  <c:v>111.36291850954298</c:v>
                </c:pt>
                <c:pt idx="682">
                  <c:v>111.831803679514</c:v>
                </c:pt>
                <c:pt idx="683">
                  <c:v>111.74290845040899</c:v>
                </c:pt>
                <c:pt idx="684">
                  <c:v>111.11707414517301</c:v>
                </c:pt>
                <c:pt idx="685">
                  <c:v>111.313238266121</c:v>
                </c:pt>
                <c:pt idx="686">
                  <c:v>111.21081550215199</c:v>
                </c:pt>
                <c:pt idx="687">
                  <c:v>111.60834664207199</c:v>
                </c:pt>
                <c:pt idx="688">
                  <c:v>111.827998131245</c:v>
                </c:pt>
                <c:pt idx="689">
                  <c:v>111.57347235988499</c:v>
                </c:pt>
                <c:pt idx="690">
                  <c:v>111.684338684076</c:v>
                </c:pt>
                <c:pt idx="691">
                  <c:v>111.95135141069498</c:v>
                </c:pt>
                <c:pt idx="692">
                  <c:v>111.22351057333199</c:v>
                </c:pt>
                <c:pt idx="693">
                  <c:v>111.64637239392002</c:v>
                </c:pt>
                <c:pt idx="694">
                  <c:v>111.678868208439</c:v>
                </c:pt>
                <c:pt idx="695">
                  <c:v>112.32289779133799</c:v>
                </c:pt>
                <c:pt idx="696">
                  <c:v>113.057219953097</c:v>
                </c:pt>
                <c:pt idx="697">
                  <c:v>112.888973096406</c:v>
                </c:pt>
                <c:pt idx="698">
                  <c:v>112.80507264940501</c:v>
                </c:pt>
                <c:pt idx="699">
                  <c:v>112.19585788700202</c:v>
                </c:pt>
                <c:pt idx="700">
                  <c:v>112.58970240203601</c:v>
                </c:pt>
                <c:pt idx="701">
                  <c:v>112.46084891610199</c:v>
                </c:pt>
                <c:pt idx="702">
                  <c:v>112.728783298943</c:v>
                </c:pt>
                <c:pt idx="703">
                  <c:v>113.290517900517</c:v>
                </c:pt>
                <c:pt idx="704">
                  <c:v>112.794488468281</c:v>
                </c:pt>
                <c:pt idx="705">
                  <c:v>112.79933459615501</c:v>
                </c:pt>
                <c:pt idx="706">
                  <c:v>113.24841902278699</c:v>
                </c:pt>
                <c:pt idx="707">
                  <c:v>113.542248972366</c:v>
                </c:pt>
                <c:pt idx="708">
                  <c:v>114.04092444988298</c:v>
                </c:pt>
                <c:pt idx="709">
                  <c:v>114.48317078196798</c:v>
                </c:pt>
                <c:pt idx="710">
                  <c:v>114.40979505439898</c:v>
                </c:pt>
                <c:pt idx="711">
                  <c:v>114.84707633522602</c:v>
                </c:pt>
                <c:pt idx="712">
                  <c:v>115.11001593596299</c:v>
                </c:pt>
                <c:pt idx="713">
                  <c:v>115.042883686024</c:v>
                </c:pt>
                <c:pt idx="714">
                  <c:v>115.107726660832</c:v>
                </c:pt>
                <c:pt idx="715">
                  <c:v>115.47653780365698</c:v>
                </c:pt>
                <c:pt idx="716">
                  <c:v>115.360082080445</c:v>
                </c:pt>
                <c:pt idx="717">
                  <c:v>115.662504244476</c:v>
                </c:pt>
                <c:pt idx="718">
                  <c:v>115.514712209734</c:v>
                </c:pt>
                <c:pt idx="719">
                  <c:v>115.586066239784</c:v>
                </c:pt>
                <c:pt idx="720">
                  <c:v>115.49511958231599</c:v>
                </c:pt>
                <c:pt idx="721">
                  <c:v>116.27305689494301</c:v>
                </c:pt>
                <c:pt idx="722">
                  <c:v>115.747237155161</c:v>
                </c:pt>
                <c:pt idx="723">
                  <c:v>115.64365488820401</c:v>
                </c:pt>
                <c:pt idx="724">
                  <c:v>115.40619462236501</c:v>
                </c:pt>
                <c:pt idx="725">
                  <c:v>115.01104195011401</c:v>
                </c:pt>
                <c:pt idx="726">
                  <c:v>114.51902618206799</c:v>
                </c:pt>
                <c:pt idx="727">
                  <c:v>114.51908564375999</c:v>
                </c:pt>
                <c:pt idx="728">
                  <c:v>115.12830040616299</c:v>
                </c:pt>
                <c:pt idx="729">
                  <c:v>115.510639083852</c:v>
                </c:pt>
                <c:pt idx="730">
                  <c:v>115.049483933803</c:v>
                </c:pt>
                <c:pt idx="731">
                  <c:v>115.819720957355</c:v>
                </c:pt>
                <c:pt idx="732">
                  <c:v>116.441868637705</c:v>
                </c:pt>
                <c:pt idx="733">
                  <c:v>116.545659020583</c:v>
                </c:pt>
                <c:pt idx="734">
                  <c:v>116.34286492100901</c:v>
                </c:pt>
                <c:pt idx="735">
                  <c:v>115.57952545369599</c:v>
                </c:pt>
                <c:pt idx="736">
                  <c:v>115.394004975565</c:v>
                </c:pt>
                <c:pt idx="737">
                  <c:v>115.641871037453</c:v>
                </c:pt>
                <c:pt idx="738">
                  <c:v>115.75089404920101</c:v>
                </c:pt>
                <c:pt idx="739">
                  <c:v>115.66794498926799</c:v>
                </c:pt>
                <c:pt idx="740">
                  <c:v>116.47252113978099</c:v>
                </c:pt>
                <c:pt idx="741">
                  <c:v>116.319228898555</c:v>
                </c:pt>
                <c:pt idx="742">
                  <c:v>116.51679036925799</c:v>
                </c:pt>
                <c:pt idx="743">
                  <c:v>116.305404055233</c:v>
                </c:pt>
                <c:pt idx="744">
                  <c:v>116.038658906227</c:v>
                </c:pt>
                <c:pt idx="745">
                  <c:v>116.07442511379</c:v>
                </c:pt>
                <c:pt idx="746">
                  <c:v>115.918100326287</c:v>
                </c:pt>
                <c:pt idx="747">
                  <c:v>116.11313467509198</c:v>
                </c:pt>
                <c:pt idx="748">
                  <c:v>116.059767806783</c:v>
                </c:pt>
                <c:pt idx="749">
                  <c:v>116.21924406394699</c:v>
                </c:pt>
                <c:pt idx="750">
                  <c:v>116.45325555166698</c:v>
                </c:pt>
                <c:pt idx="751">
                  <c:v>116.156482248348</c:v>
                </c:pt>
                <c:pt idx="752">
                  <c:v>115.653317413107</c:v>
                </c:pt>
                <c:pt idx="753">
                  <c:v>115.653317413107</c:v>
                </c:pt>
                <c:pt idx="754">
                  <c:v>115.653317413107</c:v>
                </c:pt>
                <c:pt idx="755">
                  <c:v>116.019006817117</c:v>
                </c:pt>
                <c:pt idx="756">
                  <c:v>116.02495298628801</c:v>
                </c:pt>
                <c:pt idx="757">
                  <c:v>116.65325495173001</c:v>
                </c:pt>
                <c:pt idx="758">
                  <c:v>116.389512618155</c:v>
                </c:pt>
                <c:pt idx="759">
                  <c:v>118.08197074926498</c:v>
                </c:pt>
                <c:pt idx="760">
                  <c:v>118.653040836438</c:v>
                </c:pt>
                <c:pt idx="761">
                  <c:v>118.74603892227</c:v>
                </c:pt>
                <c:pt idx="762">
                  <c:v>118.682950067367</c:v>
                </c:pt>
                <c:pt idx="763">
                  <c:v>118.396523098405</c:v>
                </c:pt>
                <c:pt idx="764">
                  <c:v>118.396523098405</c:v>
                </c:pt>
                <c:pt idx="765">
                  <c:v>118.91464254911099</c:v>
                </c:pt>
                <c:pt idx="766">
                  <c:v>118.53117409928001</c:v>
                </c:pt>
                <c:pt idx="767">
                  <c:v>118.81126839807501</c:v>
                </c:pt>
                <c:pt idx="768">
                  <c:v>119.502391640808</c:v>
                </c:pt>
                <c:pt idx="769">
                  <c:v>119.45009508294999</c:v>
                </c:pt>
                <c:pt idx="770">
                  <c:v>119.160546375173</c:v>
                </c:pt>
                <c:pt idx="771">
                  <c:v>119.49198584475799</c:v>
                </c:pt>
                <c:pt idx="772">
                  <c:v>119.09397901130498</c:v>
                </c:pt>
                <c:pt idx="773">
                  <c:v>119.100341412318</c:v>
                </c:pt>
                <c:pt idx="774">
                  <c:v>119.769136789814</c:v>
                </c:pt>
                <c:pt idx="775">
                  <c:v>119.905036486214</c:v>
                </c:pt>
                <c:pt idx="776">
                  <c:v>118.83989920263301</c:v>
                </c:pt>
                <c:pt idx="777">
                  <c:v>118.76233142579899</c:v>
                </c:pt>
                <c:pt idx="778">
                  <c:v>119.653989223819</c:v>
                </c:pt>
                <c:pt idx="779">
                  <c:v>120.376240662161</c:v>
                </c:pt>
                <c:pt idx="780">
                  <c:v>120.60594117723301</c:v>
                </c:pt>
                <c:pt idx="781">
                  <c:v>120.72584567856399</c:v>
                </c:pt>
                <c:pt idx="782">
                  <c:v>121.26605514773901</c:v>
                </c:pt>
                <c:pt idx="783">
                  <c:v>121.10868978063201</c:v>
                </c:pt>
                <c:pt idx="784">
                  <c:v>121.053925562568</c:v>
                </c:pt>
                <c:pt idx="785">
                  <c:v>120.95988689712999</c:v>
                </c:pt>
                <c:pt idx="786">
                  <c:v>121.23118086555201</c:v>
                </c:pt>
                <c:pt idx="787">
                  <c:v>122.21405289865402</c:v>
                </c:pt>
                <c:pt idx="788">
                  <c:v>122.762141041981</c:v>
                </c:pt>
                <c:pt idx="789">
                  <c:v>122.471194984449</c:v>
                </c:pt>
                <c:pt idx="790">
                  <c:v>122.12167916058398</c:v>
                </c:pt>
                <c:pt idx="791">
                  <c:v>122.35244998610702</c:v>
                </c:pt>
                <c:pt idx="792">
                  <c:v>122.102116264012</c:v>
                </c:pt>
                <c:pt idx="793">
                  <c:v>122.223774885249</c:v>
                </c:pt>
                <c:pt idx="794">
                  <c:v>122.00228008363298</c:v>
                </c:pt>
                <c:pt idx="795">
                  <c:v>122.704284815948</c:v>
                </c:pt>
                <c:pt idx="796">
                  <c:v>122.960921477364</c:v>
                </c:pt>
                <c:pt idx="797">
                  <c:v>122.052525213127</c:v>
                </c:pt>
                <c:pt idx="798">
                  <c:v>122.43004749378701</c:v>
                </c:pt>
                <c:pt idx="799">
                  <c:v>123.02677530093101</c:v>
                </c:pt>
                <c:pt idx="800">
                  <c:v>122.12417655163598</c:v>
                </c:pt>
                <c:pt idx="801">
                  <c:v>121.84054428218501</c:v>
                </c:pt>
                <c:pt idx="802">
                  <c:v>121.79517501141099</c:v>
                </c:pt>
                <c:pt idx="803">
                  <c:v>121.976889941273</c:v>
                </c:pt>
                <c:pt idx="804">
                  <c:v>122.21809629369001</c:v>
                </c:pt>
                <c:pt idx="805">
                  <c:v>121.711423218639</c:v>
                </c:pt>
                <c:pt idx="806">
                  <c:v>122.430255609708</c:v>
                </c:pt>
                <c:pt idx="807">
                  <c:v>121.89670585000401</c:v>
                </c:pt>
                <c:pt idx="808">
                  <c:v>121.88074038578</c:v>
                </c:pt>
                <c:pt idx="809">
                  <c:v>122.219612566829</c:v>
                </c:pt>
                <c:pt idx="810">
                  <c:v>122.112522060061</c:v>
                </c:pt>
                <c:pt idx="811">
                  <c:v>122.122600816806</c:v>
                </c:pt>
                <c:pt idx="812">
                  <c:v>121.493198810067</c:v>
                </c:pt>
                <c:pt idx="813">
                  <c:v>121.73437543163898</c:v>
                </c:pt>
                <c:pt idx="814">
                  <c:v>121.878094340499</c:v>
                </c:pt>
                <c:pt idx="815">
                  <c:v>121.75117335954599</c:v>
                </c:pt>
                <c:pt idx="816">
                  <c:v>122.69937922638201</c:v>
                </c:pt>
                <c:pt idx="817">
                  <c:v>123.01375319044701</c:v>
                </c:pt>
                <c:pt idx="818">
                  <c:v>123.67805921021899</c:v>
                </c:pt>
                <c:pt idx="819">
                  <c:v>123.89503492326499</c:v>
                </c:pt>
                <c:pt idx="820">
                  <c:v>123.82495931958599</c:v>
                </c:pt>
                <c:pt idx="821">
                  <c:v>124.31664804832701</c:v>
                </c:pt>
                <c:pt idx="822">
                  <c:v>124.536894154416</c:v>
                </c:pt>
                <c:pt idx="823">
                  <c:v>124.42409532524501</c:v>
                </c:pt>
                <c:pt idx="824">
                  <c:v>124.14926338616601</c:v>
                </c:pt>
                <c:pt idx="825">
                  <c:v>124.501752294616</c:v>
                </c:pt>
                <c:pt idx="826">
                  <c:v>124.42691975560101</c:v>
                </c:pt>
                <c:pt idx="827">
                  <c:v>124.53543734296998</c:v>
                </c:pt>
                <c:pt idx="828">
                  <c:v>124.467323975117</c:v>
                </c:pt>
                <c:pt idx="829">
                  <c:v>124.67731293938699</c:v>
                </c:pt>
                <c:pt idx="830">
                  <c:v>125.275438096287</c:v>
                </c:pt>
                <c:pt idx="831">
                  <c:v>125.188475372162</c:v>
                </c:pt>
                <c:pt idx="832">
                  <c:v>125.141530366558</c:v>
                </c:pt>
                <c:pt idx="833">
                  <c:v>125.00530363085301</c:v>
                </c:pt>
                <c:pt idx="834">
                  <c:v>125.227957935457</c:v>
                </c:pt>
                <c:pt idx="835">
                  <c:v>124.90790537983401</c:v>
                </c:pt>
                <c:pt idx="836">
                  <c:v>124.60473994465599</c:v>
                </c:pt>
                <c:pt idx="837">
                  <c:v>123.51959380181501</c:v>
                </c:pt>
                <c:pt idx="838">
                  <c:v>123.205309030287</c:v>
                </c:pt>
                <c:pt idx="839">
                  <c:v>124.134011462243</c:v>
                </c:pt>
                <c:pt idx="840">
                  <c:v>123.90481637155099</c:v>
                </c:pt>
                <c:pt idx="841">
                  <c:v>124.30044473733599</c:v>
                </c:pt>
                <c:pt idx="842">
                  <c:v>123.37953178699399</c:v>
                </c:pt>
                <c:pt idx="843">
                  <c:v>123.04110556863299</c:v>
                </c:pt>
                <c:pt idx="844">
                  <c:v>123.23301817862399</c:v>
                </c:pt>
                <c:pt idx="845">
                  <c:v>123.891853722758</c:v>
                </c:pt>
                <c:pt idx="846">
                  <c:v>123.79059046177801</c:v>
                </c:pt>
                <c:pt idx="847">
                  <c:v>123.622551721009</c:v>
                </c:pt>
                <c:pt idx="848">
                  <c:v>123.989727667311</c:v>
                </c:pt>
                <c:pt idx="849">
                  <c:v>124.00147135142402</c:v>
                </c:pt>
                <c:pt idx="850">
                  <c:v>123.72839353225001</c:v>
                </c:pt>
                <c:pt idx="851">
                  <c:v>123.86304453312501</c:v>
                </c:pt>
                <c:pt idx="852">
                  <c:v>124.59466118791201</c:v>
                </c:pt>
                <c:pt idx="853">
                  <c:v>125.009822719423</c:v>
                </c:pt>
                <c:pt idx="854">
                  <c:v>124.83435126719</c:v>
                </c:pt>
                <c:pt idx="855">
                  <c:v>124.26024863374101</c:v>
                </c:pt>
                <c:pt idx="856">
                  <c:v>124.40720820479901</c:v>
                </c:pt>
                <c:pt idx="857">
                  <c:v>124.64666043731101</c:v>
                </c:pt>
                <c:pt idx="858">
                  <c:v>125.02890992246201</c:v>
                </c:pt>
                <c:pt idx="859">
                  <c:v>126.094374245347</c:v>
                </c:pt>
                <c:pt idx="860">
                  <c:v>126.32978308282298</c:v>
                </c:pt>
                <c:pt idx="861">
                  <c:v>126.06708132885301</c:v>
                </c:pt>
                <c:pt idx="862">
                  <c:v>125.90204540351499</c:v>
                </c:pt>
                <c:pt idx="863">
                  <c:v>126.190791378453</c:v>
                </c:pt>
                <c:pt idx="864">
                  <c:v>126.346135048043</c:v>
                </c:pt>
                <c:pt idx="865">
                  <c:v>126.45839872198901</c:v>
                </c:pt>
                <c:pt idx="866">
                  <c:v>126.62245352941399</c:v>
                </c:pt>
                <c:pt idx="867">
                  <c:v>126.07820066520298</c:v>
                </c:pt>
                <c:pt idx="868">
                  <c:v>126.327612731076</c:v>
                </c:pt>
                <c:pt idx="869">
                  <c:v>126.14735461266</c:v>
                </c:pt>
                <c:pt idx="870">
                  <c:v>125.805717462947</c:v>
                </c:pt>
                <c:pt idx="871">
                  <c:v>126.016390236671</c:v>
                </c:pt>
                <c:pt idx="872">
                  <c:v>126.39884783774301</c:v>
                </c:pt>
                <c:pt idx="873">
                  <c:v>126.90427221726802</c:v>
                </c:pt>
                <c:pt idx="874">
                  <c:v>127.136618777621</c:v>
                </c:pt>
                <c:pt idx="875">
                  <c:v>127.434492122237</c:v>
                </c:pt>
                <c:pt idx="876">
                  <c:v>127.61900175160901</c:v>
                </c:pt>
                <c:pt idx="877">
                  <c:v>127.837909969636</c:v>
                </c:pt>
                <c:pt idx="878">
                  <c:v>127.57431629028999</c:v>
                </c:pt>
                <c:pt idx="879">
                  <c:v>127.40488019976598</c:v>
                </c:pt>
                <c:pt idx="880">
                  <c:v>128.035233593572</c:v>
                </c:pt>
                <c:pt idx="881">
                  <c:v>128.14497014561999</c:v>
                </c:pt>
                <c:pt idx="882">
                  <c:v>128.28342669476501</c:v>
                </c:pt>
                <c:pt idx="883">
                  <c:v>128.52121399990901</c:v>
                </c:pt>
                <c:pt idx="884">
                  <c:v>128.48467479035301</c:v>
                </c:pt>
                <c:pt idx="885">
                  <c:v>128.24144674041801</c:v>
                </c:pt>
                <c:pt idx="886">
                  <c:v>128.45431959673601</c:v>
                </c:pt>
                <c:pt idx="887">
                  <c:v>128.736078822899</c:v>
                </c:pt>
                <c:pt idx="888">
                  <c:v>129.060204504404</c:v>
                </c:pt>
                <c:pt idx="889">
                  <c:v>128.85776717498101</c:v>
                </c:pt>
                <c:pt idx="890">
                  <c:v>128.913839550262</c:v>
                </c:pt>
                <c:pt idx="891">
                  <c:v>128.42244812998001</c:v>
                </c:pt>
                <c:pt idx="892">
                  <c:v>128.71517803826299</c:v>
                </c:pt>
                <c:pt idx="893">
                  <c:v>128.84248552021199</c:v>
                </c:pt>
                <c:pt idx="894">
                  <c:v>128.74948743437901</c:v>
                </c:pt>
                <c:pt idx="895">
                  <c:v>128.94728675184899</c:v>
                </c:pt>
                <c:pt idx="896">
                  <c:v>129.11083613489399</c:v>
                </c:pt>
                <c:pt idx="897">
                  <c:v>129.296594459793</c:v>
                </c:pt>
                <c:pt idx="898">
                  <c:v>129.33554186786199</c:v>
                </c:pt>
                <c:pt idx="899">
                  <c:v>129.43454558455699</c:v>
                </c:pt>
                <c:pt idx="900">
                  <c:v>129.457735644324</c:v>
                </c:pt>
                <c:pt idx="901">
                  <c:v>129.59292180042399</c:v>
                </c:pt>
                <c:pt idx="902">
                  <c:v>129.22414038844499</c:v>
                </c:pt>
                <c:pt idx="903">
                  <c:v>129.10126280252899</c:v>
                </c:pt>
                <c:pt idx="904">
                  <c:v>128.941786545366</c:v>
                </c:pt>
                <c:pt idx="905">
                  <c:v>129.10135199506601</c:v>
                </c:pt>
                <c:pt idx="906">
                  <c:v>128.36182693528301</c:v>
                </c:pt>
                <c:pt idx="907">
                  <c:v>129.31523570014301</c:v>
                </c:pt>
                <c:pt idx="908">
                  <c:v>129.303551477723</c:v>
                </c:pt>
                <c:pt idx="909">
                  <c:v>129.48175816777399</c:v>
                </c:pt>
                <c:pt idx="910">
                  <c:v>129.91725559784999</c:v>
                </c:pt>
                <c:pt idx="911">
                  <c:v>130.088832309276</c:v>
                </c:pt>
                <c:pt idx="912">
                  <c:v>130.330900856223</c:v>
                </c:pt>
                <c:pt idx="913">
                  <c:v>130.566101577777</c:v>
                </c:pt>
                <c:pt idx="914">
                  <c:v>130.324241146752</c:v>
                </c:pt>
                <c:pt idx="915">
                  <c:v>131.04580877563899</c:v>
                </c:pt>
                <c:pt idx="916">
                  <c:v>131.60424325332301</c:v>
                </c:pt>
                <c:pt idx="917">
                  <c:v>132.37908855798199</c:v>
                </c:pt>
                <c:pt idx="918">
                  <c:v>131.894356847171</c:v>
                </c:pt>
                <c:pt idx="919">
                  <c:v>132.060790122264</c:v>
                </c:pt>
                <c:pt idx="920">
                  <c:v>131.50390164856401</c:v>
                </c:pt>
                <c:pt idx="921">
                  <c:v>131.022232214876</c:v>
                </c:pt>
                <c:pt idx="922">
                  <c:v>131.45139697478501</c:v>
                </c:pt>
                <c:pt idx="923">
                  <c:v>132.151944895654</c:v>
                </c:pt>
                <c:pt idx="924">
                  <c:v>132.404092199345</c:v>
                </c:pt>
                <c:pt idx="925">
                  <c:v>132.29765577118599</c:v>
                </c:pt>
                <c:pt idx="926">
                  <c:v>132.22026637942699</c:v>
                </c:pt>
                <c:pt idx="927">
                  <c:v>131.803588574777</c:v>
                </c:pt>
                <c:pt idx="928">
                  <c:v>132.26037329048501</c:v>
                </c:pt>
                <c:pt idx="929">
                  <c:v>133.36077135725</c:v>
                </c:pt>
                <c:pt idx="930">
                  <c:v>132.881956084764</c:v>
                </c:pt>
                <c:pt idx="931">
                  <c:v>132.867774471291</c:v>
                </c:pt>
                <c:pt idx="932">
                  <c:v>133.00084973733601</c:v>
                </c:pt>
                <c:pt idx="933">
                  <c:v>133.06034115988999</c:v>
                </c:pt>
                <c:pt idx="934">
                  <c:v>133.06034115988999</c:v>
                </c:pt>
                <c:pt idx="935">
                  <c:v>133.06034115988999</c:v>
                </c:pt>
                <c:pt idx="936">
                  <c:v>133.49925763723999</c:v>
                </c:pt>
                <c:pt idx="937">
                  <c:v>133.91144608416599</c:v>
                </c:pt>
                <c:pt idx="938">
                  <c:v>133.71456842291801</c:v>
                </c:pt>
                <c:pt idx="939">
                  <c:v>133.71456842291801</c:v>
                </c:pt>
                <c:pt idx="940">
                  <c:v>134.23218244924399</c:v>
                </c:pt>
                <c:pt idx="941">
                  <c:v>134.71614115806199</c:v>
                </c:pt>
                <c:pt idx="942">
                  <c:v>135.58963340926601</c:v>
                </c:pt>
                <c:pt idx="943">
                  <c:v>136.28812990176999</c:v>
                </c:pt>
                <c:pt idx="944">
                  <c:v>136.46267969778199</c:v>
                </c:pt>
                <c:pt idx="945">
                  <c:v>136.659408704801</c:v>
                </c:pt>
                <c:pt idx="946">
                  <c:v>136.55677782491099</c:v>
                </c:pt>
                <c:pt idx="947">
                  <c:v>137.09570886771499</c:v>
                </c:pt>
                <c:pt idx="948">
                  <c:v>137.76040138848299</c:v>
                </c:pt>
                <c:pt idx="949">
                  <c:v>138.26371487795299</c:v>
                </c:pt>
                <c:pt idx="950">
                  <c:v>137.847661421065</c:v>
                </c:pt>
                <c:pt idx="951">
                  <c:v>138.579426730081</c:v>
                </c:pt>
                <c:pt idx="952">
                  <c:v>138.21439140467999</c:v>
                </c:pt>
                <c:pt idx="953">
                  <c:v>138.98742312774201</c:v>
                </c:pt>
                <c:pt idx="954">
                  <c:v>139.68859539637299</c:v>
                </c:pt>
                <c:pt idx="955">
                  <c:v>140.271379436812</c:v>
                </c:pt>
                <c:pt idx="956">
                  <c:v>140.55721178885599</c:v>
                </c:pt>
                <c:pt idx="957">
                  <c:v>140.74852978192999</c:v>
                </c:pt>
                <c:pt idx="958">
                  <c:v>141.41328176438901</c:v>
                </c:pt>
                <c:pt idx="959">
                  <c:v>140.38848923863199</c:v>
                </c:pt>
                <c:pt idx="960">
                  <c:v>139.30141059081001</c:v>
                </c:pt>
                <c:pt idx="961">
                  <c:v>139.36411294471699</c:v>
                </c:pt>
              </c:numCache>
            </c:numRef>
          </c:val>
          <c:smooth val="0"/>
          <c:extLst xmlns:c16r2="http://schemas.microsoft.com/office/drawing/2015/06/chart">
            <c:ext xmlns:c16="http://schemas.microsoft.com/office/drawing/2014/chart" uri="{C3380CC4-5D6E-409C-BE32-E72D297353CC}">
              <c16:uniqueId val="{00000001-7127-4EE7-81B7-88A877082DDF}"/>
            </c:ext>
          </c:extLst>
        </c:ser>
        <c:ser>
          <c:idx val="1"/>
          <c:order val="1"/>
          <c:tx>
            <c:strRef>
              <c:f>'ETF GLOBAL SB USD'!$F$4</c:f>
              <c:strCache>
                <c:ptCount val="1"/>
                <c:pt idx="0">
                  <c:v>MSCI World Index</c:v>
                </c:pt>
              </c:strCache>
            </c:strRef>
          </c:tx>
          <c:spPr>
            <a:ln w="28575">
              <a:solidFill>
                <a:srgbClr val="009EE0"/>
              </a:solidFill>
              <a:prstDash val="solid"/>
            </a:ln>
          </c:spPr>
          <c:marker>
            <c:symbol val="none"/>
          </c:marker>
          <c:cat>
            <c:numRef>
              <c:f>'ETF GLOBAL SB USD'!$C$5:$C$966</c:f>
              <c:numCache>
                <c:formatCode>m/d/yyyy</c:formatCode>
                <c:ptCount val="962"/>
                <c:pt idx="0">
                  <c:v>41786</c:v>
                </c:pt>
                <c:pt idx="1">
                  <c:v>41787</c:v>
                </c:pt>
                <c:pt idx="2">
                  <c:v>41788</c:v>
                </c:pt>
                <c:pt idx="3">
                  <c:v>41789</c:v>
                </c:pt>
                <c:pt idx="4">
                  <c:v>41792</c:v>
                </c:pt>
                <c:pt idx="5">
                  <c:v>41793</c:v>
                </c:pt>
                <c:pt idx="6">
                  <c:v>41794</c:v>
                </c:pt>
                <c:pt idx="7">
                  <c:v>41795</c:v>
                </c:pt>
                <c:pt idx="8">
                  <c:v>41796</c:v>
                </c:pt>
                <c:pt idx="9">
                  <c:v>41799</c:v>
                </c:pt>
                <c:pt idx="10">
                  <c:v>41800</c:v>
                </c:pt>
                <c:pt idx="11">
                  <c:v>41801</c:v>
                </c:pt>
                <c:pt idx="12">
                  <c:v>41802</c:v>
                </c:pt>
                <c:pt idx="13">
                  <c:v>41803</c:v>
                </c:pt>
                <c:pt idx="14">
                  <c:v>41806</c:v>
                </c:pt>
                <c:pt idx="15">
                  <c:v>41807</c:v>
                </c:pt>
                <c:pt idx="16">
                  <c:v>41808</c:v>
                </c:pt>
                <c:pt idx="17">
                  <c:v>41809</c:v>
                </c:pt>
                <c:pt idx="18">
                  <c:v>41810</c:v>
                </c:pt>
                <c:pt idx="19">
                  <c:v>41813</c:v>
                </c:pt>
                <c:pt idx="20">
                  <c:v>41814</c:v>
                </c:pt>
                <c:pt idx="21">
                  <c:v>41815</c:v>
                </c:pt>
                <c:pt idx="22">
                  <c:v>41816</c:v>
                </c:pt>
                <c:pt idx="23">
                  <c:v>41817</c:v>
                </c:pt>
                <c:pt idx="24">
                  <c:v>41820</c:v>
                </c:pt>
                <c:pt idx="25">
                  <c:v>41821</c:v>
                </c:pt>
                <c:pt idx="26">
                  <c:v>41822</c:v>
                </c:pt>
                <c:pt idx="27">
                  <c:v>41823</c:v>
                </c:pt>
                <c:pt idx="28">
                  <c:v>41824</c:v>
                </c:pt>
                <c:pt idx="29">
                  <c:v>41827</c:v>
                </c:pt>
                <c:pt idx="30">
                  <c:v>41828</c:v>
                </c:pt>
                <c:pt idx="31">
                  <c:v>41829</c:v>
                </c:pt>
                <c:pt idx="32">
                  <c:v>41830</c:v>
                </c:pt>
                <c:pt idx="33">
                  <c:v>41831</c:v>
                </c:pt>
                <c:pt idx="34">
                  <c:v>41834</c:v>
                </c:pt>
                <c:pt idx="35">
                  <c:v>41835</c:v>
                </c:pt>
                <c:pt idx="36">
                  <c:v>41836</c:v>
                </c:pt>
                <c:pt idx="37">
                  <c:v>41837</c:v>
                </c:pt>
                <c:pt idx="38">
                  <c:v>41838</c:v>
                </c:pt>
                <c:pt idx="39">
                  <c:v>41841</c:v>
                </c:pt>
                <c:pt idx="40">
                  <c:v>41842</c:v>
                </c:pt>
                <c:pt idx="41">
                  <c:v>41843</c:v>
                </c:pt>
                <c:pt idx="42">
                  <c:v>41844</c:v>
                </c:pt>
                <c:pt idx="43">
                  <c:v>41845</c:v>
                </c:pt>
                <c:pt idx="44">
                  <c:v>41848</c:v>
                </c:pt>
                <c:pt idx="45">
                  <c:v>41849</c:v>
                </c:pt>
                <c:pt idx="46">
                  <c:v>41850</c:v>
                </c:pt>
                <c:pt idx="47">
                  <c:v>41851</c:v>
                </c:pt>
                <c:pt idx="48">
                  <c:v>41852</c:v>
                </c:pt>
                <c:pt idx="49">
                  <c:v>41855</c:v>
                </c:pt>
                <c:pt idx="50">
                  <c:v>41856</c:v>
                </c:pt>
                <c:pt idx="51">
                  <c:v>41857</c:v>
                </c:pt>
                <c:pt idx="52">
                  <c:v>41858</c:v>
                </c:pt>
                <c:pt idx="53">
                  <c:v>41859</c:v>
                </c:pt>
                <c:pt idx="54">
                  <c:v>41862</c:v>
                </c:pt>
                <c:pt idx="55">
                  <c:v>41863</c:v>
                </c:pt>
                <c:pt idx="56">
                  <c:v>41864</c:v>
                </c:pt>
                <c:pt idx="57">
                  <c:v>41865</c:v>
                </c:pt>
                <c:pt idx="58">
                  <c:v>41866</c:v>
                </c:pt>
                <c:pt idx="59">
                  <c:v>41869</c:v>
                </c:pt>
                <c:pt idx="60">
                  <c:v>41870</c:v>
                </c:pt>
                <c:pt idx="61">
                  <c:v>41871</c:v>
                </c:pt>
                <c:pt idx="62">
                  <c:v>41872</c:v>
                </c:pt>
                <c:pt idx="63">
                  <c:v>41873</c:v>
                </c:pt>
                <c:pt idx="64">
                  <c:v>41876</c:v>
                </c:pt>
                <c:pt idx="65">
                  <c:v>41877</c:v>
                </c:pt>
                <c:pt idx="66">
                  <c:v>41878</c:v>
                </c:pt>
                <c:pt idx="67">
                  <c:v>41879</c:v>
                </c:pt>
                <c:pt idx="68">
                  <c:v>41880</c:v>
                </c:pt>
                <c:pt idx="69">
                  <c:v>41883</c:v>
                </c:pt>
                <c:pt idx="70">
                  <c:v>41884</c:v>
                </c:pt>
                <c:pt idx="71">
                  <c:v>41885</c:v>
                </c:pt>
                <c:pt idx="72">
                  <c:v>41886</c:v>
                </c:pt>
                <c:pt idx="73">
                  <c:v>41887</c:v>
                </c:pt>
                <c:pt idx="74">
                  <c:v>41890</c:v>
                </c:pt>
                <c:pt idx="75">
                  <c:v>41891</c:v>
                </c:pt>
                <c:pt idx="76">
                  <c:v>41892</c:v>
                </c:pt>
                <c:pt idx="77">
                  <c:v>41893</c:v>
                </c:pt>
                <c:pt idx="78">
                  <c:v>41894</c:v>
                </c:pt>
                <c:pt idx="79">
                  <c:v>41897</c:v>
                </c:pt>
                <c:pt idx="80">
                  <c:v>41898</c:v>
                </c:pt>
                <c:pt idx="81">
                  <c:v>41899</c:v>
                </c:pt>
                <c:pt idx="82">
                  <c:v>41900</c:v>
                </c:pt>
                <c:pt idx="83">
                  <c:v>41901</c:v>
                </c:pt>
                <c:pt idx="84">
                  <c:v>41904</c:v>
                </c:pt>
                <c:pt idx="85">
                  <c:v>41905</c:v>
                </c:pt>
                <c:pt idx="86">
                  <c:v>41906</c:v>
                </c:pt>
                <c:pt idx="87">
                  <c:v>41907</c:v>
                </c:pt>
                <c:pt idx="88">
                  <c:v>41908</c:v>
                </c:pt>
                <c:pt idx="89">
                  <c:v>41911</c:v>
                </c:pt>
                <c:pt idx="90">
                  <c:v>41912</c:v>
                </c:pt>
                <c:pt idx="91">
                  <c:v>41913</c:v>
                </c:pt>
                <c:pt idx="92">
                  <c:v>41914</c:v>
                </c:pt>
                <c:pt idx="93">
                  <c:v>41915</c:v>
                </c:pt>
                <c:pt idx="94">
                  <c:v>41918</c:v>
                </c:pt>
                <c:pt idx="95">
                  <c:v>41919</c:v>
                </c:pt>
                <c:pt idx="96">
                  <c:v>41920</c:v>
                </c:pt>
                <c:pt idx="97">
                  <c:v>41921</c:v>
                </c:pt>
                <c:pt idx="98">
                  <c:v>41922</c:v>
                </c:pt>
                <c:pt idx="99">
                  <c:v>41925</c:v>
                </c:pt>
                <c:pt idx="100">
                  <c:v>41926</c:v>
                </c:pt>
                <c:pt idx="101">
                  <c:v>41927</c:v>
                </c:pt>
                <c:pt idx="102">
                  <c:v>41928</c:v>
                </c:pt>
                <c:pt idx="103">
                  <c:v>41929</c:v>
                </c:pt>
                <c:pt idx="104">
                  <c:v>41932</c:v>
                </c:pt>
                <c:pt idx="105">
                  <c:v>41933</c:v>
                </c:pt>
                <c:pt idx="106">
                  <c:v>41934</c:v>
                </c:pt>
                <c:pt idx="107">
                  <c:v>41935</c:v>
                </c:pt>
                <c:pt idx="108">
                  <c:v>41936</c:v>
                </c:pt>
                <c:pt idx="109">
                  <c:v>41939</c:v>
                </c:pt>
                <c:pt idx="110">
                  <c:v>41940</c:v>
                </c:pt>
                <c:pt idx="111">
                  <c:v>41941</c:v>
                </c:pt>
                <c:pt idx="112">
                  <c:v>41942</c:v>
                </c:pt>
                <c:pt idx="113">
                  <c:v>41943</c:v>
                </c:pt>
                <c:pt idx="114">
                  <c:v>41946</c:v>
                </c:pt>
                <c:pt idx="115">
                  <c:v>41947</c:v>
                </c:pt>
                <c:pt idx="116">
                  <c:v>41948</c:v>
                </c:pt>
                <c:pt idx="117">
                  <c:v>41949</c:v>
                </c:pt>
                <c:pt idx="118">
                  <c:v>41950</c:v>
                </c:pt>
                <c:pt idx="119">
                  <c:v>41953</c:v>
                </c:pt>
                <c:pt idx="120">
                  <c:v>41954</c:v>
                </c:pt>
                <c:pt idx="121">
                  <c:v>41955</c:v>
                </c:pt>
                <c:pt idx="122">
                  <c:v>41956</c:v>
                </c:pt>
                <c:pt idx="123">
                  <c:v>41957</c:v>
                </c:pt>
                <c:pt idx="124">
                  <c:v>41960</c:v>
                </c:pt>
                <c:pt idx="125">
                  <c:v>41961</c:v>
                </c:pt>
                <c:pt idx="126">
                  <c:v>41962</c:v>
                </c:pt>
                <c:pt idx="127">
                  <c:v>41963</c:v>
                </c:pt>
                <c:pt idx="128">
                  <c:v>41964</c:v>
                </c:pt>
                <c:pt idx="129">
                  <c:v>41967</c:v>
                </c:pt>
                <c:pt idx="130">
                  <c:v>41968</c:v>
                </c:pt>
                <c:pt idx="131">
                  <c:v>41969</c:v>
                </c:pt>
                <c:pt idx="132">
                  <c:v>41970</c:v>
                </c:pt>
                <c:pt idx="133">
                  <c:v>41971</c:v>
                </c:pt>
                <c:pt idx="134">
                  <c:v>41974</c:v>
                </c:pt>
                <c:pt idx="135">
                  <c:v>41975</c:v>
                </c:pt>
                <c:pt idx="136">
                  <c:v>41976</c:v>
                </c:pt>
                <c:pt idx="137">
                  <c:v>41977</c:v>
                </c:pt>
                <c:pt idx="138">
                  <c:v>41978</c:v>
                </c:pt>
                <c:pt idx="139">
                  <c:v>41981</c:v>
                </c:pt>
                <c:pt idx="140">
                  <c:v>41982</c:v>
                </c:pt>
                <c:pt idx="141">
                  <c:v>41983</c:v>
                </c:pt>
                <c:pt idx="142">
                  <c:v>41984</c:v>
                </c:pt>
                <c:pt idx="143">
                  <c:v>41985</c:v>
                </c:pt>
                <c:pt idx="144">
                  <c:v>41988</c:v>
                </c:pt>
                <c:pt idx="145">
                  <c:v>41989</c:v>
                </c:pt>
                <c:pt idx="146">
                  <c:v>41990</c:v>
                </c:pt>
                <c:pt idx="147">
                  <c:v>41991</c:v>
                </c:pt>
                <c:pt idx="148">
                  <c:v>41992</c:v>
                </c:pt>
                <c:pt idx="149">
                  <c:v>41995</c:v>
                </c:pt>
                <c:pt idx="150">
                  <c:v>41996</c:v>
                </c:pt>
                <c:pt idx="151">
                  <c:v>41997</c:v>
                </c:pt>
                <c:pt idx="152">
                  <c:v>41998</c:v>
                </c:pt>
                <c:pt idx="153">
                  <c:v>41999</c:v>
                </c:pt>
                <c:pt idx="154">
                  <c:v>42002</c:v>
                </c:pt>
                <c:pt idx="155">
                  <c:v>42003</c:v>
                </c:pt>
                <c:pt idx="156">
                  <c:v>42004</c:v>
                </c:pt>
                <c:pt idx="157">
                  <c:v>42005</c:v>
                </c:pt>
                <c:pt idx="158">
                  <c:v>42006</c:v>
                </c:pt>
                <c:pt idx="159">
                  <c:v>42009</c:v>
                </c:pt>
                <c:pt idx="160">
                  <c:v>42010</c:v>
                </c:pt>
                <c:pt idx="161">
                  <c:v>42011</c:v>
                </c:pt>
                <c:pt idx="162">
                  <c:v>42012</c:v>
                </c:pt>
                <c:pt idx="163">
                  <c:v>42013</c:v>
                </c:pt>
                <c:pt idx="164">
                  <c:v>42016</c:v>
                </c:pt>
                <c:pt idx="165">
                  <c:v>42017</c:v>
                </c:pt>
                <c:pt idx="166">
                  <c:v>42018</c:v>
                </c:pt>
                <c:pt idx="167">
                  <c:v>42019</c:v>
                </c:pt>
                <c:pt idx="168">
                  <c:v>42020</c:v>
                </c:pt>
                <c:pt idx="169">
                  <c:v>42023</c:v>
                </c:pt>
                <c:pt idx="170">
                  <c:v>42024</c:v>
                </c:pt>
                <c:pt idx="171">
                  <c:v>42025</c:v>
                </c:pt>
                <c:pt idx="172">
                  <c:v>42026</c:v>
                </c:pt>
                <c:pt idx="173">
                  <c:v>42027</c:v>
                </c:pt>
                <c:pt idx="174">
                  <c:v>42030</c:v>
                </c:pt>
                <c:pt idx="175">
                  <c:v>42031</c:v>
                </c:pt>
                <c:pt idx="176">
                  <c:v>42032</c:v>
                </c:pt>
                <c:pt idx="177">
                  <c:v>42033</c:v>
                </c:pt>
                <c:pt idx="178">
                  <c:v>42034</c:v>
                </c:pt>
                <c:pt idx="179">
                  <c:v>42037</c:v>
                </c:pt>
                <c:pt idx="180">
                  <c:v>42038</c:v>
                </c:pt>
                <c:pt idx="181">
                  <c:v>42039</c:v>
                </c:pt>
                <c:pt idx="182">
                  <c:v>42040</c:v>
                </c:pt>
                <c:pt idx="183">
                  <c:v>42041</c:v>
                </c:pt>
                <c:pt idx="184">
                  <c:v>42044</c:v>
                </c:pt>
                <c:pt idx="185">
                  <c:v>42045</c:v>
                </c:pt>
                <c:pt idx="186">
                  <c:v>42046</c:v>
                </c:pt>
                <c:pt idx="187">
                  <c:v>42047</c:v>
                </c:pt>
                <c:pt idx="188">
                  <c:v>42048</c:v>
                </c:pt>
                <c:pt idx="189">
                  <c:v>42051</c:v>
                </c:pt>
                <c:pt idx="190">
                  <c:v>42052</c:v>
                </c:pt>
                <c:pt idx="191">
                  <c:v>42053</c:v>
                </c:pt>
                <c:pt idx="192">
                  <c:v>42054</c:v>
                </c:pt>
                <c:pt idx="193">
                  <c:v>42055</c:v>
                </c:pt>
                <c:pt idx="194">
                  <c:v>42058</c:v>
                </c:pt>
                <c:pt idx="195">
                  <c:v>42059</c:v>
                </c:pt>
                <c:pt idx="196">
                  <c:v>42060</c:v>
                </c:pt>
                <c:pt idx="197">
                  <c:v>42061</c:v>
                </c:pt>
                <c:pt idx="198">
                  <c:v>42062</c:v>
                </c:pt>
                <c:pt idx="199">
                  <c:v>42065</c:v>
                </c:pt>
                <c:pt idx="200">
                  <c:v>42066</c:v>
                </c:pt>
                <c:pt idx="201">
                  <c:v>42067</c:v>
                </c:pt>
                <c:pt idx="202">
                  <c:v>42068</c:v>
                </c:pt>
                <c:pt idx="203">
                  <c:v>42069</c:v>
                </c:pt>
                <c:pt idx="204">
                  <c:v>42072</c:v>
                </c:pt>
                <c:pt idx="205">
                  <c:v>42073</c:v>
                </c:pt>
                <c:pt idx="206">
                  <c:v>42074</c:v>
                </c:pt>
                <c:pt idx="207">
                  <c:v>42075</c:v>
                </c:pt>
                <c:pt idx="208">
                  <c:v>42076</c:v>
                </c:pt>
                <c:pt idx="209">
                  <c:v>42079</c:v>
                </c:pt>
                <c:pt idx="210">
                  <c:v>42080</c:v>
                </c:pt>
                <c:pt idx="211">
                  <c:v>42081</c:v>
                </c:pt>
                <c:pt idx="212">
                  <c:v>42082</c:v>
                </c:pt>
                <c:pt idx="213">
                  <c:v>42083</c:v>
                </c:pt>
                <c:pt idx="214">
                  <c:v>42086</c:v>
                </c:pt>
                <c:pt idx="215">
                  <c:v>42087</c:v>
                </c:pt>
                <c:pt idx="216">
                  <c:v>42088</c:v>
                </c:pt>
                <c:pt idx="217">
                  <c:v>42089</c:v>
                </c:pt>
                <c:pt idx="218">
                  <c:v>42090</c:v>
                </c:pt>
                <c:pt idx="219">
                  <c:v>42093</c:v>
                </c:pt>
                <c:pt idx="220">
                  <c:v>42094</c:v>
                </c:pt>
                <c:pt idx="221">
                  <c:v>42095</c:v>
                </c:pt>
                <c:pt idx="222">
                  <c:v>42096</c:v>
                </c:pt>
                <c:pt idx="223">
                  <c:v>42097</c:v>
                </c:pt>
                <c:pt idx="224">
                  <c:v>42100</c:v>
                </c:pt>
                <c:pt idx="225">
                  <c:v>42101</c:v>
                </c:pt>
                <c:pt idx="226">
                  <c:v>42102</c:v>
                </c:pt>
                <c:pt idx="227">
                  <c:v>42103</c:v>
                </c:pt>
                <c:pt idx="228">
                  <c:v>42104</c:v>
                </c:pt>
                <c:pt idx="229">
                  <c:v>42107</c:v>
                </c:pt>
                <c:pt idx="230">
                  <c:v>42108</c:v>
                </c:pt>
                <c:pt idx="231">
                  <c:v>42109</c:v>
                </c:pt>
                <c:pt idx="232">
                  <c:v>42110</c:v>
                </c:pt>
                <c:pt idx="233">
                  <c:v>42111</c:v>
                </c:pt>
                <c:pt idx="234">
                  <c:v>42114</c:v>
                </c:pt>
                <c:pt idx="235">
                  <c:v>42115</c:v>
                </c:pt>
                <c:pt idx="236">
                  <c:v>42116</c:v>
                </c:pt>
                <c:pt idx="237">
                  <c:v>42117</c:v>
                </c:pt>
                <c:pt idx="238">
                  <c:v>42118</c:v>
                </c:pt>
                <c:pt idx="239">
                  <c:v>42121</c:v>
                </c:pt>
                <c:pt idx="240">
                  <c:v>42122</c:v>
                </c:pt>
                <c:pt idx="241">
                  <c:v>42123</c:v>
                </c:pt>
                <c:pt idx="242">
                  <c:v>42124</c:v>
                </c:pt>
                <c:pt idx="243">
                  <c:v>42125</c:v>
                </c:pt>
                <c:pt idx="244">
                  <c:v>42128</c:v>
                </c:pt>
                <c:pt idx="245">
                  <c:v>42129</c:v>
                </c:pt>
                <c:pt idx="246">
                  <c:v>42130</c:v>
                </c:pt>
                <c:pt idx="247">
                  <c:v>42131</c:v>
                </c:pt>
                <c:pt idx="248">
                  <c:v>42132</c:v>
                </c:pt>
                <c:pt idx="249">
                  <c:v>42135</c:v>
                </c:pt>
                <c:pt idx="250">
                  <c:v>42136</c:v>
                </c:pt>
                <c:pt idx="251">
                  <c:v>42137</c:v>
                </c:pt>
                <c:pt idx="252">
                  <c:v>42138</c:v>
                </c:pt>
                <c:pt idx="253">
                  <c:v>42139</c:v>
                </c:pt>
                <c:pt idx="254">
                  <c:v>42142</c:v>
                </c:pt>
                <c:pt idx="255">
                  <c:v>42143</c:v>
                </c:pt>
                <c:pt idx="256">
                  <c:v>42144</c:v>
                </c:pt>
                <c:pt idx="257">
                  <c:v>42145</c:v>
                </c:pt>
                <c:pt idx="258">
                  <c:v>42146</c:v>
                </c:pt>
                <c:pt idx="259">
                  <c:v>42149</c:v>
                </c:pt>
                <c:pt idx="260">
                  <c:v>42150</c:v>
                </c:pt>
                <c:pt idx="261">
                  <c:v>42151</c:v>
                </c:pt>
                <c:pt idx="262">
                  <c:v>42152</c:v>
                </c:pt>
                <c:pt idx="263">
                  <c:v>42153</c:v>
                </c:pt>
                <c:pt idx="264">
                  <c:v>42156</c:v>
                </c:pt>
                <c:pt idx="265">
                  <c:v>42157</c:v>
                </c:pt>
                <c:pt idx="266">
                  <c:v>42158</c:v>
                </c:pt>
                <c:pt idx="267">
                  <c:v>42159</c:v>
                </c:pt>
                <c:pt idx="268">
                  <c:v>42160</c:v>
                </c:pt>
                <c:pt idx="269">
                  <c:v>42163</c:v>
                </c:pt>
                <c:pt idx="270">
                  <c:v>42164</c:v>
                </c:pt>
                <c:pt idx="271">
                  <c:v>42165</c:v>
                </c:pt>
                <c:pt idx="272">
                  <c:v>42166</c:v>
                </c:pt>
                <c:pt idx="273">
                  <c:v>42167</c:v>
                </c:pt>
                <c:pt idx="274">
                  <c:v>42170</c:v>
                </c:pt>
                <c:pt idx="275">
                  <c:v>42171</c:v>
                </c:pt>
                <c:pt idx="276">
                  <c:v>42172</c:v>
                </c:pt>
                <c:pt idx="277">
                  <c:v>42173</c:v>
                </c:pt>
                <c:pt idx="278">
                  <c:v>42174</c:v>
                </c:pt>
                <c:pt idx="279">
                  <c:v>42177</c:v>
                </c:pt>
                <c:pt idx="280">
                  <c:v>42178</c:v>
                </c:pt>
                <c:pt idx="281">
                  <c:v>42179</c:v>
                </c:pt>
                <c:pt idx="282">
                  <c:v>42180</c:v>
                </c:pt>
                <c:pt idx="283">
                  <c:v>42181</c:v>
                </c:pt>
                <c:pt idx="284">
                  <c:v>42184</c:v>
                </c:pt>
                <c:pt idx="285">
                  <c:v>42185</c:v>
                </c:pt>
                <c:pt idx="286">
                  <c:v>42186</c:v>
                </c:pt>
                <c:pt idx="287">
                  <c:v>42187</c:v>
                </c:pt>
                <c:pt idx="288">
                  <c:v>42188</c:v>
                </c:pt>
                <c:pt idx="289">
                  <c:v>42191</c:v>
                </c:pt>
                <c:pt idx="290">
                  <c:v>42192</c:v>
                </c:pt>
                <c:pt idx="291">
                  <c:v>42193</c:v>
                </c:pt>
                <c:pt idx="292">
                  <c:v>42194</c:v>
                </c:pt>
                <c:pt idx="293">
                  <c:v>42195</c:v>
                </c:pt>
                <c:pt idx="294">
                  <c:v>42198</c:v>
                </c:pt>
                <c:pt idx="295">
                  <c:v>42199</c:v>
                </c:pt>
                <c:pt idx="296">
                  <c:v>42200</c:v>
                </c:pt>
                <c:pt idx="297">
                  <c:v>42201</c:v>
                </c:pt>
                <c:pt idx="298">
                  <c:v>42202</c:v>
                </c:pt>
                <c:pt idx="299">
                  <c:v>42205</c:v>
                </c:pt>
                <c:pt idx="300">
                  <c:v>42206</c:v>
                </c:pt>
                <c:pt idx="301">
                  <c:v>42207</c:v>
                </c:pt>
                <c:pt idx="302">
                  <c:v>42208</c:v>
                </c:pt>
                <c:pt idx="303">
                  <c:v>42209</c:v>
                </c:pt>
                <c:pt idx="304">
                  <c:v>42212</c:v>
                </c:pt>
                <c:pt idx="305">
                  <c:v>42213</c:v>
                </c:pt>
                <c:pt idx="306">
                  <c:v>42214</c:v>
                </c:pt>
                <c:pt idx="307">
                  <c:v>42215</c:v>
                </c:pt>
                <c:pt idx="308">
                  <c:v>42216</c:v>
                </c:pt>
                <c:pt idx="309">
                  <c:v>42219</c:v>
                </c:pt>
                <c:pt idx="310">
                  <c:v>42220</c:v>
                </c:pt>
                <c:pt idx="311">
                  <c:v>42221</c:v>
                </c:pt>
                <c:pt idx="312">
                  <c:v>42222</c:v>
                </c:pt>
                <c:pt idx="313">
                  <c:v>42223</c:v>
                </c:pt>
                <c:pt idx="314">
                  <c:v>42226</c:v>
                </c:pt>
                <c:pt idx="315">
                  <c:v>42227</c:v>
                </c:pt>
                <c:pt idx="316">
                  <c:v>42228</c:v>
                </c:pt>
                <c:pt idx="317">
                  <c:v>42229</c:v>
                </c:pt>
                <c:pt idx="318">
                  <c:v>42230</c:v>
                </c:pt>
                <c:pt idx="319">
                  <c:v>42233</c:v>
                </c:pt>
                <c:pt idx="320">
                  <c:v>42234</c:v>
                </c:pt>
                <c:pt idx="321">
                  <c:v>42235</c:v>
                </c:pt>
                <c:pt idx="322">
                  <c:v>42236</c:v>
                </c:pt>
                <c:pt idx="323">
                  <c:v>42237</c:v>
                </c:pt>
                <c:pt idx="324">
                  <c:v>42240</c:v>
                </c:pt>
                <c:pt idx="325">
                  <c:v>42241</c:v>
                </c:pt>
                <c:pt idx="326">
                  <c:v>42242</c:v>
                </c:pt>
                <c:pt idx="327">
                  <c:v>42243</c:v>
                </c:pt>
                <c:pt idx="328">
                  <c:v>42244</c:v>
                </c:pt>
                <c:pt idx="329">
                  <c:v>42247</c:v>
                </c:pt>
                <c:pt idx="330">
                  <c:v>42248</c:v>
                </c:pt>
                <c:pt idx="331">
                  <c:v>42249</c:v>
                </c:pt>
                <c:pt idx="332">
                  <c:v>42250</c:v>
                </c:pt>
                <c:pt idx="333">
                  <c:v>42251</c:v>
                </c:pt>
                <c:pt idx="334">
                  <c:v>42254</c:v>
                </c:pt>
                <c:pt idx="335">
                  <c:v>42255</c:v>
                </c:pt>
                <c:pt idx="336">
                  <c:v>42256</c:v>
                </c:pt>
                <c:pt idx="337">
                  <c:v>42257</c:v>
                </c:pt>
                <c:pt idx="338">
                  <c:v>42258</c:v>
                </c:pt>
                <c:pt idx="339">
                  <c:v>42261</c:v>
                </c:pt>
                <c:pt idx="340">
                  <c:v>42262</c:v>
                </c:pt>
                <c:pt idx="341">
                  <c:v>42263</c:v>
                </c:pt>
                <c:pt idx="342">
                  <c:v>42264</c:v>
                </c:pt>
                <c:pt idx="343">
                  <c:v>42265</c:v>
                </c:pt>
                <c:pt idx="344">
                  <c:v>42268</c:v>
                </c:pt>
                <c:pt idx="345">
                  <c:v>42269</c:v>
                </c:pt>
                <c:pt idx="346">
                  <c:v>42270</c:v>
                </c:pt>
                <c:pt idx="347">
                  <c:v>42271</c:v>
                </c:pt>
                <c:pt idx="348">
                  <c:v>42272</c:v>
                </c:pt>
                <c:pt idx="349">
                  <c:v>42275</c:v>
                </c:pt>
                <c:pt idx="350">
                  <c:v>42276</c:v>
                </c:pt>
                <c:pt idx="351">
                  <c:v>42277</c:v>
                </c:pt>
                <c:pt idx="352">
                  <c:v>42278</c:v>
                </c:pt>
                <c:pt idx="353">
                  <c:v>42279</c:v>
                </c:pt>
                <c:pt idx="354">
                  <c:v>42282</c:v>
                </c:pt>
                <c:pt idx="355">
                  <c:v>42283</c:v>
                </c:pt>
                <c:pt idx="356">
                  <c:v>42284</c:v>
                </c:pt>
                <c:pt idx="357">
                  <c:v>42285</c:v>
                </c:pt>
                <c:pt idx="358">
                  <c:v>42286</c:v>
                </c:pt>
                <c:pt idx="359">
                  <c:v>42289</c:v>
                </c:pt>
                <c:pt idx="360">
                  <c:v>42290</c:v>
                </c:pt>
                <c:pt idx="361">
                  <c:v>42291</c:v>
                </c:pt>
                <c:pt idx="362">
                  <c:v>42292</c:v>
                </c:pt>
                <c:pt idx="363">
                  <c:v>42293</c:v>
                </c:pt>
                <c:pt idx="364">
                  <c:v>42296</c:v>
                </c:pt>
                <c:pt idx="365">
                  <c:v>42297</c:v>
                </c:pt>
                <c:pt idx="366">
                  <c:v>42298</c:v>
                </c:pt>
                <c:pt idx="367">
                  <c:v>42299</c:v>
                </c:pt>
                <c:pt idx="368">
                  <c:v>42300</c:v>
                </c:pt>
                <c:pt idx="369">
                  <c:v>42303</c:v>
                </c:pt>
                <c:pt idx="370">
                  <c:v>42304</c:v>
                </c:pt>
                <c:pt idx="371">
                  <c:v>42305</c:v>
                </c:pt>
                <c:pt idx="372">
                  <c:v>42306</c:v>
                </c:pt>
                <c:pt idx="373">
                  <c:v>42307</c:v>
                </c:pt>
                <c:pt idx="374">
                  <c:v>42310</c:v>
                </c:pt>
                <c:pt idx="375">
                  <c:v>42311</c:v>
                </c:pt>
                <c:pt idx="376">
                  <c:v>42312</c:v>
                </c:pt>
                <c:pt idx="377">
                  <c:v>42313</c:v>
                </c:pt>
                <c:pt idx="378">
                  <c:v>42314</c:v>
                </c:pt>
                <c:pt idx="379">
                  <c:v>42317</c:v>
                </c:pt>
                <c:pt idx="380">
                  <c:v>42318</c:v>
                </c:pt>
                <c:pt idx="381">
                  <c:v>42319</c:v>
                </c:pt>
                <c:pt idx="382">
                  <c:v>42320</c:v>
                </c:pt>
                <c:pt idx="383">
                  <c:v>42321</c:v>
                </c:pt>
                <c:pt idx="384">
                  <c:v>42324</c:v>
                </c:pt>
                <c:pt idx="385">
                  <c:v>42325</c:v>
                </c:pt>
                <c:pt idx="386">
                  <c:v>42326</c:v>
                </c:pt>
                <c:pt idx="387">
                  <c:v>42327</c:v>
                </c:pt>
                <c:pt idx="388">
                  <c:v>42328</c:v>
                </c:pt>
                <c:pt idx="389">
                  <c:v>42331</c:v>
                </c:pt>
                <c:pt idx="390">
                  <c:v>42332</c:v>
                </c:pt>
                <c:pt idx="391">
                  <c:v>42333</c:v>
                </c:pt>
                <c:pt idx="392">
                  <c:v>42334</c:v>
                </c:pt>
                <c:pt idx="393">
                  <c:v>42335</c:v>
                </c:pt>
                <c:pt idx="394">
                  <c:v>42338</c:v>
                </c:pt>
                <c:pt idx="395">
                  <c:v>42339</c:v>
                </c:pt>
                <c:pt idx="396">
                  <c:v>42340</c:v>
                </c:pt>
                <c:pt idx="397">
                  <c:v>42341</c:v>
                </c:pt>
                <c:pt idx="398">
                  <c:v>42342</c:v>
                </c:pt>
                <c:pt idx="399">
                  <c:v>42345</c:v>
                </c:pt>
                <c:pt idx="400">
                  <c:v>42346</c:v>
                </c:pt>
                <c:pt idx="401">
                  <c:v>42347</c:v>
                </c:pt>
                <c:pt idx="402">
                  <c:v>42348</c:v>
                </c:pt>
                <c:pt idx="403">
                  <c:v>42349</c:v>
                </c:pt>
                <c:pt idx="404">
                  <c:v>42352</c:v>
                </c:pt>
                <c:pt idx="405">
                  <c:v>42353</c:v>
                </c:pt>
                <c:pt idx="406">
                  <c:v>42354</c:v>
                </c:pt>
                <c:pt idx="407">
                  <c:v>42355</c:v>
                </c:pt>
                <c:pt idx="408">
                  <c:v>42356</c:v>
                </c:pt>
                <c:pt idx="409">
                  <c:v>42359</c:v>
                </c:pt>
                <c:pt idx="410">
                  <c:v>42360</c:v>
                </c:pt>
                <c:pt idx="411">
                  <c:v>42361</c:v>
                </c:pt>
                <c:pt idx="412">
                  <c:v>42362</c:v>
                </c:pt>
                <c:pt idx="413">
                  <c:v>42363</c:v>
                </c:pt>
                <c:pt idx="414">
                  <c:v>42366</c:v>
                </c:pt>
                <c:pt idx="415">
                  <c:v>42367</c:v>
                </c:pt>
                <c:pt idx="416">
                  <c:v>42368</c:v>
                </c:pt>
                <c:pt idx="417">
                  <c:v>42369</c:v>
                </c:pt>
                <c:pt idx="418">
                  <c:v>42370</c:v>
                </c:pt>
                <c:pt idx="419">
                  <c:v>42373</c:v>
                </c:pt>
                <c:pt idx="420">
                  <c:v>42374</c:v>
                </c:pt>
                <c:pt idx="421">
                  <c:v>42375</c:v>
                </c:pt>
                <c:pt idx="422">
                  <c:v>42376</c:v>
                </c:pt>
                <c:pt idx="423">
                  <c:v>42377</c:v>
                </c:pt>
                <c:pt idx="424">
                  <c:v>42380</c:v>
                </c:pt>
                <c:pt idx="425">
                  <c:v>42381</c:v>
                </c:pt>
                <c:pt idx="426">
                  <c:v>42382</c:v>
                </c:pt>
                <c:pt idx="427">
                  <c:v>42383</c:v>
                </c:pt>
                <c:pt idx="428">
                  <c:v>42384</c:v>
                </c:pt>
                <c:pt idx="429">
                  <c:v>42387</c:v>
                </c:pt>
                <c:pt idx="430">
                  <c:v>42388</c:v>
                </c:pt>
                <c:pt idx="431">
                  <c:v>42389</c:v>
                </c:pt>
                <c:pt idx="432">
                  <c:v>42390</c:v>
                </c:pt>
                <c:pt idx="433">
                  <c:v>42391</c:v>
                </c:pt>
                <c:pt idx="434">
                  <c:v>42394</c:v>
                </c:pt>
                <c:pt idx="435">
                  <c:v>42395</c:v>
                </c:pt>
                <c:pt idx="436">
                  <c:v>42396</c:v>
                </c:pt>
                <c:pt idx="437">
                  <c:v>42397</c:v>
                </c:pt>
                <c:pt idx="438">
                  <c:v>42398</c:v>
                </c:pt>
                <c:pt idx="439">
                  <c:v>42401</c:v>
                </c:pt>
                <c:pt idx="440">
                  <c:v>42402</c:v>
                </c:pt>
                <c:pt idx="441">
                  <c:v>42403</c:v>
                </c:pt>
                <c:pt idx="442">
                  <c:v>42404</c:v>
                </c:pt>
                <c:pt idx="443">
                  <c:v>42405</c:v>
                </c:pt>
                <c:pt idx="444">
                  <c:v>42408</c:v>
                </c:pt>
                <c:pt idx="445">
                  <c:v>42409</c:v>
                </c:pt>
                <c:pt idx="446">
                  <c:v>42410</c:v>
                </c:pt>
                <c:pt idx="447">
                  <c:v>42411</c:v>
                </c:pt>
                <c:pt idx="448">
                  <c:v>42412</c:v>
                </c:pt>
                <c:pt idx="449">
                  <c:v>42415</c:v>
                </c:pt>
                <c:pt idx="450">
                  <c:v>42416</c:v>
                </c:pt>
                <c:pt idx="451">
                  <c:v>42417</c:v>
                </c:pt>
                <c:pt idx="452">
                  <c:v>42418</c:v>
                </c:pt>
                <c:pt idx="453">
                  <c:v>42419</c:v>
                </c:pt>
                <c:pt idx="454">
                  <c:v>42422</c:v>
                </c:pt>
                <c:pt idx="455">
                  <c:v>42423</c:v>
                </c:pt>
                <c:pt idx="456">
                  <c:v>42424</c:v>
                </c:pt>
                <c:pt idx="457">
                  <c:v>42425</c:v>
                </c:pt>
                <c:pt idx="458">
                  <c:v>42426</c:v>
                </c:pt>
                <c:pt idx="459">
                  <c:v>42429</c:v>
                </c:pt>
                <c:pt idx="460">
                  <c:v>42430</c:v>
                </c:pt>
                <c:pt idx="461">
                  <c:v>42431</c:v>
                </c:pt>
                <c:pt idx="462">
                  <c:v>42432</c:v>
                </c:pt>
                <c:pt idx="463">
                  <c:v>42433</c:v>
                </c:pt>
                <c:pt idx="464">
                  <c:v>42436</c:v>
                </c:pt>
                <c:pt idx="465">
                  <c:v>42437</c:v>
                </c:pt>
                <c:pt idx="466">
                  <c:v>42438</c:v>
                </c:pt>
                <c:pt idx="467">
                  <c:v>42439</c:v>
                </c:pt>
                <c:pt idx="468">
                  <c:v>42440</c:v>
                </c:pt>
                <c:pt idx="469">
                  <c:v>42443</c:v>
                </c:pt>
                <c:pt idx="470">
                  <c:v>42444</c:v>
                </c:pt>
                <c:pt idx="471">
                  <c:v>42445</c:v>
                </c:pt>
                <c:pt idx="472">
                  <c:v>42446</c:v>
                </c:pt>
                <c:pt idx="473">
                  <c:v>42447</c:v>
                </c:pt>
                <c:pt idx="474">
                  <c:v>42450</c:v>
                </c:pt>
                <c:pt idx="475">
                  <c:v>42451</c:v>
                </c:pt>
                <c:pt idx="476">
                  <c:v>42452</c:v>
                </c:pt>
                <c:pt idx="477">
                  <c:v>42453</c:v>
                </c:pt>
                <c:pt idx="478">
                  <c:v>42454</c:v>
                </c:pt>
                <c:pt idx="479">
                  <c:v>42457</c:v>
                </c:pt>
                <c:pt idx="480">
                  <c:v>42458</c:v>
                </c:pt>
                <c:pt idx="481">
                  <c:v>42459</c:v>
                </c:pt>
                <c:pt idx="482">
                  <c:v>42460</c:v>
                </c:pt>
                <c:pt idx="483">
                  <c:v>42461</c:v>
                </c:pt>
                <c:pt idx="484">
                  <c:v>42464</c:v>
                </c:pt>
                <c:pt idx="485">
                  <c:v>42465</c:v>
                </c:pt>
                <c:pt idx="486">
                  <c:v>42466</c:v>
                </c:pt>
                <c:pt idx="487">
                  <c:v>42467</c:v>
                </c:pt>
                <c:pt idx="488">
                  <c:v>42468</c:v>
                </c:pt>
                <c:pt idx="489">
                  <c:v>42471</c:v>
                </c:pt>
                <c:pt idx="490">
                  <c:v>42472</c:v>
                </c:pt>
                <c:pt idx="491">
                  <c:v>42473</c:v>
                </c:pt>
                <c:pt idx="492">
                  <c:v>42474</c:v>
                </c:pt>
                <c:pt idx="493">
                  <c:v>42475</c:v>
                </c:pt>
                <c:pt idx="494">
                  <c:v>42478</c:v>
                </c:pt>
                <c:pt idx="495">
                  <c:v>42479</c:v>
                </c:pt>
                <c:pt idx="496">
                  <c:v>42480</c:v>
                </c:pt>
                <c:pt idx="497">
                  <c:v>42481</c:v>
                </c:pt>
                <c:pt idx="498">
                  <c:v>42482</c:v>
                </c:pt>
                <c:pt idx="499">
                  <c:v>42485</c:v>
                </c:pt>
                <c:pt idx="500">
                  <c:v>42486</c:v>
                </c:pt>
                <c:pt idx="501">
                  <c:v>42487</c:v>
                </c:pt>
                <c:pt idx="502">
                  <c:v>42488</c:v>
                </c:pt>
                <c:pt idx="503">
                  <c:v>42489</c:v>
                </c:pt>
                <c:pt idx="504">
                  <c:v>42492</c:v>
                </c:pt>
                <c:pt idx="505">
                  <c:v>42493</c:v>
                </c:pt>
                <c:pt idx="506">
                  <c:v>42494</c:v>
                </c:pt>
                <c:pt idx="507">
                  <c:v>42495</c:v>
                </c:pt>
                <c:pt idx="508">
                  <c:v>42496</c:v>
                </c:pt>
                <c:pt idx="509">
                  <c:v>42499</c:v>
                </c:pt>
                <c:pt idx="510">
                  <c:v>42500</c:v>
                </c:pt>
                <c:pt idx="511">
                  <c:v>42501</c:v>
                </c:pt>
                <c:pt idx="512">
                  <c:v>42502</c:v>
                </c:pt>
                <c:pt idx="513">
                  <c:v>42503</c:v>
                </c:pt>
                <c:pt idx="514">
                  <c:v>42506</c:v>
                </c:pt>
                <c:pt idx="515">
                  <c:v>42507</c:v>
                </c:pt>
                <c:pt idx="516">
                  <c:v>42508</c:v>
                </c:pt>
                <c:pt idx="517">
                  <c:v>42509</c:v>
                </c:pt>
                <c:pt idx="518">
                  <c:v>42510</c:v>
                </c:pt>
                <c:pt idx="519">
                  <c:v>42513</c:v>
                </c:pt>
                <c:pt idx="520">
                  <c:v>42514</c:v>
                </c:pt>
                <c:pt idx="521">
                  <c:v>42515</c:v>
                </c:pt>
                <c:pt idx="522">
                  <c:v>42516</c:v>
                </c:pt>
                <c:pt idx="523">
                  <c:v>42517</c:v>
                </c:pt>
                <c:pt idx="524">
                  <c:v>42520</c:v>
                </c:pt>
                <c:pt idx="525">
                  <c:v>42521</c:v>
                </c:pt>
                <c:pt idx="526">
                  <c:v>42522</c:v>
                </c:pt>
                <c:pt idx="527">
                  <c:v>42523</c:v>
                </c:pt>
                <c:pt idx="528">
                  <c:v>42524</c:v>
                </c:pt>
                <c:pt idx="529">
                  <c:v>42527</c:v>
                </c:pt>
                <c:pt idx="530">
                  <c:v>42528</c:v>
                </c:pt>
                <c:pt idx="531">
                  <c:v>42529</c:v>
                </c:pt>
                <c:pt idx="532">
                  <c:v>42530</c:v>
                </c:pt>
                <c:pt idx="533">
                  <c:v>42531</c:v>
                </c:pt>
                <c:pt idx="534">
                  <c:v>42534</c:v>
                </c:pt>
                <c:pt idx="535">
                  <c:v>42535</c:v>
                </c:pt>
                <c:pt idx="536">
                  <c:v>42536</c:v>
                </c:pt>
                <c:pt idx="537">
                  <c:v>42537</c:v>
                </c:pt>
                <c:pt idx="538">
                  <c:v>42538</c:v>
                </c:pt>
                <c:pt idx="539">
                  <c:v>42541</c:v>
                </c:pt>
                <c:pt idx="540">
                  <c:v>42542</c:v>
                </c:pt>
                <c:pt idx="541">
                  <c:v>42543</c:v>
                </c:pt>
                <c:pt idx="542">
                  <c:v>42544</c:v>
                </c:pt>
                <c:pt idx="543">
                  <c:v>42545</c:v>
                </c:pt>
                <c:pt idx="544">
                  <c:v>42548</c:v>
                </c:pt>
                <c:pt idx="545">
                  <c:v>42549</c:v>
                </c:pt>
                <c:pt idx="546">
                  <c:v>42550</c:v>
                </c:pt>
                <c:pt idx="547">
                  <c:v>42551</c:v>
                </c:pt>
                <c:pt idx="548">
                  <c:v>42552</c:v>
                </c:pt>
                <c:pt idx="549">
                  <c:v>42555</c:v>
                </c:pt>
                <c:pt idx="550">
                  <c:v>42556</c:v>
                </c:pt>
                <c:pt idx="551">
                  <c:v>42557</c:v>
                </c:pt>
                <c:pt idx="552">
                  <c:v>42558</c:v>
                </c:pt>
                <c:pt idx="553">
                  <c:v>42559</c:v>
                </c:pt>
                <c:pt idx="554">
                  <c:v>42562</c:v>
                </c:pt>
                <c:pt idx="555">
                  <c:v>42563</c:v>
                </c:pt>
                <c:pt idx="556">
                  <c:v>42564</c:v>
                </c:pt>
                <c:pt idx="557">
                  <c:v>42565</c:v>
                </c:pt>
                <c:pt idx="558">
                  <c:v>42566</c:v>
                </c:pt>
                <c:pt idx="559">
                  <c:v>42569</c:v>
                </c:pt>
                <c:pt idx="560">
                  <c:v>42570</c:v>
                </c:pt>
                <c:pt idx="561">
                  <c:v>42571</c:v>
                </c:pt>
                <c:pt idx="562">
                  <c:v>42572</c:v>
                </c:pt>
                <c:pt idx="563">
                  <c:v>42573</c:v>
                </c:pt>
                <c:pt idx="564">
                  <c:v>42576</c:v>
                </c:pt>
                <c:pt idx="565">
                  <c:v>42577</c:v>
                </c:pt>
                <c:pt idx="566">
                  <c:v>42578</c:v>
                </c:pt>
                <c:pt idx="567">
                  <c:v>42579</c:v>
                </c:pt>
                <c:pt idx="568">
                  <c:v>42580</c:v>
                </c:pt>
                <c:pt idx="569">
                  <c:v>42583</c:v>
                </c:pt>
                <c:pt idx="570">
                  <c:v>42584</c:v>
                </c:pt>
                <c:pt idx="571">
                  <c:v>42585</c:v>
                </c:pt>
                <c:pt idx="572">
                  <c:v>42586</c:v>
                </c:pt>
                <c:pt idx="573">
                  <c:v>42587</c:v>
                </c:pt>
                <c:pt idx="574">
                  <c:v>42590</c:v>
                </c:pt>
                <c:pt idx="575">
                  <c:v>42591</c:v>
                </c:pt>
                <c:pt idx="576">
                  <c:v>42592</c:v>
                </c:pt>
                <c:pt idx="577">
                  <c:v>42593</c:v>
                </c:pt>
                <c:pt idx="578">
                  <c:v>42594</c:v>
                </c:pt>
                <c:pt idx="579">
                  <c:v>42597</c:v>
                </c:pt>
                <c:pt idx="580">
                  <c:v>42598</c:v>
                </c:pt>
                <c:pt idx="581">
                  <c:v>42599</c:v>
                </c:pt>
                <c:pt idx="582">
                  <c:v>42600</c:v>
                </c:pt>
                <c:pt idx="583">
                  <c:v>42601</c:v>
                </c:pt>
                <c:pt idx="584">
                  <c:v>42604</c:v>
                </c:pt>
                <c:pt idx="585">
                  <c:v>42605</c:v>
                </c:pt>
                <c:pt idx="586">
                  <c:v>42606</c:v>
                </c:pt>
                <c:pt idx="587">
                  <c:v>42607</c:v>
                </c:pt>
                <c:pt idx="588">
                  <c:v>42608</c:v>
                </c:pt>
                <c:pt idx="589">
                  <c:v>42611</c:v>
                </c:pt>
                <c:pt idx="590">
                  <c:v>42612</c:v>
                </c:pt>
                <c:pt idx="591">
                  <c:v>42613</c:v>
                </c:pt>
                <c:pt idx="592">
                  <c:v>42614</c:v>
                </c:pt>
                <c:pt idx="593">
                  <c:v>42615</c:v>
                </c:pt>
                <c:pt idx="594">
                  <c:v>42618</c:v>
                </c:pt>
                <c:pt idx="595">
                  <c:v>42619</c:v>
                </c:pt>
                <c:pt idx="596">
                  <c:v>42620</c:v>
                </c:pt>
                <c:pt idx="597">
                  <c:v>42621</c:v>
                </c:pt>
                <c:pt idx="598">
                  <c:v>42622</c:v>
                </c:pt>
                <c:pt idx="599">
                  <c:v>42625</c:v>
                </c:pt>
                <c:pt idx="600">
                  <c:v>42626</c:v>
                </c:pt>
                <c:pt idx="601">
                  <c:v>42627</c:v>
                </c:pt>
                <c:pt idx="602">
                  <c:v>42628</c:v>
                </c:pt>
                <c:pt idx="603">
                  <c:v>42629</c:v>
                </c:pt>
                <c:pt idx="604">
                  <c:v>42632</c:v>
                </c:pt>
                <c:pt idx="605">
                  <c:v>42633</c:v>
                </c:pt>
                <c:pt idx="606">
                  <c:v>42634</c:v>
                </c:pt>
                <c:pt idx="607">
                  <c:v>42635</c:v>
                </c:pt>
                <c:pt idx="608">
                  <c:v>42636</c:v>
                </c:pt>
                <c:pt idx="609">
                  <c:v>42639</c:v>
                </c:pt>
                <c:pt idx="610">
                  <c:v>42640</c:v>
                </c:pt>
                <c:pt idx="611">
                  <c:v>42641</c:v>
                </c:pt>
                <c:pt idx="612">
                  <c:v>42642</c:v>
                </c:pt>
                <c:pt idx="613">
                  <c:v>42643</c:v>
                </c:pt>
                <c:pt idx="614">
                  <c:v>42646</c:v>
                </c:pt>
                <c:pt idx="615">
                  <c:v>42647</c:v>
                </c:pt>
                <c:pt idx="616">
                  <c:v>42648</c:v>
                </c:pt>
                <c:pt idx="617">
                  <c:v>42649</c:v>
                </c:pt>
                <c:pt idx="618">
                  <c:v>42650</c:v>
                </c:pt>
                <c:pt idx="619">
                  <c:v>42653</c:v>
                </c:pt>
                <c:pt idx="620">
                  <c:v>42654</c:v>
                </c:pt>
                <c:pt idx="621">
                  <c:v>42655</c:v>
                </c:pt>
                <c:pt idx="622">
                  <c:v>42656</c:v>
                </c:pt>
                <c:pt idx="623">
                  <c:v>42657</c:v>
                </c:pt>
                <c:pt idx="624">
                  <c:v>42660</c:v>
                </c:pt>
                <c:pt idx="625">
                  <c:v>42661</c:v>
                </c:pt>
                <c:pt idx="626">
                  <c:v>42662</c:v>
                </c:pt>
                <c:pt idx="627">
                  <c:v>42663</c:v>
                </c:pt>
                <c:pt idx="628">
                  <c:v>42664</c:v>
                </c:pt>
                <c:pt idx="629">
                  <c:v>42667</c:v>
                </c:pt>
                <c:pt idx="630">
                  <c:v>42668</c:v>
                </c:pt>
                <c:pt idx="631">
                  <c:v>42669</c:v>
                </c:pt>
                <c:pt idx="632">
                  <c:v>42670</c:v>
                </c:pt>
                <c:pt idx="633">
                  <c:v>42671</c:v>
                </c:pt>
                <c:pt idx="634">
                  <c:v>42674</c:v>
                </c:pt>
                <c:pt idx="635">
                  <c:v>42675</c:v>
                </c:pt>
                <c:pt idx="636">
                  <c:v>42676</c:v>
                </c:pt>
                <c:pt idx="637">
                  <c:v>42677</c:v>
                </c:pt>
                <c:pt idx="638">
                  <c:v>42678</c:v>
                </c:pt>
                <c:pt idx="639">
                  <c:v>42681</c:v>
                </c:pt>
                <c:pt idx="640">
                  <c:v>42682</c:v>
                </c:pt>
                <c:pt idx="641">
                  <c:v>42683</c:v>
                </c:pt>
                <c:pt idx="642">
                  <c:v>42684</c:v>
                </c:pt>
                <c:pt idx="643">
                  <c:v>42685</c:v>
                </c:pt>
                <c:pt idx="644">
                  <c:v>42688</c:v>
                </c:pt>
                <c:pt idx="645">
                  <c:v>42689</c:v>
                </c:pt>
                <c:pt idx="646">
                  <c:v>42690</c:v>
                </c:pt>
                <c:pt idx="647">
                  <c:v>42691</c:v>
                </c:pt>
                <c:pt idx="648">
                  <c:v>42692</c:v>
                </c:pt>
                <c:pt idx="649">
                  <c:v>42695</c:v>
                </c:pt>
                <c:pt idx="650">
                  <c:v>42696</c:v>
                </c:pt>
                <c:pt idx="651">
                  <c:v>42697</c:v>
                </c:pt>
                <c:pt idx="652">
                  <c:v>42698</c:v>
                </c:pt>
                <c:pt idx="653">
                  <c:v>42699</c:v>
                </c:pt>
                <c:pt idx="654">
                  <c:v>42702</c:v>
                </c:pt>
                <c:pt idx="655">
                  <c:v>42703</c:v>
                </c:pt>
                <c:pt idx="656">
                  <c:v>42704</c:v>
                </c:pt>
                <c:pt idx="657">
                  <c:v>42705</c:v>
                </c:pt>
                <c:pt idx="658">
                  <c:v>42706</c:v>
                </c:pt>
                <c:pt idx="659">
                  <c:v>42709</c:v>
                </c:pt>
                <c:pt idx="660">
                  <c:v>42710</c:v>
                </c:pt>
                <c:pt idx="661">
                  <c:v>42711</c:v>
                </c:pt>
                <c:pt idx="662">
                  <c:v>42712</c:v>
                </c:pt>
                <c:pt idx="663">
                  <c:v>42713</c:v>
                </c:pt>
                <c:pt idx="664">
                  <c:v>42716</c:v>
                </c:pt>
                <c:pt idx="665">
                  <c:v>42717</c:v>
                </c:pt>
                <c:pt idx="666">
                  <c:v>42718</c:v>
                </c:pt>
                <c:pt idx="667">
                  <c:v>42719</c:v>
                </c:pt>
                <c:pt idx="668">
                  <c:v>42720</c:v>
                </c:pt>
                <c:pt idx="669">
                  <c:v>42723</c:v>
                </c:pt>
                <c:pt idx="670">
                  <c:v>42724</c:v>
                </c:pt>
                <c:pt idx="671">
                  <c:v>42725</c:v>
                </c:pt>
                <c:pt idx="672">
                  <c:v>42726</c:v>
                </c:pt>
                <c:pt idx="673">
                  <c:v>42727</c:v>
                </c:pt>
                <c:pt idx="674">
                  <c:v>42730</c:v>
                </c:pt>
                <c:pt idx="675">
                  <c:v>42731</c:v>
                </c:pt>
                <c:pt idx="676">
                  <c:v>42732</c:v>
                </c:pt>
                <c:pt idx="677">
                  <c:v>42733</c:v>
                </c:pt>
                <c:pt idx="678">
                  <c:v>42734</c:v>
                </c:pt>
                <c:pt idx="679">
                  <c:v>42737</c:v>
                </c:pt>
                <c:pt idx="680">
                  <c:v>42738</c:v>
                </c:pt>
                <c:pt idx="681">
                  <c:v>42739</c:v>
                </c:pt>
                <c:pt idx="682">
                  <c:v>42740</c:v>
                </c:pt>
                <c:pt idx="683">
                  <c:v>42741</c:v>
                </c:pt>
                <c:pt idx="684">
                  <c:v>42744</c:v>
                </c:pt>
                <c:pt idx="685">
                  <c:v>42745</c:v>
                </c:pt>
                <c:pt idx="686">
                  <c:v>42746</c:v>
                </c:pt>
                <c:pt idx="687">
                  <c:v>42747</c:v>
                </c:pt>
                <c:pt idx="688">
                  <c:v>42748</c:v>
                </c:pt>
                <c:pt idx="689">
                  <c:v>42751</c:v>
                </c:pt>
                <c:pt idx="690">
                  <c:v>42752</c:v>
                </c:pt>
                <c:pt idx="691">
                  <c:v>42753</c:v>
                </c:pt>
                <c:pt idx="692">
                  <c:v>42754</c:v>
                </c:pt>
                <c:pt idx="693">
                  <c:v>42755</c:v>
                </c:pt>
                <c:pt idx="694">
                  <c:v>42758</c:v>
                </c:pt>
                <c:pt idx="695">
                  <c:v>42759</c:v>
                </c:pt>
                <c:pt idx="696">
                  <c:v>42760</c:v>
                </c:pt>
                <c:pt idx="697">
                  <c:v>42761</c:v>
                </c:pt>
                <c:pt idx="698">
                  <c:v>42762</c:v>
                </c:pt>
                <c:pt idx="699">
                  <c:v>42765</c:v>
                </c:pt>
                <c:pt idx="700">
                  <c:v>42766</c:v>
                </c:pt>
                <c:pt idx="701">
                  <c:v>42767</c:v>
                </c:pt>
                <c:pt idx="702">
                  <c:v>42768</c:v>
                </c:pt>
                <c:pt idx="703">
                  <c:v>42769</c:v>
                </c:pt>
                <c:pt idx="704">
                  <c:v>42772</c:v>
                </c:pt>
                <c:pt idx="705">
                  <c:v>42773</c:v>
                </c:pt>
                <c:pt idx="706">
                  <c:v>42774</c:v>
                </c:pt>
                <c:pt idx="707">
                  <c:v>42775</c:v>
                </c:pt>
                <c:pt idx="708">
                  <c:v>42776</c:v>
                </c:pt>
                <c:pt idx="709">
                  <c:v>42779</c:v>
                </c:pt>
                <c:pt idx="710">
                  <c:v>42780</c:v>
                </c:pt>
                <c:pt idx="711">
                  <c:v>42781</c:v>
                </c:pt>
                <c:pt idx="712">
                  <c:v>42782</c:v>
                </c:pt>
                <c:pt idx="713">
                  <c:v>42783</c:v>
                </c:pt>
                <c:pt idx="714">
                  <c:v>42786</c:v>
                </c:pt>
                <c:pt idx="715">
                  <c:v>42787</c:v>
                </c:pt>
                <c:pt idx="716">
                  <c:v>42788</c:v>
                </c:pt>
                <c:pt idx="717">
                  <c:v>42789</c:v>
                </c:pt>
                <c:pt idx="718">
                  <c:v>42790</c:v>
                </c:pt>
                <c:pt idx="719">
                  <c:v>42793</c:v>
                </c:pt>
                <c:pt idx="720">
                  <c:v>42794</c:v>
                </c:pt>
                <c:pt idx="721">
                  <c:v>42795</c:v>
                </c:pt>
                <c:pt idx="722">
                  <c:v>42796</c:v>
                </c:pt>
                <c:pt idx="723">
                  <c:v>42797</c:v>
                </c:pt>
                <c:pt idx="724">
                  <c:v>42800</c:v>
                </c:pt>
                <c:pt idx="725">
                  <c:v>42801</c:v>
                </c:pt>
                <c:pt idx="726">
                  <c:v>42802</c:v>
                </c:pt>
                <c:pt idx="727">
                  <c:v>42803</c:v>
                </c:pt>
                <c:pt idx="728">
                  <c:v>42804</c:v>
                </c:pt>
                <c:pt idx="729">
                  <c:v>42807</c:v>
                </c:pt>
                <c:pt idx="730">
                  <c:v>42808</c:v>
                </c:pt>
                <c:pt idx="731">
                  <c:v>42809</c:v>
                </c:pt>
                <c:pt idx="732">
                  <c:v>42810</c:v>
                </c:pt>
                <c:pt idx="733">
                  <c:v>42811</c:v>
                </c:pt>
                <c:pt idx="734">
                  <c:v>42814</c:v>
                </c:pt>
                <c:pt idx="735">
                  <c:v>42815</c:v>
                </c:pt>
                <c:pt idx="736">
                  <c:v>42816</c:v>
                </c:pt>
                <c:pt idx="737">
                  <c:v>42817</c:v>
                </c:pt>
                <c:pt idx="738">
                  <c:v>42818</c:v>
                </c:pt>
                <c:pt idx="739">
                  <c:v>42821</c:v>
                </c:pt>
                <c:pt idx="740">
                  <c:v>42822</c:v>
                </c:pt>
                <c:pt idx="741">
                  <c:v>42823</c:v>
                </c:pt>
                <c:pt idx="742">
                  <c:v>42824</c:v>
                </c:pt>
                <c:pt idx="743">
                  <c:v>42825</c:v>
                </c:pt>
                <c:pt idx="744">
                  <c:v>42828</c:v>
                </c:pt>
                <c:pt idx="745">
                  <c:v>42829</c:v>
                </c:pt>
                <c:pt idx="746">
                  <c:v>42830</c:v>
                </c:pt>
                <c:pt idx="747">
                  <c:v>42831</c:v>
                </c:pt>
                <c:pt idx="748">
                  <c:v>42832</c:v>
                </c:pt>
                <c:pt idx="749">
                  <c:v>42835</c:v>
                </c:pt>
                <c:pt idx="750">
                  <c:v>42836</c:v>
                </c:pt>
                <c:pt idx="751">
                  <c:v>42837</c:v>
                </c:pt>
                <c:pt idx="752">
                  <c:v>42838</c:v>
                </c:pt>
                <c:pt idx="753">
                  <c:v>42839</c:v>
                </c:pt>
                <c:pt idx="754">
                  <c:v>42842</c:v>
                </c:pt>
                <c:pt idx="755">
                  <c:v>42843</c:v>
                </c:pt>
                <c:pt idx="756">
                  <c:v>42844</c:v>
                </c:pt>
                <c:pt idx="757">
                  <c:v>42845</c:v>
                </c:pt>
                <c:pt idx="758">
                  <c:v>42846</c:v>
                </c:pt>
                <c:pt idx="759">
                  <c:v>42849</c:v>
                </c:pt>
                <c:pt idx="760">
                  <c:v>42850</c:v>
                </c:pt>
                <c:pt idx="761">
                  <c:v>42851</c:v>
                </c:pt>
                <c:pt idx="762">
                  <c:v>42852</c:v>
                </c:pt>
                <c:pt idx="763">
                  <c:v>42853</c:v>
                </c:pt>
                <c:pt idx="764">
                  <c:v>42856</c:v>
                </c:pt>
                <c:pt idx="765">
                  <c:v>42857</c:v>
                </c:pt>
                <c:pt idx="766">
                  <c:v>42858</c:v>
                </c:pt>
                <c:pt idx="767">
                  <c:v>42859</c:v>
                </c:pt>
                <c:pt idx="768">
                  <c:v>42860</c:v>
                </c:pt>
                <c:pt idx="769">
                  <c:v>42863</c:v>
                </c:pt>
                <c:pt idx="770">
                  <c:v>42864</c:v>
                </c:pt>
                <c:pt idx="771">
                  <c:v>42865</c:v>
                </c:pt>
                <c:pt idx="772">
                  <c:v>42866</c:v>
                </c:pt>
                <c:pt idx="773">
                  <c:v>42867</c:v>
                </c:pt>
                <c:pt idx="774">
                  <c:v>42870</c:v>
                </c:pt>
                <c:pt idx="775">
                  <c:v>42871</c:v>
                </c:pt>
                <c:pt idx="776">
                  <c:v>42872</c:v>
                </c:pt>
                <c:pt idx="777">
                  <c:v>42873</c:v>
                </c:pt>
                <c:pt idx="778">
                  <c:v>42874</c:v>
                </c:pt>
                <c:pt idx="779">
                  <c:v>42877</c:v>
                </c:pt>
                <c:pt idx="780">
                  <c:v>42878</c:v>
                </c:pt>
                <c:pt idx="781">
                  <c:v>42879</c:v>
                </c:pt>
                <c:pt idx="782">
                  <c:v>42880</c:v>
                </c:pt>
                <c:pt idx="783">
                  <c:v>42881</c:v>
                </c:pt>
                <c:pt idx="784">
                  <c:v>42884</c:v>
                </c:pt>
                <c:pt idx="785">
                  <c:v>42885</c:v>
                </c:pt>
                <c:pt idx="786">
                  <c:v>42886</c:v>
                </c:pt>
                <c:pt idx="787">
                  <c:v>42887</c:v>
                </c:pt>
                <c:pt idx="788">
                  <c:v>42888</c:v>
                </c:pt>
                <c:pt idx="789">
                  <c:v>42891</c:v>
                </c:pt>
                <c:pt idx="790">
                  <c:v>42892</c:v>
                </c:pt>
                <c:pt idx="791">
                  <c:v>42893</c:v>
                </c:pt>
                <c:pt idx="792">
                  <c:v>42894</c:v>
                </c:pt>
                <c:pt idx="793">
                  <c:v>42895</c:v>
                </c:pt>
                <c:pt idx="794">
                  <c:v>42898</c:v>
                </c:pt>
                <c:pt idx="795">
                  <c:v>42899</c:v>
                </c:pt>
                <c:pt idx="796">
                  <c:v>42900</c:v>
                </c:pt>
                <c:pt idx="797">
                  <c:v>42901</c:v>
                </c:pt>
                <c:pt idx="798">
                  <c:v>42902</c:v>
                </c:pt>
                <c:pt idx="799">
                  <c:v>42905</c:v>
                </c:pt>
                <c:pt idx="800">
                  <c:v>42906</c:v>
                </c:pt>
                <c:pt idx="801">
                  <c:v>42907</c:v>
                </c:pt>
                <c:pt idx="802">
                  <c:v>42908</c:v>
                </c:pt>
                <c:pt idx="803">
                  <c:v>42909</c:v>
                </c:pt>
                <c:pt idx="804">
                  <c:v>42912</c:v>
                </c:pt>
                <c:pt idx="805">
                  <c:v>42913</c:v>
                </c:pt>
                <c:pt idx="806">
                  <c:v>42914</c:v>
                </c:pt>
                <c:pt idx="807">
                  <c:v>42915</c:v>
                </c:pt>
                <c:pt idx="808">
                  <c:v>42916</c:v>
                </c:pt>
                <c:pt idx="809">
                  <c:v>42919</c:v>
                </c:pt>
                <c:pt idx="810">
                  <c:v>42920</c:v>
                </c:pt>
                <c:pt idx="811">
                  <c:v>42921</c:v>
                </c:pt>
                <c:pt idx="812">
                  <c:v>42922</c:v>
                </c:pt>
                <c:pt idx="813">
                  <c:v>42923</c:v>
                </c:pt>
                <c:pt idx="814">
                  <c:v>42926</c:v>
                </c:pt>
                <c:pt idx="815">
                  <c:v>42927</c:v>
                </c:pt>
                <c:pt idx="816">
                  <c:v>42928</c:v>
                </c:pt>
                <c:pt idx="817">
                  <c:v>42929</c:v>
                </c:pt>
                <c:pt idx="818">
                  <c:v>42930</c:v>
                </c:pt>
                <c:pt idx="819">
                  <c:v>42933</c:v>
                </c:pt>
                <c:pt idx="820">
                  <c:v>42934</c:v>
                </c:pt>
                <c:pt idx="821">
                  <c:v>42935</c:v>
                </c:pt>
                <c:pt idx="822">
                  <c:v>42936</c:v>
                </c:pt>
                <c:pt idx="823">
                  <c:v>42937</c:v>
                </c:pt>
                <c:pt idx="824">
                  <c:v>42940</c:v>
                </c:pt>
                <c:pt idx="825">
                  <c:v>42941</c:v>
                </c:pt>
                <c:pt idx="826">
                  <c:v>42942</c:v>
                </c:pt>
                <c:pt idx="827">
                  <c:v>42943</c:v>
                </c:pt>
                <c:pt idx="828">
                  <c:v>42944</c:v>
                </c:pt>
                <c:pt idx="829">
                  <c:v>42947</c:v>
                </c:pt>
                <c:pt idx="830">
                  <c:v>42948</c:v>
                </c:pt>
                <c:pt idx="831">
                  <c:v>42949</c:v>
                </c:pt>
                <c:pt idx="832">
                  <c:v>42950</c:v>
                </c:pt>
                <c:pt idx="833">
                  <c:v>42951</c:v>
                </c:pt>
                <c:pt idx="834">
                  <c:v>42954</c:v>
                </c:pt>
                <c:pt idx="835">
                  <c:v>42955</c:v>
                </c:pt>
                <c:pt idx="836">
                  <c:v>42956</c:v>
                </c:pt>
                <c:pt idx="837">
                  <c:v>42957</c:v>
                </c:pt>
                <c:pt idx="838">
                  <c:v>42958</c:v>
                </c:pt>
                <c:pt idx="839">
                  <c:v>42961</c:v>
                </c:pt>
                <c:pt idx="840">
                  <c:v>42962</c:v>
                </c:pt>
                <c:pt idx="841">
                  <c:v>42963</c:v>
                </c:pt>
                <c:pt idx="842">
                  <c:v>42964</c:v>
                </c:pt>
                <c:pt idx="843">
                  <c:v>42965</c:v>
                </c:pt>
                <c:pt idx="844">
                  <c:v>42968</c:v>
                </c:pt>
                <c:pt idx="845">
                  <c:v>42969</c:v>
                </c:pt>
                <c:pt idx="846">
                  <c:v>42970</c:v>
                </c:pt>
                <c:pt idx="847">
                  <c:v>42971</c:v>
                </c:pt>
                <c:pt idx="848">
                  <c:v>42972</c:v>
                </c:pt>
                <c:pt idx="849">
                  <c:v>42975</c:v>
                </c:pt>
                <c:pt idx="850">
                  <c:v>42976</c:v>
                </c:pt>
                <c:pt idx="851">
                  <c:v>42977</c:v>
                </c:pt>
                <c:pt idx="852">
                  <c:v>42978</c:v>
                </c:pt>
                <c:pt idx="853">
                  <c:v>42979</c:v>
                </c:pt>
                <c:pt idx="854">
                  <c:v>42982</c:v>
                </c:pt>
                <c:pt idx="855">
                  <c:v>42983</c:v>
                </c:pt>
                <c:pt idx="856">
                  <c:v>42984</c:v>
                </c:pt>
                <c:pt idx="857">
                  <c:v>42985</c:v>
                </c:pt>
                <c:pt idx="858">
                  <c:v>42986</c:v>
                </c:pt>
                <c:pt idx="859">
                  <c:v>42989</c:v>
                </c:pt>
                <c:pt idx="860">
                  <c:v>42990</c:v>
                </c:pt>
                <c:pt idx="861">
                  <c:v>42991</c:v>
                </c:pt>
                <c:pt idx="862">
                  <c:v>42992</c:v>
                </c:pt>
                <c:pt idx="863">
                  <c:v>42993</c:v>
                </c:pt>
                <c:pt idx="864">
                  <c:v>42996</c:v>
                </c:pt>
                <c:pt idx="865">
                  <c:v>42997</c:v>
                </c:pt>
                <c:pt idx="866">
                  <c:v>42998</c:v>
                </c:pt>
                <c:pt idx="867">
                  <c:v>42999</c:v>
                </c:pt>
                <c:pt idx="868">
                  <c:v>43000</c:v>
                </c:pt>
                <c:pt idx="869">
                  <c:v>43003</c:v>
                </c:pt>
                <c:pt idx="870">
                  <c:v>43004</c:v>
                </c:pt>
                <c:pt idx="871">
                  <c:v>43005</c:v>
                </c:pt>
                <c:pt idx="872">
                  <c:v>43006</c:v>
                </c:pt>
                <c:pt idx="873">
                  <c:v>43007</c:v>
                </c:pt>
                <c:pt idx="874">
                  <c:v>43010</c:v>
                </c:pt>
                <c:pt idx="875">
                  <c:v>43011</c:v>
                </c:pt>
                <c:pt idx="876">
                  <c:v>43012</c:v>
                </c:pt>
                <c:pt idx="877">
                  <c:v>43013</c:v>
                </c:pt>
                <c:pt idx="878">
                  <c:v>43014</c:v>
                </c:pt>
                <c:pt idx="879">
                  <c:v>43017</c:v>
                </c:pt>
                <c:pt idx="880">
                  <c:v>43018</c:v>
                </c:pt>
                <c:pt idx="881">
                  <c:v>43019</c:v>
                </c:pt>
                <c:pt idx="882">
                  <c:v>43020</c:v>
                </c:pt>
                <c:pt idx="883">
                  <c:v>43021</c:v>
                </c:pt>
                <c:pt idx="884">
                  <c:v>43024</c:v>
                </c:pt>
                <c:pt idx="885">
                  <c:v>43025</c:v>
                </c:pt>
                <c:pt idx="886">
                  <c:v>43026</c:v>
                </c:pt>
                <c:pt idx="887">
                  <c:v>43027</c:v>
                </c:pt>
                <c:pt idx="888">
                  <c:v>43028</c:v>
                </c:pt>
                <c:pt idx="889">
                  <c:v>43031</c:v>
                </c:pt>
                <c:pt idx="890">
                  <c:v>43032</c:v>
                </c:pt>
                <c:pt idx="891">
                  <c:v>43033</c:v>
                </c:pt>
                <c:pt idx="892">
                  <c:v>43034</c:v>
                </c:pt>
                <c:pt idx="893">
                  <c:v>43035</c:v>
                </c:pt>
                <c:pt idx="894">
                  <c:v>43038</c:v>
                </c:pt>
                <c:pt idx="895">
                  <c:v>43039</c:v>
                </c:pt>
                <c:pt idx="896">
                  <c:v>43040</c:v>
                </c:pt>
                <c:pt idx="897">
                  <c:v>43041</c:v>
                </c:pt>
                <c:pt idx="898">
                  <c:v>43042</c:v>
                </c:pt>
                <c:pt idx="899">
                  <c:v>43045</c:v>
                </c:pt>
                <c:pt idx="900">
                  <c:v>43046</c:v>
                </c:pt>
                <c:pt idx="901">
                  <c:v>43047</c:v>
                </c:pt>
                <c:pt idx="902">
                  <c:v>43048</c:v>
                </c:pt>
                <c:pt idx="903">
                  <c:v>43049</c:v>
                </c:pt>
                <c:pt idx="904">
                  <c:v>43052</c:v>
                </c:pt>
                <c:pt idx="905">
                  <c:v>43053</c:v>
                </c:pt>
                <c:pt idx="906">
                  <c:v>43054</c:v>
                </c:pt>
                <c:pt idx="907">
                  <c:v>43055</c:v>
                </c:pt>
                <c:pt idx="908">
                  <c:v>43056</c:v>
                </c:pt>
                <c:pt idx="909">
                  <c:v>43059</c:v>
                </c:pt>
                <c:pt idx="910">
                  <c:v>43060</c:v>
                </c:pt>
                <c:pt idx="911">
                  <c:v>43061</c:v>
                </c:pt>
                <c:pt idx="912">
                  <c:v>43062</c:v>
                </c:pt>
                <c:pt idx="913">
                  <c:v>43063</c:v>
                </c:pt>
                <c:pt idx="914">
                  <c:v>43066</c:v>
                </c:pt>
                <c:pt idx="915">
                  <c:v>43067</c:v>
                </c:pt>
                <c:pt idx="916">
                  <c:v>43068</c:v>
                </c:pt>
                <c:pt idx="917">
                  <c:v>43069</c:v>
                </c:pt>
                <c:pt idx="918">
                  <c:v>43070</c:v>
                </c:pt>
                <c:pt idx="919">
                  <c:v>43073</c:v>
                </c:pt>
                <c:pt idx="920">
                  <c:v>43074</c:v>
                </c:pt>
                <c:pt idx="921">
                  <c:v>43075</c:v>
                </c:pt>
                <c:pt idx="922">
                  <c:v>43076</c:v>
                </c:pt>
                <c:pt idx="923">
                  <c:v>43077</c:v>
                </c:pt>
                <c:pt idx="924">
                  <c:v>43080</c:v>
                </c:pt>
                <c:pt idx="925">
                  <c:v>43081</c:v>
                </c:pt>
                <c:pt idx="926">
                  <c:v>43082</c:v>
                </c:pt>
                <c:pt idx="927">
                  <c:v>43083</c:v>
                </c:pt>
                <c:pt idx="928">
                  <c:v>43084</c:v>
                </c:pt>
                <c:pt idx="929">
                  <c:v>43087</c:v>
                </c:pt>
                <c:pt idx="930">
                  <c:v>43088</c:v>
                </c:pt>
                <c:pt idx="931">
                  <c:v>43089</c:v>
                </c:pt>
                <c:pt idx="932">
                  <c:v>43090</c:v>
                </c:pt>
                <c:pt idx="933">
                  <c:v>43091</c:v>
                </c:pt>
                <c:pt idx="934">
                  <c:v>43094</c:v>
                </c:pt>
                <c:pt idx="935">
                  <c:v>43095</c:v>
                </c:pt>
                <c:pt idx="936">
                  <c:v>43096</c:v>
                </c:pt>
                <c:pt idx="937">
                  <c:v>43097</c:v>
                </c:pt>
                <c:pt idx="938">
                  <c:v>43098</c:v>
                </c:pt>
                <c:pt idx="939">
                  <c:v>43101</c:v>
                </c:pt>
                <c:pt idx="940">
                  <c:v>43102</c:v>
                </c:pt>
                <c:pt idx="941">
                  <c:v>43103</c:v>
                </c:pt>
                <c:pt idx="942">
                  <c:v>43104</c:v>
                </c:pt>
                <c:pt idx="943">
                  <c:v>43105</c:v>
                </c:pt>
                <c:pt idx="944">
                  <c:v>43108</c:v>
                </c:pt>
                <c:pt idx="945">
                  <c:v>43109</c:v>
                </c:pt>
                <c:pt idx="946">
                  <c:v>43110</c:v>
                </c:pt>
                <c:pt idx="947">
                  <c:v>43111</c:v>
                </c:pt>
                <c:pt idx="948">
                  <c:v>43112</c:v>
                </c:pt>
                <c:pt idx="949">
                  <c:v>43115</c:v>
                </c:pt>
                <c:pt idx="950">
                  <c:v>43116</c:v>
                </c:pt>
                <c:pt idx="951">
                  <c:v>43117</c:v>
                </c:pt>
                <c:pt idx="952">
                  <c:v>43118</c:v>
                </c:pt>
                <c:pt idx="953">
                  <c:v>43119</c:v>
                </c:pt>
                <c:pt idx="954">
                  <c:v>43122</c:v>
                </c:pt>
                <c:pt idx="955">
                  <c:v>43123</c:v>
                </c:pt>
                <c:pt idx="956">
                  <c:v>43124</c:v>
                </c:pt>
                <c:pt idx="957">
                  <c:v>43125</c:v>
                </c:pt>
                <c:pt idx="958">
                  <c:v>43126</c:v>
                </c:pt>
                <c:pt idx="959">
                  <c:v>43129</c:v>
                </c:pt>
                <c:pt idx="960">
                  <c:v>43130</c:v>
                </c:pt>
                <c:pt idx="961">
                  <c:v>43131</c:v>
                </c:pt>
              </c:numCache>
            </c:numRef>
          </c:cat>
          <c:val>
            <c:numRef>
              <c:f>'ETF GLOBAL SB USD'!$F$5:$F$966</c:f>
              <c:numCache>
                <c:formatCode>#,##0,\.000</c:formatCode>
                <c:ptCount val="962"/>
                <c:pt idx="0">
                  <c:v>100</c:v>
                </c:pt>
                <c:pt idx="1">
                  <c:v>99.924302665535365</c:v>
                </c:pt>
                <c:pt idx="2">
                  <c:v>100.34907155376945</c:v>
                </c:pt>
                <c:pt idx="3">
                  <c:v>100.46421830461219</c:v>
                </c:pt>
                <c:pt idx="4">
                  <c:v>100.59878466217972</c:v>
                </c:pt>
                <c:pt idx="5">
                  <c:v>100.51706121675443</c:v>
                </c:pt>
                <c:pt idx="6">
                  <c:v>100.64560943102707</c:v>
                </c:pt>
                <c:pt idx="7">
                  <c:v>101.11011757827195</c:v>
                </c:pt>
                <c:pt idx="8">
                  <c:v>101.6387891873328</c:v>
                </c:pt>
                <c:pt idx="9">
                  <c:v>101.72987148299492</c:v>
                </c:pt>
                <c:pt idx="10">
                  <c:v>101.69316730329521</c:v>
                </c:pt>
                <c:pt idx="11">
                  <c:v>101.47167416357865</c:v>
                </c:pt>
                <c:pt idx="12">
                  <c:v>101.14806381182618</c:v>
                </c:pt>
                <c:pt idx="13">
                  <c:v>101.24997972755239</c:v>
                </c:pt>
                <c:pt idx="14">
                  <c:v>101.23784572430733</c:v>
                </c:pt>
                <c:pt idx="15">
                  <c:v>101.34209962375962</c:v>
                </c:pt>
                <c:pt idx="16">
                  <c:v>101.87919531050017</c:v>
                </c:pt>
                <c:pt idx="17">
                  <c:v>102.50821726413729</c:v>
                </c:pt>
                <c:pt idx="18">
                  <c:v>102.45179596808092</c:v>
                </c:pt>
                <c:pt idx="19">
                  <c:v>102.38841469050668</c:v>
                </c:pt>
                <c:pt idx="20">
                  <c:v>101.8959129765415</c:v>
                </c:pt>
                <c:pt idx="21">
                  <c:v>101.92583441770257</c:v>
                </c:pt>
                <c:pt idx="22">
                  <c:v>101.8931672888632</c:v>
                </c:pt>
                <c:pt idx="23">
                  <c:v>102.10966199616533</c:v>
                </c:pt>
                <c:pt idx="24">
                  <c:v>102.2614448257158</c:v>
                </c:pt>
                <c:pt idx="25">
                  <c:v>102.93512133645453</c:v>
                </c:pt>
                <c:pt idx="26">
                  <c:v>103.06882072179032</c:v>
                </c:pt>
                <c:pt idx="27">
                  <c:v>103.49046087305763</c:v>
                </c:pt>
                <c:pt idx="28">
                  <c:v>103.4510535500079</c:v>
                </c:pt>
                <c:pt idx="29">
                  <c:v>102.94771099997952</c:v>
                </c:pt>
                <c:pt idx="30">
                  <c:v>102.18663821614682</c:v>
                </c:pt>
                <c:pt idx="31">
                  <c:v>102.45107677349851</c:v>
                </c:pt>
                <c:pt idx="32">
                  <c:v>101.77369785386023</c:v>
                </c:pt>
                <c:pt idx="33">
                  <c:v>101.86670907629637</c:v>
                </c:pt>
                <c:pt idx="34">
                  <c:v>102.51430831909032</c:v>
                </c:pt>
                <c:pt idx="35">
                  <c:v>102.18600005122155</c:v>
                </c:pt>
                <c:pt idx="36">
                  <c:v>102.78274484064028</c:v>
                </c:pt>
                <c:pt idx="37">
                  <c:v>101.8239386466407</c:v>
                </c:pt>
                <c:pt idx="38">
                  <c:v>102.36431295266377</c:v>
                </c:pt>
                <c:pt idx="39">
                  <c:v>102.12009723294275</c:v>
                </c:pt>
                <c:pt idx="40">
                  <c:v>102.74770530174551</c:v>
                </c:pt>
                <c:pt idx="41">
                  <c:v>102.94810983426612</c:v>
                </c:pt>
                <c:pt idx="42">
                  <c:v>103.07498378640156</c:v>
                </c:pt>
                <c:pt idx="43">
                  <c:v>102.6048632454809</c:v>
                </c:pt>
                <c:pt idx="44">
                  <c:v>102.60514481978123</c:v>
                </c:pt>
                <c:pt idx="45">
                  <c:v>102.37187832644408</c:v>
                </c:pt>
                <c:pt idx="46">
                  <c:v>102.14470694705946</c:v>
                </c:pt>
                <c:pt idx="47">
                  <c:v>100.62941808192404</c:v>
                </c:pt>
                <c:pt idx="48">
                  <c:v>100.12591031558169</c:v>
                </c:pt>
                <c:pt idx="49">
                  <c:v>100.38658061804155</c:v>
                </c:pt>
                <c:pt idx="50">
                  <c:v>99.690590283583788</c:v>
                </c:pt>
                <c:pt idx="51">
                  <c:v>99.424130494802213</c:v>
                </c:pt>
                <c:pt idx="52">
                  <c:v>98.938511491030667</c:v>
                </c:pt>
                <c:pt idx="53">
                  <c:v>99.284528873157925</c:v>
                </c:pt>
                <c:pt idx="54">
                  <c:v>99.939719046395851</c:v>
                </c:pt>
                <c:pt idx="55">
                  <c:v>99.810034312256391</c:v>
                </c:pt>
                <c:pt idx="56">
                  <c:v>100.40291072479496</c:v>
                </c:pt>
                <c:pt idx="57">
                  <c:v>100.8151439191644</c:v>
                </c:pt>
                <c:pt idx="58">
                  <c:v>100.73410524199224</c:v>
                </c:pt>
                <c:pt idx="59">
                  <c:v>101.51046256436753</c:v>
                </c:pt>
                <c:pt idx="60">
                  <c:v>101.97084045409635</c:v>
                </c:pt>
                <c:pt idx="61">
                  <c:v>102.04292663198406</c:v>
                </c:pt>
                <c:pt idx="62">
                  <c:v>102.40432175930967</c:v>
                </c:pt>
                <c:pt idx="63">
                  <c:v>102.06026081495317</c:v>
                </c:pt>
                <c:pt idx="64">
                  <c:v>102.61034680350511</c:v>
                </c:pt>
                <c:pt idx="65">
                  <c:v>102.84147420409289</c:v>
                </c:pt>
                <c:pt idx="66">
                  <c:v>102.9507701326211</c:v>
                </c:pt>
                <c:pt idx="67">
                  <c:v>102.58477630916762</c:v>
                </c:pt>
                <c:pt idx="68">
                  <c:v>102.84680893213454</c:v>
                </c:pt>
                <c:pt idx="69">
                  <c:v>102.8287020359226</c:v>
                </c:pt>
                <c:pt idx="70">
                  <c:v>102.76835568732612</c:v>
                </c:pt>
                <c:pt idx="71">
                  <c:v>103.07096567753899</c:v>
                </c:pt>
                <c:pt idx="72">
                  <c:v>102.87475769952673</c:v>
                </c:pt>
                <c:pt idx="73">
                  <c:v>102.99577045634886</c:v>
                </c:pt>
                <c:pt idx="74">
                  <c:v>102.63354684212031</c:v>
                </c:pt>
                <c:pt idx="75">
                  <c:v>101.98144586818717</c:v>
                </c:pt>
                <c:pt idx="76">
                  <c:v>102.14372707450761</c:v>
                </c:pt>
                <c:pt idx="77">
                  <c:v>102.22813336828523</c:v>
                </c:pt>
                <c:pt idx="78">
                  <c:v>101.78807498050915</c:v>
                </c:pt>
                <c:pt idx="79">
                  <c:v>101.63436457718451</c:v>
                </c:pt>
                <c:pt idx="80">
                  <c:v>101.96984645021278</c:v>
                </c:pt>
                <c:pt idx="81">
                  <c:v>102.13689442530811</c:v>
                </c:pt>
                <c:pt idx="82">
                  <c:v>102.57824552926608</c:v>
                </c:pt>
                <c:pt idx="83">
                  <c:v>102.43773363939515</c:v>
                </c:pt>
                <c:pt idx="84">
                  <c:v>101.62712407369948</c:v>
                </c:pt>
                <c:pt idx="85">
                  <c:v>101.03274192267062</c:v>
                </c:pt>
                <c:pt idx="86">
                  <c:v>101.47404973063368</c:v>
                </c:pt>
                <c:pt idx="87">
                  <c:v>100.26364179077841</c:v>
                </c:pt>
                <c:pt idx="88">
                  <c:v>100.6067084305847</c:v>
                </c:pt>
                <c:pt idx="89">
                  <c:v>100.27533937640791</c:v>
                </c:pt>
                <c:pt idx="90">
                  <c:v>100.05543285450548</c:v>
                </c:pt>
                <c:pt idx="91">
                  <c:v>98.929282829445242</c:v>
                </c:pt>
                <c:pt idx="92">
                  <c:v>98.27296876433897</c:v>
                </c:pt>
                <c:pt idx="93">
                  <c:v>98.705574227654921</c:v>
                </c:pt>
                <c:pt idx="94">
                  <c:v>98.973651001580393</c:v>
                </c:pt>
                <c:pt idx="95">
                  <c:v>97.886222478983512</c:v>
                </c:pt>
                <c:pt idx="96">
                  <c:v>98.613457638780631</c:v>
                </c:pt>
                <c:pt idx="97">
                  <c:v>97.407596229392695</c:v>
                </c:pt>
                <c:pt idx="98">
                  <c:v>95.864501112848373</c:v>
                </c:pt>
                <c:pt idx="99">
                  <c:v>95.096150242201716</c:v>
                </c:pt>
                <c:pt idx="100">
                  <c:v>94.927145979668921</c:v>
                </c:pt>
                <c:pt idx="101">
                  <c:v>94.016064750411189</c:v>
                </c:pt>
                <c:pt idx="102">
                  <c:v>93.863990725228192</c:v>
                </c:pt>
                <c:pt idx="103">
                  <c:v>95.099011987199759</c:v>
                </c:pt>
                <c:pt idx="104">
                  <c:v>95.836613080115754</c:v>
                </c:pt>
                <c:pt idx="105">
                  <c:v>97.316005356123483</c:v>
                </c:pt>
                <c:pt idx="106">
                  <c:v>97.089164559700151</c:v>
                </c:pt>
                <c:pt idx="107">
                  <c:v>97.853531747813562</c:v>
                </c:pt>
                <c:pt idx="108">
                  <c:v>98.320096454817502</c:v>
                </c:pt>
                <c:pt idx="109">
                  <c:v>98.258787522000475</c:v>
                </c:pt>
                <c:pt idx="110">
                  <c:v>99.303959905214739</c:v>
                </c:pt>
                <c:pt idx="111">
                  <c:v>99.415590209469457</c:v>
                </c:pt>
                <c:pt idx="112">
                  <c:v>99.589766238729652</c:v>
                </c:pt>
                <c:pt idx="113">
                  <c:v>100.70269204333928</c:v>
                </c:pt>
                <c:pt idx="114">
                  <c:v>100.17322171337202</c:v>
                </c:pt>
                <c:pt idx="115">
                  <c:v>100.12293131059738</c:v>
                </c:pt>
                <c:pt idx="116">
                  <c:v>100.62597199132779</c:v>
                </c:pt>
                <c:pt idx="117">
                  <c:v>100.71231472854521</c:v>
                </c:pt>
                <c:pt idx="118">
                  <c:v>100.70315461895174</c:v>
                </c:pt>
                <c:pt idx="119">
                  <c:v>101.15987565077565</c:v>
                </c:pt>
                <c:pt idx="120">
                  <c:v>101.29364238543688</c:v>
                </c:pt>
                <c:pt idx="121">
                  <c:v>101.20267825176089</c:v>
                </c:pt>
                <c:pt idx="122">
                  <c:v>101.28772045546401</c:v>
                </c:pt>
                <c:pt idx="123">
                  <c:v>101.35008367582418</c:v>
                </c:pt>
                <c:pt idx="124">
                  <c:v>101.22104161660943</c:v>
                </c:pt>
                <c:pt idx="125">
                  <c:v>102.01470470895721</c:v>
                </c:pt>
                <c:pt idx="126">
                  <c:v>101.81100171315637</c:v>
                </c:pt>
                <c:pt idx="127">
                  <c:v>101.86483351784945</c:v>
                </c:pt>
                <c:pt idx="128">
                  <c:v>102.56696887692061</c:v>
                </c:pt>
                <c:pt idx="129">
                  <c:v>102.73736718029008</c:v>
                </c:pt>
                <c:pt idx="130">
                  <c:v>102.90465583902386</c:v>
                </c:pt>
                <c:pt idx="131">
                  <c:v>103.21977837177076</c:v>
                </c:pt>
                <c:pt idx="132">
                  <c:v>103.0265510524093</c:v>
                </c:pt>
                <c:pt idx="133">
                  <c:v>102.72086734722319</c:v>
                </c:pt>
                <c:pt idx="134">
                  <c:v>102.15736426057653</c:v>
                </c:pt>
                <c:pt idx="135">
                  <c:v>102.52130347860408</c:v>
                </c:pt>
                <c:pt idx="136">
                  <c:v>102.75271651249173</c:v>
                </c:pt>
                <c:pt idx="137">
                  <c:v>102.5725593219323</c:v>
                </c:pt>
                <c:pt idx="138">
                  <c:v>102.68583833166052</c:v>
                </c:pt>
                <c:pt idx="139">
                  <c:v>101.98135010586502</c:v>
                </c:pt>
                <c:pt idx="140">
                  <c:v>101.71634554357965</c:v>
                </c:pt>
                <c:pt idx="141">
                  <c:v>100.32972335536962</c:v>
                </c:pt>
                <c:pt idx="142">
                  <c:v>100.38170560927936</c:v>
                </c:pt>
                <c:pt idx="143">
                  <c:v>98.964546214647115</c:v>
                </c:pt>
                <c:pt idx="144">
                  <c:v>97.760351701063868</c:v>
                </c:pt>
                <c:pt idx="145">
                  <c:v>97.81792184431896</c:v>
                </c:pt>
                <c:pt idx="146">
                  <c:v>98.817571345200022</c:v>
                </c:pt>
                <c:pt idx="147">
                  <c:v>100.82448247440364</c:v>
                </c:pt>
                <c:pt idx="148">
                  <c:v>101.45687880964542</c:v>
                </c:pt>
                <c:pt idx="149">
                  <c:v>101.83276952627271</c:v>
                </c:pt>
                <c:pt idx="150">
                  <c:v>101.88492842182846</c:v>
                </c:pt>
                <c:pt idx="151">
                  <c:v>102.01271023685754</c:v>
                </c:pt>
                <c:pt idx="152">
                  <c:v>101.98673218890113</c:v>
                </c:pt>
                <c:pt idx="153">
                  <c:v>102.20972745910832</c:v>
                </c:pt>
                <c:pt idx="154">
                  <c:v>102.36145150833235</c:v>
                </c:pt>
                <c:pt idx="155">
                  <c:v>101.73473551742505</c:v>
                </c:pt>
                <c:pt idx="156">
                  <c:v>101.06448164528534</c:v>
                </c:pt>
                <c:pt idx="157">
                  <c:v>101.06496601922859</c:v>
                </c:pt>
                <c:pt idx="158">
                  <c:v>100.78047194522659</c:v>
                </c:pt>
                <c:pt idx="159">
                  <c:v>98.805116229992578</c:v>
                </c:pt>
                <c:pt idx="160">
                  <c:v>97.807708198848914</c:v>
                </c:pt>
                <c:pt idx="161">
                  <c:v>98.2836911377494</c:v>
                </c:pt>
                <c:pt idx="162">
                  <c:v>100.17492468917249</c:v>
                </c:pt>
                <c:pt idx="163">
                  <c:v>99.561923005325099</c:v>
                </c:pt>
                <c:pt idx="164">
                  <c:v>99.143032300069009</c:v>
                </c:pt>
                <c:pt idx="165">
                  <c:v>99.235362662918249</c:v>
                </c:pt>
                <c:pt idx="166">
                  <c:v>98.478926008209044</c:v>
                </c:pt>
                <c:pt idx="167">
                  <c:v>98.310316971963275</c:v>
                </c:pt>
                <c:pt idx="168">
                  <c:v>99.063101429100371</c:v>
                </c:pt>
                <c:pt idx="169">
                  <c:v>99.46186881738079</c:v>
                </c:pt>
                <c:pt idx="170">
                  <c:v>99.663181363128345</c:v>
                </c:pt>
                <c:pt idx="171">
                  <c:v>100.20447676137685</c:v>
                </c:pt>
                <c:pt idx="172">
                  <c:v>101.16342727535954</c:v>
                </c:pt>
                <c:pt idx="173">
                  <c:v>101.00192900494733</c:v>
                </c:pt>
                <c:pt idx="174">
                  <c:v>101.28712107653423</c:v>
                </c:pt>
                <c:pt idx="175">
                  <c:v>100.87586685271678</c:v>
                </c:pt>
                <c:pt idx="176">
                  <c:v>99.917408229343124</c:v>
                </c:pt>
                <c:pt idx="177">
                  <c:v>100.19489977749889</c:v>
                </c:pt>
                <c:pt idx="178">
                  <c:v>99.233227929835024</c:v>
                </c:pt>
                <c:pt idx="179">
                  <c:v>100.22891208884732</c:v>
                </c:pt>
                <c:pt idx="180">
                  <c:v>101.4647997217174</c:v>
                </c:pt>
                <c:pt idx="181">
                  <c:v>101.47141363594253</c:v>
                </c:pt>
                <c:pt idx="182">
                  <c:v>102.21818776711713</c:v>
                </c:pt>
                <c:pt idx="183">
                  <c:v>101.81834038429658</c:v>
                </c:pt>
                <c:pt idx="184">
                  <c:v>101.44662307084698</c:v>
                </c:pt>
                <c:pt idx="185">
                  <c:v>102.13637848136857</c:v>
                </c:pt>
                <c:pt idx="186">
                  <c:v>101.90104986593967</c:v>
                </c:pt>
                <c:pt idx="187">
                  <c:v>103.08838975983092</c:v>
                </c:pt>
                <c:pt idx="188">
                  <c:v>103.74169219762335</c:v>
                </c:pt>
                <c:pt idx="189">
                  <c:v>103.78544159783101</c:v>
                </c:pt>
                <c:pt idx="190">
                  <c:v>103.91143414573638</c:v>
                </c:pt>
                <c:pt idx="191">
                  <c:v>104.16659383017522</c:v>
                </c:pt>
                <c:pt idx="192">
                  <c:v>104.29173970084645</c:v>
                </c:pt>
                <c:pt idx="193">
                  <c:v>104.72872933464873</c:v>
                </c:pt>
                <c:pt idx="194">
                  <c:v>104.86463997272546</c:v>
                </c:pt>
                <c:pt idx="195">
                  <c:v>105.14179131658774</c:v>
                </c:pt>
                <c:pt idx="196">
                  <c:v>105.27164697970719</c:v>
                </c:pt>
                <c:pt idx="197">
                  <c:v>105.11270151932921</c:v>
                </c:pt>
                <c:pt idx="198">
                  <c:v>105.04716701767391</c:v>
                </c:pt>
                <c:pt idx="199">
                  <c:v>105.27624838183473</c:v>
                </c:pt>
                <c:pt idx="200">
                  <c:v>104.81213034954415</c:v>
                </c:pt>
                <c:pt idx="201">
                  <c:v>104.36915895310935</c:v>
                </c:pt>
                <c:pt idx="202">
                  <c:v>104.5683934414337</c:v>
                </c:pt>
                <c:pt idx="203">
                  <c:v>103.28573335571014</c:v>
                </c:pt>
                <c:pt idx="204">
                  <c:v>103.28218443712593</c:v>
                </c:pt>
                <c:pt idx="205">
                  <c:v>101.55067807932257</c:v>
                </c:pt>
                <c:pt idx="206">
                  <c:v>101.46147074077409</c:v>
                </c:pt>
                <c:pt idx="207">
                  <c:v>102.54064761800441</c:v>
                </c:pt>
                <c:pt idx="208">
                  <c:v>102.0200188413346</c:v>
                </c:pt>
                <c:pt idx="209">
                  <c:v>103.22637680166436</c:v>
                </c:pt>
                <c:pt idx="210">
                  <c:v>103.02183915529466</c:v>
                </c:pt>
                <c:pt idx="211">
                  <c:v>104.06356379424622</c:v>
                </c:pt>
                <c:pt idx="212">
                  <c:v>103.91152765305876</c:v>
                </c:pt>
                <c:pt idx="213">
                  <c:v>105.30075211096388</c:v>
                </c:pt>
                <c:pt idx="214">
                  <c:v>105.50960221882835</c:v>
                </c:pt>
                <c:pt idx="215">
                  <c:v>105.18296595809704</c:v>
                </c:pt>
                <c:pt idx="216">
                  <c:v>104.24046190885417</c:v>
                </c:pt>
                <c:pt idx="217">
                  <c:v>103.56416508842243</c:v>
                </c:pt>
                <c:pt idx="218">
                  <c:v>103.63294859369709</c:v>
                </c:pt>
                <c:pt idx="219">
                  <c:v>104.37903870828515</c:v>
                </c:pt>
                <c:pt idx="220">
                  <c:v>103.40280617699389</c:v>
                </c:pt>
                <c:pt idx="221">
                  <c:v>103.25095930545093</c:v>
                </c:pt>
                <c:pt idx="222">
                  <c:v>103.93140036439715</c:v>
                </c:pt>
                <c:pt idx="223">
                  <c:v>103.98570722236788</c:v>
                </c:pt>
                <c:pt idx="224">
                  <c:v>104.83157370893284</c:v>
                </c:pt>
                <c:pt idx="225">
                  <c:v>104.82764098939359</c:v>
                </c:pt>
                <c:pt idx="226">
                  <c:v>104.97630951397558</c:v>
                </c:pt>
                <c:pt idx="227">
                  <c:v>105.30348592231027</c:v>
                </c:pt>
                <c:pt idx="228">
                  <c:v>105.75884313029395</c:v>
                </c:pt>
                <c:pt idx="229">
                  <c:v>105.32377971726596</c:v>
                </c:pt>
                <c:pt idx="230">
                  <c:v>105.78685052767926</c:v>
                </c:pt>
                <c:pt idx="231">
                  <c:v>106.02553653704814</c:v>
                </c:pt>
                <c:pt idx="232">
                  <c:v>106.20039748489476</c:v>
                </c:pt>
                <c:pt idx="233">
                  <c:v>105.16205790121332</c:v>
                </c:pt>
                <c:pt idx="234">
                  <c:v>105.78142695264803</c:v>
                </c:pt>
                <c:pt idx="235">
                  <c:v>105.95719726672144</c:v>
                </c:pt>
                <c:pt idx="236">
                  <c:v>106.24685724445155</c:v>
                </c:pt>
                <c:pt idx="237">
                  <c:v>106.60202255917372</c:v>
                </c:pt>
                <c:pt idx="238">
                  <c:v>107.0609755897361</c:v>
                </c:pt>
                <c:pt idx="239">
                  <c:v>107.16688315566132</c:v>
                </c:pt>
                <c:pt idx="240">
                  <c:v>107.28193203951551</c:v>
                </c:pt>
                <c:pt idx="241">
                  <c:v>106.84477057473336</c:v>
                </c:pt>
                <c:pt idx="242">
                  <c:v>105.82786927354017</c:v>
                </c:pt>
                <c:pt idx="243">
                  <c:v>106.36404071105568</c:v>
                </c:pt>
                <c:pt idx="244">
                  <c:v>106.58680536995658</c:v>
                </c:pt>
                <c:pt idx="245">
                  <c:v>105.56356451283946</c:v>
                </c:pt>
                <c:pt idx="246">
                  <c:v>105.5486380682549</c:v>
                </c:pt>
                <c:pt idx="247">
                  <c:v>105.36792975576002</c:v>
                </c:pt>
                <c:pt idx="248">
                  <c:v>106.89826443013268</c:v>
                </c:pt>
                <c:pt idx="249">
                  <c:v>106.59573862657659</c:v>
                </c:pt>
                <c:pt idx="250">
                  <c:v>106.36009025218516</c:v>
                </c:pt>
                <c:pt idx="251">
                  <c:v>106.68506593111103</c:v>
                </c:pt>
                <c:pt idx="252">
                  <c:v>107.51344745039117</c:v>
                </c:pt>
                <c:pt idx="253">
                  <c:v>107.74322515847041</c:v>
                </c:pt>
                <c:pt idx="254">
                  <c:v>107.86176703691537</c:v>
                </c:pt>
                <c:pt idx="255">
                  <c:v>107.57602188905994</c:v>
                </c:pt>
                <c:pt idx="256">
                  <c:v>107.59947283397911</c:v>
                </c:pt>
                <c:pt idx="257">
                  <c:v>108.0270389742188</c:v>
                </c:pt>
                <c:pt idx="258">
                  <c:v>107.60096774847064</c:v>
                </c:pt>
                <c:pt idx="259">
                  <c:v>107.62061706450183</c:v>
                </c:pt>
                <c:pt idx="260">
                  <c:v>106.27222584114602</c:v>
                </c:pt>
                <c:pt idx="261">
                  <c:v>107.02528886591718</c:v>
                </c:pt>
                <c:pt idx="262">
                  <c:v>106.90954138314481</c:v>
                </c:pt>
                <c:pt idx="263">
                  <c:v>106.19241583816323</c:v>
                </c:pt>
                <c:pt idx="264">
                  <c:v>106.1388731244363</c:v>
                </c:pt>
                <c:pt idx="265">
                  <c:v>106.38944749241234</c:v>
                </c:pt>
                <c:pt idx="266">
                  <c:v>106.84803506268423</c:v>
                </c:pt>
                <c:pt idx="267">
                  <c:v>105.99304980818762</c:v>
                </c:pt>
                <c:pt idx="268">
                  <c:v>105.0996247758613</c:v>
                </c:pt>
                <c:pt idx="269">
                  <c:v>104.62052422465939</c:v>
                </c:pt>
                <c:pt idx="270">
                  <c:v>104.58941409797092</c:v>
                </c:pt>
                <c:pt idx="271">
                  <c:v>106.09160502264091</c:v>
                </c:pt>
                <c:pt idx="272">
                  <c:v>106.27889056803185</c:v>
                </c:pt>
                <c:pt idx="273">
                  <c:v>105.72830216553879</c:v>
                </c:pt>
                <c:pt idx="274">
                  <c:v>104.9480826299493</c:v>
                </c:pt>
                <c:pt idx="275">
                  <c:v>105.34256055773228</c:v>
                </c:pt>
                <c:pt idx="276">
                  <c:v>105.25044006019178</c:v>
                </c:pt>
                <c:pt idx="277">
                  <c:v>106.36556193387743</c:v>
                </c:pt>
                <c:pt idx="278">
                  <c:v>106.02296388301622</c:v>
                </c:pt>
                <c:pt idx="279">
                  <c:v>107.29679985410694</c:v>
                </c:pt>
                <c:pt idx="280">
                  <c:v>107.2929628968898</c:v>
                </c:pt>
                <c:pt idx="281">
                  <c:v>106.68019422968177</c:v>
                </c:pt>
                <c:pt idx="282">
                  <c:v>106.43598181729371</c:v>
                </c:pt>
                <c:pt idx="283">
                  <c:v>106.14292220196191</c:v>
                </c:pt>
                <c:pt idx="284">
                  <c:v>103.83955512715772</c:v>
                </c:pt>
                <c:pt idx="285">
                  <c:v>103.72319774212349</c:v>
                </c:pt>
                <c:pt idx="286">
                  <c:v>104.42549350684251</c:v>
                </c:pt>
                <c:pt idx="287">
                  <c:v>104.43472773076064</c:v>
                </c:pt>
                <c:pt idx="288">
                  <c:v>104.271918854502</c:v>
                </c:pt>
                <c:pt idx="289">
                  <c:v>103.36901981661897</c:v>
                </c:pt>
                <c:pt idx="290">
                  <c:v>103.09886167793738</c:v>
                </c:pt>
                <c:pt idx="291">
                  <c:v>102.03136254233888</c:v>
                </c:pt>
                <c:pt idx="292">
                  <c:v>102.66614662163427</c:v>
                </c:pt>
                <c:pt idx="293">
                  <c:v>104.21170705422307</c:v>
                </c:pt>
                <c:pt idx="294">
                  <c:v>105.13391069384437</c:v>
                </c:pt>
                <c:pt idx="295">
                  <c:v>105.7754430853491</c:v>
                </c:pt>
                <c:pt idx="296">
                  <c:v>105.69932286326733</c:v>
                </c:pt>
                <c:pt idx="297">
                  <c:v>106.52663280667305</c:v>
                </c:pt>
                <c:pt idx="298">
                  <c:v>106.46188199259257</c:v>
                </c:pt>
                <c:pt idx="299">
                  <c:v>106.5443563529299</c:v>
                </c:pt>
                <c:pt idx="300">
                  <c:v>106.28726172838441</c:v>
                </c:pt>
                <c:pt idx="301">
                  <c:v>105.62035202085289</c:v>
                </c:pt>
                <c:pt idx="302">
                  <c:v>105.39838352719207</c:v>
                </c:pt>
                <c:pt idx="303">
                  <c:v>104.36472066262934</c:v>
                </c:pt>
                <c:pt idx="304">
                  <c:v>103.65336761630479</c:v>
                </c:pt>
                <c:pt idx="305">
                  <c:v>104.4598493298174</c:v>
                </c:pt>
                <c:pt idx="306">
                  <c:v>105.28291250738731</c:v>
                </c:pt>
                <c:pt idx="307">
                  <c:v>105.23389377413035</c:v>
                </c:pt>
                <c:pt idx="308">
                  <c:v>105.58502955465794</c:v>
                </c:pt>
                <c:pt idx="309">
                  <c:v>105.32301226568923</c:v>
                </c:pt>
                <c:pt idx="310">
                  <c:v>105.18608687773138</c:v>
                </c:pt>
                <c:pt idx="311">
                  <c:v>105.43441947530341</c:v>
                </c:pt>
                <c:pt idx="312">
                  <c:v>104.85699236662145</c:v>
                </c:pt>
                <c:pt idx="313">
                  <c:v>104.54225393549621</c:v>
                </c:pt>
                <c:pt idx="314">
                  <c:v>105.6970914658621</c:v>
                </c:pt>
                <c:pt idx="315">
                  <c:v>104.69068778977235</c:v>
                </c:pt>
                <c:pt idx="316">
                  <c:v>104.27202649315606</c:v>
                </c:pt>
                <c:pt idx="317">
                  <c:v>104.26417924440877</c:v>
                </c:pt>
                <c:pt idx="318">
                  <c:v>104.41308123663006</c:v>
                </c:pt>
                <c:pt idx="319">
                  <c:v>104.73325121045229</c:v>
                </c:pt>
                <c:pt idx="320">
                  <c:v>104.45870935228427</c:v>
                </c:pt>
                <c:pt idx="321">
                  <c:v>103.37197642193925</c:v>
                </c:pt>
                <c:pt idx="322">
                  <c:v>101.65746584681132</c:v>
                </c:pt>
                <c:pt idx="323">
                  <c:v>98.892626606073193</c:v>
                </c:pt>
                <c:pt idx="324">
                  <c:v>95.213272974146278</c:v>
                </c:pt>
                <c:pt idx="325">
                  <c:v>94.882766231868459</c:v>
                </c:pt>
                <c:pt idx="326">
                  <c:v>96.843309455171195</c:v>
                </c:pt>
                <c:pt idx="327">
                  <c:v>98.892250923117217</c:v>
                </c:pt>
                <c:pt idx="328">
                  <c:v>99.349521723876705</c:v>
                </c:pt>
                <c:pt idx="329">
                  <c:v>98.597982778260345</c:v>
                </c:pt>
                <c:pt idx="330">
                  <c:v>95.921539376832442</c:v>
                </c:pt>
                <c:pt idx="331">
                  <c:v>96.827198684725403</c:v>
                </c:pt>
                <c:pt idx="332">
                  <c:v>97.266503902589733</c:v>
                </c:pt>
                <c:pt idx="333">
                  <c:v>95.638497823326929</c:v>
                </c:pt>
                <c:pt idx="334">
                  <c:v>95.817046748074802</c:v>
                </c:pt>
                <c:pt idx="335">
                  <c:v>97.527088214393004</c:v>
                </c:pt>
                <c:pt idx="336">
                  <c:v>97.605383909886555</c:v>
                </c:pt>
                <c:pt idx="337">
                  <c:v>97.450644625349156</c:v>
                </c:pt>
                <c:pt idx="338">
                  <c:v>97.559250072958264</c:v>
                </c:pt>
                <c:pt idx="339">
                  <c:v>97.15964818444229</c:v>
                </c:pt>
                <c:pt idx="340">
                  <c:v>97.984487249470817</c:v>
                </c:pt>
                <c:pt idx="341">
                  <c:v>99.173728859805919</c:v>
                </c:pt>
                <c:pt idx="342">
                  <c:v>99.125578301447248</c:v>
                </c:pt>
                <c:pt idx="343">
                  <c:v>97.79769419602215</c:v>
                </c:pt>
                <c:pt idx="344">
                  <c:v>97.695387714341706</c:v>
                </c:pt>
                <c:pt idx="345">
                  <c:v>96.008350702994974</c:v>
                </c:pt>
                <c:pt idx="346">
                  <c:v>95.765602988101961</c:v>
                </c:pt>
                <c:pt idx="347">
                  <c:v>95.210786010104314</c:v>
                </c:pt>
                <c:pt idx="348">
                  <c:v>95.650246371950473</c:v>
                </c:pt>
                <c:pt idx="349">
                  <c:v>93.642879281800262</c:v>
                </c:pt>
                <c:pt idx="350">
                  <c:v>93.068475977430694</c:v>
                </c:pt>
                <c:pt idx="351">
                  <c:v>94.96126322367175</c:v>
                </c:pt>
                <c:pt idx="352">
                  <c:v>95.329442292202543</c:v>
                </c:pt>
                <c:pt idx="353">
                  <c:v>96.485803601056588</c:v>
                </c:pt>
                <c:pt idx="354">
                  <c:v>98.310822091904086</c:v>
                </c:pt>
                <c:pt idx="355">
                  <c:v>98.521778219188477</c:v>
                </c:pt>
                <c:pt idx="356">
                  <c:v>99.285760253346993</c:v>
                </c:pt>
                <c:pt idx="357">
                  <c:v>99.897256499370755</c:v>
                </c:pt>
                <c:pt idx="358">
                  <c:v>100.51116063411243</c:v>
                </c:pt>
                <c:pt idx="359">
                  <c:v>100.54832137609199</c:v>
                </c:pt>
                <c:pt idx="360">
                  <c:v>99.754387834109252</c:v>
                </c:pt>
                <c:pt idx="361">
                  <c:v>99.273107149162769</c:v>
                </c:pt>
                <c:pt idx="362">
                  <c:v>100.64170181715156</c:v>
                </c:pt>
                <c:pt idx="363">
                  <c:v>101.10918430904799</c:v>
                </c:pt>
                <c:pt idx="364">
                  <c:v>100.89186231750942</c:v>
                </c:pt>
                <c:pt idx="365">
                  <c:v>100.74913150789844</c:v>
                </c:pt>
                <c:pt idx="366">
                  <c:v>100.47491151335939</c:v>
                </c:pt>
                <c:pt idx="367">
                  <c:v>101.4776656978767</c:v>
                </c:pt>
                <c:pt idx="368">
                  <c:v>102.51615531420725</c:v>
                </c:pt>
                <c:pt idx="369">
                  <c:v>102.41873872428724</c:v>
                </c:pt>
                <c:pt idx="370">
                  <c:v>101.89420022907549</c:v>
                </c:pt>
                <c:pt idx="371">
                  <c:v>102.97394732057235</c:v>
                </c:pt>
                <c:pt idx="372">
                  <c:v>102.53433918107685</c:v>
                </c:pt>
                <c:pt idx="373">
                  <c:v>102.48638465736187</c:v>
                </c:pt>
                <c:pt idx="374">
                  <c:v>103.05056800226214</c:v>
                </c:pt>
                <c:pt idx="375">
                  <c:v>103.18562159010591</c:v>
                </c:pt>
                <c:pt idx="376">
                  <c:v>102.98862496351937</c:v>
                </c:pt>
                <c:pt idx="377">
                  <c:v>102.82362618185064</c:v>
                </c:pt>
                <c:pt idx="378">
                  <c:v>102.45056097989229</c:v>
                </c:pt>
                <c:pt idx="379">
                  <c:v>101.69435884515559</c:v>
                </c:pt>
                <c:pt idx="380">
                  <c:v>101.63998914785888</c:v>
                </c:pt>
                <c:pt idx="381">
                  <c:v>101.72892919377199</c:v>
                </c:pt>
                <c:pt idx="382">
                  <c:v>100.52819324845021</c:v>
                </c:pt>
                <c:pt idx="383">
                  <c:v>99.495033850161846</c:v>
                </c:pt>
                <c:pt idx="384">
                  <c:v>100.29653517125794</c:v>
                </c:pt>
                <c:pt idx="385">
                  <c:v>100.82608803421553</c:v>
                </c:pt>
                <c:pt idx="386">
                  <c:v>101.75926299921809</c:v>
                </c:pt>
                <c:pt idx="387">
                  <c:v>102.31166802949832</c:v>
                </c:pt>
                <c:pt idx="388">
                  <c:v>102.45622358489553</c:v>
                </c:pt>
                <c:pt idx="389">
                  <c:v>102.12684359081901</c:v>
                </c:pt>
                <c:pt idx="390">
                  <c:v>102.01836637752821</c:v>
                </c:pt>
                <c:pt idx="391">
                  <c:v>102.16641673151594</c:v>
                </c:pt>
                <c:pt idx="392">
                  <c:v>102.53283554725301</c:v>
                </c:pt>
                <c:pt idx="393">
                  <c:v>102.32892028081038</c:v>
                </c:pt>
                <c:pt idx="394">
                  <c:v>101.97644878877259</c:v>
                </c:pt>
                <c:pt idx="395">
                  <c:v>102.92715577538777</c:v>
                </c:pt>
                <c:pt idx="396">
                  <c:v>102.10131083014377</c:v>
                </c:pt>
                <c:pt idx="397">
                  <c:v>101.02086002839606</c:v>
                </c:pt>
                <c:pt idx="398">
                  <c:v>102.01734230698152</c:v>
                </c:pt>
                <c:pt idx="399">
                  <c:v>101.52768069001694</c:v>
                </c:pt>
                <c:pt idx="400">
                  <c:v>100.5752068359421</c:v>
                </c:pt>
                <c:pt idx="401">
                  <c:v>100.19932889764662</c:v>
                </c:pt>
                <c:pt idx="402">
                  <c:v>100.17579722373694</c:v>
                </c:pt>
                <c:pt idx="403">
                  <c:v>98.615171137913222</c:v>
                </c:pt>
                <c:pt idx="404">
                  <c:v>98.283926559721834</c:v>
                </c:pt>
                <c:pt idx="405">
                  <c:v>99.152869510916489</c:v>
                </c:pt>
                <c:pt idx="406">
                  <c:v>100.48365459833504</c:v>
                </c:pt>
                <c:pt idx="407">
                  <c:v>99.677124627828078</c:v>
                </c:pt>
                <c:pt idx="408">
                  <c:v>98.3850024128798</c:v>
                </c:pt>
                <c:pt idx="409">
                  <c:v>98.705002359721945</c:v>
                </c:pt>
                <c:pt idx="410">
                  <c:v>99.38717390546536</c:v>
                </c:pt>
                <c:pt idx="411">
                  <c:v>100.67607492845771</c:v>
                </c:pt>
                <c:pt idx="412">
                  <c:v>100.82854192492803</c:v>
                </c:pt>
                <c:pt idx="413">
                  <c:v>100.78646468219115</c:v>
                </c:pt>
                <c:pt idx="414">
                  <c:v>100.62097641524642</c:v>
                </c:pt>
                <c:pt idx="415">
                  <c:v>101.55321194735902</c:v>
                </c:pt>
                <c:pt idx="416">
                  <c:v>101.00357124608827</c:v>
                </c:pt>
                <c:pt idx="417">
                  <c:v>100.18396889177954</c:v>
                </c:pt>
                <c:pt idx="418">
                  <c:v>100.18396889177954</c:v>
                </c:pt>
                <c:pt idx="419">
                  <c:v>98.271099219224681</c:v>
                </c:pt>
                <c:pt idx="420">
                  <c:v>98.2565472549296</c:v>
                </c:pt>
                <c:pt idx="421">
                  <c:v>97.03812474534665</c:v>
                </c:pt>
                <c:pt idx="422">
                  <c:v>95.000359507091218</c:v>
                </c:pt>
                <c:pt idx="423">
                  <c:v>94.105955203546287</c:v>
                </c:pt>
                <c:pt idx="424">
                  <c:v>93.872311674253311</c:v>
                </c:pt>
                <c:pt idx="425">
                  <c:v>94.121050472444395</c:v>
                </c:pt>
                <c:pt idx="426">
                  <c:v>93.077096841420669</c:v>
                </c:pt>
                <c:pt idx="427">
                  <c:v>93.36599177290708</c:v>
                </c:pt>
                <c:pt idx="428">
                  <c:v>91.676621438167032</c:v>
                </c:pt>
                <c:pt idx="429">
                  <c:v>91.257906923556959</c:v>
                </c:pt>
                <c:pt idx="430">
                  <c:v>91.646591005352064</c:v>
                </c:pt>
                <c:pt idx="431">
                  <c:v>89.918523672479097</c:v>
                </c:pt>
                <c:pt idx="432">
                  <c:v>90.292808829294529</c:v>
                </c:pt>
                <c:pt idx="433">
                  <c:v>92.641035215176331</c:v>
                </c:pt>
                <c:pt idx="434">
                  <c:v>91.698401428281954</c:v>
                </c:pt>
                <c:pt idx="435">
                  <c:v>92.579606617039957</c:v>
                </c:pt>
                <c:pt idx="436">
                  <c:v>92.327732467216208</c:v>
                </c:pt>
                <c:pt idx="437">
                  <c:v>92.411485111737065</c:v>
                </c:pt>
                <c:pt idx="438">
                  <c:v>94.190545054302405</c:v>
                </c:pt>
                <c:pt idx="439">
                  <c:v>94.461130440267297</c:v>
                </c:pt>
                <c:pt idx="440">
                  <c:v>92.796319157316589</c:v>
                </c:pt>
                <c:pt idx="441">
                  <c:v>92.926078306447351</c:v>
                </c:pt>
                <c:pt idx="442">
                  <c:v>93.421654938052242</c:v>
                </c:pt>
                <c:pt idx="443">
                  <c:v>91.916475838065693</c:v>
                </c:pt>
                <c:pt idx="444">
                  <c:v>90.392513943279738</c:v>
                </c:pt>
                <c:pt idx="445">
                  <c:v>89.796826598403797</c:v>
                </c:pt>
                <c:pt idx="446">
                  <c:v>89.702392170467732</c:v>
                </c:pt>
                <c:pt idx="447">
                  <c:v>88.640569470537557</c:v>
                </c:pt>
                <c:pt idx="448">
                  <c:v>89.704346804238739</c:v>
                </c:pt>
                <c:pt idx="449">
                  <c:v>90.761186105086111</c:v>
                </c:pt>
                <c:pt idx="450">
                  <c:v>91.74534330678226</c:v>
                </c:pt>
                <c:pt idx="451">
                  <c:v>93.222770425686889</c:v>
                </c:pt>
                <c:pt idx="452">
                  <c:v>93.204263342188526</c:v>
                </c:pt>
                <c:pt idx="453">
                  <c:v>92.888603818837851</c:v>
                </c:pt>
                <c:pt idx="454">
                  <c:v>94.090042422077289</c:v>
                </c:pt>
                <c:pt idx="455">
                  <c:v>93.048320338792124</c:v>
                </c:pt>
                <c:pt idx="456">
                  <c:v>92.689084148213567</c:v>
                </c:pt>
                <c:pt idx="457">
                  <c:v>93.881132180886567</c:v>
                </c:pt>
                <c:pt idx="458">
                  <c:v>93.921628969475279</c:v>
                </c:pt>
                <c:pt idx="459">
                  <c:v>93.48952396576739</c:v>
                </c:pt>
                <c:pt idx="460">
                  <c:v>95.190972530092324</c:v>
                </c:pt>
                <c:pt idx="461">
                  <c:v>95.972601891516646</c:v>
                </c:pt>
                <c:pt idx="462">
                  <c:v>96.618343615861534</c:v>
                </c:pt>
                <c:pt idx="463">
                  <c:v>97.20891090867066</c:v>
                </c:pt>
                <c:pt idx="464">
                  <c:v>97.188772558363397</c:v>
                </c:pt>
                <c:pt idx="465">
                  <c:v>96.353980074834368</c:v>
                </c:pt>
                <c:pt idx="466">
                  <c:v>96.652807378157092</c:v>
                </c:pt>
                <c:pt idx="467">
                  <c:v>96.582178230765336</c:v>
                </c:pt>
                <c:pt idx="468">
                  <c:v>98.354031795508305</c:v>
                </c:pt>
                <c:pt idx="469">
                  <c:v>98.437269548422847</c:v>
                </c:pt>
                <c:pt idx="470">
                  <c:v>97.934100182374166</c:v>
                </c:pt>
                <c:pt idx="471">
                  <c:v>98.079600732993981</c:v>
                </c:pt>
                <c:pt idx="472">
                  <c:v>99.395553183816986</c:v>
                </c:pt>
                <c:pt idx="473">
                  <c:v>99.558861617683775</c:v>
                </c:pt>
                <c:pt idx="474">
                  <c:v>99.45434388326241</c:v>
                </c:pt>
                <c:pt idx="475">
                  <c:v>99.455209502494327</c:v>
                </c:pt>
                <c:pt idx="476">
                  <c:v>98.717036992645276</c:v>
                </c:pt>
                <c:pt idx="477">
                  <c:v>98.175466785095651</c:v>
                </c:pt>
                <c:pt idx="478">
                  <c:v>98.266272768123486</c:v>
                </c:pt>
                <c:pt idx="479">
                  <c:v>98.503712965304985</c:v>
                </c:pt>
                <c:pt idx="480">
                  <c:v>99.083239027741058</c:v>
                </c:pt>
                <c:pt idx="481">
                  <c:v>100.11834824913433</c:v>
                </c:pt>
                <c:pt idx="482">
                  <c:v>99.83363619182451</c:v>
                </c:pt>
                <c:pt idx="483">
                  <c:v>99.363458073243933</c:v>
                </c:pt>
                <c:pt idx="484">
                  <c:v>99.409155943556627</c:v>
                </c:pt>
                <c:pt idx="485">
                  <c:v>98.063611431867287</c:v>
                </c:pt>
                <c:pt idx="486">
                  <c:v>98.984324065663259</c:v>
                </c:pt>
                <c:pt idx="487">
                  <c:v>98.296347098266651</c:v>
                </c:pt>
                <c:pt idx="488">
                  <c:v>98.93977564388257</c:v>
                </c:pt>
                <c:pt idx="489">
                  <c:v>98.951406782186524</c:v>
                </c:pt>
                <c:pt idx="490">
                  <c:v>99.685870569136739</c:v>
                </c:pt>
                <c:pt idx="491">
                  <c:v>101.02665552805037</c:v>
                </c:pt>
                <c:pt idx="492">
                  <c:v>101.38987119182936</c:v>
                </c:pt>
                <c:pt idx="493">
                  <c:v>101.30266163271351</c:v>
                </c:pt>
                <c:pt idx="494">
                  <c:v>101.60004378187222</c:v>
                </c:pt>
                <c:pt idx="495">
                  <c:v>102.66908097762379</c:v>
                </c:pt>
                <c:pt idx="496">
                  <c:v>102.80119615047853</c:v>
                </c:pt>
                <c:pt idx="497">
                  <c:v>102.53288019624776</c:v>
                </c:pt>
                <c:pt idx="498">
                  <c:v>102.27855200537819</c:v>
                </c:pt>
                <c:pt idx="499">
                  <c:v>102.07138999031595</c:v>
                </c:pt>
                <c:pt idx="500">
                  <c:v>102.26302452819741</c:v>
                </c:pt>
                <c:pt idx="501">
                  <c:v>102.29345108929928</c:v>
                </c:pt>
                <c:pt idx="502">
                  <c:v>101.79975633014055</c:v>
                </c:pt>
                <c:pt idx="503">
                  <c:v>101.41335024907856</c:v>
                </c:pt>
                <c:pt idx="504">
                  <c:v>101.72254574051986</c:v>
                </c:pt>
                <c:pt idx="505">
                  <c:v>100.69725568997619</c:v>
                </c:pt>
                <c:pt idx="506">
                  <c:v>99.824200220596708</c:v>
                </c:pt>
                <c:pt idx="507">
                  <c:v>99.686044805449654</c:v>
                </c:pt>
                <c:pt idx="508">
                  <c:v>99.822065637846791</c:v>
                </c:pt>
                <c:pt idx="509">
                  <c:v>99.812202419335705</c:v>
                </c:pt>
                <c:pt idx="510">
                  <c:v>101.00489417926659</c:v>
                </c:pt>
                <c:pt idx="511">
                  <c:v>100.48706430826888</c:v>
                </c:pt>
                <c:pt idx="512">
                  <c:v>100.31210158476753</c:v>
                </c:pt>
                <c:pt idx="513">
                  <c:v>99.475456994788786</c:v>
                </c:pt>
                <c:pt idx="514">
                  <c:v>100.2530401350205</c:v>
                </c:pt>
                <c:pt idx="515">
                  <c:v>99.86418271891236</c:v>
                </c:pt>
                <c:pt idx="516">
                  <c:v>99.846195187353104</c:v>
                </c:pt>
                <c:pt idx="517">
                  <c:v>99.049768667995778</c:v>
                </c:pt>
                <c:pt idx="518">
                  <c:v>99.803153706729177</c:v>
                </c:pt>
                <c:pt idx="519">
                  <c:v>99.564663281004044</c:v>
                </c:pt>
                <c:pt idx="520">
                  <c:v>100.70882564262067</c:v>
                </c:pt>
                <c:pt idx="521">
                  <c:v>101.59954106726445</c:v>
                </c:pt>
                <c:pt idx="522">
                  <c:v>101.81143903277182</c:v>
                </c:pt>
                <c:pt idx="523">
                  <c:v>102.06474255176144</c:v>
                </c:pt>
                <c:pt idx="524">
                  <c:v>102.11351699338036</c:v>
                </c:pt>
                <c:pt idx="525">
                  <c:v>101.98295040401086</c:v>
                </c:pt>
                <c:pt idx="526">
                  <c:v>101.88563784474533</c:v>
                </c:pt>
                <c:pt idx="527">
                  <c:v>101.96006185602585</c:v>
                </c:pt>
                <c:pt idx="528">
                  <c:v>102.25430294088586</c:v>
                </c:pt>
                <c:pt idx="529">
                  <c:v>102.73709808365493</c:v>
                </c:pt>
                <c:pt idx="530">
                  <c:v>103.22138077458303</c:v>
                </c:pt>
                <c:pt idx="531">
                  <c:v>103.53635552968059</c:v>
                </c:pt>
                <c:pt idx="532">
                  <c:v>102.90473671834772</c:v>
                </c:pt>
                <c:pt idx="533">
                  <c:v>101.47792592484622</c:v>
                </c:pt>
                <c:pt idx="534">
                  <c:v>100.29777000911326</c:v>
                </c:pt>
                <c:pt idx="535">
                  <c:v>99.375125892876923</c:v>
                </c:pt>
                <c:pt idx="536">
                  <c:v>99.583570702122188</c:v>
                </c:pt>
                <c:pt idx="537">
                  <c:v>99.246866769570431</c:v>
                </c:pt>
                <c:pt idx="538">
                  <c:v>99.71695634182808</c:v>
                </c:pt>
                <c:pt idx="539">
                  <c:v>101.45222854919025</c:v>
                </c:pt>
                <c:pt idx="540">
                  <c:v>101.74111250634459</c:v>
                </c:pt>
                <c:pt idx="541">
                  <c:v>101.68944204373165</c:v>
                </c:pt>
                <c:pt idx="542">
                  <c:v>103.14773368587819</c:v>
                </c:pt>
                <c:pt idx="543">
                  <c:v>98.090057617768849</c:v>
                </c:pt>
                <c:pt idx="544">
                  <c:v>95.832794764229774</c:v>
                </c:pt>
                <c:pt idx="545">
                  <c:v>97.525421017921673</c:v>
                </c:pt>
                <c:pt idx="546">
                  <c:v>99.68690215634922</c:v>
                </c:pt>
                <c:pt idx="547">
                  <c:v>100.84018899856346</c:v>
                </c:pt>
                <c:pt idx="548">
                  <c:v>101.27808378925971</c:v>
                </c:pt>
                <c:pt idx="549">
                  <c:v>101.31716579101419</c:v>
                </c:pt>
                <c:pt idx="550">
                  <c:v>100.38486065457639</c:v>
                </c:pt>
                <c:pt idx="551">
                  <c:v>100.11036284406991</c:v>
                </c:pt>
                <c:pt idx="552">
                  <c:v>100.31033080864165</c:v>
                </c:pt>
                <c:pt idx="553">
                  <c:v>101.43260238448966</c:v>
                </c:pt>
                <c:pt idx="554">
                  <c:v>102.28168946167726</c:v>
                </c:pt>
                <c:pt idx="555">
                  <c:v>103.16897382905637</c:v>
                </c:pt>
                <c:pt idx="556">
                  <c:v>103.39855820849159</c:v>
                </c:pt>
                <c:pt idx="557">
                  <c:v>103.93960224943619</c:v>
                </c:pt>
                <c:pt idx="558">
                  <c:v>103.77756022342106</c:v>
                </c:pt>
                <c:pt idx="559">
                  <c:v>103.98445479551461</c:v>
                </c:pt>
                <c:pt idx="560">
                  <c:v>103.66764642496523</c:v>
                </c:pt>
                <c:pt idx="561">
                  <c:v>104.19772289886144</c:v>
                </c:pt>
                <c:pt idx="562">
                  <c:v>104.08172120245223</c:v>
                </c:pt>
                <c:pt idx="563">
                  <c:v>104.17939185567577</c:v>
                </c:pt>
                <c:pt idx="564">
                  <c:v>103.99536749090275</c:v>
                </c:pt>
                <c:pt idx="565">
                  <c:v>104.12239478302024</c:v>
                </c:pt>
                <c:pt idx="566">
                  <c:v>104.15049283139493</c:v>
                </c:pt>
                <c:pt idx="567">
                  <c:v>104.23283790508073</c:v>
                </c:pt>
                <c:pt idx="568">
                  <c:v>105.1005303837552</c:v>
                </c:pt>
                <c:pt idx="569">
                  <c:v>104.84909265154698</c:v>
                </c:pt>
                <c:pt idx="570">
                  <c:v>104.17271239612502</c:v>
                </c:pt>
                <c:pt idx="571">
                  <c:v>103.9994407720922</c:v>
                </c:pt>
                <c:pt idx="572">
                  <c:v>104.28285876022028</c:v>
                </c:pt>
                <c:pt idx="573">
                  <c:v>104.83359764636238</c:v>
                </c:pt>
                <c:pt idx="574">
                  <c:v>105.03695577753693</c:v>
                </c:pt>
                <c:pt idx="575">
                  <c:v>105.56460301538446</c:v>
                </c:pt>
                <c:pt idx="576">
                  <c:v>105.51790272252252</c:v>
                </c:pt>
                <c:pt idx="577">
                  <c:v>106.07202921960106</c:v>
                </c:pt>
                <c:pt idx="578">
                  <c:v>106.09891062045162</c:v>
                </c:pt>
                <c:pt idx="579">
                  <c:v>106.30983908640592</c:v>
                </c:pt>
                <c:pt idx="580">
                  <c:v>105.79952603152753</c:v>
                </c:pt>
                <c:pt idx="581">
                  <c:v>105.86325923939388</c:v>
                </c:pt>
                <c:pt idx="582">
                  <c:v>106.19055621504778</c:v>
                </c:pt>
                <c:pt idx="583">
                  <c:v>105.89349623018465</c:v>
                </c:pt>
                <c:pt idx="584">
                  <c:v>105.94191738851163</c:v>
                </c:pt>
                <c:pt idx="585">
                  <c:v>106.30821082626336</c:v>
                </c:pt>
                <c:pt idx="586">
                  <c:v>105.86239873149469</c:v>
                </c:pt>
                <c:pt idx="587">
                  <c:v>105.6298347457419</c:v>
                </c:pt>
                <c:pt idx="588">
                  <c:v>105.55731365357181</c:v>
                </c:pt>
                <c:pt idx="589">
                  <c:v>105.54045482454697</c:v>
                </c:pt>
                <c:pt idx="590">
                  <c:v>105.43031146711803</c:v>
                </c:pt>
                <c:pt idx="591">
                  <c:v>105.18787900118809</c:v>
                </c:pt>
                <c:pt idx="592">
                  <c:v>105.43947533504441</c:v>
                </c:pt>
                <c:pt idx="593">
                  <c:v>106.11957032669781</c:v>
                </c:pt>
                <c:pt idx="594">
                  <c:v>106.29094128662</c:v>
                </c:pt>
                <c:pt idx="595">
                  <c:v>106.81497616522407</c:v>
                </c:pt>
                <c:pt idx="596">
                  <c:v>106.92510584232127</c:v>
                </c:pt>
                <c:pt idx="597">
                  <c:v>106.7453826640443</c:v>
                </c:pt>
                <c:pt idx="598">
                  <c:v>104.51381387882823</c:v>
                </c:pt>
                <c:pt idx="599">
                  <c:v>104.99541537507046</c:v>
                </c:pt>
                <c:pt idx="600">
                  <c:v>103.7301157806463</c:v>
                </c:pt>
                <c:pt idx="601">
                  <c:v>103.59272616340954</c:v>
                </c:pt>
                <c:pt idx="602">
                  <c:v>104.3546505854758</c:v>
                </c:pt>
                <c:pt idx="603">
                  <c:v>103.83324864456324</c:v>
                </c:pt>
                <c:pt idx="604">
                  <c:v>104.25272369541756</c:v>
                </c:pt>
                <c:pt idx="605">
                  <c:v>104.26364330613822</c:v>
                </c:pt>
                <c:pt idx="606">
                  <c:v>105.39709727534276</c:v>
                </c:pt>
                <c:pt idx="607">
                  <c:v>106.5579349090057</c:v>
                </c:pt>
                <c:pt idx="608">
                  <c:v>105.89394287046565</c:v>
                </c:pt>
                <c:pt idx="609">
                  <c:v>104.98977471873133</c:v>
                </c:pt>
                <c:pt idx="610">
                  <c:v>105.30338279365567</c:v>
                </c:pt>
                <c:pt idx="611">
                  <c:v>105.74037543412429</c:v>
                </c:pt>
                <c:pt idx="612">
                  <c:v>105.38323729529992</c:v>
                </c:pt>
                <c:pt idx="613">
                  <c:v>105.74662930005825</c:v>
                </c:pt>
                <c:pt idx="614">
                  <c:v>105.57795712381987</c:v>
                </c:pt>
                <c:pt idx="615">
                  <c:v>105.27521123228958</c:v>
                </c:pt>
                <c:pt idx="616">
                  <c:v>105.49769115989052</c:v>
                </c:pt>
                <c:pt idx="617">
                  <c:v>105.33538229223996</c:v>
                </c:pt>
                <c:pt idx="618">
                  <c:v>104.9690810371558</c:v>
                </c:pt>
                <c:pt idx="619">
                  <c:v>105.39149149633286</c:v>
                </c:pt>
                <c:pt idx="620">
                  <c:v>104.22947990980748</c:v>
                </c:pt>
                <c:pt idx="621">
                  <c:v>103.9414498458864</c:v>
                </c:pt>
                <c:pt idx="622">
                  <c:v>103.58089493146234</c:v>
                </c:pt>
                <c:pt idx="623">
                  <c:v>103.83197817771213</c:v>
                </c:pt>
                <c:pt idx="624">
                  <c:v>103.47335128806216</c:v>
                </c:pt>
                <c:pt idx="625">
                  <c:v>104.28631552448195</c:v>
                </c:pt>
                <c:pt idx="626">
                  <c:v>104.63865397153531</c:v>
                </c:pt>
                <c:pt idx="627">
                  <c:v>104.48353013437628</c:v>
                </c:pt>
                <c:pt idx="628">
                  <c:v>104.30731678802144</c:v>
                </c:pt>
                <c:pt idx="629">
                  <c:v>104.62232912644791</c:v>
                </c:pt>
                <c:pt idx="630">
                  <c:v>104.31455684050653</c:v>
                </c:pt>
                <c:pt idx="631">
                  <c:v>104.23681467228147</c:v>
                </c:pt>
                <c:pt idx="632">
                  <c:v>103.92268433941831</c:v>
                </c:pt>
                <c:pt idx="633">
                  <c:v>103.70067976576169</c:v>
                </c:pt>
                <c:pt idx="634">
                  <c:v>103.70012593782658</c:v>
                </c:pt>
                <c:pt idx="635">
                  <c:v>103.27382635577185</c:v>
                </c:pt>
                <c:pt idx="636">
                  <c:v>102.59672450043445</c:v>
                </c:pt>
                <c:pt idx="637">
                  <c:v>102.25992194922755</c:v>
                </c:pt>
                <c:pt idx="638">
                  <c:v>101.84380729897956</c:v>
                </c:pt>
                <c:pt idx="639">
                  <c:v>103.40852605899042</c:v>
                </c:pt>
                <c:pt idx="640">
                  <c:v>103.8069046853164</c:v>
                </c:pt>
                <c:pt idx="641">
                  <c:v>104.09989905598916</c:v>
                </c:pt>
                <c:pt idx="642">
                  <c:v>104.41860373098307</c:v>
                </c:pt>
                <c:pt idx="643">
                  <c:v>104.15525569150358</c:v>
                </c:pt>
                <c:pt idx="644">
                  <c:v>103.88905988802442</c:v>
                </c:pt>
                <c:pt idx="645">
                  <c:v>104.48687895931728</c:v>
                </c:pt>
                <c:pt idx="646">
                  <c:v>104.29090580194415</c:v>
                </c:pt>
                <c:pt idx="647">
                  <c:v>104.82215713070275</c:v>
                </c:pt>
                <c:pt idx="648">
                  <c:v>104.23827335644391</c:v>
                </c:pt>
                <c:pt idx="649">
                  <c:v>105.04750090796813</c:v>
                </c:pt>
                <c:pt idx="650">
                  <c:v>105.2091326743647</c:v>
                </c:pt>
                <c:pt idx="651">
                  <c:v>105.00554363121719</c:v>
                </c:pt>
                <c:pt idx="652">
                  <c:v>105.23208736900864</c:v>
                </c:pt>
                <c:pt idx="653">
                  <c:v>105.69837155404547</c:v>
                </c:pt>
                <c:pt idx="654">
                  <c:v>105.22365351966343</c:v>
                </c:pt>
                <c:pt idx="655">
                  <c:v>105.3855207080324</c:v>
                </c:pt>
                <c:pt idx="656">
                  <c:v>105.19123218579523</c:v>
                </c:pt>
                <c:pt idx="657">
                  <c:v>104.98270769989264</c:v>
                </c:pt>
                <c:pt idx="658">
                  <c:v>105.00159738167953</c:v>
                </c:pt>
                <c:pt idx="659">
                  <c:v>105.5708424493201</c:v>
                </c:pt>
                <c:pt idx="660">
                  <c:v>106.16969491182522</c:v>
                </c:pt>
                <c:pt idx="661">
                  <c:v>107.50074654021256</c:v>
                </c:pt>
                <c:pt idx="662">
                  <c:v>107.7306085852819</c:v>
                </c:pt>
                <c:pt idx="663">
                  <c:v>108.17216038421635</c:v>
                </c:pt>
                <c:pt idx="664">
                  <c:v>108.18269649464862</c:v>
                </c:pt>
                <c:pt idx="665">
                  <c:v>109.03713904587546</c:v>
                </c:pt>
                <c:pt idx="666">
                  <c:v>108.40833733054586</c:v>
                </c:pt>
                <c:pt idx="667">
                  <c:v>107.84517504952595</c:v>
                </c:pt>
                <c:pt idx="668">
                  <c:v>107.86047011140067</c:v>
                </c:pt>
                <c:pt idx="669">
                  <c:v>108.11517052755994</c:v>
                </c:pt>
                <c:pt idx="670">
                  <c:v>108.2825944862779</c:v>
                </c:pt>
                <c:pt idx="671">
                  <c:v>108.20570500861962</c:v>
                </c:pt>
                <c:pt idx="672">
                  <c:v>108.07434345667659</c:v>
                </c:pt>
                <c:pt idx="673">
                  <c:v>108.15972451167335</c:v>
                </c:pt>
                <c:pt idx="674">
                  <c:v>108.11876364413899</c:v>
                </c:pt>
                <c:pt idx="675">
                  <c:v>108.24704381410967</c:v>
                </c:pt>
                <c:pt idx="676">
                  <c:v>107.64954314877954</c:v>
                </c:pt>
                <c:pt idx="677">
                  <c:v>107.81324019426745</c:v>
                </c:pt>
                <c:pt idx="678">
                  <c:v>107.70828844756359</c:v>
                </c:pt>
                <c:pt idx="679">
                  <c:v>107.82349518139931</c:v>
                </c:pt>
                <c:pt idx="680">
                  <c:v>108.12597648629394</c:v>
                </c:pt>
                <c:pt idx="681">
                  <c:v>109.11853326133931</c:v>
                </c:pt>
                <c:pt idx="682">
                  <c:v>109.64189569902216</c:v>
                </c:pt>
                <c:pt idx="683">
                  <c:v>109.69673233159752</c:v>
                </c:pt>
                <c:pt idx="684">
                  <c:v>109.31822115494387</c:v>
                </c:pt>
                <c:pt idx="685">
                  <c:v>109.48523019371044</c:v>
                </c:pt>
                <c:pt idx="686">
                  <c:v>109.39973744106011</c:v>
                </c:pt>
                <c:pt idx="687">
                  <c:v>109.72519899726237</c:v>
                </c:pt>
                <c:pt idx="688">
                  <c:v>110.02007944971417</c:v>
                </c:pt>
                <c:pt idx="689">
                  <c:v>109.74551383888227</c:v>
                </c:pt>
                <c:pt idx="690">
                  <c:v>109.69033579934693</c:v>
                </c:pt>
                <c:pt idx="691">
                  <c:v>109.87219611604017</c:v>
                </c:pt>
                <c:pt idx="692">
                  <c:v>109.28043848403716</c:v>
                </c:pt>
                <c:pt idx="693">
                  <c:v>109.69370777561853</c:v>
                </c:pt>
                <c:pt idx="694">
                  <c:v>109.61787995183585</c:v>
                </c:pt>
                <c:pt idx="695">
                  <c:v>110.18286216797586</c:v>
                </c:pt>
                <c:pt idx="696">
                  <c:v>111.12095964706839</c:v>
                </c:pt>
                <c:pt idx="697">
                  <c:v>110.99508435914926</c:v>
                </c:pt>
                <c:pt idx="698">
                  <c:v>110.97678729129295</c:v>
                </c:pt>
                <c:pt idx="699">
                  <c:v>110.28628442352557</c:v>
                </c:pt>
                <c:pt idx="700">
                  <c:v>110.3078443256663</c:v>
                </c:pt>
                <c:pt idx="701">
                  <c:v>110.37871956869587</c:v>
                </c:pt>
                <c:pt idx="702">
                  <c:v>110.49491248908272</c:v>
                </c:pt>
                <c:pt idx="703">
                  <c:v>111.13923927626006</c:v>
                </c:pt>
                <c:pt idx="704">
                  <c:v>110.69125802207888</c:v>
                </c:pt>
                <c:pt idx="705">
                  <c:v>110.63795073032436</c:v>
                </c:pt>
                <c:pt idx="706">
                  <c:v>110.95826998512909</c:v>
                </c:pt>
                <c:pt idx="707">
                  <c:v>111.2951379313283</c:v>
                </c:pt>
                <c:pt idx="708">
                  <c:v>111.73908814798178</c:v>
                </c:pt>
                <c:pt idx="709">
                  <c:v>112.28551818062869</c:v>
                </c:pt>
                <c:pt idx="710">
                  <c:v>112.31634808601667</c:v>
                </c:pt>
                <c:pt idx="711">
                  <c:v>112.93519668351234</c:v>
                </c:pt>
                <c:pt idx="712">
                  <c:v>113.15280776601706</c:v>
                </c:pt>
                <c:pt idx="713">
                  <c:v>113.15127301319686</c:v>
                </c:pt>
                <c:pt idx="714">
                  <c:v>113.17193557577603</c:v>
                </c:pt>
                <c:pt idx="715">
                  <c:v>113.56020428661979</c:v>
                </c:pt>
                <c:pt idx="716">
                  <c:v>113.53277597316665</c:v>
                </c:pt>
                <c:pt idx="717">
                  <c:v>113.75054881431903</c:v>
                </c:pt>
                <c:pt idx="718">
                  <c:v>113.48571518101363</c:v>
                </c:pt>
                <c:pt idx="719">
                  <c:v>113.5414816251467</c:v>
                </c:pt>
                <c:pt idx="720">
                  <c:v>113.36816234545277</c:v>
                </c:pt>
                <c:pt idx="721">
                  <c:v>114.46981886404934</c:v>
                </c:pt>
                <c:pt idx="722">
                  <c:v>114.03001393824357</c:v>
                </c:pt>
                <c:pt idx="723">
                  <c:v>114.0412871329228</c:v>
                </c:pt>
                <c:pt idx="724">
                  <c:v>113.84149355499729</c:v>
                </c:pt>
                <c:pt idx="725">
                  <c:v>113.52981410618032</c:v>
                </c:pt>
                <c:pt idx="726">
                  <c:v>113.18599610046205</c:v>
                </c:pt>
                <c:pt idx="727">
                  <c:v>113.2706561568766</c:v>
                </c:pt>
                <c:pt idx="728">
                  <c:v>113.8879824792173</c:v>
                </c:pt>
                <c:pt idx="729">
                  <c:v>114.1602661806499</c:v>
                </c:pt>
                <c:pt idx="730">
                  <c:v>113.72839329158144</c:v>
                </c:pt>
                <c:pt idx="731">
                  <c:v>114.4228829988817</c:v>
                </c:pt>
                <c:pt idx="732">
                  <c:v>115.06255050560492</c:v>
                </c:pt>
                <c:pt idx="733">
                  <c:v>115.00624631920151</c:v>
                </c:pt>
                <c:pt idx="734">
                  <c:v>114.85483661694067</c:v>
                </c:pt>
                <c:pt idx="735">
                  <c:v>113.98796736350309</c:v>
                </c:pt>
                <c:pt idx="736">
                  <c:v>113.75818830242402</c:v>
                </c:pt>
                <c:pt idx="737">
                  <c:v>113.90558004615559</c:v>
                </c:pt>
                <c:pt idx="738">
                  <c:v>113.96171811424512</c:v>
                </c:pt>
                <c:pt idx="739">
                  <c:v>113.92393213600545</c:v>
                </c:pt>
                <c:pt idx="740">
                  <c:v>114.7729103718725</c:v>
                </c:pt>
                <c:pt idx="741">
                  <c:v>114.73434190872452</c:v>
                </c:pt>
                <c:pt idx="742">
                  <c:v>114.95036757608159</c:v>
                </c:pt>
                <c:pt idx="743">
                  <c:v>114.57574913030524</c:v>
                </c:pt>
                <c:pt idx="744">
                  <c:v>114.28734398476146</c:v>
                </c:pt>
                <c:pt idx="745">
                  <c:v>114.35967956561994</c:v>
                </c:pt>
                <c:pt idx="746">
                  <c:v>114.11783445195451</c:v>
                </c:pt>
                <c:pt idx="747">
                  <c:v>114.18801906373169</c:v>
                </c:pt>
                <c:pt idx="748">
                  <c:v>114.12225861110285</c:v>
                </c:pt>
                <c:pt idx="749">
                  <c:v>114.22159871579748</c:v>
                </c:pt>
                <c:pt idx="750">
                  <c:v>114.29788325219334</c:v>
                </c:pt>
                <c:pt idx="751">
                  <c:v>113.99586557524439</c:v>
                </c:pt>
                <c:pt idx="752">
                  <c:v>113.39059869082413</c:v>
                </c:pt>
                <c:pt idx="753">
                  <c:v>113.3383431309464</c:v>
                </c:pt>
                <c:pt idx="754">
                  <c:v>114.19536690520415</c:v>
                </c:pt>
                <c:pt idx="755">
                  <c:v>113.66004860925538</c:v>
                </c:pt>
                <c:pt idx="756">
                  <c:v>113.52874794230523</c:v>
                </c:pt>
                <c:pt idx="757">
                  <c:v>114.2528429398036</c:v>
                </c:pt>
                <c:pt idx="758">
                  <c:v>113.97395644881128</c:v>
                </c:pt>
                <c:pt idx="759">
                  <c:v>115.81329884831391</c:v>
                </c:pt>
                <c:pt idx="760">
                  <c:v>116.46271697389474</c:v>
                </c:pt>
                <c:pt idx="761">
                  <c:v>116.4930331903429</c:v>
                </c:pt>
                <c:pt idx="762">
                  <c:v>116.4396074359356</c:v>
                </c:pt>
                <c:pt idx="763">
                  <c:v>116.27225789220894</c:v>
                </c:pt>
                <c:pt idx="764">
                  <c:v>116.53421444651811</c:v>
                </c:pt>
                <c:pt idx="765">
                  <c:v>116.78061450931654</c:v>
                </c:pt>
                <c:pt idx="766">
                  <c:v>116.60629566340641</c:v>
                </c:pt>
                <c:pt idx="767">
                  <c:v>116.83441519501325</c:v>
                </c:pt>
                <c:pt idx="768">
                  <c:v>117.48092978293427</c:v>
                </c:pt>
                <c:pt idx="769">
                  <c:v>117.54948237623599</c:v>
                </c:pt>
                <c:pt idx="770">
                  <c:v>117.3154899233172</c:v>
                </c:pt>
                <c:pt idx="771">
                  <c:v>117.49560502054825</c:v>
                </c:pt>
                <c:pt idx="772">
                  <c:v>117.24857220482396</c:v>
                </c:pt>
                <c:pt idx="773">
                  <c:v>117.36803231916133</c:v>
                </c:pt>
                <c:pt idx="774">
                  <c:v>117.93084116655599</c:v>
                </c:pt>
                <c:pt idx="775">
                  <c:v>118.25271366517876</c:v>
                </c:pt>
                <c:pt idx="776">
                  <c:v>116.80603903000448</c:v>
                </c:pt>
                <c:pt idx="777">
                  <c:v>116.73469534836309</c:v>
                </c:pt>
                <c:pt idx="778">
                  <c:v>117.59612178410505</c:v>
                </c:pt>
                <c:pt idx="779">
                  <c:v>118.24159456214811</c:v>
                </c:pt>
                <c:pt idx="780">
                  <c:v>118.35579135676883</c:v>
                </c:pt>
                <c:pt idx="781">
                  <c:v>118.43310582671064</c:v>
                </c:pt>
                <c:pt idx="782">
                  <c:v>118.86362646760421</c:v>
                </c:pt>
                <c:pt idx="783">
                  <c:v>118.7252792271463</c:v>
                </c:pt>
                <c:pt idx="784">
                  <c:v>118.69796306234666</c:v>
                </c:pt>
                <c:pt idx="785">
                  <c:v>118.60384268070712</c:v>
                </c:pt>
                <c:pt idx="786">
                  <c:v>118.73193839169944</c:v>
                </c:pt>
                <c:pt idx="787">
                  <c:v>119.45990116474465</c:v>
                </c:pt>
                <c:pt idx="788">
                  <c:v>120.21485748729397</c:v>
                </c:pt>
                <c:pt idx="789">
                  <c:v>120.00556524914798</c:v>
                </c:pt>
                <c:pt idx="790">
                  <c:v>119.65571000780369</c:v>
                </c:pt>
                <c:pt idx="791">
                  <c:v>119.73018934174435</c:v>
                </c:pt>
                <c:pt idx="792">
                  <c:v>119.566652551571</c:v>
                </c:pt>
                <c:pt idx="793">
                  <c:v>119.48056613265688</c:v>
                </c:pt>
                <c:pt idx="794">
                  <c:v>119.23382075423223</c:v>
                </c:pt>
                <c:pt idx="795">
                  <c:v>119.87223102343609</c:v>
                </c:pt>
                <c:pt idx="796">
                  <c:v>119.98984549565638</c:v>
                </c:pt>
                <c:pt idx="797">
                  <c:v>119.13134574890488</c:v>
                </c:pt>
                <c:pt idx="798">
                  <c:v>119.5497759832149</c:v>
                </c:pt>
                <c:pt idx="799">
                  <c:v>120.37841863146448</c:v>
                </c:pt>
                <c:pt idx="800">
                  <c:v>119.51152472336311</c:v>
                </c:pt>
                <c:pt idx="801">
                  <c:v>119.36047627205994</c:v>
                </c:pt>
                <c:pt idx="802">
                  <c:v>119.45929066114951</c:v>
                </c:pt>
                <c:pt idx="803">
                  <c:v>119.67595780076479</c:v>
                </c:pt>
                <c:pt idx="804">
                  <c:v>119.83152106220567</c:v>
                </c:pt>
                <c:pt idx="805">
                  <c:v>119.21906974862712</c:v>
                </c:pt>
                <c:pt idx="806">
                  <c:v>120.12541923677256</c:v>
                </c:pt>
                <c:pt idx="807">
                  <c:v>119.38232376183362</c:v>
                </c:pt>
                <c:pt idx="808">
                  <c:v>119.18875969584492</c:v>
                </c:pt>
                <c:pt idx="809">
                  <c:v>119.45236495562759</c:v>
                </c:pt>
                <c:pt idx="810">
                  <c:v>119.3489647990753</c:v>
                </c:pt>
                <c:pt idx="811">
                  <c:v>119.44217190582182</c:v>
                </c:pt>
                <c:pt idx="812">
                  <c:v>118.75931739582506</c:v>
                </c:pt>
                <c:pt idx="813">
                  <c:v>119.01981481497184</c:v>
                </c:pt>
                <c:pt idx="814">
                  <c:v>119.26415395834506</c:v>
                </c:pt>
                <c:pt idx="815">
                  <c:v>119.17540558740949</c:v>
                </c:pt>
                <c:pt idx="816">
                  <c:v>120.24924713526488</c:v>
                </c:pt>
                <c:pt idx="817">
                  <c:v>120.50481452365594</c:v>
                </c:pt>
                <c:pt idx="818">
                  <c:v>121.19857736937469</c:v>
                </c:pt>
                <c:pt idx="819">
                  <c:v>121.23183500747822</c:v>
                </c:pt>
                <c:pt idx="820">
                  <c:v>121.2997017801936</c:v>
                </c:pt>
                <c:pt idx="821">
                  <c:v>121.85837059840665</c:v>
                </c:pt>
                <c:pt idx="822">
                  <c:v>122.15742836270236</c:v>
                </c:pt>
                <c:pt idx="823">
                  <c:v>121.87536217174923</c:v>
                </c:pt>
                <c:pt idx="824">
                  <c:v>121.63600702879209</c:v>
                </c:pt>
                <c:pt idx="825">
                  <c:v>121.99472983109744</c:v>
                </c:pt>
                <c:pt idx="826">
                  <c:v>122.07668223416259</c:v>
                </c:pt>
                <c:pt idx="827">
                  <c:v>122.18863575504611</c:v>
                </c:pt>
                <c:pt idx="828">
                  <c:v>121.99222497739093</c:v>
                </c:pt>
                <c:pt idx="829">
                  <c:v>122.04123664498205</c:v>
                </c:pt>
                <c:pt idx="830">
                  <c:v>122.62197108660988</c:v>
                </c:pt>
                <c:pt idx="831">
                  <c:v>122.62929397275191</c:v>
                </c:pt>
                <c:pt idx="832">
                  <c:v>122.55345893297009</c:v>
                </c:pt>
                <c:pt idx="833">
                  <c:v>122.49859058006514</c:v>
                </c:pt>
                <c:pt idx="834">
                  <c:v>122.74858601444234</c:v>
                </c:pt>
                <c:pt idx="835">
                  <c:v>122.44677805246882</c:v>
                </c:pt>
                <c:pt idx="836">
                  <c:v>122.14581691806276</c:v>
                </c:pt>
                <c:pt idx="837">
                  <c:v>120.86483319914281</c:v>
                </c:pt>
                <c:pt idx="838">
                  <c:v>120.71435962243898</c:v>
                </c:pt>
                <c:pt idx="839">
                  <c:v>121.64460218578508</c:v>
                </c:pt>
                <c:pt idx="840">
                  <c:v>121.44830896878278</c:v>
                </c:pt>
                <c:pt idx="841">
                  <c:v>121.77381472297988</c:v>
                </c:pt>
                <c:pt idx="842">
                  <c:v>120.68326588208191</c:v>
                </c:pt>
                <c:pt idx="843">
                  <c:v>120.32022415394921</c:v>
                </c:pt>
                <c:pt idx="844">
                  <c:v>120.43576132041289</c:v>
                </c:pt>
                <c:pt idx="845">
                  <c:v>121.24986162569955</c:v>
                </c:pt>
                <c:pt idx="846">
                  <c:v>121.06908611421254</c:v>
                </c:pt>
                <c:pt idx="847">
                  <c:v>120.91992284268851</c:v>
                </c:pt>
                <c:pt idx="848">
                  <c:v>121.23237290008187</c:v>
                </c:pt>
                <c:pt idx="849">
                  <c:v>121.34274476415069</c:v>
                </c:pt>
                <c:pt idx="850">
                  <c:v>121.27782978608947</c:v>
                </c:pt>
                <c:pt idx="851">
                  <c:v>121.44783992883774</c:v>
                </c:pt>
                <c:pt idx="852">
                  <c:v>122.21309167818086</c:v>
                </c:pt>
                <c:pt idx="853">
                  <c:v>122.5973379204959</c:v>
                </c:pt>
                <c:pt idx="854">
                  <c:v>122.4460148102249</c:v>
                </c:pt>
                <c:pt idx="855">
                  <c:v>121.90593741250038</c:v>
                </c:pt>
                <c:pt idx="856">
                  <c:v>122.18989840456484</c:v>
                </c:pt>
                <c:pt idx="857">
                  <c:v>122.55478306881496</c:v>
                </c:pt>
                <c:pt idx="858">
                  <c:v>122.55415647955503</c:v>
                </c:pt>
                <c:pt idx="859">
                  <c:v>123.64463150679497</c:v>
                </c:pt>
                <c:pt idx="860">
                  <c:v>124.04256800283939</c:v>
                </c:pt>
                <c:pt idx="861">
                  <c:v>123.94855856718689</c:v>
                </c:pt>
                <c:pt idx="862">
                  <c:v>123.76199973304412</c:v>
                </c:pt>
                <c:pt idx="863">
                  <c:v>124.03727611979274</c:v>
                </c:pt>
                <c:pt idx="864">
                  <c:v>124.22201802548172</c:v>
                </c:pt>
                <c:pt idx="865">
                  <c:v>124.56724270003518</c:v>
                </c:pt>
                <c:pt idx="866">
                  <c:v>124.73207611505663</c:v>
                </c:pt>
                <c:pt idx="867">
                  <c:v>124.21447294669903</c:v>
                </c:pt>
                <c:pt idx="868">
                  <c:v>124.48173476371996</c:v>
                </c:pt>
                <c:pt idx="869">
                  <c:v>124.14294961674537</c:v>
                </c:pt>
                <c:pt idx="870">
                  <c:v>123.78352430685563</c:v>
                </c:pt>
                <c:pt idx="871">
                  <c:v>124.15410179310544</c:v>
                </c:pt>
                <c:pt idx="872">
                  <c:v>124.44281106294693</c:v>
                </c:pt>
                <c:pt idx="873">
                  <c:v>124.95607095148007</c:v>
                </c:pt>
                <c:pt idx="874">
                  <c:v>125.21598131902898</c:v>
                </c:pt>
                <c:pt idx="875">
                  <c:v>125.52786642382183</c:v>
                </c:pt>
                <c:pt idx="876">
                  <c:v>125.61329769014607</c:v>
                </c:pt>
                <c:pt idx="877">
                  <c:v>125.95355670494797</c:v>
                </c:pt>
                <c:pt idx="878">
                  <c:v>125.83828457611992</c:v>
                </c:pt>
                <c:pt idx="879">
                  <c:v>125.78194355805417</c:v>
                </c:pt>
                <c:pt idx="880">
                  <c:v>126.31053789579072</c:v>
                </c:pt>
                <c:pt idx="881">
                  <c:v>126.49987849760758</c:v>
                </c:pt>
                <c:pt idx="882">
                  <c:v>126.45605513340858</c:v>
                </c:pt>
                <c:pt idx="883">
                  <c:v>126.72971648934643</c:v>
                </c:pt>
                <c:pt idx="884">
                  <c:v>126.84829068945427</c:v>
                </c:pt>
                <c:pt idx="885">
                  <c:v>126.69074678657879</c:v>
                </c:pt>
                <c:pt idx="886">
                  <c:v>126.88515392180204</c:v>
                </c:pt>
                <c:pt idx="887">
                  <c:v>127.06953818453293</c:v>
                </c:pt>
                <c:pt idx="888">
                  <c:v>127.21699457159026</c:v>
                </c:pt>
                <c:pt idx="889">
                  <c:v>126.87401302044063</c:v>
                </c:pt>
                <c:pt idx="890">
                  <c:v>126.95812541258601</c:v>
                </c:pt>
                <c:pt idx="891">
                  <c:v>126.46685628147647</c:v>
                </c:pt>
                <c:pt idx="892">
                  <c:v>126.60756751332407</c:v>
                </c:pt>
                <c:pt idx="893">
                  <c:v>127.16744155372923</c:v>
                </c:pt>
                <c:pt idx="894">
                  <c:v>127.17231701349134</c:v>
                </c:pt>
                <c:pt idx="895">
                  <c:v>127.31754967014255</c:v>
                </c:pt>
                <c:pt idx="896">
                  <c:v>127.59148733871469</c:v>
                </c:pt>
                <c:pt idx="897">
                  <c:v>127.73124139834108</c:v>
                </c:pt>
                <c:pt idx="898">
                  <c:v>127.87570855774865</c:v>
                </c:pt>
                <c:pt idx="899">
                  <c:v>127.96350757379544</c:v>
                </c:pt>
                <c:pt idx="900">
                  <c:v>127.96552008589302</c:v>
                </c:pt>
                <c:pt idx="901">
                  <c:v>128.21258086361405</c:v>
                </c:pt>
                <c:pt idx="902">
                  <c:v>127.72099979087434</c:v>
                </c:pt>
                <c:pt idx="903">
                  <c:v>127.60816997709348</c:v>
                </c:pt>
                <c:pt idx="904">
                  <c:v>127.34242968356095</c:v>
                </c:pt>
                <c:pt idx="905">
                  <c:v>127.11638911137719</c:v>
                </c:pt>
                <c:pt idx="906">
                  <c:v>126.44981359480651</c:v>
                </c:pt>
                <c:pt idx="907">
                  <c:v>127.40629277941208</c:v>
                </c:pt>
                <c:pt idx="908">
                  <c:v>127.24406839908495</c:v>
                </c:pt>
                <c:pt idx="909">
                  <c:v>127.40926126106429</c:v>
                </c:pt>
                <c:pt idx="910">
                  <c:v>128.12772236722273</c:v>
                </c:pt>
                <c:pt idx="911">
                  <c:v>128.31506594127353</c:v>
                </c:pt>
                <c:pt idx="912">
                  <c:v>128.5256564579341</c:v>
                </c:pt>
                <c:pt idx="913">
                  <c:v>128.92016370071363</c:v>
                </c:pt>
                <c:pt idx="914">
                  <c:v>128.68998535434798</c:v>
                </c:pt>
                <c:pt idx="915">
                  <c:v>129.36800484424455</c:v>
                </c:pt>
                <c:pt idx="916">
                  <c:v>129.35578755634259</c:v>
                </c:pt>
                <c:pt idx="917">
                  <c:v>130.07620720493824</c:v>
                </c:pt>
                <c:pt idx="918">
                  <c:v>129.5783934632621</c:v>
                </c:pt>
                <c:pt idx="919">
                  <c:v>129.61877795286398</c:v>
                </c:pt>
                <c:pt idx="920">
                  <c:v>129.22717229341117</c:v>
                </c:pt>
                <c:pt idx="921">
                  <c:v>128.88975968960909</c:v>
                </c:pt>
                <c:pt idx="922">
                  <c:v>129.23684699394437</c:v>
                </c:pt>
                <c:pt idx="923">
                  <c:v>129.86196058203939</c:v>
                </c:pt>
                <c:pt idx="924">
                  <c:v>130.35035052948626</c:v>
                </c:pt>
                <c:pt idx="925">
                  <c:v>130.49253487749462</c:v>
                </c:pt>
                <c:pt idx="926">
                  <c:v>130.55281312509911</c:v>
                </c:pt>
                <c:pt idx="927">
                  <c:v>130.13771803539828</c:v>
                </c:pt>
                <c:pt idx="928">
                  <c:v>130.64128713773349</c:v>
                </c:pt>
                <c:pt idx="929">
                  <c:v>131.80404272383836</c:v>
                </c:pt>
                <c:pt idx="930">
                  <c:v>131.3278947189572</c:v>
                </c:pt>
                <c:pt idx="931">
                  <c:v>131.27950903929272</c:v>
                </c:pt>
                <c:pt idx="932">
                  <c:v>131.61422797074371</c:v>
                </c:pt>
                <c:pt idx="933">
                  <c:v>131.5407034036912</c:v>
                </c:pt>
                <c:pt idx="934">
                  <c:v>131.56271039711285</c:v>
                </c:pt>
                <c:pt idx="935">
                  <c:v>131.52575621310908</c:v>
                </c:pt>
                <c:pt idx="936">
                  <c:v>131.78723651147405</c:v>
                </c:pt>
                <c:pt idx="937">
                  <c:v>132.04575764885237</c:v>
                </c:pt>
                <c:pt idx="938">
                  <c:v>131.83529115717729</c:v>
                </c:pt>
                <c:pt idx="939">
                  <c:v>131.83529115717729</c:v>
                </c:pt>
                <c:pt idx="940">
                  <c:v>132.627028630084</c:v>
                </c:pt>
                <c:pt idx="941">
                  <c:v>133.22965115148077</c:v>
                </c:pt>
                <c:pt idx="942">
                  <c:v>134.31383848779069</c:v>
                </c:pt>
                <c:pt idx="943">
                  <c:v>135.18184907176123</c:v>
                </c:pt>
                <c:pt idx="944">
                  <c:v>135.26800885333341</c:v>
                </c:pt>
                <c:pt idx="945">
                  <c:v>135.52596458711133</c:v>
                </c:pt>
                <c:pt idx="946">
                  <c:v>135.55796558902875</c:v>
                </c:pt>
                <c:pt idx="947">
                  <c:v>136.1578377624144</c:v>
                </c:pt>
                <c:pt idx="948">
                  <c:v>137.00645098899088</c:v>
                </c:pt>
                <c:pt idx="949">
                  <c:v>137.54815739852455</c:v>
                </c:pt>
                <c:pt idx="950">
                  <c:v>137.20130356182864</c:v>
                </c:pt>
                <c:pt idx="951">
                  <c:v>137.92541103699219</c:v>
                </c:pt>
                <c:pt idx="952">
                  <c:v>137.73283601388761</c:v>
                </c:pt>
                <c:pt idx="953">
                  <c:v>138.40365844662739</c:v>
                </c:pt>
                <c:pt idx="954">
                  <c:v>139.26091749252424</c:v>
                </c:pt>
                <c:pt idx="955">
                  <c:v>139.83007220984209</c:v>
                </c:pt>
                <c:pt idx="956">
                  <c:v>139.97398042998179</c:v>
                </c:pt>
                <c:pt idx="957">
                  <c:v>140.10456220301617</c:v>
                </c:pt>
                <c:pt idx="958">
                  <c:v>141.01801494032941</c:v>
                </c:pt>
                <c:pt idx="959">
                  <c:v>140.10013458620159</c:v>
                </c:pt>
                <c:pt idx="960">
                  <c:v>138.84706160034492</c:v>
                </c:pt>
                <c:pt idx="961">
                  <c:v>138.79622157896802</c:v>
                </c:pt>
              </c:numCache>
            </c:numRef>
          </c:val>
          <c:smooth val="0"/>
          <c:extLst xmlns:c16r2="http://schemas.microsoft.com/office/drawing/2015/06/chart">
            <c:ext xmlns:c16="http://schemas.microsoft.com/office/drawing/2014/chart" uri="{C3380CC4-5D6E-409C-BE32-E72D297353CC}">
              <c16:uniqueId val="{00000002-7127-4EE7-81B7-88A877082DDF}"/>
            </c:ext>
          </c:extLst>
        </c:ser>
        <c:dLbls>
          <c:showLegendKey val="0"/>
          <c:showVal val="0"/>
          <c:showCatName val="0"/>
          <c:showSerName val="0"/>
          <c:showPercent val="0"/>
          <c:showBubbleSize val="0"/>
        </c:dLbls>
        <c:marker val="1"/>
        <c:smooth val="0"/>
        <c:axId val="252502784"/>
        <c:axId val="252504320"/>
      </c:lineChart>
      <c:dateAx>
        <c:axId val="252502784"/>
        <c:scaling>
          <c:orientation val="minMax"/>
        </c:scaling>
        <c:delete val="0"/>
        <c:axPos val="b"/>
        <c:numFmt formatCode="[$-409]mmm\-yy;@" sourceLinked="0"/>
        <c:majorTickMark val="out"/>
        <c:minorTickMark val="none"/>
        <c:tickLblPos val="low"/>
        <c:spPr>
          <a:ln>
            <a:solidFill>
              <a:srgbClr val="767A7E"/>
            </a:solidFill>
          </a:ln>
        </c:spPr>
        <c:crossAx val="252504320"/>
        <c:crosses val="autoZero"/>
        <c:auto val="1"/>
        <c:lblOffset val="100"/>
        <c:baseTimeUnit val="days"/>
      </c:dateAx>
      <c:valAx>
        <c:axId val="252504320"/>
        <c:scaling>
          <c:orientation val="minMax"/>
          <c:min val="80"/>
        </c:scaling>
        <c:delete val="0"/>
        <c:axPos val="l"/>
        <c:majorGridlines>
          <c:spPr>
            <a:ln>
              <a:solidFill>
                <a:srgbClr val="F2F2F2"/>
              </a:solidFill>
            </a:ln>
          </c:spPr>
        </c:majorGridlines>
        <c:numFmt formatCode="General" sourceLinked="0"/>
        <c:majorTickMark val="out"/>
        <c:minorTickMark val="none"/>
        <c:tickLblPos val="nextTo"/>
        <c:spPr>
          <a:ln>
            <a:solidFill>
              <a:srgbClr val="767A7E"/>
            </a:solidFill>
          </a:ln>
        </c:spPr>
        <c:crossAx val="252502784"/>
        <c:crosses val="autoZero"/>
        <c:crossBetween val="between"/>
      </c:valAx>
      <c:valAx>
        <c:axId val="252837888"/>
        <c:scaling>
          <c:orientation val="minMax"/>
        </c:scaling>
        <c:delete val="0"/>
        <c:axPos val="r"/>
        <c:numFmt formatCode="General" sourceLinked="0"/>
        <c:majorTickMark val="out"/>
        <c:minorTickMark val="none"/>
        <c:tickLblPos val="nextTo"/>
        <c:crossAx val="252839424"/>
        <c:crosses val="max"/>
        <c:crossBetween val="between"/>
      </c:valAx>
      <c:dateAx>
        <c:axId val="252839424"/>
        <c:scaling>
          <c:orientation val="minMax"/>
        </c:scaling>
        <c:delete val="1"/>
        <c:axPos val="b"/>
        <c:numFmt formatCode="m/d/yyyy" sourceLinked="1"/>
        <c:majorTickMark val="out"/>
        <c:minorTickMark val="none"/>
        <c:tickLblPos val="nextTo"/>
        <c:crossAx val="252837888"/>
        <c:crosses val="autoZero"/>
        <c:auto val="1"/>
        <c:lblOffset val="100"/>
        <c:baseTimeUnit val="days"/>
      </c:dateAx>
    </c:plotArea>
    <c:legend>
      <c:legendPos val="b"/>
      <c:overlay val="0"/>
    </c:legend>
    <c:plotVisOnly val="1"/>
    <c:dispBlanksAs val="gap"/>
    <c:showDLblsOverMax val="0"/>
  </c:chart>
  <c:spPr>
    <a:ln w="9525">
      <a:noFill/>
    </a:ln>
  </c:spPr>
  <c:txPr>
    <a:bodyPr/>
    <a:lstStyle/>
    <a:p>
      <a:pPr>
        <a:defRPr>
          <a:solidFill>
            <a:srgbClr val="003C64"/>
          </a:solidFill>
        </a:defRPr>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lrMapOvr bg1="lt1" tx1="dk1" bg2="lt2" tx2="dk2" accent1="accent1" accent2="accent2" accent3="accent3" accent4="accent4" accent5="accent5" accent6="accent6" hlink="hlink" folHlink="folHlink"/>
  <c:chart>
    <c:autoTitleDeleted val="0"/>
    <c:plotArea>
      <c:layout>
        <c:manualLayout>
          <c:xMode val="edge"/>
          <c:yMode val="edge"/>
          <c:x val="1.250007401908562E-2"/>
          <c:y val="2.5749967812540235E-2"/>
          <c:w val="0.98749992598091441"/>
          <c:h val="0.86906141367323286"/>
        </c:manualLayout>
      </c:layout>
      <c:barChart>
        <c:barDir val="bar"/>
        <c:grouping val="clustered"/>
        <c:varyColors val="0"/>
        <c:ser>
          <c:idx val="1"/>
          <c:order val="0"/>
          <c:tx>
            <c:strRef>
              <c:f>SCIBETA!$N$22</c:f>
              <c:strCache>
                <c:ptCount val="1"/>
                <c:pt idx="0">
                  <c:v>MSCI World Index</c:v>
                </c:pt>
              </c:strCache>
            </c:strRef>
          </c:tx>
          <c:spPr>
            <a:solidFill>
              <a:schemeClr val="accent3"/>
            </a:solidFill>
          </c:spPr>
          <c:invertIfNegative val="0"/>
          <c:cat>
            <c:strRef>
              <c:f>SCIBETA!$L$23:$L$33</c:f>
              <c:strCache>
                <c:ptCount val="11"/>
                <c:pt idx="0">
                  <c:v>Telecommunication Services</c:v>
                </c:pt>
                <c:pt idx="1">
                  <c:v>Energy</c:v>
                </c:pt>
                <c:pt idx="2">
                  <c:v>Real Estate</c:v>
                </c:pt>
                <c:pt idx="3">
                  <c:v>Consumer Staples</c:v>
                </c:pt>
                <c:pt idx="4">
                  <c:v>Materials</c:v>
                </c:pt>
                <c:pt idx="5">
                  <c:v>Utilities</c:v>
                </c:pt>
                <c:pt idx="6">
                  <c:v>Information Technology</c:v>
                </c:pt>
                <c:pt idx="7">
                  <c:v>Health Care</c:v>
                </c:pt>
                <c:pt idx="8">
                  <c:v>Consumer Discretionary</c:v>
                </c:pt>
                <c:pt idx="9">
                  <c:v>Industrials</c:v>
                </c:pt>
                <c:pt idx="10">
                  <c:v>Financials</c:v>
                </c:pt>
              </c:strCache>
            </c:strRef>
          </c:cat>
          <c:val>
            <c:numRef>
              <c:f>SCIBETA!$N$23:$N$33</c:f>
              <c:numCache>
                <c:formatCode>0\.0%</c:formatCode>
                <c:ptCount val="11"/>
                <c:pt idx="0">
                  <c:v>2.6621207985404134E-2</c:v>
                </c:pt>
                <c:pt idx="1">
                  <c:v>6.1780450920393075E-2</c:v>
                </c:pt>
                <c:pt idx="2">
                  <c:v>2.9153397367752968E-2</c:v>
                </c:pt>
                <c:pt idx="3">
                  <c:v>8.7412601082783703E-2</c:v>
                </c:pt>
                <c:pt idx="4">
                  <c:v>5.2493211315054883E-2</c:v>
                </c:pt>
                <c:pt idx="5">
                  <c:v>2.7695129529298177E-2</c:v>
                </c:pt>
                <c:pt idx="6">
                  <c:v>0.1702403843729888</c:v>
                </c:pt>
                <c:pt idx="7">
                  <c:v>0.11908412561372114</c:v>
                </c:pt>
                <c:pt idx="8">
                  <c:v>0.12614791632491149</c:v>
                </c:pt>
                <c:pt idx="9">
                  <c:v>0.11684489765264816</c:v>
                </c:pt>
                <c:pt idx="10">
                  <c:v>0.18252667783504353</c:v>
                </c:pt>
              </c:numCache>
            </c:numRef>
          </c:val>
          <c:extLst xmlns:c16r2="http://schemas.microsoft.com/office/drawing/2015/06/chart">
            <c:ext xmlns:c16="http://schemas.microsoft.com/office/drawing/2014/chart" uri="{C3380CC4-5D6E-409C-BE32-E72D297353CC}">
              <c16:uniqueId val="{00000000-8C38-41F5-BB03-40F80D255D5F}"/>
            </c:ext>
          </c:extLst>
        </c:ser>
        <c:ser>
          <c:idx val="0"/>
          <c:order val="1"/>
          <c:tx>
            <c:strRef>
              <c:f>SCIBETA!$M$22</c:f>
              <c:strCache>
                <c:ptCount val="1"/>
                <c:pt idx="0">
                  <c:v>SciBeta MBMS 4F ERC</c:v>
                </c:pt>
              </c:strCache>
            </c:strRef>
          </c:tx>
          <c:spPr>
            <a:solidFill>
              <a:srgbClr val="002060"/>
            </a:solidFill>
          </c:spPr>
          <c:invertIfNegative val="0"/>
          <c:cat>
            <c:strRef>
              <c:f>SCIBETA!$L$23:$L$33</c:f>
              <c:strCache>
                <c:ptCount val="11"/>
                <c:pt idx="0">
                  <c:v>Telecommunication Services</c:v>
                </c:pt>
                <c:pt idx="1">
                  <c:v>Energy</c:v>
                </c:pt>
                <c:pt idx="2">
                  <c:v>Real Estate</c:v>
                </c:pt>
                <c:pt idx="3">
                  <c:v>Consumer Staples</c:v>
                </c:pt>
                <c:pt idx="4">
                  <c:v>Materials</c:v>
                </c:pt>
                <c:pt idx="5">
                  <c:v>Utilities</c:v>
                </c:pt>
                <c:pt idx="6">
                  <c:v>Information Technology</c:v>
                </c:pt>
                <c:pt idx="7">
                  <c:v>Health Care</c:v>
                </c:pt>
                <c:pt idx="8">
                  <c:v>Consumer Discretionary</c:v>
                </c:pt>
                <c:pt idx="9">
                  <c:v>Industrials</c:v>
                </c:pt>
                <c:pt idx="10">
                  <c:v>Financials</c:v>
                </c:pt>
              </c:strCache>
            </c:strRef>
          </c:cat>
          <c:val>
            <c:numRef>
              <c:f>SCIBETA!$M$23:$M$33</c:f>
              <c:numCache>
                <c:formatCode>0\.0%</c:formatCode>
                <c:ptCount val="11"/>
                <c:pt idx="0">
                  <c:v>1.6462257938392177E-2</c:v>
                </c:pt>
                <c:pt idx="1">
                  <c:v>4.3794716103948028E-2</c:v>
                </c:pt>
                <c:pt idx="2">
                  <c:v>6.4453258164655955E-2</c:v>
                </c:pt>
                <c:pt idx="3">
                  <c:v>6.6819365047056364E-2</c:v>
                </c:pt>
                <c:pt idx="4">
                  <c:v>7.0037015026401431E-2</c:v>
                </c:pt>
                <c:pt idx="5">
                  <c:v>8.1943085166458873E-2</c:v>
                </c:pt>
                <c:pt idx="6">
                  <c:v>9.0422317656468354E-2</c:v>
                </c:pt>
                <c:pt idx="7">
                  <c:v>0.10196622600889763</c:v>
                </c:pt>
                <c:pt idx="8">
                  <c:v>0.11756001417147559</c:v>
                </c:pt>
                <c:pt idx="9">
                  <c:v>0.13499864815327836</c:v>
                </c:pt>
                <c:pt idx="10">
                  <c:v>0.21154305632707984</c:v>
                </c:pt>
              </c:numCache>
            </c:numRef>
          </c:val>
          <c:extLst xmlns:c16r2="http://schemas.microsoft.com/office/drawing/2015/06/chart">
            <c:ext xmlns:c16="http://schemas.microsoft.com/office/drawing/2014/chart" uri="{C3380CC4-5D6E-409C-BE32-E72D297353CC}">
              <c16:uniqueId val="{00000001-8C38-41F5-BB03-40F80D255D5F}"/>
            </c:ext>
          </c:extLst>
        </c:ser>
        <c:dLbls>
          <c:showLegendKey val="0"/>
          <c:showVal val="0"/>
          <c:showCatName val="0"/>
          <c:showSerName val="0"/>
          <c:showPercent val="0"/>
          <c:showBubbleSize val="0"/>
        </c:dLbls>
        <c:gapWidth val="150"/>
        <c:axId val="254543744"/>
        <c:axId val="254545280"/>
      </c:barChart>
      <c:catAx>
        <c:axId val="254543744"/>
        <c:scaling>
          <c:orientation val="minMax"/>
        </c:scaling>
        <c:delete val="0"/>
        <c:axPos val="l"/>
        <c:numFmt formatCode="General" sourceLinked="1"/>
        <c:majorTickMark val="out"/>
        <c:minorTickMark val="none"/>
        <c:tickLblPos val="nextTo"/>
        <c:crossAx val="254545280"/>
        <c:crosses val="autoZero"/>
        <c:auto val="1"/>
        <c:lblAlgn val="ctr"/>
        <c:lblOffset val="100"/>
        <c:noMultiLvlLbl val="0"/>
      </c:catAx>
      <c:valAx>
        <c:axId val="254545280"/>
        <c:scaling>
          <c:orientation val="minMax"/>
        </c:scaling>
        <c:delete val="0"/>
        <c:axPos val="b"/>
        <c:majorGridlines>
          <c:spPr>
            <a:ln w="3175">
              <a:solidFill>
                <a:srgbClr val="FFFFFF"/>
              </a:solidFill>
            </a:ln>
          </c:spPr>
        </c:majorGridlines>
        <c:numFmt formatCode="0%" sourceLinked="0"/>
        <c:majorTickMark val="out"/>
        <c:minorTickMark val="none"/>
        <c:tickLblPos val="nextTo"/>
        <c:crossAx val="254543744"/>
        <c:crosses val="autoZero"/>
        <c:crossBetween val="between"/>
      </c:valAx>
    </c:plotArea>
    <c:legend>
      <c:legendPos val="b"/>
      <c:layout>
        <c:manualLayout>
          <c:xMode val="edge"/>
          <c:yMode val="edge"/>
          <c:x val="1.250007401908562E-2"/>
          <c:y val="0.90617938400805342"/>
          <c:w val="0.98749992598091441"/>
          <c:h val="9.3820615991946549E-2"/>
        </c:manualLayout>
      </c:layout>
      <c:overlay val="0"/>
      <c:txPr>
        <a:bodyPr/>
        <a:lstStyle/>
        <a:p>
          <a:pPr>
            <a:defRPr>
              <a:solidFill>
                <a:srgbClr val="001C4B"/>
              </a:solidFill>
            </a:defRPr>
          </a:pPr>
          <a:endParaRPr lang="en-US"/>
        </a:p>
      </c:txPr>
    </c:legend>
    <c:plotVisOnly val="1"/>
    <c:dispBlanksAs val="gap"/>
    <c:showDLblsOverMax val="0"/>
  </c:chart>
  <c:spPr>
    <a:ln>
      <a:noFill/>
    </a:ln>
  </c:spPr>
  <c:txPr>
    <a:bodyPr/>
    <a:lstStyle/>
    <a:p>
      <a:pPr>
        <a:defRPr sz="900">
          <a:solidFill>
            <a:srgbClr val="001C4B"/>
          </a:solidFill>
        </a:defRPr>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xMode val="edge"/>
          <c:yMode val="edge"/>
          <c:x val="1.3834607270086121E-2"/>
          <c:y val="1.2993762993762994E-2"/>
          <c:w val="0.98616539272991388"/>
          <c:h val="0.94204781704781704"/>
        </c:manualLayout>
      </c:layout>
      <c:barChart>
        <c:barDir val="bar"/>
        <c:grouping val="clustered"/>
        <c:varyColors val="0"/>
        <c:ser>
          <c:idx val="0"/>
          <c:order val="0"/>
          <c:tx>
            <c:strRef>
              <c:f>SCIBETA!$M$37</c:f>
              <c:strCache>
                <c:ptCount val="1"/>
                <c:pt idx="0">
                  <c:v>SciBeta MBMS 4F ERC</c:v>
                </c:pt>
              </c:strCache>
            </c:strRef>
          </c:tx>
          <c:spPr>
            <a:solidFill>
              <a:srgbClr val="001C4B"/>
            </a:solidFill>
            <a:ln>
              <a:noFill/>
              <a:round/>
            </a:ln>
            <a:effectLst/>
            <a:extLst>
              <a:ext uri="{91240B29-F687-4F45-9708-019B960494DF}">
                <a14:hiddenLine xmlns:a14="http://schemas.microsoft.com/office/drawing/2010/main">
                  <a:noFill/>
                  <a:round/>
                </a14:hiddenLine>
              </a:ext>
            </a:extLst>
          </c:spPr>
          <c:invertIfNegative val="0"/>
          <c:cat>
            <c:strRef>
              <c:f>SCIBETA!$L$38:$L$60</c:f>
              <c:strCache>
                <c:ptCount val="23"/>
                <c:pt idx="0">
                  <c:v>USA</c:v>
                </c:pt>
                <c:pt idx="1">
                  <c:v>JAPAN</c:v>
                </c:pt>
                <c:pt idx="2">
                  <c:v>UNITED KINGDOM</c:v>
                </c:pt>
                <c:pt idx="3">
                  <c:v>FRANCE</c:v>
                </c:pt>
                <c:pt idx="4">
                  <c:v>CANADA</c:v>
                </c:pt>
                <c:pt idx="5">
                  <c:v>GERMANY</c:v>
                </c:pt>
                <c:pt idx="6">
                  <c:v>SWITZERLAND</c:v>
                </c:pt>
                <c:pt idx="7">
                  <c:v>AUSTRALIA</c:v>
                </c:pt>
                <c:pt idx="8">
                  <c:v>HONG KONG</c:v>
                </c:pt>
                <c:pt idx="9">
                  <c:v>ITALY</c:v>
                </c:pt>
                <c:pt idx="10">
                  <c:v>SINGAPORE</c:v>
                </c:pt>
                <c:pt idx="11">
                  <c:v>SWEDEN</c:v>
                </c:pt>
                <c:pt idx="12">
                  <c:v>SPAIN</c:v>
                </c:pt>
                <c:pt idx="13">
                  <c:v>NETHERLANDS</c:v>
                </c:pt>
                <c:pt idx="14">
                  <c:v>DENMARK</c:v>
                </c:pt>
                <c:pt idx="15">
                  <c:v>BELGIUM</c:v>
                </c:pt>
                <c:pt idx="16">
                  <c:v>FINLAND</c:v>
                </c:pt>
                <c:pt idx="17">
                  <c:v>AUSTRIA</c:v>
                </c:pt>
                <c:pt idx="18">
                  <c:v>NORWAY</c:v>
                </c:pt>
                <c:pt idx="19">
                  <c:v>IRELAND</c:v>
                </c:pt>
                <c:pt idx="20">
                  <c:v>NEW ZEALAND</c:v>
                </c:pt>
                <c:pt idx="21">
                  <c:v>PORTUGAL</c:v>
                </c:pt>
                <c:pt idx="22">
                  <c:v>ISRAEL</c:v>
                </c:pt>
              </c:strCache>
            </c:strRef>
          </c:cat>
          <c:val>
            <c:numRef>
              <c:f>SCIBETA!$M$38:$M$60</c:f>
              <c:numCache>
                <c:formatCode>0.00%</c:formatCode>
                <c:ptCount val="23"/>
                <c:pt idx="0">
                  <c:v>0.57750006588143055</c:v>
                </c:pt>
                <c:pt idx="1">
                  <c:v>9.757666726965733E-2</c:v>
                </c:pt>
                <c:pt idx="2">
                  <c:v>6.281060651595087E-2</c:v>
                </c:pt>
                <c:pt idx="3">
                  <c:v>4.0238619204152892E-2</c:v>
                </c:pt>
                <c:pt idx="4">
                  <c:v>3.3050770429289382E-2</c:v>
                </c:pt>
                <c:pt idx="5">
                  <c:v>2.7469457433690437E-2</c:v>
                </c:pt>
                <c:pt idx="6">
                  <c:v>2.4679538743941545E-2</c:v>
                </c:pt>
                <c:pt idx="7">
                  <c:v>1.6199835993394647E-2</c:v>
                </c:pt>
                <c:pt idx="8">
                  <c:v>1.4518551167071203E-2</c:v>
                </c:pt>
                <c:pt idx="9">
                  <c:v>1.3186639795221031E-2</c:v>
                </c:pt>
                <c:pt idx="10">
                  <c:v>1.3173161133617503E-2</c:v>
                </c:pt>
                <c:pt idx="11">
                  <c:v>1.3014550009047533E-2</c:v>
                </c:pt>
                <c:pt idx="12">
                  <c:v>1.1530071270925568E-2</c:v>
                </c:pt>
                <c:pt idx="13">
                  <c:v>9.5674079415295783E-3</c:v>
                </c:pt>
                <c:pt idx="14">
                  <c:v>9.1291081523410828E-3</c:v>
                </c:pt>
                <c:pt idx="15">
                  <c:v>8.2706765276645659E-3</c:v>
                </c:pt>
                <c:pt idx="16">
                  <c:v>7.9382506506228603E-3</c:v>
                </c:pt>
                <c:pt idx="17">
                  <c:v>5.3523614893395298E-3</c:v>
                </c:pt>
                <c:pt idx="18">
                  <c:v>4.5786774197173145E-3</c:v>
                </c:pt>
                <c:pt idx="19">
                  <c:v>4.0924187315643235E-3</c:v>
                </c:pt>
                <c:pt idx="20">
                  <c:v>2.4247315572926793E-3</c:v>
                </c:pt>
                <c:pt idx="21">
                  <c:v>2.2264827162697164E-3</c:v>
                </c:pt>
                <c:pt idx="22">
                  <c:v>1.433304826411379E-3</c:v>
                </c:pt>
              </c:numCache>
            </c:numRef>
          </c:val>
        </c:ser>
        <c:ser>
          <c:idx val="1"/>
          <c:order val="1"/>
          <c:tx>
            <c:strRef>
              <c:f>SCIBETA!$N$37</c:f>
              <c:strCache>
                <c:ptCount val="1"/>
                <c:pt idx="0">
                  <c:v>MSCI World Index</c:v>
                </c:pt>
              </c:strCache>
            </c:strRef>
          </c:tx>
          <c:spPr>
            <a:solidFill>
              <a:srgbClr val="009EE0"/>
            </a:solidFill>
            <a:ln>
              <a:noFill/>
              <a:round/>
            </a:ln>
            <a:effectLst/>
            <a:extLst>
              <a:ext uri="{91240B29-F687-4F45-9708-019B960494DF}">
                <a14:hiddenLine xmlns:a14="http://schemas.microsoft.com/office/drawing/2010/main">
                  <a:noFill/>
                  <a:round/>
                </a14:hiddenLine>
              </a:ext>
            </a:extLst>
          </c:spPr>
          <c:invertIfNegative val="0"/>
          <c:cat>
            <c:strRef>
              <c:f>SCIBETA!$L$38:$L$60</c:f>
              <c:strCache>
                <c:ptCount val="23"/>
                <c:pt idx="0">
                  <c:v>USA</c:v>
                </c:pt>
                <c:pt idx="1">
                  <c:v>JAPAN</c:v>
                </c:pt>
                <c:pt idx="2">
                  <c:v>UNITED KINGDOM</c:v>
                </c:pt>
                <c:pt idx="3">
                  <c:v>FRANCE</c:v>
                </c:pt>
                <c:pt idx="4">
                  <c:v>CANADA</c:v>
                </c:pt>
                <c:pt idx="5">
                  <c:v>GERMANY</c:v>
                </c:pt>
                <c:pt idx="6">
                  <c:v>SWITZERLAND</c:v>
                </c:pt>
                <c:pt idx="7">
                  <c:v>AUSTRALIA</c:v>
                </c:pt>
                <c:pt idx="8">
                  <c:v>HONG KONG</c:v>
                </c:pt>
                <c:pt idx="9">
                  <c:v>ITALY</c:v>
                </c:pt>
                <c:pt idx="10">
                  <c:v>SINGAPORE</c:v>
                </c:pt>
                <c:pt idx="11">
                  <c:v>SWEDEN</c:v>
                </c:pt>
                <c:pt idx="12">
                  <c:v>SPAIN</c:v>
                </c:pt>
                <c:pt idx="13">
                  <c:v>NETHERLANDS</c:v>
                </c:pt>
                <c:pt idx="14">
                  <c:v>DENMARK</c:v>
                </c:pt>
                <c:pt idx="15">
                  <c:v>BELGIUM</c:v>
                </c:pt>
                <c:pt idx="16">
                  <c:v>FINLAND</c:v>
                </c:pt>
                <c:pt idx="17">
                  <c:v>AUSTRIA</c:v>
                </c:pt>
                <c:pt idx="18">
                  <c:v>NORWAY</c:v>
                </c:pt>
                <c:pt idx="19">
                  <c:v>IRELAND</c:v>
                </c:pt>
                <c:pt idx="20">
                  <c:v>NEW ZEALAND</c:v>
                </c:pt>
                <c:pt idx="21">
                  <c:v>PORTUGAL</c:v>
                </c:pt>
                <c:pt idx="22">
                  <c:v>ISRAEL</c:v>
                </c:pt>
              </c:strCache>
            </c:strRef>
          </c:cat>
          <c:val>
            <c:numRef>
              <c:f>SCIBETA!$N$38:$N$60</c:f>
              <c:numCache>
                <c:formatCode>0.00%</c:formatCode>
                <c:ptCount val="23"/>
                <c:pt idx="0">
                  <c:v>0.59403024052293141</c:v>
                </c:pt>
                <c:pt idx="1">
                  <c:v>9.0284953452461111E-2</c:v>
                </c:pt>
                <c:pt idx="2">
                  <c:v>6.4605697942125437E-2</c:v>
                </c:pt>
                <c:pt idx="3">
                  <c:v>4.0156243838994424E-2</c:v>
                </c:pt>
                <c:pt idx="4">
                  <c:v>3.3908036857670049E-2</c:v>
                </c:pt>
                <c:pt idx="5">
                  <c:v>3.6793422308031273E-2</c:v>
                </c:pt>
                <c:pt idx="6">
                  <c:v>2.9722733129241972E-2</c:v>
                </c:pt>
                <c:pt idx="7">
                  <c:v>2.5162795118579006E-2</c:v>
                </c:pt>
                <c:pt idx="8">
                  <c:v>1.3133292175840446E-2</c:v>
                </c:pt>
                <c:pt idx="9">
                  <c:v>9.1616813051474504E-3</c:v>
                </c:pt>
                <c:pt idx="10">
                  <c:v>4.8578434081186905E-3</c:v>
                </c:pt>
                <c:pt idx="11">
                  <c:v>1.0098722720918656E-2</c:v>
                </c:pt>
                <c:pt idx="12">
                  <c:v>1.2273569869917202E-2</c:v>
                </c:pt>
                <c:pt idx="13">
                  <c:v>1.3366734274425201E-2</c:v>
                </c:pt>
                <c:pt idx="14">
                  <c:v>6.697393420937091E-3</c:v>
                </c:pt>
                <c:pt idx="15">
                  <c:v>4.1042723947006298E-3</c:v>
                </c:pt>
                <c:pt idx="16">
                  <c:v>3.5131617371681684E-3</c:v>
                </c:pt>
                <c:pt idx="17">
                  <c:v>1.0088811151756953E-3</c:v>
                </c:pt>
                <c:pt idx="18">
                  <c:v>2.4641002831301785E-3</c:v>
                </c:pt>
                <c:pt idx="19">
                  <c:v>1.777030879198927E-3</c:v>
                </c:pt>
                <c:pt idx="20">
                  <c:v>6.1565002789990854E-4</c:v>
                </c:pt>
                <c:pt idx="21">
                  <c:v>5.5278971193201815E-4</c:v>
                </c:pt>
                <c:pt idx="22">
                  <c:v>1.7107535054551527E-3</c:v>
                </c:pt>
              </c:numCache>
            </c:numRef>
          </c:val>
        </c:ser>
        <c:dLbls>
          <c:showLegendKey val="0"/>
          <c:showVal val="0"/>
          <c:showCatName val="0"/>
          <c:showSerName val="0"/>
          <c:showPercent val="0"/>
          <c:showBubbleSize val="0"/>
        </c:dLbls>
        <c:gapWidth val="150"/>
        <c:axId val="254571264"/>
        <c:axId val="254572800"/>
      </c:barChart>
      <c:catAx>
        <c:axId val="254571264"/>
        <c:scaling>
          <c:orientation val="maxMin"/>
        </c:scaling>
        <c:delete val="0"/>
        <c:axPos val="l"/>
        <c:numFmt formatCode="0.0%" sourceLinked="1"/>
        <c:majorTickMark val="out"/>
        <c:minorTickMark val="none"/>
        <c:tickLblPos val="low"/>
        <c:spPr>
          <a:ln>
            <a:solidFill>
              <a:srgbClr val="767A7E"/>
            </a:solidFill>
          </a:ln>
        </c:spPr>
        <c:crossAx val="254572800"/>
        <c:crosses val="autoZero"/>
        <c:auto val="1"/>
        <c:lblAlgn val="ctr"/>
        <c:lblOffset val="100"/>
        <c:noMultiLvlLbl val="0"/>
      </c:catAx>
      <c:valAx>
        <c:axId val="254572800"/>
        <c:scaling>
          <c:orientation val="minMax"/>
        </c:scaling>
        <c:delete val="0"/>
        <c:axPos val="t"/>
        <c:majorGridlines>
          <c:spPr>
            <a:ln w="3175">
              <a:solidFill>
                <a:srgbClr val="FFFFFF"/>
              </a:solidFill>
            </a:ln>
          </c:spPr>
        </c:majorGridlines>
        <c:numFmt formatCode="0%" sourceLinked="0"/>
        <c:majorTickMark val="out"/>
        <c:minorTickMark val="none"/>
        <c:tickLblPos val="nextTo"/>
        <c:spPr>
          <a:ln>
            <a:solidFill>
              <a:srgbClr val="767A7E"/>
            </a:solidFill>
          </a:ln>
        </c:spPr>
        <c:crossAx val="254571264"/>
        <c:crosses val="autoZero"/>
        <c:crossBetween val="between"/>
      </c:valAx>
    </c:plotArea>
    <c:legend>
      <c:legendPos val="b"/>
      <c:layout>
        <c:manualLayout>
          <c:xMode val="edge"/>
          <c:yMode val="edge"/>
          <c:x val="1.3834607270086121E-2"/>
          <c:y val="0.9481889047587867"/>
          <c:w val="0.98616539272991388"/>
          <c:h val="5.1811095241213349E-2"/>
        </c:manualLayout>
      </c:layout>
      <c:overlay val="0"/>
    </c:legend>
    <c:plotVisOnly val="1"/>
    <c:dispBlanksAs val="gap"/>
    <c:showDLblsOverMax val="0"/>
  </c:chart>
  <c:spPr>
    <a:ln w="9525">
      <a:noFill/>
    </a:ln>
  </c:spPr>
  <c:txPr>
    <a:bodyPr/>
    <a:lstStyle/>
    <a:p>
      <a:pPr>
        <a:defRPr sz="900">
          <a:solidFill>
            <a:srgbClr val="003C64"/>
          </a:solidFill>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ivotFmts>
      <c:pivotFmt>
        <c:idx val="0"/>
        <c:spPr>
          <a:ln>
            <a:solidFill>
              <a:schemeClr val="bg1"/>
            </a:solidFill>
          </a:ln>
        </c:spPr>
        <c:marker>
          <c:symbol val="none"/>
        </c:marker>
      </c:pivotFmt>
      <c:pivotFmt>
        <c:idx val="1"/>
        <c:spPr>
          <a:ln>
            <a:solidFill>
              <a:schemeClr val="bg1"/>
            </a:solidFill>
          </a:ln>
        </c:spPr>
        <c:marker>
          <c:symbol val="none"/>
        </c:marker>
      </c:pivotFmt>
      <c:pivotFmt>
        <c:idx val="2"/>
      </c:pivotFmt>
      <c:pivotFmt>
        <c:idx val="3"/>
      </c:pivotFmt>
    </c:pivotFmts>
    <c:plotArea>
      <c:layout>
        <c:manualLayout>
          <c:layoutTarget val="inner"/>
          <c:xMode val="edge"/>
          <c:yMode val="edge"/>
          <c:x val="7.8631139026118554E-2"/>
          <c:y val="0.12309361562541282"/>
          <c:w val="0.8724413385201697"/>
          <c:h val="0.41706814224837213"/>
        </c:manualLayout>
      </c:layout>
      <c:barChart>
        <c:barDir val="col"/>
        <c:grouping val="clustered"/>
        <c:varyColors val="0"/>
        <c:ser>
          <c:idx val="0"/>
          <c:order val="0"/>
          <c:tx>
            <c:strRef>
              <c:f>World!$AF$1</c:f>
              <c:strCache>
                <c:ptCount val="1"/>
                <c:pt idx="0">
                  <c:v>Msci World</c:v>
                </c:pt>
              </c:strCache>
            </c:strRef>
          </c:tx>
          <c:spPr>
            <a:solidFill>
              <a:srgbClr val="001C4B"/>
            </a:solidFill>
            <a:ln>
              <a:noFill/>
              <a:round/>
            </a:ln>
            <a:effectLst/>
            <a:extLst>
              <a:ext uri="{91240B29-F687-4F45-9708-019B960494DF}">
                <a14:hiddenLine xmlns:a14="http://schemas.microsoft.com/office/drawing/2010/main">
                  <a:solidFill>
                    <a:srgbClr val="FFFFFF"/>
                  </a:solidFill>
                  <a:round/>
                </a14:hiddenLine>
              </a:ext>
            </a:extLst>
          </c:spPr>
          <c:invertIfNegative val="0"/>
          <c:cat>
            <c:strRef>
              <c:f>World!$AE$2:$AE$12</c:f>
              <c:strCache>
                <c:ptCount val="11"/>
                <c:pt idx="0">
                  <c:v>Financials</c:v>
                </c:pt>
                <c:pt idx="1">
                  <c:v>Industrials</c:v>
                </c:pt>
                <c:pt idx="2">
                  <c:v>Consumer Discretionary</c:v>
                </c:pt>
                <c:pt idx="3">
                  <c:v>Health Care</c:v>
                </c:pt>
                <c:pt idx="4">
                  <c:v>Materials</c:v>
                </c:pt>
                <c:pt idx="5">
                  <c:v>Information Technology</c:v>
                </c:pt>
                <c:pt idx="6">
                  <c:v>Consumer Staples</c:v>
                </c:pt>
                <c:pt idx="7">
                  <c:v>Energy</c:v>
                </c:pt>
                <c:pt idx="8">
                  <c:v>Real Estate</c:v>
                </c:pt>
                <c:pt idx="9">
                  <c:v>Telecommunication Services</c:v>
                </c:pt>
                <c:pt idx="10">
                  <c:v>Utilities</c:v>
                </c:pt>
              </c:strCache>
            </c:strRef>
          </c:cat>
          <c:val>
            <c:numRef>
              <c:f>World!$AF$2:$AF$12</c:f>
              <c:numCache>
                <c:formatCode>0.000%</c:formatCode>
                <c:ptCount val="11"/>
                <c:pt idx="0">
                  <c:v>0.16047583791726608</c:v>
                </c:pt>
                <c:pt idx="1">
                  <c:v>0.10980690560717743</c:v>
                </c:pt>
                <c:pt idx="2">
                  <c:v>0.12495498397578574</c:v>
                </c:pt>
                <c:pt idx="3">
                  <c:v>0.12853749777925816</c:v>
                </c:pt>
                <c:pt idx="4">
                  <c:v>4.9815989489605771E-2</c:v>
                </c:pt>
                <c:pt idx="5">
                  <c:v>0.14877669387910616</c:v>
                </c:pt>
                <c:pt idx="6">
                  <c:v>0.10713423830066791</c:v>
                </c:pt>
                <c:pt idx="7">
                  <c:v>6.7903952616224172E-2</c:v>
                </c:pt>
                <c:pt idx="8">
                  <c:v>3.4322655332582878E-2</c:v>
                </c:pt>
                <c:pt idx="9">
                  <c:v>3.4649919335165792E-2</c:v>
                </c:pt>
                <c:pt idx="10">
                  <c:v>3.3621325767159503E-2</c:v>
                </c:pt>
              </c:numCache>
            </c:numRef>
          </c:val>
          <c:extLst xmlns:c16r2="http://schemas.microsoft.com/office/drawing/2015/06/chart">
            <c:ext xmlns:c16="http://schemas.microsoft.com/office/drawing/2014/chart" uri="{C3380CC4-5D6E-409C-BE32-E72D297353CC}">
              <c16:uniqueId val="{00000000-4A0D-4823-9EFC-7D99CD121A4C}"/>
            </c:ext>
          </c:extLst>
        </c:ser>
        <c:ser>
          <c:idx val="1"/>
          <c:order val="1"/>
          <c:tx>
            <c:strRef>
              <c:f>World!$AG$1</c:f>
              <c:strCache>
                <c:ptCount val="1"/>
                <c:pt idx="0">
                  <c:v>High BtP Selection</c:v>
                </c:pt>
              </c:strCache>
            </c:strRef>
          </c:tx>
          <c:spPr>
            <a:solidFill>
              <a:srgbClr val="009EE0"/>
            </a:solidFill>
            <a:ln>
              <a:noFill/>
              <a:round/>
            </a:ln>
            <a:effectLst/>
            <a:extLst>
              <a:ext uri="{91240B29-F687-4F45-9708-019B960494DF}">
                <a14:hiddenLine xmlns:a14="http://schemas.microsoft.com/office/drawing/2010/main">
                  <a:solidFill>
                    <a:srgbClr val="FFFFFF"/>
                  </a:solidFill>
                  <a:round/>
                </a14:hiddenLine>
              </a:ext>
            </a:extLst>
          </c:spPr>
          <c:invertIfNegative val="0"/>
          <c:cat>
            <c:strRef>
              <c:f>World!$AE$2:$AE$12</c:f>
              <c:strCache>
                <c:ptCount val="11"/>
                <c:pt idx="0">
                  <c:v>Financials</c:v>
                </c:pt>
                <c:pt idx="1">
                  <c:v>Industrials</c:v>
                </c:pt>
                <c:pt idx="2">
                  <c:v>Consumer Discretionary</c:v>
                </c:pt>
                <c:pt idx="3">
                  <c:v>Health Care</c:v>
                </c:pt>
                <c:pt idx="4">
                  <c:v>Materials</c:v>
                </c:pt>
                <c:pt idx="5">
                  <c:v>Information Technology</c:v>
                </c:pt>
                <c:pt idx="6">
                  <c:v>Consumer Staples</c:v>
                </c:pt>
                <c:pt idx="7">
                  <c:v>Energy</c:v>
                </c:pt>
                <c:pt idx="8">
                  <c:v>Real Estate</c:v>
                </c:pt>
                <c:pt idx="9">
                  <c:v>Telecommunication Services</c:v>
                </c:pt>
                <c:pt idx="10">
                  <c:v>Utilities</c:v>
                </c:pt>
              </c:strCache>
            </c:strRef>
          </c:cat>
          <c:val>
            <c:numRef>
              <c:f>World!$AG$2:$AG$12</c:f>
              <c:numCache>
                <c:formatCode>0.000%</c:formatCode>
                <c:ptCount val="11"/>
                <c:pt idx="0">
                  <c:v>0.39127678066284266</c:v>
                </c:pt>
                <c:pt idx="1">
                  <c:v>7.1029081074116401E-2</c:v>
                </c:pt>
                <c:pt idx="2">
                  <c:v>0.10306425285925476</c:v>
                </c:pt>
                <c:pt idx="3">
                  <c:v>4.2468461881119308E-2</c:v>
                </c:pt>
                <c:pt idx="4">
                  <c:v>6.5037402308512432E-2</c:v>
                </c:pt>
                <c:pt idx="5">
                  <c:v>3.9943913636668944E-2</c:v>
                </c:pt>
                <c:pt idx="6">
                  <c:v>2.7409285254870238E-2</c:v>
                </c:pt>
                <c:pt idx="7">
                  <c:v>0.10066696780577136</c:v>
                </c:pt>
                <c:pt idx="8">
                  <c:v>5.3738050545062248E-2</c:v>
                </c:pt>
                <c:pt idx="9">
                  <c:v>4.6441768331573707E-2</c:v>
                </c:pt>
                <c:pt idx="10">
                  <c:v>5.8924035640208636E-2</c:v>
                </c:pt>
              </c:numCache>
            </c:numRef>
          </c:val>
          <c:extLst xmlns:c16r2="http://schemas.microsoft.com/office/drawing/2015/06/chart">
            <c:ext xmlns:c16="http://schemas.microsoft.com/office/drawing/2014/chart" uri="{C3380CC4-5D6E-409C-BE32-E72D297353CC}">
              <c16:uniqueId val="{00000001-4A0D-4823-9EFC-7D99CD121A4C}"/>
            </c:ext>
          </c:extLst>
        </c:ser>
        <c:dLbls>
          <c:showLegendKey val="0"/>
          <c:showVal val="0"/>
          <c:showCatName val="0"/>
          <c:showSerName val="0"/>
          <c:showPercent val="0"/>
          <c:showBubbleSize val="0"/>
        </c:dLbls>
        <c:gapWidth val="75"/>
        <c:axId val="254648704"/>
        <c:axId val="254650240"/>
      </c:barChart>
      <c:catAx>
        <c:axId val="254648704"/>
        <c:scaling>
          <c:orientation val="minMax"/>
        </c:scaling>
        <c:delete val="0"/>
        <c:axPos val="b"/>
        <c:numFmt formatCode="General" sourceLinked="0"/>
        <c:majorTickMark val="none"/>
        <c:minorTickMark val="none"/>
        <c:tickLblPos val="low"/>
        <c:spPr>
          <a:ln w="15875">
            <a:solidFill>
              <a:srgbClr val="003C64"/>
            </a:solidFill>
          </a:ln>
        </c:spPr>
        <c:txPr>
          <a:bodyPr rot="-5400000" vert="horz"/>
          <a:lstStyle/>
          <a:p>
            <a:pPr>
              <a:defRPr sz="900" b="0" i="0" u="none">
                <a:solidFill>
                  <a:schemeClr val="tx1"/>
                </a:solidFill>
                <a:latin typeface="Arial"/>
                <a:ea typeface="Arial"/>
                <a:cs typeface="Arial"/>
              </a:defRPr>
            </a:pPr>
            <a:endParaRPr lang="en-US"/>
          </a:p>
        </c:txPr>
        <c:crossAx val="254650240"/>
        <c:crosses val="autoZero"/>
        <c:auto val="1"/>
        <c:lblAlgn val="ctr"/>
        <c:lblOffset val="100"/>
        <c:noMultiLvlLbl val="0"/>
      </c:catAx>
      <c:valAx>
        <c:axId val="254650240"/>
        <c:scaling>
          <c:orientation val="minMax"/>
        </c:scaling>
        <c:delete val="0"/>
        <c:axPos val="l"/>
        <c:numFmt formatCode="0%" sourceLinked="0"/>
        <c:majorTickMark val="none"/>
        <c:minorTickMark val="none"/>
        <c:tickLblPos val="nextTo"/>
        <c:spPr>
          <a:ln w="15875">
            <a:solidFill>
              <a:srgbClr val="003C64"/>
            </a:solidFill>
          </a:ln>
        </c:spPr>
        <c:txPr>
          <a:bodyPr/>
          <a:lstStyle/>
          <a:p>
            <a:pPr>
              <a:defRPr sz="900" b="0" i="0" u="none">
                <a:solidFill>
                  <a:schemeClr val="tx1"/>
                </a:solidFill>
                <a:latin typeface="Arial"/>
                <a:ea typeface="Arial"/>
                <a:cs typeface="Arial"/>
              </a:defRPr>
            </a:pPr>
            <a:endParaRPr lang="en-US"/>
          </a:p>
        </c:txPr>
        <c:crossAx val="254648704"/>
        <c:crosses val="autoZero"/>
        <c:crossBetween val="between"/>
      </c:valAx>
      <c:spPr>
        <a:noFill/>
      </c:spPr>
    </c:plotArea>
    <c:plotVisOnly val="1"/>
    <c:dispBlanksAs val="gap"/>
    <c:showDLblsOverMax val="0"/>
  </c:chart>
  <c:spPr>
    <a:noFill/>
    <a:ln w="9525">
      <a:noFill/>
    </a:ln>
  </c:spPr>
  <c:txPr>
    <a:bodyPr/>
    <a:lstStyle/>
    <a:p>
      <a:pPr>
        <a:defRPr sz="800">
          <a:solidFill>
            <a:srgbClr val="767A7E"/>
          </a:solidFill>
        </a:defRPr>
      </a:pPr>
      <a:endParaRPr lang="en-US"/>
    </a:p>
  </c:txPr>
  <c:externalData r:id="rId2">
    <c:autoUpdate val="0"/>
  </c:externalData>
  <c:extLst xmlns:c16r2="http://schemas.microsoft.com/office/drawing/2015/06/chart"/>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315927614311371E-2"/>
          <c:y val="3.4810443431413179E-2"/>
          <c:w val="0.81736814477137731"/>
          <c:h val="0.80745627849150436"/>
        </c:manualLayout>
      </c:layout>
      <c:lineChart>
        <c:grouping val="standard"/>
        <c:varyColors val="0"/>
        <c:ser>
          <c:idx val="0"/>
          <c:order val="0"/>
          <c:tx>
            <c:strRef>
              <c:f>'UK Brexit'!$H$1</c:f>
              <c:strCache>
                <c:ptCount val="1"/>
                <c:pt idx="0">
                  <c:v>MSCI UK LOC</c:v>
                </c:pt>
              </c:strCache>
            </c:strRef>
          </c:tx>
          <c:spPr>
            <a:ln w="28575">
              <a:solidFill>
                <a:schemeClr val="tx1"/>
              </a:solidFill>
              <a:prstDash val="solid"/>
            </a:ln>
          </c:spPr>
          <c:marker>
            <c:symbol val="none"/>
          </c:marker>
          <c:cat>
            <c:numRef>
              <c:f>'UK Brexit'!$G$2:$G$129</c:f>
              <c:numCache>
                <c:formatCode>m/d/yyyy</c:formatCode>
                <c:ptCount val="128"/>
                <c:pt idx="0">
                  <c:v>42522</c:v>
                </c:pt>
                <c:pt idx="1">
                  <c:v>42523</c:v>
                </c:pt>
                <c:pt idx="2">
                  <c:v>42524</c:v>
                </c:pt>
                <c:pt idx="3">
                  <c:v>42527</c:v>
                </c:pt>
                <c:pt idx="4">
                  <c:v>42528</c:v>
                </c:pt>
                <c:pt idx="5">
                  <c:v>42529</c:v>
                </c:pt>
                <c:pt idx="6">
                  <c:v>42530</c:v>
                </c:pt>
                <c:pt idx="7">
                  <c:v>42531</c:v>
                </c:pt>
                <c:pt idx="8">
                  <c:v>42534</c:v>
                </c:pt>
                <c:pt idx="9">
                  <c:v>42535</c:v>
                </c:pt>
                <c:pt idx="10">
                  <c:v>42536</c:v>
                </c:pt>
                <c:pt idx="11">
                  <c:v>42537</c:v>
                </c:pt>
                <c:pt idx="12">
                  <c:v>42538</c:v>
                </c:pt>
                <c:pt idx="13">
                  <c:v>42541</c:v>
                </c:pt>
                <c:pt idx="14">
                  <c:v>42542</c:v>
                </c:pt>
                <c:pt idx="15">
                  <c:v>42543</c:v>
                </c:pt>
                <c:pt idx="16">
                  <c:v>42544</c:v>
                </c:pt>
                <c:pt idx="17">
                  <c:v>42545</c:v>
                </c:pt>
                <c:pt idx="18">
                  <c:v>42548</c:v>
                </c:pt>
                <c:pt idx="19">
                  <c:v>42549</c:v>
                </c:pt>
                <c:pt idx="20">
                  <c:v>42550</c:v>
                </c:pt>
                <c:pt idx="21">
                  <c:v>42551</c:v>
                </c:pt>
                <c:pt idx="22">
                  <c:v>42552</c:v>
                </c:pt>
                <c:pt idx="23">
                  <c:v>42556</c:v>
                </c:pt>
                <c:pt idx="24">
                  <c:v>42557</c:v>
                </c:pt>
                <c:pt idx="25">
                  <c:v>42558</c:v>
                </c:pt>
                <c:pt idx="26">
                  <c:v>42559</c:v>
                </c:pt>
                <c:pt idx="27">
                  <c:v>42562</c:v>
                </c:pt>
                <c:pt idx="28">
                  <c:v>42563</c:v>
                </c:pt>
                <c:pt idx="29">
                  <c:v>42564</c:v>
                </c:pt>
                <c:pt idx="30">
                  <c:v>42565</c:v>
                </c:pt>
                <c:pt idx="31">
                  <c:v>42566</c:v>
                </c:pt>
                <c:pt idx="32">
                  <c:v>42569</c:v>
                </c:pt>
                <c:pt idx="33">
                  <c:v>42570</c:v>
                </c:pt>
                <c:pt idx="34">
                  <c:v>42571</c:v>
                </c:pt>
                <c:pt idx="35">
                  <c:v>42572</c:v>
                </c:pt>
                <c:pt idx="36">
                  <c:v>42573</c:v>
                </c:pt>
                <c:pt idx="37">
                  <c:v>42576</c:v>
                </c:pt>
                <c:pt idx="38">
                  <c:v>42577</c:v>
                </c:pt>
                <c:pt idx="39">
                  <c:v>42578</c:v>
                </c:pt>
                <c:pt idx="40">
                  <c:v>42579</c:v>
                </c:pt>
                <c:pt idx="41">
                  <c:v>42580</c:v>
                </c:pt>
                <c:pt idx="42">
                  <c:v>42583</c:v>
                </c:pt>
                <c:pt idx="43">
                  <c:v>42584</c:v>
                </c:pt>
                <c:pt idx="44">
                  <c:v>42585</c:v>
                </c:pt>
                <c:pt idx="45">
                  <c:v>42586</c:v>
                </c:pt>
                <c:pt idx="46">
                  <c:v>42587</c:v>
                </c:pt>
                <c:pt idx="47">
                  <c:v>42590</c:v>
                </c:pt>
                <c:pt idx="48">
                  <c:v>42591</c:v>
                </c:pt>
                <c:pt idx="49">
                  <c:v>42592</c:v>
                </c:pt>
                <c:pt idx="50">
                  <c:v>42593</c:v>
                </c:pt>
                <c:pt idx="51">
                  <c:v>42594</c:v>
                </c:pt>
                <c:pt idx="52">
                  <c:v>42597</c:v>
                </c:pt>
                <c:pt idx="53">
                  <c:v>42598</c:v>
                </c:pt>
                <c:pt idx="54">
                  <c:v>42599</c:v>
                </c:pt>
                <c:pt idx="55">
                  <c:v>42600</c:v>
                </c:pt>
                <c:pt idx="56">
                  <c:v>42601</c:v>
                </c:pt>
                <c:pt idx="57">
                  <c:v>42604</c:v>
                </c:pt>
                <c:pt idx="58">
                  <c:v>42605</c:v>
                </c:pt>
                <c:pt idx="59">
                  <c:v>42606</c:v>
                </c:pt>
                <c:pt idx="60">
                  <c:v>42607</c:v>
                </c:pt>
                <c:pt idx="61">
                  <c:v>42608</c:v>
                </c:pt>
                <c:pt idx="62">
                  <c:v>42611</c:v>
                </c:pt>
                <c:pt idx="63">
                  <c:v>42612</c:v>
                </c:pt>
                <c:pt idx="64">
                  <c:v>42613</c:v>
                </c:pt>
                <c:pt idx="65">
                  <c:v>42614</c:v>
                </c:pt>
                <c:pt idx="66">
                  <c:v>42615</c:v>
                </c:pt>
                <c:pt idx="67">
                  <c:v>42619</c:v>
                </c:pt>
                <c:pt idx="68">
                  <c:v>42620</c:v>
                </c:pt>
                <c:pt idx="69">
                  <c:v>42621</c:v>
                </c:pt>
                <c:pt idx="70">
                  <c:v>42622</c:v>
                </c:pt>
                <c:pt idx="71">
                  <c:v>42625</c:v>
                </c:pt>
                <c:pt idx="72">
                  <c:v>42626</c:v>
                </c:pt>
                <c:pt idx="73">
                  <c:v>42627</c:v>
                </c:pt>
                <c:pt idx="74">
                  <c:v>42628</c:v>
                </c:pt>
                <c:pt idx="75">
                  <c:v>42629</c:v>
                </c:pt>
                <c:pt idx="76">
                  <c:v>42632</c:v>
                </c:pt>
                <c:pt idx="77">
                  <c:v>42633</c:v>
                </c:pt>
                <c:pt idx="78">
                  <c:v>42634</c:v>
                </c:pt>
                <c:pt idx="79">
                  <c:v>42635</c:v>
                </c:pt>
                <c:pt idx="80">
                  <c:v>42636</c:v>
                </c:pt>
                <c:pt idx="81">
                  <c:v>42639</c:v>
                </c:pt>
                <c:pt idx="82">
                  <c:v>42640</c:v>
                </c:pt>
                <c:pt idx="83">
                  <c:v>42641</c:v>
                </c:pt>
                <c:pt idx="84">
                  <c:v>42642</c:v>
                </c:pt>
                <c:pt idx="85">
                  <c:v>42643</c:v>
                </c:pt>
                <c:pt idx="86">
                  <c:v>42646</c:v>
                </c:pt>
                <c:pt idx="87">
                  <c:v>42647</c:v>
                </c:pt>
                <c:pt idx="88">
                  <c:v>42648</c:v>
                </c:pt>
                <c:pt idx="89">
                  <c:v>42649</c:v>
                </c:pt>
                <c:pt idx="90">
                  <c:v>42650</c:v>
                </c:pt>
                <c:pt idx="91">
                  <c:v>42653</c:v>
                </c:pt>
                <c:pt idx="92">
                  <c:v>42654</c:v>
                </c:pt>
                <c:pt idx="93">
                  <c:v>42655</c:v>
                </c:pt>
                <c:pt idx="94">
                  <c:v>42656</c:v>
                </c:pt>
                <c:pt idx="95">
                  <c:v>42657</c:v>
                </c:pt>
                <c:pt idx="96">
                  <c:v>42660</c:v>
                </c:pt>
                <c:pt idx="97">
                  <c:v>42661</c:v>
                </c:pt>
                <c:pt idx="98">
                  <c:v>42662</c:v>
                </c:pt>
                <c:pt idx="99">
                  <c:v>42663</c:v>
                </c:pt>
                <c:pt idx="100">
                  <c:v>42664</c:v>
                </c:pt>
                <c:pt idx="101">
                  <c:v>42667</c:v>
                </c:pt>
                <c:pt idx="102">
                  <c:v>42668</c:v>
                </c:pt>
                <c:pt idx="103">
                  <c:v>42669</c:v>
                </c:pt>
                <c:pt idx="104">
                  <c:v>42670</c:v>
                </c:pt>
                <c:pt idx="105">
                  <c:v>42671</c:v>
                </c:pt>
                <c:pt idx="106">
                  <c:v>42674</c:v>
                </c:pt>
                <c:pt idx="107">
                  <c:v>42675</c:v>
                </c:pt>
                <c:pt idx="108">
                  <c:v>42676</c:v>
                </c:pt>
                <c:pt idx="109">
                  <c:v>42677</c:v>
                </c:pt>
                <c:pt idx="110">
                  <c:v>42678</c:v>
                </c:pt>
                <c:pt idx="111">
                  <c:v>42681</c:v>
                </c:pt>
                <c:pt idx="112">
                  <c:v>42682</c:v>
                </c:pt>
                <c:pt idx="113">
                  <c:v>42683</c:v>
                </c:pt>
                <c:pt idx="114">
                  <c:v>42684</c:v>
                </c:pt>
                <c:pt idx="115">
                  <c:v>42685</c:v>
                </c:pt>
                <c:pt idx="116">
                  <c:v>42688</c:v>
                </c:pt>
                <c:pt idx="117">
                  <c:v>42689</c:v>
                </c:pt>
                <c:pt idx="118">
                  <c:v>42690</c:v>
                </c:pt>
                <c:pt idx="119">
                  <c:v>42691</c:v>
                </c:pt>
                <c:pt idx="120">
                  <c:v>42692</c:v>
                </c:pt>
                <c:pt idx="121">
                  <c:v>42695</c:v>
                </c:pt>
                <c:pt idx="122">
                  <c:v>42696</c:v>
                </c:pt>
                <c:pt idx="123">
                  <c:v>42697</c:v>
                </c:pt>
                <c:pt idx="124">
                  <c:v>42699</c:v>
                </c:pt>
                <c:pt idx="125">
                  <c:v>42702</c:v>
                </c:pt>
                <c:pt idx="126">
                  <c:v>42703</c:v>
                </c:pt>
                <c:pt idx="127">
                  <c:v>42704</c:v>
                </c:pt>
              </c:numCache>
            </c:numRef>
          </c:cat>
          <c:val>
            <c:numRef>
              <c:f>'UK Brexit'!$H$2:$H$129</c:f>
              <c:numCache>
                <c:formatCode>#.##0\.00</c:formatCode>
                <c:ptCount val="128"/>
                <c:pt idx="0">
                  <c:v>100</c:v>
                </c:pt>
                <c:pt idx="1">
                  <c:v>99.869043389774319</c:v>
                </c:pt>
                <c:pt idx="2">
                  <c:v>100.2639739814595</c:v>
                </c:pt>
                <c:pt idx="3">
                  <c:v>101.33174651384515</c:v>
                </c:pt>
                <c:pt idx="4">
                  <c:v>101.51423509117146</c:v>
                </c:pt>
                <c:pt idx="5">
                  <c:v>101.79771023384903</c:v>
                </c:pt>
                <c:pt idx="6">
                  <c:v>100.68383772063784</c:v>
                </c:pt>
                <c:pt idx="7">
                  <c:v>98.824192400863893</c:v>
                </c:pt>
                <c:pt idx="8">
                  <c:v>97.671750424453123</c:v>
                </c:pt>
                <c:pt idx="9">
                  <c:v>95.693515337831883</c:v>
                </c:pt>
                <c:pt idx="10">
                  <c:v>96.419477377455451</c:v>
                </c:pt>
                <c:pt idx="11">
                  <c:v>96.143557080948128</c:v>
                </c:pt>
                <c:pt idx="12">
                  <c:v>97.330535703302957</c:v>
                </c:pt>
                <c:pt idx="13">
                  <c:v>100.27384531607602</c:v>
                </c:pt>
                <c:pt idx="14">
                  <c:v>100.66195641683709</c:v>
                </c:pt>
                <c:pt idx="15">
                  <c:v>101.21568769322835</c:v>
                </c:pt>
                <c:pt idx="16">
                  <c:v>102.48256775374054</c:v>
                </c:pt>
                <c:pt idx="17">
                  <c:v>99.299261995053229</c:v>
                </c:pt>
                <c:pt idx="18">
                  <c:v>96.782193532738845</c:v>
                </c:pt>
                <c:pt idx="19">
                  <c:v>99.364360347181616</c:v>
                </c:pt>
                <c:pt idx="20">
                  <c:v>102.95143068081651</c:v>
                </c:pt>
                <c:pt idx="21">
                  <c:v>105.27861096685187</c:v>
                </c:pt>
                <c:pt idx="22">
                  <c:v>106.46499776126292</c:v>
                </c:pt>
                <c:pt idx="23">
                  <c:v>105.86694709798259</c:v>
                </c:pt>
                <c:pt idx="24">
                  <c:v>104.58722028856089</c:v>
                </c:pt>
                <c:pt idx="25">
                  <c:v>105.73607985905318</c:v>
                </c:pt>
                <c:pt idx="26">
                  <c:v>106.64350540001034</c:v>
                </c:pt>
                <c:pt idx="27">
                  <c:v>108.14432440990028</c:v>
                </c:pt>
                <c:pt idx="28">
                  <c:v>108.12546495569622</c:v>
                </c:pt>
                <c:pt idx="29">
                  <c:v>107.93518635627154</c:v>
                </c:pt>
                <c:pt idx="30">
                  <c:v>107.68632434448203</c:v>
                </c:pt>
                <c:pt idx="31">
                  <c:v>107.91574057304125</c:v>
                </c:pt>
                <c:pt idx="32">
                  <c:v>108.33470715549056</c:v>
                </c:pt>
                <c:pt idx="33">
                  <c:v>108.3419118483659</c:v>
                </c:pt>
                <c:pt idx="34">
                  <c:v>108.87025540008034</c:v>
                </c:pt>
                <c:pt idx="35">
                  <c:v>108.46851448233362</c:v>
                </c:pt>
                <c:pt idx="36">
                  <c:v>108.92316642904753</c:v>
                </c:pt>
                <c:pt idx="37">
                  <c:v>108.61541084372588</c:v>
                </c:pt>
                <c:pt idx="38">
                  <c:v>108.85487592751244</c:v>
                </c:pt>
                <c:pt idx="39">
                  <c:v>109.27574919018942</c:v>
                </c:pt>
                <c:pt idx="40">
                  <c:v>108.80890097763024</c:v>
                </c:pt>
                <c:pt idx="41">
                  <c:v>108.87259010716251</c:v>
                </c:pt>
                <c:pt idx="42">
                  <c:v>108.38242570659123</c:v>
                </c:pt>
                <c:pt idx="43">
                  <c:v>107.6015168720721</c:v>
                </c:pt>
                <c:pt idx="44">
                  <c:v>107.41906900895346</c:v>
                </c:pt>
                <c:pt idx="45">
                  <c:v>109.12569006249529</c:v>
                </c:pt>
                <c:pt idx="46">
                  <c:v>109.98116488544916</c:v>
                </c:pt>
                <c:pt idx="47">
                  <c:v>110.24860212961367</c:v>
                </c:pt>
                <c:pt idx="48">
                  <c:v>110.93260059638661</c:v>
                </c:pt>
                <c:pt idx="49">
                  <c:v>111.20130609089748</c:v>
                </c:pt>
                <c:pt idx="50">
                  <c:v>111.97459287025416</c:v>
                </c:pt>
                <c:pt idx="51">
                  <c:v>111.94868169306281</c:v>
                </c:pt>
                <c:pt idx="52">
                  <c:v>112.32265468800539</c:v>
                </c:pt>
                <c:pt idx="53">
                  <c:v>111.55149249042714</c:v>
                </c:pt>
                <c:pt idx="54">
                  <c:v>110.96073894627258</c:v>
                </c:pt>
                <c:pt idx="55">
                  <c:v>111.1319095848559</c:v>
                </c:pt>
                <c:pt idx="56">
                  <c:v>110.9834879681529</c:v>
                </c:pt>
                <c:pt idx="57">
                  <c:v>110.48101121347709</c:v>
                </c:pt>
                <c:pt idx="58">
                  <c:v>111.14320541683949</c:v>
                </c:pt>
                <c:pt idx="59">
                  <c:v>110.61246489252198</c:v>
                </c:pt>
                <c:pt idx="60">
                  <c:v>110.2599667813835</c:v>
                </c:pt>
                <c:pt idx="61">
                  <c:v>110.6219469148853</c:v>
                </c:pt>
                <c:pt idx="62">
                  <c:v>110.6219469148853</c:v>
                </c:pt>
                <c:pt idx="63">
                  <c:v>110.29958381614757</c:v>
                </c:pt>
                <c:pt idx="64">
                  <c:v>109.66158857146925</c:v>
                </c:pt>
                <c:pt idx="65">
                  <c:v>109.11463123941235</c:v>
                </c:pt>
                <c:pt idx="66">
                  <c:v>111.53638451996991</c:v>
                </c:pt>
                <c:pt idx="67">
                  <c:v>110.42100769177034</c:v>
                </c:pt>
                <c:pt idx="68">
                  <c:v>110.75116164577577</c:v>
                </c:pt>
                <c:pt idx="69">
                  <c:v>110.9366297476971</c:v>
                </c:pt>
                <c:pt idx="70">
                  <c:v>109.62661484489736</c:v>
                </c:pt>
                <c:pt idx="71">
                  <c:v>108.36763489592367</c:v>
                </c:pt>
                <c:pt idx="72">
                  <c:v>107.76392195836686</c:v>
                </c:pt>
                <c:pt idx="73">
                  <c:v>107.89692316611578</c:v>
                </c:pt>
                <c:pt idx="74">
                  <c:v>108.79714534726855</c:v>
                </c:pt>
                <c:pt idx="75">
                  <c:v>108.47674513991559</c:v>
                </c:pt>
                <c:pt idx="76">
                  <c:v>110.16745632529731</c:v>
                </c:pt>
                <c:pt idx="77">
                  <c:v>110.45115464626473</c:v>
                </c:pt>
                <c:pt idx="78">
                  <c:v>110.53077725042135</c:v>
                </c:pt>
                <c:pt idx="79">
                  <c:v>111.76389956721898</c:v>
                </c:pt>
                <c:pt idx="80">
                  <c:v>111.72257292454488</c:v>
                </c:pt>
                <c:pt idx="81">
                  <c:v>110.25295916082582</c:v>
                </c:pt>
                <c:pt idx="82">
                  <c:v>110.07601815813226</c:v>
                </c:pt>
                <c:pt idx="83">
                  <c:v>110.7395880906839</c:v>
                </c:pt>
                <c:pt idx="84">
                  <c:v>111.90716975353088</c:v>
                </c:pt>
                <c:pt idx="85">
                  <c:v>111.6039940999881</c:v>
                </c:pt>
                <c:pt idx="86">
                  <c:v>112.99663851503792</c:v>
                </c:pt>
                <c:pt idx="87">
                  <c:v>114.47430341612177</c:v>
                </c:pt>
                <c:pt idx="88">
                  <c:v>113.80141465130522</c:v>
                </c:pt>
                <c:pt idx="89">
                  <c:v>113.27236651606506</c:v>
                </c:pt>
                <c:pt idx="90">
                  <c:v>114.01113958940644</c:v>
                </c:pt>
                <c:pt idx="91">
                  <c:v>114.83611952635583</c:v>
                </c:pt>
                <c:pt idx="92">
                  <c:v>114.40736098255431</c:v>
                </c:pt>
                <c:pt idx="93">
                  <c:v>113.63669168794866</c:v>
                </c:pt>
                <c:pt idx="94">
                  <c:v>112.87017235420561</c:v>
                </c:pt>
                <c:pt idx="95">
                  <c:v>113.431315504911</c:v>
                </c:pt>
                <c:pt idx="96">
                  <c:v>112.34010553060421</c:v>
                </c:pt>
                <c:pt idx="97">
                  <c:v>113.18168108961272</c:v>
                </c:pt>
                <c:pt idx="98">
                  <c:v>113.54548708591769</c:v>
                </c:pt>
                <c:pt idx="99">
                  <c:v>113.59661696550214</c:v>
                </c:pt>
                <c:pt idx="100">
                  <c:v>113.4639421379501</c:v>
                </c:pt>
                <c:pt idx="101">
                  <c:v>112.87518458977482</c:v>
                </c:pt>
                <c:pt idx="102">
                  <c:v>113.40439397105168</c:v>
                </c:pt>
                <c:pt idx="103">
                  <c:v>112.42667532277014</c:v>
                </c:pt>
                <c:pt idx="104">
                  <c:v>112.88490617609135</c:v>
                </c:pt>
                <c:pt idx="105">
                  <c:v>113.01194266909887</c:v>
                </c:pt>
                <c:pt idx="106">
                  <c:v>112.34822604320142</c:v>
                </c:pt>
                <c:pt idx="107">
                  <c:v>111.72611506061267</c:v>
                </c:pt>
                <c:pt idx="108">
                  <c:v>110.57049448768288</c:v>
                </c:pt>
                <c:pt idx="109">
                  <c:v>109.74678030157185</c:v>
                </c:pt>
                <c:pt idx="110">
                  <c:v>108.10810159587653</c:v>
                </c:pt>
                <c:pt idx="111">
                  <c:v>109.93247102633677</c:v>
                </c:pt>
                <c:pt idx="112">
                  <c:v>110.49286610207767</c:v>
                </c:pt>
                <c:pt idx="113">
                  <c:v>111.56669955248944</c:v>
                </c:pt>
                <c:pt idx="114">
                  <c:v>110.2881416240859</c:v>
                </c:pt>
                <c:pt idx="115">
                  <c:v>108.67728683017336</c:v>
                </c:pt>
                <c:pt idx="116">
                  <c:v>109.0438124577886</c:v>
                </c:pt>
                <c:pt idx="117">
                  <c:v>109.70935566856927</c:v>
                </c:pt>
                <c:pt idx="118">
                  <c:v>109.02003991516497</c:v>
                </c:pt>
                <c:pt idx="119">
                  <c:v>109.7462585709406</c:v>
                </c:pt>
                <c:pt idx="120">
                  <c:v>109.40517404638361</c:v>
                </c:pt>
                <c:pt idx="121">
                  <c:v>109.46002402700366</c:v>
                </c:pt>
                <c:pt idx="122">
                  <c:v>110.19962166025354</c:v>
                </c:pt>
                <c:pt idx="123">
                  <c:v>110.19899867177702</c:v>
                </c:pt>
                <c:pt idx="124">
                  <c:v>110.55073754348206</c:v>
                </c:pt>
                <c:pt idx="125">
                  <c:v>109.9026413427213</c:v>
                </c:pt>
                <c:pt idx="126">
                  <c:v>109.4408081429624</c:v>
                </c:pt>
                <c:pt idx="127">
                  <c:v>109.65857883060006</c:v>
                </c:pt>
              </c:numCache>
            </c:numRef>
          </c:val>
          <c:smooth val="0"/>
          <c:extLst xmlns:c16r2="http://schemas.microsoft.com/office/drawing/2015/06/chart">
            <c:ext xmlns:c16="http://schemas.microsoft.com/office/drawing/2014/chart" uri="{C3380CC4-5D6E-409C-BE32-E72D297353CC}">
              <c16:uniqueId val="{00000000-B2C7-4F74-8BDD-132D1F7FABE0}"/>
            </c:ext>
          </c:extLst>
        </c:ser>
        <c:ser>
          <c:idx val="1"/>
          <c:order val="1"/>
          <c:tx>
            <c:strRef>
              <c:f>'UK Brexit'!$I$1</c:f>
              <c:strCache>
                <c:ptCount val="1"/>
                <c:pt idx="0">
                  <c:v>MSCI UK USD</c:v>
                </c:pt>
              </c:strCache>
            </c:strRef>
          </c:tx>
          <c:spPr>
            <a:ln w="19050">
              <a:prstDash val="sysDash"/>
            </a:ln>
          </c:spPr>
          <c:marker>
            <c:symbol val="none"/>
          </c:marker>
          <c:cat>
            <c:numRef>
              <c:f>'UK Brexit'!$G$2:$G$129</c:f>
              <c:numCache>
                <c:formatCode>m/d/yyyy</c:formatCode>
                <c:ptCount val="128"/>
                <c:pt idx="0">
                  <c:v>42522</c:v>
                </c:pt>
                <c:pt idx="1">
                  <c:v>42523</c:v>
                </c:pt>
                <c:pt idx="2">
                  <c:v>42524</c:v>
                </c:pt>
                <c:pt idx="3">
                  <c:v>42527</c:v>
                </c:pt>
                <c:pt idx="4">
                  <c:v>42528</c:v>
                </c:pt>
                <c:pt idx="5">
                  <c:v>42529</c:v>
                </c:pt>
                <c:pt idx="6">
                  <c:v>42530</c:v>
                </c:pt>
                <c:pt idx="7">
                  <c:v>42531</c:v>
                </c:pt>
                <c:pt idx="8">
                  <c:v>42534</c:v>
                </c:pt>
                <c:pt idx="9">
                  <c:v>42535</c:v>
                </c:pt>
                <c:pt idx="10">
                  <c:v>42536</c:v>
                </c:pt>
                <c:pt idx="11">
                  <c:v>42537</c:v>
                </c:pt>
                <c:pt idx="12">
                  <c:v>42538</c:v>
                </c:pt>
                <c:pt idx="13">
                  <c:v>42541</c:v>
                </c:pt>
                <c:pt idx="14">
                  <c:v>42542</c:v>
                </c:pt>
                <c:pt idx="15">
                  <c:v>42543</c:v>
                </c:pt>
                <c:pt idx="16">
                  <c:v>42544</c:v>
                </c:pt>
                <c:pt idx="17">
                  <c:v>42545</c:v>
                </c:pt>
                <c:pt idx="18">
                  <c:v>42548</c:v>
                </c:pt>
                <c:pt idx="19">
                  <c:v>42549</c:v>
                </c:pt>
                <c:pt idx="20">
                  <c:v>42550</c:v>
                </c:pt>
                <c:pt idx="21">
                  <c:v>42551</c:v>
                </c:pt>
                <c:pt idx="22">
                  <c:v>42552</c:v>
                </c:pt>
                <c:pt idx="23">
                  <c:v>42556</c:v>
                </c:pt>
                <c:pt idx="24">
                  <c:v>42557</c:v>
                </c:pt>
                <c:pt idx="25">
                  <c:v>42558</c:v>
                </c:pt>
                <c:pt idx="26">
                  <c:v>42559</c:v>
                </c:pt>
                <c:pt idx="27">
                  <c:v>42562</c:v>
                </c:pt>
                <c:pt idx="28">
                  <c:v>42563</c:v>
                </c:pt>
                <c:pt idx="29">
                  <c:v>42564</c:v>
                </c:pt>
                <c:pt idx="30">
                  <c:v>42565</c:v>
                </c:pt>
                <c:pt idx="31">
                  <c:v>42566</c:v>
                </c:pt>
                <c:pt idx="32">
                  <c:v>42569</c:v>
                </c:pt>
                <c:pt idx="33">
                  <c:v>42570</c:v>
                </c:pt>
                <c:pt idx="34">
                  <c:v>42571</c:v>
                </c:pt>
                <c:pt idx="35">
                  <c:v>42572</c:v>
                </c:pt>
                <c:pt idx="36">
                  <c:v>42573</c:v>
                </c:pt>
                <c:pt idx="37">
                  <c:v>42576</c:v>
                </c:pt>
                <c:pt idx="38">
                  <c:v>42577</c:v>
                </c:pt>
                <c:pt idx="39">
                  <c:v>42578</c:v>
                </c:pt>
                <c:pt idx="40">
                  <c:v>42579</c:v>
                </c:pt>
                <c:pt idx="41">
                  <c:v>42580</c:v>
                </c:pt>
                <c:pt idx="42">
                  <c:v>42583</c:v>
                </c:pt>
                <c:pt idx="43">
                  <c:v>42584</c:v>
                </c:pt>
                <c:pt idx="44">
                  <c:v>42585</c:v>
                </c:pt>
                <c:pt idx="45">
                  <c:v>42586</c:v>
                </c:pt>
                <c:pt idx="46">
                  <c:v>42587</c:v>
                </c:pt>
                <c:pt idx="47">
                  <c:v>42590</c:v>
                </c:pt>
                <c:pt idx="48">
                  <c:v>42591</c:v>
                </c:pt>
                <c:pt idx="49">
                  <c:v>42592</c:v>
                </c:pt>
                <c:pt idx="50">
                  <c:v>42593</c:v>
                </c:pt>
                <c:pt idx="51">
                  <c:v>42594</c:v>
                </c:pt>
                <c:pt idx="52">
                  <c:v>42597</c:v>
                </c:pt>
                <c:pt idx="53">
                  <c:v>42598</c:v>
                </c:pt>
                <c:pt idx="54">
                  <c:v>42599</c:v>
                </c:pt>
                <c:pt idx="55">
                  <c:v>42600</c:v>
                </c:pt>
                <c:pt idx="56">
                  <c:v>42601</c:v>
                </c:pt>
                <c:pt idx="57">
                  <c:v>42604</c:v>
                </c:pt>
                <c:pt idx="58">
                  <c:v>42605</c:v>
                </c:pt>
                <c:pt idx="59">
                  <c:v>42606</c:v>
                </c:pt>
                <c:pt idx="60">
                  <c:v>42607</c:v>
                </c:pt>
                <c:pt idx="61">
                  <c:v>42608</c:v>
                </c:pt>
                <c:pt idx="62">
                  <c:v>42611</c:v>
                </c:pt>
                <c:pt idx="63">
                  <c:v>42612</c:v>
                </c:pt>
                <c:pt idx="64">
                  <c:v>42613</c:v>
                </c:pt>
                <c:pt idx="65">
                  <c:v>42614</c:v>
                </c:pt>
                <c:pt idx="66">
                  <c:v>42615</c:v>
                </c:pt>
                <c:pt idx="67">
                  <c:v>42619</c:v>
                </c:pt>
                <c:pt idx="68">
                  <c:v>42620</c:v>
                </c:pt>
                <c:pt idx="69">
                  <c:v>42621</c:v>
                </c:pt>
                <c:pt idx="70">
                  <c:v>42622</c:v>
                </c:pt>
                <c:pt idx="71">
                  <c:v>42625</c:v>
                </c:pt>
                <c:pt idx="72">
                  <c:v>42626</c:v>
                </c:pt>
                <c:pt idx="73">
                  <c:v>42627</c:v>
                </c:pt>
                <c:pt idx="74">
                  <c:v>42628</c:v>
                </c:pt>
                <c:pt idx="75">
                  <c:v>42629</c:v>
                </c:pt>
                <c:pt idx="76">
                  <c:v>42632</c:v>
                </c:pt>
                <c:pt idx="77">
                  <c:v>42633</c:v>
                </c:pt>
                <c:pt idx="78">
                  <c:v>42634</c:v>
                </c:pt>
                <c:pt idx="79">
                  <c:v>42635</c:v>
                </c:pt>
                <c:pt idx="80">
                  <c:v>42636</c:v>
                </c:pt>
                <c:pt idx="81">
                  <c:v>42639</c:v>
                </c:pt>
                <c:pt idx="82">
                  <c:v>42640</c:v>
                </c:pt>
                <c:pt idx="83">
                  <c:v>42641</c:v>
                </c:pt>
                <c:pt idx="84">
                  <c:v>42642</c:v>
                </c:pt>
                <c:pt idx="85">
                  <c:v>42643</c:v>
                </c:pt>
                <c:pt idx="86">
                  <c:v>42646</c:v>
                </c:pt>
                <c:pt idx="87">
                  <c:v>42647</c:v>
                </c:pt>
                <c:pt idx="88">
                  <c:v>42648</c:v>
                </c:pt>
                <c:pt idx="89">
                  <c:v>42649</c:v>
                </c:pt>
                <c:pt idx="90">
                  <c:v>42650</c:v>
                </c:pt>
                <c:pt idx="91">
                  <c:v>42653</c:v>
                </c:pt>
                <c:pt idx="92">
                  <c:v>42654</c:v>
                </c:pt>
                <c:pt idx="93">
                  <c:v>42655</c:v>
                </c:pt>
                <c:pt idx="94">
                  <c:v>42656</c:v>
                </c:pt>
                <c:pt idx="95">
                  <c:v>42657</c:v>
                </c:pt>
                <c:pt idx="96">
                  <c:v>42660</c:v>
                </c:pt>
                <c:pt idx="97">
                  <c:v>42661</c:v>
                </c:pt>
                <c:pt idx="98">
                  <c:v>42662</c:v>
                </c:pt>
                <c:pt idx="99">
                  <c:v>42663</c:v>
                </c:pt>
                <c:pt idx="100">
                  <c:v>42664</c:v>
                </c:pt>
                <c:pt idx="101">
                  <c:v>42667</c:v>
                </c:pt>
                <c:pt idx="102">
                  <c:v>42668</c:v>
                </c:pt>
                <c:pt idx="103">
                  <c:v>42669</c:v>
                </c:pt>
                <c:pt idx="104">
                  <c:v>42670</c:v>
                </c:pt>
                <c:pt idx="105">
                  <c:v>42671</c:v>
                </c:pt>
                <c:pt idx="106">
                  <c:v>42674</c:v>
                </c:pt>
                <c:pt idx="107">
                  <c:v>42675</c:v>
                </c:pt>
                <c:pt idx="108">
                  <c:v>42676</c:v>
                </c:pt>
                <c:pt idx="109">
                  <c:v>42677</c:v>
                </c:pt>
                <c:pt idx="110">
                  <c:v>42678</c:v>
                </c:pt>
                <c:pt idx="111">
                  <c:v>42681</c:v>
                </c:pt>
                <c:pt idx="112">
                  <c:v>42682</c:v>
                </c:pt>
                <c:pt idx="113">
                  <c:v>42683</c:v>
                </c:pt>
                <c:pt idx="114">
                  <c:v>42684</c:v>
                </c:pt>
                <c:pt idx="115">
                  <c:v>42685</c:v>
                </c:pt>
                <c:pt idx="116">
                  <c:v>42688</c:v>
                </c:pt>
                <c:pt idx="117">
                  <c:v>42689</c:v>
                </c:pt>
                <c:pt idx="118">
                  <c:v>42690</c:v>
                </c:pt>
                <c:pt idx="119">
                  <c:v>42691</c:v>
                </c:pt>
                <c:pt idx="120">
                  <c:v>42692</c:v>
                </c:pt>
                <c:pt idx="121">
                  <c:v>42695</c:v>
                </c:pt>
                <c:pt idx="122">
                  <c:v>42696</c:v>
                </c:pt>
                <c:pt idx="123">
                  <c:v>42697</c:v>
                </c:pt>
                <c:pt idx="124">
                  <c:v>42699</c:v>
                </c:pt>
                <c:pt idx="125">
                  <c:v>42702</c:v>
                </c:pt>
                <c:pt idx="126">
                  <c:v>42703</c:v>
                </c:pt>
                <c:pt idx="127">
                  <c:v>42704</c:v>
                </c:pt>
              </c:numCache>
            </c:numRef>
          </c:cat>
          <c:val>
            <c:numRef>
              <c:f>'UK Brexit'!$I$2:$I$129</c:f>
              <c:numCache>
                <c:formatCode>General</c:formatCode>
                <c:ptCount val="128"/>
                <c:pt idx="0">
                  <c:v>100</c:v>
                </c:pt>
                <c:pt idx="1">
                  <c:v>100.10811380105012</c:v>
                </c:pt>
                <c:pt idx="2">
                  <c:v>100.9979352375826</c:v>
                </c:pt>
                <c:pt idx="3">
                  <c:v>101.70087758136874</c:v>
                </c:pt>
                <c:pt idx="4">
                  <c:v>102.52853229211685</c:v>
                </c:pt>
                <c:pt idx="5">
                  <c:v>102.80777638193291</c:v>
                </c:pt>
                <c:pt idx="6">
                  <c:v>101.08204613113732</c:v>
                </c:pt>
                <c:pt idx="7">
                  <c:v>98.261912131634531</c:v>
                </c:pt>
                <c:pt idx="8">
                  <c:v>96.760228809479855</c:v>
                </c:pt>
                <c:pt idx="9">
                  <c:v>93.708200254060685</c:v>
                </c:pt>
                <c:pt idx="10">
                  <c:v>94.954318785166123</c:v>
                </c:pt>
                <c:pt idx="11">
                  <c:v>93.83870012128213</c:v>
                </c:pt>
                <c:pt idx="12">
                  <c:v>96.540383615090931</c:v>
                </c:pt>
                <c:pt idx="13">
                  <c:v>102.24634298367795</c:v>
                </c:pt>
                <c:pt idx="14">
                  <c:v>102.4779506478321</c:v>
                </c:pt>
                <c:pt idx="15">
                  <c:v>103.1470167346462</c:v>
                </c:pt>
                <c:pt idx="16">
                  <c:v>105.29138088766588</c:v>
                </c:pt>
                <c:pt idx="17">
                  <c:v>93.883690335757436</c:v>
                </c:pt>
                <c:pt idx="18">
                  <c:v>88.293941183000967</c:v>
                </c:pt>
                <c:pt idx="19">
                  <c:v>91.845845616576696</c:v>
                </c:pt>
                <c:pt idx="20">
                  <c:v>96.615188746127345</c:v>
                </c:pt>
                <c:pt idx="21">
                  <c:v>97.652267044416234</c:v>
                </c:pt>
                <c:pt idx="22">
                  <c:v>97.991825919124693</c:v>
                </c:pt>
                <c:pt idx="23">
                  <c:v>95.847344308807138</c:v>
                </c:pt>
                <c:pt idx="24">
                  <c:v>93.484080816347671</c:v>
                </c:pt>
                <c:pt idx="25">
                  <c:v>94.885145777806159</c:v>
                </c:pt>
                <c:pt idx="26">
                  <c:v>95.899238885218438</c:v>
                </c:pt>
                <c:pt idx="27">
                  <c:v>97.473964369108558</c:v>
                </c:pt>
                <c:pt idx="28">
                  <c:v>98.908691944737427</c:v>
                </c:pt>
                <c:pt idx="29">
                  <c:v>99.011735474933658</c:v>
                </c:pt>
                <c:pt idx="30">
                  <c:v>99.556798932820357</c:v>
                </c:pt>
                <c:pt idx="31">
                  <c:v>99.094984120938648</c:v>
                </c:pt>
                <c:pt idx="32">
                  <c:v>99.848037447443446</c:v>
                </c:pt>
                <c:pt idx="33">
                  <c:v>98.749608335403181</c:v>
                </c:pt>
                <c:pt idx="34">
                  <c:v>99.548447533968854</c:v>
                </c:pt>
                <c:pt idx="35">
                  <c:v>99.478392302069921</c:v>
                </c:pt>
                <c:pt idx="36">
                  <c:v>98.886394017782521</c:v>
                </c:pt>
                <c:pt idx="37">
                  <c:v>98.919759566723954</c:v>
                </c:pt>
                <c:pt idx="38">
                  <c:v>99.069871010763109</c:v>
                </c:pt>
                <c:pt idx="39">
                  <c:v>99.437747267727744</c:v>
                </c:pt>
                <c:pt idx="40">
                  <c:v>99.080877961893378</c:v>
                </c:pt>
                <c:pt idx="41">
                  <c:v>100.29845816154214</c:v>
                </c:pt>
                <c:pt idx="42">
                  <c:v>99.29791490951628</c:v>
                </c:pt>
                <c:pt idx="43">
                  <c:v>99.399999636714753</c:v>
                </c:pt>
                <c:pt idx="44">
                  <c:v>99.317172912121521</c:v>
                </c:pt>
                <c:pt idx="45">
                  <c:v>99.384488336939796</c:v>
                </c:pt>
                <c:pt idx="46">
                  <c:v>99.656122211199801</c:v>
                </c:pt>
                <c:pt idx="47">
                  <c:v>99.741631956432045</c:v>
                </c:pt>
                <c:pt idx="48">
                  <c:v>99.998673472422425</c:v>
                </c:pt>
                <c:pt idx="49">
                  <c:v>100.39521189967986</c:v>
                </c:pt>
                <c:pt idx="50">
                  <c:v>100.73983984292344</c:v>
                </c:pt>
                <c:pt idx="51">
                  <c:v>100.46019297631031</c:v>
                </c:pt>
                <c:pt idx="52">
                  <c:v>100.36323798850317</c:v>
                </c:pt>
                <c:pt idx="53">
                  <c:v>100.3553203492793</c:v>
                </c:pt>
                <c:pt idx="54">
                  <c:v>100.18957099204725</c:v>
                </c:pt>
                <c:pt idx="55">
                  <c:v>101.51235251418898</c:v>
                </c:pt>
                <c:pt idx="56">
                  <c:v>100.53354394900454</c:v>
                </c:pt>
                <c:pt idx="57">
                  <c:v>100.81047311270567</c:v>
                </c:pt>
                <c:pt idx="58">
                  <c:v>101.70004317212347</c:v>
                </c:pt>
                <c:pt idx="59">
                  <c:v>101.69792302165368</c:v>
                </c:pt>
                <c:pt idx="60">
                  <c:v>100.9224502415094</c:v>
                </c:pt>
                <c:pt idx="61">
                  <c:v>101.34972160197267</c:v>
                </c:pt>
                <c:pt idx="62">
                  <c:v>100.35955852303945</c:v>
                </c:pt>
                <c:pt idx="63">
                  <c:v>100.23547395146176</c:v>
                </c:pt>
                <c:pt idx="64">
                  <c:v>99.655691503612232</c:v>
                </c:pt>
                <c:pt idx="65">
                  <c:v>100.6955728694477</c:v>
                </c:pt>
                <c:pt idx="66">
                  <c:v>103.00785998711268</c:v>
                </c:pt>
                <c:pt idx="67">
                  <c:v>102.8971783105699</c:v>
                </c:pt>
                <c:pt idx="68">
                  <c:v>102.54395656250809</c:v>
                </c:pt>
                <c:pt idx="69">
                  <c:v>102.49245255473377</c:v>
                </c:pt>
                <c:pt idx="70">
                  <c:v>100.8523781771473</c:v>
                </c:pt>
                <c:pt idx="71">
                  <c:v>100.05132874668813</c:v>
                </c:pt>
                <c:pt idx="72">
                  <c:v>98.577967338606626</c:v>
                </c:pt>
                <c:pt idx="73">
                  <c:v>98.684658149117212</c:v>
                </c:pt>
                <c:pt idx="74">
                  <c:v>99.594833455595577</c:v>
                </c:pt>
                <c:pt idx="75">
                  <c:v>98.458527879458899</c:v>
                </c:pt>
                <c:pt idx="76">
                  <c:v>99.844034928167531</c:v>
                </c:pt>
                <c:pt idx="77">
                  <c:v>99.261959195941401</c:v>
                </c:pt>
                <c:pt idx="78">
                  <c:v>99.402539858875073</c:v>
                </c:pt>
                <c:pt idx="79">
                  <c:v>101.57393546795429</c:v>
                </c:pt>
                <c:pt idx="80">
                  <c:v>100.46659347418424</c:v>
                </c:pt>
                <c:pt idx="81">
                  <c:v>99.244493480718575</c:v>
                </c:pt>
                <c:pt idx="82">
                  <c:v>99.176873221842158</c:v>
                </c:pt>
                <c:pt idx="83">
                  <c:v>99.797791527561301</c:v>
                </c:pt>
                <c:pt idx="84">
                  <c:v>100.7801247365428</c:v>
                </c:pt>
                <c:pt idx="85">
                  <c:v>100.59227620490164</c:v>
                </c:pt>
                <c:pt idx="86">
                  <c:v>100.64792183098814</c:v>
                </c:pt>
                <c:pt idx="87">
                  <c:v>101.30086241809401</c:v>
                </c:pt>
                <c:pt idx="88">
                  <c:v>100.61460076784221</c:v>
                </c:pt>
                <c:pt idx="89">
                  <c:v>99.400195707164741</c:v>
                </c:pt>
                <c:pt idx="90">
                  <c:v>98.561253720034472</c:v>
                </c:pt>
                <c:pt idx="91">
                  <c:v>98.617071462681054</c:v>
                </c:pt>
                <c:pt idx="92">
                  <c:v>97.077964025755904</c:v>
                </c:pt>
                <c:pt idx="93">
                  <c:v>96.100749272866253</c:v>
                </c:pt>
                <c:pt idx="94">
                  <c:v>95.479926875192689</c:v>
                </c:pt>
                <c:pt idx="95">
                  <c:v>95.990030879357136</c:v>
                </c:pt>
                <c:pt idx="96">
                  <c:v>94.731425435168092</c:v>
                </c:pt>
                <c:pt idx="97">
                  <c:v>96.623009552445026</c:v>
                </c:pt>
                <c:pt idx="98">
                  <c:v>96.850865427035529</c:v>
                </c:pt>
                <c:pt idx="99">
                  <c:v>96.49643238902857</c:v>
                </c:pt>
                <c:pt idx="100">
                  <c:v>96.017640743244186</c:v>
                </c:pt>
                <c:pt idx="101">
                  <c:v>95.601647318070874</c:v>
                </c:pt>
                <c:pt idx="102">
                  <c:v>95.455780151871934</c:v>
                </c:pt>
                <c:pt idx="103">
                  <c:v>95.459702115788446</c:v>
                </c:pt>
                <c:pt idx="104">
                  <c:v>95.359234784830406</c:v>
                </c:pt>
                <c:pt idx="105">
                  <c:v>95.266589739967031</c:v>
                </c:pt>
                <c:pt idx="106">
                  <c:v>95.174819058327415</c:v>
                </c:pt>
                <c:pt idx="107">
                  <c:v>94.729202255225985</c:v>
                </c:pt>
                <c:pt idx="108">
                  <c:v>94.482073302802249</c:v>
                </c:pt>
                <c:pt idx="109">
                  <c:v>94.844306800193394</c:v>
                </c:pt>
                <c:pt idx="110">
                  <c:v>94.125760393112813</c:v>
                </c:pt>
                <c:pt idx="111">
                  <c:v>94.539484210341215</c:v>
                </c:pt>
                <c:pt idx="112">
                  <c:v>95.09807884142991</c:v>
                </c:pt>
                <c:pt idx="113">
                  <c:v>96.33194629890815</c:v>
                </c:pt>
                <c:pt idx="114">
                  <c:v>95.530253720378511</c:v>
                </c:pt>
                <c:pt idx="115">
                  <c:v>94.915418407884786</c:v>
                </c:pt>
                <c:pt idx="116">
                  <c:v>94.244360818712209</c:v>
                </c:pt>
                <c:pt idx="117">
                  <c:v>94.29051728242078</c:v>
                </c:pt>
                <c:pt idx="118">
                  <c:v>93.962838334775441</c:v>
                </c:pt>
                <c:pt idx="119">
                  <c:v>94.691557468713171</c:v>
                </c:pt>
                <c:pt idx="120">
                  <c:v>93.455946279034734</c:v>
                </c:pt>
                <c:pt idx="121">
                  <c:v>94.748390245882803</c:v>
                </c:pt>
                <c:pt idx="122">
                  <c:v>95.006265616202072</c:v>
                </c:pt>
                <c:pt idx="123">
                  <c:v>94.80692374923413</c:v>
                </c:pt>
                <c:pt idx="124">
                  <c:v>95.508412027164113</c:v>
                </c:pt>
                <c:pt idx="125">
                  <c:v>94.651095279314248</c:v>
                </c:pt>
                <c:pt idx="126">
                  <c:v>94.974756354997496</c:v>
                </c:pt>
                <c:pt idx="127">
                  <c:v>95.064826865371799</c:v>
                </c:pt>
              </c:numCache>
            </c:numRef>
          </c:val>
          <c:smooth val="0"/>
          <c:extLst xmlns:c16r2="http://schemas.microsoft.com/office/drawing/2015/06/chart">
            <c:ext xmlns:c16="http://schemas.microsoft.com/office/drawing/2014/chart" uri="{C3380CC4-5D6E-409C-BE32-E72D297353CC}">
              <c16:uniqueId val="{00000001-B2C7-4F74-8BDD-132D1F7FABE0}"/>
            </c:ext>
          </c:extLst>
        </c:ser>
        <c:dLbls>
          <c:showLegendKey val="0"/>
          <c:showVal val="0"/>
          <c:showCatName val="0"/>
          <c:showSerName val="0"/>
          <c:showPercent val="0"/>
          <c:showBubbleSize val="0"/>
        </c:dLbls>
        <c:marker val="1"/>
        <c:smooth val="0"/>
        <c:axId val="258917504"/>
        <c:axId val="258919040"/>
      </c:lineChart>
      <c:lineChart>
        <c:grouping val="standard"/>
        <c:varyColors val="0"/>
        <c:ser>
          <c:idx val="2"/>
          <c:order val="2"/>
          <c:tx>
            <c:strRef>
              <c:f>'UK Brexit'!$J$1</c:f>
              <c:strCache>
                <c:ptCount val="1"/>
                <c:pt idx="0">
                  <c:v>GBP / USD</c:v>
                </c:pt>
              </c:strCache>
            </c:strRef>
          </c:tx>
          <c:spPr>
            <a:ln w="28575">
              <a:solidFill>
                <a:schemeClr val="accent1"/>
              </a:solidFill>
              <a:prstDash val="solid"/>
            </a:ln>
          </c:spPr>
          <c:marker>
            <c:symbol val="none"/>
          </c:marker>
          <c:cat>
            <c:numRef>
              <c:f>'UK Brexit'!$G$2:$G$129</c:f>
              <c:numCache>
                <c:formatCode>m/d/yyyy</c:formatCode>
                <c:ptCount val="128"/>
                <c:pt idx="0">
                  <c:v>42522</c:v>
                </c:pt>
                <c:pt idx="1">
                  <c:v>42523</c:v>
                </c:pt>
                <c:pt idx="2">
                  <c:v>42524</c:v>
                </c:pt>
                <c:pt idx="3">
                  <c:v>42527</c:v>
                </c:pt>
                <c:pt idx="4">
                  <c:v>42528</c:v>
                </c:pt>
                <c:pt idx="5">
                  <c:v>42529</c:v>
                </c:pt>
                <c:pt idx="6">
                  <c:v>42530</c:v>
                </c:pt>
                <c:pt idx="7">
                  <c:v>42531</c:v>
                </c:pt>
                <c:pt idx="8">
                  <c:v>42534</c:v>
                </c:pt>
                <c:pt idx="9">
                  <c:v>42535</c:v>
                </c:pt>
                <c:pt idx="10">
                  <c:v>42536</c:v>
                </c:pt>
                <c:pt idx="11">
                  <c:v>42537</c:v>
                </c:pt>
                <c:pt idx="12">
                  <c:v>42538</c:v>
                </c:pt>
                <c:pt idx="13">
                  <c:v>42541</c:v>
                </c:pt>
                <c:pt idx="14">
                  <c:v>42542</c:v>
                </c:pt>
                <c:pt idx="15">
                  <c:v>42543</c:v>
                </c:pt>
                <c:pt idx="16">
                  <c:v>42544</c:v>
                </c:pt>
                <c:pt idx="17">
                  <c:v>42545</c:v>
                </c:pt>
                <c:pt idx="18">
                  <c:v>42548</c:v>
                </c:pt>
                <c:pt idx="19">
                  <c:v>42549</c:v>
                </c:pt>
                <c:pt idx="20">
                  <c:v>42550</c:v>
                </c:pt>
                <c:pt idx="21">
                  <c:v>42551</c:v>
                </c:pt>
                <c:pt idx="22">
                  <c:v>42552</c:v>
                </c:pt>
                <c:pt idx="23">
                  <c:v>42556</c:v>
                </c:pt>
                <c:pt idx="24">
                  <c:v>42557</c:v>
                </c:pt>
                <c:pt idx="25">
                  <c:v>42558</c:v>
                </c:pt>
                <c:pt idx="26">
                  <c:v>42559</c:v>
                </c:pt>
                <c:pt idx="27">
                  <c:v>42562</c:v>
                </c:pt>
                <c:pt idx="28">
                  <c:v>42563</c:v>
                </c:pt>
                <c:pt idx="29">
                  <c:v>42564</c:v>
                </c:pt>
                <c:pt idx="30">
                  <c:v>42565</c:v>
                </c:pt>
                <c:pt idx="31">
                  <c:v>42566</c:v>
                </c:pt>
                <c:pt idx="32">
                  <c:v>42569</c:v>
                </c:pt>
                <c:pt idx="33">
                  <c:v>42570</c:v>
                </c:pt>
                <c:pt idx="34">
                  <c:v>42571</c:v>
                </c:pt>
                <c:pt idx="35">
                  <c:v>42572</c:v>
                </c:pt>
                <c:pt idx="36">
                  <c:v>42573</c:v>
                </c:pt>
                <c:pt idx="37">
                  <c:v>42576</c:v>
                </c:pt>
                <c:pt idx="38">
                  <c:v>42577</c:v>
                </c:pt>
                <c:pt idx="39">
                  <c:v>42578</c:v>
                </c:pt>
                <c:pt idx="40">
                  <c:v>42579</c:v>
                </c:pt>
                <c:pt idx="41">
                  <c:v>42580</c:v>
                </c:pt>
                <c:pt idx="42">
                  <c:v>42583</c:v>
                </c:pt>
                <c:pt idx="43">
                  <c:v>42584</c:v>
                </c:pt>
                <c:pt idx="44">
                  <c:v>42585</c:v>
                </c:pt>
                <c:pt idx="45">
                  <c:v>42586</c:v>
                </c:pt>
                <c:pt idx="46">
                  <c:v>42587</c:v>
                </c:pt>
                <c:pt idx="47">
                  <c:v>42590</c:v>
                </c:pt>
                <c:pt idx="48">
                  <c:v>42591</c:v>
                </c:pt>
                <c:pt idx="49">
                  <c:v>42592</c:v>
                </c:pt>
                <c:pt idx="50">
                  <c:v>42593</c:v>
                </c:pt>
                <c:pt idx="51">
                  <c:v>42594</c:v>
                </c:pt>
                <c:pt idx="52">
                  <c:v>42597</c:v>
                </c:pt>
                <c:pt idx="53">
                  <c:v>42598</c:v>
                </c:pt>
                <c:pt idx="54">
                  <c:v>42599</c:v>
                </c:pt>
                <c:pt idx="55">
                  <c:v>42600</c:v>
                </c:pt>
                <c:pt idx="56">
                  <c:v>42601</c:v>
                </c:pt>
                <c:pt idx="57">
                  <c:v>42604</c:v>
                </c:pt>
                <c:pt idx="58">
                  <c:v>42605</c:v>
                </c:pt>
                <c:pt idx="59">
                  <c:v>42606</c:v>
                </c:pt>
                <c:pt idx="60">
                  <c:v>42607</c:v>
                </c:pt>
                <c:pt idx="61">
                  <c:v>42608</c:v>
                </c:pt>
                <c:pt idx="62">
                  <c:v>42611</c:v>
                </c:pt>
                <c:pt idx="63">
                  <c:v>42612</c:v>
                </c:pt>
                <c:pt idx="64">
                  <c:v>42613</c:v>
                </c:pt>
                <c:pt idx="65">
                  <c:v>42614</c:v>
                </c:pt>
                <c:pt idx="66">
                  <c:v>42615</c:v>
                </c:pt>
                <c:pt idx="67">
                  <c:v>42619</c:v>
                </c:pt>
                <c:pt idx="68">
                  <c:v>42620</c:v>
                </c:pt>
                <c:pt idx="69">
                  <c:v>42621</c:v>
                </c:pt>
                <c:pt idx="70">
                  <c:v>42622</c:v>
                </c:pt>
                <c:pt idx="71">
                  <c:v>42625</c:v>
                </c:pt>
                <c:pt idx="72">
                  <c:v>42626</c:v>
                </c:pt>
                <c:pt idx="73">
                  <c:v>42627</c:v>
                </c:pt>
                <c:pt idx="74">
                  <c:v>42628</c:v>
                </c:pt>
                <c:pt idx="75">
                  <c:v>42629</c:v>
                </c:pt>
                <c:pt idx="76">
                  <c:v>42632</c:v>
                </c:pt>
                <c:pt idx="77">
                  <c:v>42633</c:v>
                </c:pt>
                <c:pt idx="78">
                  <c:v>42634</c:v>
                </c:pt>
                <c:pt idx="79">
                  <c:v>42635</c:v>
                </c:pt>
                <c:pt idx="80">
                  <c:v>42636</c:v>
                </c:pt>
                <c:pt idx="81">
                  <c:v>42639</c:v>
                </c:pt>
                <c:pt idx="82">
                  <c:v>42640</c:v>
                </c:pt>
                <c:pt idx="83">
                  <c:v>42641</c:v>
                </c:pt>
                <c:pt idx="84">
                  <c:v>42642</c:v>
                </c:pt>
                <c:pt idx="85">
                  <c:v>42643</c:v>
                </c:pt>
                <c:pt idx="86">
                  <c:v>42646</c:v>
                </c:pt>
                <c:pt idx="87">
                  <c:v>42647</c:v>
                </c:pt>
                <c:pt idx="88">
                  <c:v>42648</c:v>
                </c:pt>
                <c:pt idx="89">
                  <c:v>42649</c:v>
                </c:pt>
                <c:pt idx="90">
                  <c:v>42650</c:v>
                </c:pt>
                <c:pt idx="91">
                  <c:v>42653</c:v>
                </c:pt>
                <c:pt idx="92">
                  <c:v>42654</c:v>
                </c:pt>
                <c:pt idx="93">
                  <c:v>42655</c:v>
                </c:pt>
                <c:pt idx="94">
                  <c:v>42656</c:v>
                </c:pt>
                <c:pt idx="95">
                  <c:v>42657</c:v>
                </c:pt>
                <c:pt idx="96">
                  <c:v>42660</c:v>
                </c:pt>
                <c:pt idx="97">
                  <c:v>42661</c:v>
                </c:pt>
                <c:pt idx="98">
                  <c:v>42662</c:v>
                </c:pt>
                <c:pt idx="99">
                  <c:v>42663</c:v>
                </c:pt>
                <c:pt idx="100">
                  <c:v>42664</c:v>
                </c:pt>
                <c:pt idx="101">
                  <c:v>42667</c:v>
                </c:pt>
                <c:pt idx="102">
                  <c:v>42668</c:v>
                </c:pt>
                <c:pt idx="103">
                  <c:v>42669</c:v>
                </c:pt>
                <c:pt idx="104">
                  <c:v>42670</c:v>
                </c:pt>
                <c:pt idx="105">
                  <c:v>42671</c:v>
                </c:pt>
                <c:pt idx="106">
                  <c:v>42674</c:v>
                </c:pt>
                <c:pt idx="107">
                  <c:v>42675</c:v>
                </c:pt>
                <c:pt idx="108">
                  <c:v>42676</c:v>
                </c:pt>
                <c:pt idx="109">
                  <c:v>42677</c:v>
                </c:pt>
                <c:pt idx="110">
                  <c:v>42678</c:v>
                </c:pt>
                <c:pt idx="111">
                  <c:v>42681</c:v>
                </c:pt>
                <c:pt idx="112">
                  <c:v>42682</c:v>
                </c:pt>
                <c:pt idx="113">
                  <c:v>42683</c:v>
                </c:pt>
                <c:pt idx="114">
                  <c:v>42684</c:v>
                </c:pt>
                <c:pt idx="115">
                  <c:v>42685</c:v>
                </c:pt>
                <c:pt idx="116">
                  <c:v>42688</c:v>
                </c:pt>
                <c:pt idx="117">
                  <c:v>42689</c:v>
                </c:pt>
                <c:pt idx="118">
                  <c:v>42690</c:v>
                </c:pt>
                <c:pt idx="119">
                  <c:v>42691</c:v>
                </c:pt>
                <c:pt idx="120">
                  <c:v>42692</c:v>
                </c:pt>
                <c:pt idx="121">
                  <c:v>42695</c:v>
                </c:pt>
                <c:pt idx="122">
                  <c:v>42696</c:v>
                </c:pt>
                <c:pt idx="123">
                  <c:v>42697</c:v>
                </c:pt>
                <c:pt idx="124">
                  <c:v>42699</c:v>
                </c:pt>
                <c:pt idx="125">
                  <c:v>42702</c:v>
                </c:pt>
                <c:pt idx="126">
                  <c:v>42703</c:v>
                </c:pt>
                <c:pt idx="127">
                  <c:v>42704</c:v>
                </c:pt>
              </c:numCache>
            </c:numRef>
          </c:cat>
          <c:val>
            <c:numRef>
              <c:f>'UK Brexit'!$J$2:$J$129</c:f>
              <c:numCache>
                <c:formatCode>General</c:formatCode>
                <c:ptCount val="128"/>
                <c:pt idx="0">
                  <c:v>1.4412</c:v>
                </c:pt>
                <c:pt idx="1">
                  <c:v>1.44465</c:v>
                </c:pt>
                <c:pt idx="2">
                  <c:v>1.451750000000001</c:v>
                </c:pt>
                <c:pt idx="3">
                  <c:v>1.4464499999999989</c:v>
                </c:pt>
                <c:pt idx="4">
                  <c:v>1.4556</c:v>
                </c:pt>
                <c:pt idx="5">
                  <c:v>1.4555</c:v>
                </c:pt>
                <c:pt idx="6">
                  <c:v>1.446899999999999</c:v>
                </c:pt>
                <c:pt idx="7">
                  <c:v>1.4329999999999989</c:v>
                </c:pt>
                <c:pt idx="8">
                  <c:v>1.4277500000000001</c:v>
                </c:pt>
                <c:pt idx="9">
                  <c:v>1.4113000000000011</c:v>
                </c:pt>
                <c:pt idx="10">
                  <c:v>1.4192999999999989</c:v>
                </c:pt>
                <c:pt idx="11">
                  <c:v>1.40665</c:v>
                </c:pt>
                <c:pt idx="12">
                  <c:v>1.4295000000000011</c:v>
                </c:pt>
                <c:pt idx="13">
                  <c:v>1.4695499999999999</c:v>
                </c:pt>
                <c:pt idx="14">
                  <c:v>1.4671999999999989</c:v>
                </c:pt>
                <c:pt idx="15">
                  <c:v>1.4686999999999999</c:v>
                </c:pt>
                <c:pt idx="16">
                  <c:v>1.480699999999999</c:v>
                </c:pt>
                <c:pt idx="17">
                  <c:v>1.3625999999999989</c:v>
                </c:pt>
                <c:pt idx="18">
                  <c:v>1.3148</c:v>
                </c:pt>
                <c:pt idx="19">
                  <c:v>1.3321499999999999</c:v>
                </c:pt>
                <c:pt idx="20">
                  <c:v>1.3525000000000009</c:v>
                </c:pt>
                <c:pt idx="21">
                  <c:v>1.3368000000000011</c:v>
                </c:pt>
                <c:pt idx="22">
                  <c:v>1.3265</c:v>
                </c:pt>
                <c:pt idx="23">
                  <c:v>1.3047999999999991</c:v>
                </c:pt>
                <c:pt idx="24">
                  <c:v>1.2882</c:v>
                </c:pt>
                <c:pt idx="25">
                  <c:v>1.2932999999999999</c:v>
                </c:pt>
                <c:pt idx="26">
                  <c:v>1.296</c:v>
                </c:pt>
                <c:pt idx="27">
                  <c:v>1.298999999999999</c:v>
                </c:pt>
                <c:pt idx="28">
                  <c:v>1.318350000000001</c:v>
                </c:pt>
                <c:pt idx="29">
                  <c:v>1.3220499999999991</c:v>
                </c:pt>
                <c:pt idx="30">
                  <c:v>1.3324000000000009</c:v>
                </c:pt>
                <c:pt idx="31">
                  <c:v>1.3233999999999999</c:v>
                </c:pt>
                <c:pt idx="32">
                  <c:v>1.3283000000000009</c:v>
                </c:pt>
                <c:pt idx="33">
                  <c:v>1.3136000000000001</c:v>
                </c:pt>
                <c:pt idx="34">
                  <c:v>1.317799999999999</c:v>
                </c:pt>
                <c:pt idx="35">
                  <c:v>1.32175</c:v>
                </c:pt>
                <c:pt idx="36">
                  <c:v>1.3083999999999989</c:v>
                </c:pt>
                <c:pt idx="37">
                  <c:v>1.3125500000000001</c:v>
                </c:pt>
                <c:pt idx="38">
                  <c:v>1.31165</c:v>
                </c:pt>
                <c:pt idx="39">
                  <c:v>1.31145</c:v>
                </c:pt>
                <c:pt idx="40">
                  <c:v>1.312349999999999</c:v>
                </c:pt>
                <c:pt idx="41">
                  <c:v>1.327700000000001</c:v>
                </c:pt>
                <c:pt idx="42">
                  <c:v>1.3204</c:v>
                </c:pt>
                <c:pt idx="43">
                  <c:v>1.3313500000000009</c:v>
                </c:pt>
                <c:pt idx="44">
                  <c:v>1.3325</c:v>
                </c:pt>
                <c:pt idx="45">
                  <c:v>1.3125500000000001</c:v>
                </c:pt>
                <c:pt idx="46">
                  <c:v>1.3059000000000009</c:v>
                </c:pt>
                <c:pt idx="47">
                  <c:v>1.30385</c:v>
                </c:pt>
                <c:pt idx="48">
                  <c:v>1.29915</c:v>
                </c:pt>
                <c:pt idx="49">
                  <c:v>1.3011499999999989</c:v>
                </c:pt>
                <c:pt idx="50">
                  <c:v>1.2965999999999991</c:v>
                </c:pt>
                <c:pt idx="51">
                  <c:v>1.2932999999999999</c:v>
                </c:pt>
                <c:pt idx="52">
                  <c:v>1.28775</c:v>
                </c:pt>
                <c:pt idx="53">
                  <c:v>1.296549999999999</c:v>
                </c:pt>
                <c:pt idx="54">
                  <c:v>1.301300000000001</c:v>
                </c:pt>
                <c:pt idx="55">
                  <c:v>1.3164499999999999</c:v>
                </c:pt>
                <c:pt idx="56">
                  <c:v>1.305500000000001</c:v>
                </c:pt>
                <c:pt idx="57">
                  <c:v>1.3150500000000001</c:v>
                </c:pt>
                <c:pt idx="58">
                  <c:v>1.318750000000001</c:v>
                </c:pt>
                <c:pt idx="59">
                  <c:v>1.3250500000000001</c:v>
                </c:pt>
                <c:pt idx="60">
                  <c:v>1.3191499999999989</c:v>
                </c:pt>
                <c:pt idx="61">
                  <c:v>1.3204</c:v>
                </c:pt>
                <c:pt idx="62">
                  <c:v>1.307500000000001</c:v>
                </c:pt>
                <c:pt idx="63">
                  <c:v>1.309699999999999</c:v>
                </c:pt>
                <c:pt idx="64">
                  <c:v>1.309699999999999</c:v>
                </c:pt>
                <c:pt idx="65">
                  <c:v>1.330000000000001</c:v>
                </c:pt>
                <c:pt idx="66">
                  <c:v>1.331</c:v>
                </c:pt>
                <c:pt idx="67">
                  <c:v>1.343</c:v>
                </c:pt>
                <c:pt idx="68">
                  <c:v>1.3344</c:v>
                </c:pt>
                <c:pt idx="69">
                  <c:v>1.331500000000001</c:v>
                </c:pt>
                <c:pt idx="70">
                  <c:v>1.32585</c:v>
                </c:pt>
                <c:pt idx="71">
                  <c:v>1.3305999999999989</c:v>
                </c:pt>
                <c:pt idx="72">
                  <c:v>1.318350000000001</c:v>
                </c:pt>
                <c:pt idx="73">
                  <c:v>1.3181499999999999</c:v>
                </c:pt>
                <c:pt idx="74">
                  <c:v>1.319299999999999</c:v>
                </c:pt>
                <c:pt idx="75">
                  <c:v>1.3081000000000009</c:v>
                </c:pt>
                <c:pt idx="76">
                  <c:v>1.3061499999999999</c:v>
                </c:pt>
                <c:pt idx="77">
                  <c:v>1.2951999999999999</c:v>
                </c:pt>
                <c:pt idx="78">
                  <c:v>1.2960999999999989</c:v>
                </c:pt>
                <c:pt idx="79">
                  <c:v>1.3098000000000001</c:v>
                </c:pt>
                <c:pt idx="80">
                  <c:v>1.296</c:v>
                </c:pt>
                <c:pt idx="81">
                  <c:v>1.2972999999999999</c:v>
                </c:pt>
                <c:pt idx="82">
                  <c:v>1.2985</c:v>
                </c:pt>
                <c:pt idx="83">
                  <c:v>1.2988</c:v>
                </c:pt>
                <c:pt idx="84">
                  <c:v>1.2979000000000001</c:v>
                </c:pt>
                <c:pt idx="85">
                  <c:v>1.298999999999999</c:v>
                </c:pt>
                <c:pt idx="86">
                  <c:v>1.2837000000000001</c:v>
                </c:pt>
                <c:pt idx="87">
                  <c:v>1.27535</c:v>
                </c:pt>
                <c:pt idx="88">
                  <c:v>1.2741999999999989</c:v>
                </c:pt>
                <c:pt idx="89">
                  <c:v>1.2646999999999999</c:v>
                </c:pt>
                <c:pt idx="90">
                  <c:v>1.2459</c:v>
                </c:pt>
                <c:pt idx="91">
                  <c:v>1.2376499999999999</c:v>
                </c:pt>
                <c:pt idx="92">
                  <c:v>1.2229000000000001</c:v>
                </c:pt>
                <c:pt idx="93">
                  <c:v>1.2188000000000001</c:v>
                </c:pt>
                <c:pt idx="94">
                  <c:v>1.21915</c:v>
                </c:pt>
                <c:pt idx="95">
                  <c:v>1.2196</c:v>
                </c:pt>
                <c:pt idx="96">
                  <c:v>1.2153</c:v>
                </c:pt>
                <c:pt idx="97">
                  <c:v>1.2303500000000001</c:v>
                </c:pt>
                <c:pt idx="98">
                  <c:v>1.2293000000000001</c:v>
                </c:pt>
                <c:pt idx="99">
                  <c:v>1.2242500000000001</c:v>
                </c:pt>
                <c:pt idx="100">
                  <c:v>1.2196</c:v>
                </c:pt>
                <c:pt idx="101">
                  <c:v>1.2206500000000009</c:v>
                </c:pt>
                <c:pt idx="102">
                  <c:v>1.2131000000000001</c:v>
                </c:pt>
                <c:pt idx="103">
                  <c:v>1.2237000000000009</c:v>
                </c:pt>
                <c:pt idx="104">
                  <c:v>1.2174499999999999</c:v>
                </c:pt>
                <c:pt idx="105">
                  <c:v>1.2149000000000001</c:v>
                </c:pt>
                <c:pt idx="106">
                  <c:v>1.220900000000001</c:v>
                </c:pt>
                <c:pt idx="107">
                  <c:v>1.2219500000000001</c:v>
                </c:pt>
                <c:pt idx="108">
                  <c:v>1.2314999999999989</c:v>
                </c:pt>
                <c:pt idx="109">
                  <c:v>1.2455000000000001</c:v>
                </c:pt>
                <c:pt idx="110">
                  <c:v>1.254799999999999</c:v>
                </c:pt>
                <c:pt idx="111">
                  <c:v>1.2394000000000001</c:v>
                </c:pt>
                <c:pt idx="112">
                  <c:v>1.2403999999999999</c:v>
                </c:pt>
                <c:pt idx="113">
                  <c:v>1.2443999999999991</c:v>
                </c:pt>
                <c:pt idx="114">
                  <c:v>1.248350000000001</c:v>
                </c:pt>
                <c:pt idx="115">
                  <c:v>1.258699999999999</c:v>
                </c:pt>
                <c:pt idx="116">
                  <c:v>1.2456</c:v>
                </c:pt>
                <c:pt idx="117">
                  <c:v>1.2386499999999989</c:v>
                </c:pt>
                <c:pt idx="118">
                  <c:v>1.2421500000000001</c:v>
                </c:pt>
                <c:pt idx="119">
                  <c:v>1.2435</c:v>
                </c:pt>
                <c:pt idx="120">
                  <c:v>1.2311000000000001</c:v>
                </c:pt>
                <c:pt idx="121">
                  <c:v>1.2474999999999989</c:v>
                </c:pt>
                <c:pt idx="122">
                  <c:v>1.242500000000001</c:v>
                </c:pt>
                <c:pt idx="123">
                  <c:v>1.2399</c:v>
                </c:pt>
                <c:pt idx="124">
                  <c:v>1.2451000000000001</c:v>
                </c:pt>
                <c:pt idx="125">
                  <c:v>1.2412000000000001</c:v>
                </c:pt>
                <c:pt idx="126">
                  <c:v>1.2506999999999999</c:v>
                </c:pt>
                <c:pt idx="127">
                  <c:v>1.2494000000000001</c:v>
                </c:pt>
              </c:numCache>
            </c:numRef>
          </c:val>
          <c:smooth val="0"/>
          <c:extLst xmlns:c16r2="http://schemas.microsoft.com/office/drawing/2015/06/chart">
            <c:ext xmlns:c16="http://schemas.microsoft.com/office/drawing/2014/chart" uri="{C3380CC4-5D6E-409C-BE32-E72D297353CC}">
              <c16:uniqueId val="{00000002-B2C7-4F74-8BDD-132D1F7FABE0}"/>
            </c:ext>
          </c:extLst>
        </c:ser>
        <c:dLbls>
          <c:showLegendKey val="0"/>
          <c:showVal val="0"/>
          <c:showCatName val="0"/>
          <c:showSerName val="0"/>
          <c:showPercent val="0"/>
          <c:showBubbleSize val="0"/>
        </c:dLbls>
        <c:marker val="1"/>
        <c:smooth val="0"/>
        <c:axId val="259200896"/>
        <c:axId val="259199360"/>
      </c:lineChart>
      <c:dateAx>
        <c:axId val="258917504"/>
        <c:scaling>
          <c:orientation val="minMax"/>
        </c:scaling>
        <c:delete val="0"/>
        <c:axPos val="b"/>
        <c:numFmt formatCode="m/d/yyyy" sourceLinked="1"/>
        <c:majorTickMark val="out"/>
        <c:minorTickMark val="none"/>
        <c:tickLblPos val="nextTo"/>
        <c:spPr>
          <a:ln w="3175">
            <a:solidFill>
              <a:schemeClr val="tx1"/>
            </a:solidFill>
            <a:prstDash val="solid"/>
          </a:ln>
        </c:spPr>
        <c:txPr>
          <a:bodyPr rot="0" vert="horz"/>
          <a:lstStyle/>
          <a:p>
            <a:pPr>
              <a:defRPr lang="ja-JP" b="1">
                <a:solidFill>
                  <a:schemeClr val="tx1"/>
                </a:solidFill>
              </a:defRPr>
            </a:pPr>
            <a:endParaRPr lang="en-US"/>
          </a:p>
        </c:txPr>
        <c:crossAx val="258919040"/>
        <c:crosses val="autoZero"/>
        <c:auto val="1"/>
        <c:lblOffset val="100"/>
        <c:baseTimeUnit val="days"/>
      </c:dateAx>
      <c:valAx>
        <c:axId val="258919040"/>
        <c:scaling>
          <c:orientation val="minMax"/>
          <c:max val="120"/>
          <c:min val="80"/>
        </c:scaling>
        <c:delete val="0"/>
        <c:axPos val="l"/>
        <c:majorGridlines>
          <c:spPr>
            <a:ln w="3175">
              <a:solidFill>
                <a:srgbClr val="F0EDE8"/>
              </a:solidFill>
              <a:prstDash val="solid"/>
            </a:ln>
          </c:spPr>
        </c:majorGridlines>
        <c:numFmt formatCode="#,##0" sourceLinked="0"/>
        <c:majorTickMark val="out"/>
        <c:minorTickMark val="none"/>
        <c:tickLblPos val="low"/>
        <c:spPr>
          <a:ln w="6350">
            <a:solidFill>
              <a:schemeClr val="tx1"/>
            </a:solidFill>
            <a:prstDash val="solid"/>
          </a:ln>
        </c:spPr>
        <c:txPr>
          <a:bodyPr rot="0" vert="horz"/>
          <a:lstStyle/>
          <a:p>
            <a:pPr>
              <a:defRPr lang="ja-JP" b="1">
                <a:solidFill>
                  <a:schemeClr val="tx1"/>
                </a:solidFill>
              </a:defRPr>
            </a:pPr>
            <a:endParaRPr lang="en-US"/>
          </a:p>
        </c:txPr>
        <c:crossAx val="258917504"/>
        <c:crosses val="autoZero"/>
        <c:crossBetween val="midCat"/>
        <c:majorUnit val="10"/>
      </c:valAx>
      <c:valAx>
        <c:axId val="259199360"/>
        <c:scaling>
          <c:orientation val="minMax"/>
          <c:max val="1.7"/>
          <c:min val="1.2"/>
        </c:scaling>
        <c:delete val="0"/>
        <c:axPos val="r"/>
        <c:numFmt formatCode="#,##0.00" sourceLinked="0"/>
        <c:majorTickMark val="out"/>
        <c:minorTickMark val="none"/>
        <c:tickLblPos val="nextTo"/>
        <c:spPr>
          <a:ln>
            <a:solidFill>
              <a:schemeClr val="tx1"/>
            </a:solidFill>
          </a:ln>
        </c:spPr>
        <c:txPr>
          <a:bodyPr/>
          <a:lstStyle/>
          <a:p>
            <a:pPr>
              <a:defRPr lang="ja-JP" b="1">
                <a:solidFill>
                  <a:schemeClr val="tx1"/>
                </a:solidFill>
              </a:defRPr>
            </a:pPr>
            <a:endParaRPr lang="en-US"/>
          </a:p>
        </c:txPr>
        <c:crossAx val="259200896"/>
        <c:crosses val="max"/>
        <c:crossBetween val="between"/>
        <c:majorUnit val="0.125"/>
      </c:valAx>
      <c:dateAx>
        <c:axId val="259200896"/>
        <c:scaling>
          <c:orientation val="minMax"/>
        </c:scaling>
        <c:delete val="1"/>
        <c:axPos val="b"/>
        <c:numFmt formatCode="m/d/yyyy" sourceLinked="1"/>
        <c:majorTickMark val="out"/>
        <c:minorTickMark val="none"/>
        <c:tickLblPos val="nextTo"/>
        <c:crossAx val="259199360"/>
        <c:crosses val="autoZero"/>
        <c:auto val="1"/>
        <c:lblOffset val="100"/>
        <c:baseTimeUnit val="days"/>
      </c:dateAx>
      <c:spPr>
        <a:noFill/>
        <a:ln w="25400">
          <a:noFill/>
        </a:ln>
      </c:spPr>
    </c:plotArea>
    <c:legend>
      <c:legendPos val="b"/>
      <c:layout>
        <c:manualLayout>
          <c:xMode val="edge"/>
          <c:yMode val="edge"/>
          <c:x val="0"/>
          <c:y val="0.91883033568172401"/>
          <c:w val="0.80350877192982462"/>
          <c:h val="0.08"/>
        </c:manualLayout>
      </c:layout>
      <c:overlay val="0"/>
      <c:spPr>
        <a:noFill/>
        <a:ln w="25400">
          <a:noFill/>
        </a:ln>
      </c:spPr>
      <c:txPr>
        <a:bodyPr/>
        <a:lstStyle/>
        <a:p>
          <a:pPr>
            <a:defRPr lang="ja-JP">
              <a:solidFill>
                <a:schemeClr val="tx1"/>
              </a:solidFill>
            </a:defRPr>
          </a:pPr>
          <a:endParaRPr lang="en-US"/>
        </a:p>
      </c:txPr>
    </c:legend>
    <c:plotVisOnly val="1"/>
    <c:dispBlanksAs val="span"/>
    <c:showDLblsOverMax val="0"/>
  </c:chart>
  <c:spPr>
    <a:solidFill>
      <a:sysClr val="window" lastClr="FFFFFF"/>
    </a:solidFill>
    <a:ln w="9525">
      <a:noFill/>
    </a:ln>
  </c:spPr>
  <c:txPr>
    <a:bodyPr/>
    <a:lstStyle/>
    <a:p>
      <a:pPr>
        <a:defRPr sz="800" b="0" i="0" u="none" strike="noStrike" baseline="0">
          <a:solidFill>
            <a:srgbClr val="000000"/>
          </a:solidFill>
          <a:latin typeface="Arial"/>
          <a:ea typeface="Arial"/>
          <a:cs typeface="Arial"/>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353786622443339E-2"/>
          <c:y val="3.4807080350039779E-2"/>
          <c:w val="0.8089353233830846"/>
          <c:h val="0.79484752055157781"/>
        </c:manualLayout>
      </c:layout>
      <c:lineChart>
        <c:grouping val="standard"/>
        <c:varyColors val="0"/>
        <c:ser>
          <c:idx val="0"/>
          <c:order val="0"/>
          <c:tx>
            <c:strRef>
              <c:f>Abenomics!$I$1</c:f>
              <c:strCache>
                <c:ptCount val="1"/>
                <c:pt idx="0">
                  <c:v>MSCI JAPAN in Loc. Curr.</c:v>
                </c:pt>
              </c:strCache>
            </c:strRef>
          </c:tx>
          <c:spPr>
            <a:ln w="28575">
              <a:solidFill>
                <a:schemeClr val="tx1"/>
              </a:solidFill>
              <a:prstDash val="solid"/>
            </a:ln>
          </c:spPr>
          <c:marker>
            <c:symbol val="none"/>
          </c:marker>
          <c:cat>
            <c:numRef>
              <c:f>Abenomics!$H$2:$H$254</c:f>
              <c:numCache>
                <c:formatCode>m/d/yyyy</c:formatCode>
                <c:ptCount val="253"/>
                <c:pt idx="0">
                  <c:v>41089</c:v>
                </c:pt>
                <c:pt idx="1">
                  <c:v>41092</c:v>
                </c:pt>
                <c:pt idx="2">
                  <c:v>41093</c:v>
                </c:pt>
                <c:pt idx="3">
                  <c:v>41095</c:v>
                </c:pt>
                <c:pt idx="4">
                  <c:v>41096</c:v>
                </c:pt>
                <c:pt idx="5">
                  <c:v>41099</c:v>
                </c:pt>
                <c:pt idx="6">
                  <c:v>41100</c:v>
                </c:pt>
                <c:pt idx="7">
                  <c:v>41101</c:v>
                </c:pt>
                <c:pt idx="8">
                  <c:v>41102</c:v>
                </c:pt>
                <c:pt idx="9">
                  <c:v>41103</c:v>
                </c:pt>
                <c:pt idx="10">
                  <c:v>41106</c:v>
                </c:pt>
                <c:pt idx="11">
                  <c:v>41107</c:v>
                </c:pt>
                <c:pt idx="12">
                  <c:v>41108</c:v>
                </c:pt>
                <c:pt idx="13">
                  <c:v>41109</c:v>
                </c:pt>
                <c:pt idx="14">
                  <c:v>41110</c:v>
                </c:pt>
                <c:pt idx="15">
                  <c:v>41113</c:v>
                </c:pt>
                <c:pt idx="16">
                  <c:v>41114</c:v>
                </c:pt>
                <c:pt idx="17">
                  <c:v>41115</c:v>
                </c:pt>
                <c:pt idx="18">
                  <c:v>41116</c:v>
                </c:pt>
                <c:pt idx="19">
                  <c:v>41117</c:v>
                </c:pt>
                <c:pt idx="20">
                  <c:v>41120</c:v>
                </c:pt>
                <c:pt idx="21">
                  <c:v>41121</c:v>
                </c:pt>
                <c:pt idx="22">
                  <c:v>41122</c:v>
                </c:pt>
                <c:pt idx="23">
                  <c:v>41123</c:v>
                </c:pt>
                <c:pt idx="24">
                  <c:v>41124</c:v>
                </c:pt>
                <c:pt idx="25">
                  <c:v>41127</c:v>
                </c:pt>
                <c:pt idx="26">
                  <c:v>41128</c:v>
                </c:pt>
                <c:pt idx="27">
                  <c:v>41129</c:v>
                </c:pt>
                <c:pt idx="28">
                  <c:v>41130</c:v>
                </c:pt>
                <c:pt idx="29">
                  <c:v>41131</c:v>
                </c:pt>
                <c:pt idx="30">
                  <c:v>41134</c:v>
                </c:pt>
                <c:pt idx="31">
                  <c:v>41135</c:v>
                </c:pt>
                <c:pt idx="32">
                  <c:v>41136</c:v>
                </c:pt>
                <c:pt idx="33">
                  <c:v>41137</c:v>
                </c:pt>
                <c:pt idx="34">
                  <c:v>41138</c:v>
                </c:pt>
                <c:pt idx="35">
                  <c:v>41141</c:v>
                </c:pt>
                <c:pt idx="36">
                  <c:v>41142</c:v>
                </c:pt>
                <c:pt idx="37">
                  <c:v>41143</c:v>
                </c:pt>
                <c:pt idx="38">
                  <c:v>41144</c:v>
                </c:pt>
                <c:pt idx="39">
                  <c:v>41145</c:v>
                </c:pt>
                <c:pt idx="40">
                  <c:v>41148</c:v>
                </c:pt>
                <c:pt idx="41">
                  <c:v>41149</c:v>
                </c:pt>
                <c:pt idx="42">
                  <c:v>41150</c:v>
                </c:pt>
                <c:pt idx="43">
                  <c:v>41151</c:v>
                </c:pt>
                <c:pt idx="44">
                  <c:v>41152</c:v>
                </c:pt>
                <c:pt idx="45">
                  <c:v>41156</c:v>
                </c:pt>
                <c:pt idx="46">
                  <c:v>41157</c:v>
                </c:pt>
                <c:pt idx="47">
                  <c:v>41158</c:v>
                </c:pt>
                <c:pt idx="48">
                  <c:v>41159</c:v>
                </c:pt>
                <c:pt idx="49">
                  <c:v>41162</c:v>
                </c:pt>
                <c:pt idx="50">
                  <c:v>41163</c:v>
                </c:pt>
                <c:pt idx="51">
                  <c:v>41164</c:v>
                </c:pt>
                <c:pt idx="52">
                  <c:v>41165</c:v>
                </c:pt>
                <c:pt idx="53">
                  <c:v>41166</c:v>
                </c:pt>
                <c:pt idx="54">
                  <c:v>41169</c:v>
                </c:pt>
                <c:pt idx="55">
                  <c:v>41170</c:v>
                </c:pt>
                <c:pt idx="56">
                  <c:v>41171</c:v>
                </c:pt>
                <c:pt idx="57">
                  <c:v>41172</c:v>
                </c:pt>
                <c:pt idx="58">
                  <c:v>41173</c:v>
                </c:pt>
                <c:pt idx="59">
                  <c:v>41176</c:v>
                </c:pt>
                <c:pt idx="60">
                  <c:v>41177</c:v>
                </c:pt>
                <c:pt idx="61">
                  <c:v>41178</c:v>
                </c:pt>
                <c:pt idx="62">
                  <c:v>41179</c:v>
                </c:pt>
                <c:pt idx="63">
                  <c:v>41180</c:v>
                </c:pt>
                <c:pt idx="64">
                  <c:v>41183</c:v>
                </c:pt>
                <c:pt idx="65">
                  <c:v>41184</c:v>
                </c:pt>
                <c:pt idx="66">
                  <c:v>41185</c:v>
                </c:pt>
                <c:pt idx="67">
                  <c:v>41186</c:v>
                </c:pt>
                <c:pt idx="68">
                  <c:v>41187</c:v>
                </c:pt>
                <c:pt idx="69">
                  <c:v>41190</c:v>
                </c:pt>
                <c:pt idx="70">
                  <c:v>41191</c:v>
                </c:pt>
                <c:pt idx="71">
                  <c:v>41192</c:v>
                </c:pt>
                <c:pt idx="72">
                  <c:v>41193</c:v>
                </c:pt>
                <c:pt idx="73">
                  <c:v>41194</c:v>
                </c:pt>
                <c:pt idx="74">
                  <c:v>41197</c:v>
                </c:pt>
                <c:pt idx="75">
                  <c:v>41198</c:v>
                </c:pt>
                <c:pt idx="76">
                  <c:v>41199</c:v>
                </c:pt>
                <c:pt idx="77">
                  <c:v>41200</c:v>
                </c:pt>
                <c:pt idx="78">
                  <c:v>41201</c:v>
                </c:pt>
                <c:pt idx="79">
                  <c:v>41204</c:v>
                </c:pt>
                <c:pt idx="80">
                  <c:v>41205</c:v>
                </c:pt>
                <c:pt idx="81">
                  <c:v>41206</c:v>
                </c:pt>
                <c:pt idx="82">
                  <c:v>41207</c:v>
                </c:pt>
                <c:pt idx="83">
                  <c:v>41208</c:v>
                </c:pt>
                <c:pt idx="84">
                  <c:v>41213</c:v>
                </c:pt>
                <c:pt idx="85">
                  <c:v>41214</c:v>
                </c:pt>
                <c:pt idx="86">
                  <c:v>41215</c:v>
                </c:pt>
                <c:pt idx="87">
                  <c:v>41218</c:v>
                </c:pt>
                <c:pt idx="88">
                  <c:v>41219</c:v>
                </c:pt>
                <c:pt idx="89">
                  <c:v>41220</c:v>
                </c:pt>
                <c:pt idx="90">
                  <c:v>41221</c:v>
                </c:pt>
                <c:pt idx="91">
                  <c:v>41222</c:v>
                </c:pt>
                <c:pt idx="92">
                  <c:v>41225</c:v>
                </c:pt>
                <c:pt idx="93">
                  <c:v>41226</c:v>
                </c:pt>
                <c:pt idx="94">
                  <c:v>41227</c:v>
                </c:pt>
                <c:pt idx="95">
                  <c:v>41228</c:v>
                </c:pt>
                <c:pt idx="96">
                  <c:v>41229</c:v>
                </c:pt>
                <c:pt idx="97">
                  <c:v>41232</c:v>
                </c:pt>
                <c:pt idx="98">
                  <c:v>41233</c:v>
                </c:pt>
                <c:pt idx="99">
                  <c:v>41234</c:v>
                </c:pt>
                <c:pt idx="100">
                  <c:v>41236</c:v>
                </c:pt>
                <c:pt idx="101">
                  <c:v>41239</c:v>
                </c:pt>
                <c:pt idx="102">
                  <c:v>41240</c:v>
                </c:pt>
                <c:pt idx="103">
                  <c:v>41241</c:v>
                </c:pt>
                <c:pt idx="104">
                  <c:v>41242</c:v>
                </c:pt>
                <c:pt idx="105">
                  <c:v>41243</c:v>
                </c:pt>
                <c:pt idx="106">
                  <c:v>41246</c:v>
                </c:pt>
                <c:pt idx="107">
                  <c:v>41247</c:v>
                </c:pt>
                <c:pt idx="108">
                  <c:v>41248</c:v>
                </c:pt>
                <c:pt idx="109">
                  <c:v>41249</c:v>
                </c:pt>
                <c:pt idx="110">
                  <c:v>41250</c:v>
                </c:pt>
                <c:pt idx="111">
                  <c:v>41253</c:v>
                </c:pt>
                <c:pt idx="112">
                  <c:v>41254</c:v>
                </c:pt>
                <c:pt idx="113">
                  <c:v>41255</c:v>
                </c:pt>
                <c:pt idx="114">
                  <c:v>41256</c:v>
                </c:pt>
                <c:pt idx="115">
                  <c:v>41257</c:v>
                </c:pt>
                <c:pt idx="116">
                  <c:v>41260</c:v>
                </c:pt>
                <c:pt idx="117">
                  <c:v>41261</c:v>
                </c:pt>
                <c:pt idx="118">
                  <c:v>41262</c:v>
                </c:pt>
                <c:pt idx="119">
                  <c:v>41263</c:v>
                </c:pt>
                <c:pt idx="120">
                  <c:v>41264</c:v>
                </c:pt>
                <c:pt idx="121">
                  <c:v>41267</c:v>
                </c:pt>
                <c:pt idx="122">
                  <c:v>41269</c:v>
                </c:pt>
                <c:pt idx="123">
                  <c:v>41270</c:v>
                </c:pt>
                <c:pt idx="124">
                  <c:v>41271</c:v>
                </c:pt>
                <c:pt idx="125">
                  <c:v>41274</c:v>
                </c:pt>
                <c:pt idx="126">
                  <c:v>41276</c:v>
                </c:pt>
                <c:pt idx="127">
                  <c:v>41277</c:v>
                </c:pt>
                <c:pt idx="128">
                  <c:v>41278</c:v>
                </c:pt>
                <c:pt idx="129">
                  <c:v>41281</c:v>
                </c:pt>
                <c:pt idx="130">
                  <c:v>41282</c:v>
                </c:pt>
                <c:pt idx="131">
                  <c:v>41283</c:v>
                </c:pt>
                <c:pt idx="132">
                  <c:v>41284</c:v>
                </c:pt>
                <c:pt idx="133">
                  <c:v>41285</c:v>
                </c:pt>
                <c:pt idx="134">
                  <c:v>41288</c:v>
                </c:pt>
                <c:pt idx="135">
                  <c:v>41289</c:v>
                </c:pt>
                <c:pt idx="136">
                  <c:v>41290</c:v>
                </c:pt>
                <c:pt idx="137">
                  <c:v>41291</c:v>
                </c:pt>
                <c:pt idx="138">
                  <c:v>41292</c:v>
                </c:pt>
                <c:pt idx="139">
                  <c:v>41296</c:v>
                </c:pt>
                <c:pt idx="140">
                  <c:v>41297</c:v>
                </c:pt>
                <c:pt idx="141">
                  <c:v>41298</c:v>
                </c:pt>
                <c:pt idx="142">
                  <c:v>41299</c:v>
                </c:pt>
                <c:pt idx="143">
                  <c:v>41302</c:v>
                </c:pt>
                <c:pt idx="144">
                  <c:v>41303</c:v>
                </c:pt>
                <c:pt idx="145">
                  <c:v>41304</c:v>
                </c:pt>
                <c:pt idx="146">
                  <c:v>41305</c:v>
                </c:pt>
                <c:pt idx="147">
                  <c:v>41306</c:v>
                </c:pt>
                <c:pt idx="148">
                  <c:v>41309</c:v>
                </c:pt>
                <c:pt idx="149">
                  <c:v>41310</c:v>
                </c:pt>
                <c:pt idx="150">
                  <c:v>41311</c:v>
                </c:pt>
                <c:pt idx="151">
                  <c:v>41312</c:v>
                </c:pt>
                <c:pt idx="152">
                  <c:v>41313</c:v>
                </c:pt>
                <c:pt idx="153">
                  <c:v>41316</c:v>
                </c:pt>
                <c:pt idx="154">
                  <c:v>41317</c:v>
                </c:pt>
                <c:pt idx="155">
                  <c:v>41318</c:v>
                </c:pt>
                <c:pt idx="156">
                  <c:v>41319</c:v>
                </c:pt>
                <c:pt idx="157">
                  <c:v>41320</c:v>
                </c:pt>
                <c:pt idx="158">
                  <c:v>41324</c:v>
                </c:pt>
                <c:pt idx="159">
                  <c:v>41325</c:v>
                </c:pt>
                <c:pt idx="160">
                  <c:v>41326</c:v>
                </c:pt>
                <c:pt idx="161">
                  <c:v>41327</c:v>
                </c:pt>
                <c:pt idx="162">
                  <c:v>41330</c:v>
                </c:pt>
                <c:pt idx="163">
                  <c:v>41331</c:v>
                </c:pt>
                <c:pt idx="164">
                  <c:v>41332</c:v>
                </c:pt>
                <c:pt idx="165">
                  <c:v>41333</c:v>
                </c:pt>
                <c:pt idx="166">
                  <c:v>41334</c:v>
                </c:pt>
                <c:pt idx="167">
                  <c:v>41337</c:v>
                </c:pt>
                <c:pt idx="168">
                  <c:v>41338</c:v>
                </c:pt>
                <c:pt idx="169">
                  <c:v>41339</c:v>
                </c:pt>
                <c:pt idx="170">
                  <c:v>41340</c:v>
                </c:pt>
                <c:pt idx="171">
                  <c:v>41341</c:v>
                </c:pt>
                <c:pt idx="172">
                  <c:v>41344</c:v>
                </c:pt>
                <c:pt idx="173">
                  <c:v>41345</c:v>
                </c:pt>
                <c:pt idx="174">
                  <c:v>41346</c:v>
                </c:pt>
                <c:pt idx="175">
                  <c:v>41347</c:v>
                </c:pt>
                <c:pt idx="176">
                  <c:v>41348</c:v>
                </c:pt>
                <c:pt idx="177">
                  <c:v>41351</c:v>
                </c:pt>
                <c:pt idx="178">
                  <c:v>41352</c:v>
                </c:pt>
                <c:pt idx="179">
                  <c:v>41353</c:v>
                </c:pt>
                <c:pt idx="180">
                  <c:v>41354</c:v>
                </c:pt>
                <c:pt idx="181">
                  <c:v>41355</c:v>
                </c:pt>
                <c:pt idx="182">
                  <c:v>41358</c:v>
                </c:pt>
                <c:pt idx="183">
                  <c:v>41359</c:v>
                </c:pt>
                <c:pt idx="184">
                  <c:v>41360</c:v>
                </c:pt>
                <c:pt idx="185">
                  <c:v>41361</c:v>
                </c:pt>
                <c:pt idx="186">
                  <c:v>41365</c:v>
                </c:pt>
                <c:pt idx="187">
                  <c:v>41366</c:v>
                </c:pt>
                <c:pt idx="188">
                  <c:v>41367</c:v>
                </c:pt>
                <c:pt idx="189">
                  <c:v>41368</c:v>
                </c:pt>
                <c:pt idx="190">
                  <c:v>41369</c:v>
                </c:pt>
                <c:pt idx="191">
                  <c:v>41372</c:v>
                </c:pt>
                <c:pt idx="192">
                  <c:v>41373</c:v>
                </c:pt>
                <c:pt idx="193">
                  <c:v>41374</c:v>
                </c:pt>
                <c:pt idx="194">
                  <c:v>41375</c:v>
                </c:pt>
                <c:pt idx="195">
                  <c:v>41376</c:v>
                </c:pt>
                <c:pt idx="196">
                  <c:v>41379</c:v>
                </c:pt>
                <c:pt idx="197">
                  <c:v>41380</c:v>
                </c:pt>
                <c:pt idx="198">
                  <c:v>41381</c:v>
                </c:pt>
                <c:pt idx="199">
                  <c:v>41382</c:v>
                </c:pt>
                <c:pt idx="200">
                  <c:v>41383</c:v>
                </c:pt>
                <c:pt idx="201">
                  <c:v>41386</c:v>
                </c:pt>
                <c:pt idx="202">
                  <c:v>41387</c:v>
                </c:pt>
                <c:pt idx="203">
                  <c:v>41388</c:v>
                </c:pt>
                <c:pt idx="204">
                  <c:v>41389</c:v>
                </c:pt>
                <c:pt idx="205">
                  <c:v>41390</c:v>
                </c:pt>
                <c:pt idx="206">
                  <c:v>41393</c:v>
                </c:pt>
                <c:pt idx="207">
                  <c:v>41394</c:v>
                </c:pt>
                <c:pt idx="208">
                  <c:v>41395</c:v>
                </c:pt>
                <c:pt idx="209">
                  <c:v>41396</c:v>
                </c:pt>
                <c:pt idx="210">
                  <c:v>41397</c:v>
                </c:pt>
                <c:pt idx="211">
                  <c:v>41400</c:v>
                </c:pt>
                <c:pt idx="212">
                  <c:v>41401</c:v>
                </c:pt>
                <c:pt idx="213">
                  <c:v>41402</c:v>
                </c:pt>
                <c:pt idx="214">
                  <c:v>41403</c:v>
                </c:pt>
                <c:pt idx="215">
                  <c:v>41404</c:v>
                </c:pt>
                <c:pt idx="216">
                  <c:v>41407</c:v>
                </c:pt>
                <c:pt idx="217">
                  <c:v>41408</c:v>
                </c:pt>
                <c:pt idx="218">
                  <c:v>41409</c:v>
                </c:pt>
                <c:pt idx="219">
                  <c:v>41410</c:v>
                </c:pt>
                <c:pt idx="220">
                  <c:v>41411</c:v>
                </c:pt>
                <c:pt idx="221">
                  <c:v>41414</c:v>
                </c:pt>
                <c:pt idx="222">
                  <c:v>41415</c:v>
                </c:pt>
                <c:pt idx="223">
                  <c:v>41416</c:v>
                </c:pt>
                <c:pt idx="224">
                  <c:v>41417</c:v>
                </c:pt>
                <c:pt idx="225">
                  <c:v>41418</c:v>
                </c:pt>
                <c:pt idx="226">
                  <c:v>41422</c:v>
                </c:pt>
                <c:pt idx="227">
                  <c:v>41423</c:v>
                </c:pt>
                <c:pt idx="228">
                  <c:v>41424</c:v>
                </c:pt>
                <c:pt idx="229">
                  <c:v>41425</c:v>
                </c:pt>
              </c:numCache>
            </c:numRef>
          </c:cat>
          <c:val>
            <c:numRef>
              <c:f>Abenomics!$I$2:$I$254</c:f>
              <c:numCache>
                <c:formatCode>#.##0\.00</c:formatCode>
                <c:ptCount val="253"/>
                <c:pt idx="0">
                  <c:v>100</c:v>
                </c:pt>
                <c:pt idx="1">
                  <c:v>99.945374841878689</c:v>
                </c:pt>
                <c:pt idx="2">
                  <c:v>100.97283964785736</c:v>
                </c:pt>
                <c:pt idx="3">
                  <c:v>100.85981827104705</c:v>
                </c:pt>
                <c:pt idx="4">
                  <c:v>100.23485647289058</c:v>
                </c:pt>
                <c:pt idx="5">
                  <c:v>99.106360117783339</c:v>
                </c:pt>
                <c:pt idx="6">
                  <c:v>98.37844235886871</c:v>
                </c:pt>
                <c:pt idx="7">
                  <c:v>98.255783936472383</c:v>
                </c:pt>
                <c:pt idx="8">
                  <c:v>96.943770332202774</c:v>
                </c:pt>
                <c:pt idx="9">
                  <c:v>96.700073973449406</c:v>
                </c:pt>
                <c:pt idx="10">
                  <c:v>96.700073973449406</c:v>
                </c:pt>
                <c:pt idx="11">
                  <c:v>96.349870245332752</c:v>
                </c:pt>
                <c:pt idx="12">
                  <c:v>96.133419574983634</c:v>
                </c:pt>
                <c:pt idx="13">
                  <c:v>96.98776534268805</c:v>
                </c:pt>
                <c:pt idx="14">
                  <c:v>95.263793991225242</c:v>
                </c:pt>
                <c:pt idx="15">
                  <c:v>93.595655883677864</c:v>
                </c:pt>
                <c:pt idx="16">
                  <c:v>93.141372505484512</c:v>
                </c:pt>
                <c:pt idx="17">
                  <c:v>91.642508175540016</c:v>
                </c:pt>
                <c:pt idx="18">
                  <c:v>92.630116469531785</c:v>
                </c:pt>
                <c:pt idx="19">
                  <c:v>94.265995467761854</c:v>
                </c:pt>
                <c:pt idx="20">
                  <c:v>94.851888208674168</c:v>
                </c:pt>
                <c:pt idx="21">
                  <c:v>95.544483032798027</c:v>
                </c:pt>
                <c:pt idx="22">
                  <c:v>94.656507665119477</c:v>
                </c:pt>
                <c:pt idx="23">
                  <c:v>95.130226556564764</c:v>
                </c:pt>
                <c:pt idx="24">
                  <c:v>94.072553463339887</c:v>
                </c:pt>
                <c:pt idx="25">
                  <c:v>95.69635406058562</c:v>
                </c:pt>
                <c:pt idx="26">
                  <c:v>96.826283067363732</c:v>
                </c:pt>
                <c:pt idx="27">
                  <c:v>97.000507490626376</c:v>
                </c:pt>
                <c:pt idx="28">
                  <c:v>97.858438941487123</c:v>
                </c:pt>
                <c:pt idx="29">
                  <c:v>97.0886762552242</c:v>
                </c:pt>
                <c:pt idx="30">
                  <c:v>97.094252442155437</c:v>
                </c:pt>
                <c:pt idx="31">
                  <c:v>97.262046885903018</c:v>
                </c:pt>
                <c:pt idx="32">
                  <c:v>97.001029594004976</c:v>
                </c:pt>
                <c:pt idx="33">
                  <c:v>98.657259936236926</c:v>
                </c:pt>
                <c:pt idx="34">
                  <c:v>99.5800926453404</c:v>
                </c:pt>
                <c:pt idx="35">
                  <c:v>99.425090225759774</c:v>
                </c:pt>
                <c:pt idx="36">
                  <c:v>99.438510371003161</c:v>
                </c:pt>
                <c:pt idx="37">
                  <c:v>99.159658027692331</c:v>
                </c:pt>
                <c:pt idx="38">
                  <c:v>99.424474143773026</c:v>
                </c:pt>
                <c:pt idx="39">
                  <c:v>98.454001651210277</c:v>
                </c:pt>
                <c:pt idx="40">
                  <c:v>98.247082131597239</c:v>
                </c:pt>
                <c:pt idx="41">
                  <c:v>97.098232958313844</c:v>
                </c:pt>
                <c:pt idx="42">
                  <c:v>97.592054181161402</c:v>
                </c:pt>
                <c:pt idx="43">
                  <c:v>96.778304346675853</c:v>
                </c:pt>
                <c:pt idx="44">
                  <c:v>95.093533622508573</c:v>
                </c:pt>
                <c:pt idx="45">
                  <c:v>94.470687387242165</c:v>
                </c:pt>
                <c:pt idx="46">
                  <c:v>93.323532777253916</c:v>
                </c:pt>
                <c:pt idx="47">
                  <c:v>93.507882443473534</c:v>
                </c:pt>
                <c:pt idx="48">
                  <c:v>95.853324257088218</c:v>
                </c:pt>
                <c:pt idx="49">
                  <c:v>96.056527137732786</c:v>
                </c:pt>
                <c:pt idx="50">
                  <c:v>95.341568844609853</c:v>
                </c:pt>
                <c:pt idx="51">
                  <c:v>96.619718332352434</c:v>
                </c:pt>
                <c:pt idx="52">
                  <c:v>96.934217928788001</c:v>
                </c:pt>
                <c:pt idx="53">
                  <c:v>98.696243368526964</c:v>
                </c:pt>
                <c:pt idx="54">
                  <c:v>98.696243368526964</c:v>
                </c:pt>
                <c:pt idx="55">
                  <c:v>98.845935566779787</c:v>
                </c:pt>
                <c:pt idx="56">
                  <c:v>99.764626951884253</c:v>
                </c:pt>
                <c:pt idx="57">
                  <c:v>98.244482793858964</c:v>
                </c:pt>
                <c:pt idx="58">
                  <c:v>98.519831884923349</c:v>
                </c:pt>
                <c:pt idx="59">
                  <c:v>98.086944917424034</c:v>
                </c:pt>
                <c:pt idx="60">
                  <c:v>98.537534752045474</c:v>
                </c:pt>
                <c:pt idx="61">
                  <c:v>97.3260234683503</c:v>
                </c:pt>
                <c:pt idx="62">
                  <c:v>97.792692858553906</c:v>
                </c:pt>
                <c:pt idx="63">
                  <c:v>96.683888768712976</c:v>
                </c:pt>
                <c:pt idx="64">
                  <c:v>96.032868483811228</c:v>
                </c:pt>
                <c:pt idx="65">
                  <c:v>96.009637340420866</c:v>
                </c:pt>
                <c:pt idx="66">
                  <c:v>95.568347825418229</c:v>
                </c:pt>
                <c:pt idx="67">
                  <c:v>96.643262492074243</c:v>
                </c:pt>
                <c:pt idx="68">
                  <c:v>96.800442389863221</c:v>
                </c:pt>
                <c:pt idx="69">
                  <c:v>96.800442389863221</c:v>
                </c:pt>
                <c:pt idx="70">
                  <c:v>95.508424116515243</c:v>
                </c:pt>
                <c:pt idx="71">
                  <c:v>94.097641697735952</c:v>
                </c:pt>
                <c:pt idx="72">
                  <c:v>93.76323743209484</c:v>
                </c:pt>
                <c:pt idx="73">
                  <c:v>94.353135627279897</c:v>
                </c:pt>
                <c:pt idx="74">
                  <c:v>95.000418143382333</c:v>
                </c:pt>
                <c:pt idx="75">
                  <c:v>96.288314871235755</c:v>
                </c:pt>
                <c:pt idx="76">
                  <c:v>97.221116315130473</c:v>
                </c:pt>
                <c:pt idx="77">
                  <c:v>98.922008854541602</c:v>
                </c:pt>
                <c:pt idx="78">
                  <c:v>99.175782299893271</c:v>
                </c:pt>
                <c:pt idx="79">
                  <c:v>99.112192196793998</c:v>
                </c:pt>
                <c:pt idx="80">
                  <c:v>98.54306597666222</c:v>
                </c:pt>
                <c:pt idx="81">
                  <c:v>97.6618460124634</c:v>
                </c:pt>
                <c:pt idx="82">
                  <c:v>98.720313194215137</c:v>
                </c:pt>
                <c:pt idx="83">
                  <c:v>97.275785452783438</c:v>
                </c:pt>
                <c:pt idx="84">
                  <c:v>97.470863790617827</c:v>
                </c:pt>
                <c:pt idx="85">
                  <c:v>97.486984500231003</c:v>
                </c:pt>
                <c:pt idx="86">
                  <c:v>98.630855509935387</c:v>
                </c:pt>
                <c:pt idx="87">
                  <c:v>98.104369779853016</c:v>
                </c:pt>
                <c:pt idx="88">
                  <c:v>97.771388829445883</c:v>
                </c:pt>
                <c:pt idx="89">
                  <c:v>97.95444883889644</c:v>
                </c:pt>
                <c:pt idx="90">
                  <c:v>96.564603379838061</c:v>
                </c:pt>
                <c:pt idx="91">
                  <c:v>95.917754148115961</c:v>
                </c:pt>
                <c:pt idx="92">
                  <c:v>94.855464064002206</c:v>
                </c:pt>
                <c:pt idx="93">
                  <c:v>94.861305233754067</c:v>
                </c:pt>
                <c:pt idx="94">
                  <c:v>94.775550060939594</c:v>
                </c:pt>
                <c:pt idx="95">
                  <c:v>96.875223686746779</c:v>
                </c:pt>
                <c:pt idx="96">
                  <c:v>98.864208693639185</c:v>
                </c:pt>
                <c:pt idx="97">
                  <c:v>100.31370489366944</c:v>
                </c:pt>
                <c:pt idx="98">
                  <c:v>100.20860916899404</c:v>
                </c:pt>
                <c:pt idx="99">
                  <c:v>100.92884328604569</c:v>
                </c:pt>
                <c:pt idx="100">
                  <c:v>102.24680653472205</c:v>
                </c:pt>
                <c:pt idx="101">
                  <c:v>102.67311807084744</c:v>
                </c:pt>
                <c:pt idx="102">
                  <c:v>102.81176231591348</c:v>
                </c:pt>
                <c:pt idx="103">
                  <c:v>101.44253342937331</c:v>
                </c:pt>
                <c:pt idx="104">
                  <c:v>102.50832086903652</c:v>
                </c:pt>
                <c:pt idx="105">
                  <c:v>102.95632893316277</c:v>
                </c:pt>
                <c:pt idx="106">
                  <c:v>102.92334195031175</c:v>
                </c:pt>
                <c:pt idx="107">
                  <c:v>102.8440588938262</c:v>
                </c:pt>
                <c:pt idx="108">
                  <c:v>102.83475022055336</c:v>
                </c:pt>
                <c:pt idx="109">
                  <c:v>103.69912283008384</c:v>
                </c:pt>
                <c:pt idx="110">
                  <c:v>103.95014755470703</c:v>
                </c:pt>
                <c:pt idx="111">
                  <c:v>103.68832929480227</c:v>
                </c:pt>
                <c:pt idx="112">
                  <c:v>103.3640771757981</c:v>
                </c:pt>
                <c:pt idx="113">
                  <c:v>104.10850863461017</c:v>
                </c:pt>
                <c:pt idx="114">
                  <c:v>105.2443815119459</c:v>
                </c:pt>
                <c:pt idx="115">
                  <c:v>105.53358255845973</c:v>
                </c:pt>
                <c:pt idx="116">
                  <c:v>106.49890821734024</c:v>
                </c:pt>
                <c:pt idx="117">
                  <c:v>107.72481382975928</c:v>
                </c:pt>
                <c:pt idx="118">
                  <c:v>110.83179354297799</c:v>
                </c:pt>
                <c:pt idx="119">
                  <c:v>110.694673348386</c:v>
                </c:pt>
                <c:pt idx="120">
                  <c:v>109.82812485766925</c:v>
                </c:pt>
                <c:pt idx="121">
                  <c:v>109.82812485766925</c:v>
                </c:pt>
                <c:pt idx="122">
                  <c:v>111.90450628470271</c:v>
                </c:pt>
                <c:pt idx="123">
                  <c:v>112.7914025568336</c:v>
                </c:pt>
                <c:pt idx="124">
                  <c:v>113.6622778718086</c:v>
                </c:pt>
                <c:pt idx="125" formatCode="General">
                  <c:v>113.6622778718086</c:v>
                </c:pt>
                <c:pt idx="126" formatCode="General">
                  <c:v>113.6622778718086</c:v>
                </c:pt>
                <c:pt idx="127" formatCode="General">
                  <c:v>113.6622778718086</c:v>
                </c:pt>
                <c:pt idx="128" formatCode="General">
                  <c:v>117.60648597848072</c:v>
                </c:pt>
                <c:pt idx="129" formatCode="General">
                  <c:v>116.50921533654473</c:v>
                </c:pt>
                <c:pt idx="130" formatCode="General">
                  <c:v>115.21675972483727</c:v>
                </c:pt>
                <c:pt idx="131" formatCode="General">
                  <c:v>116.10714069918869</c:v>
                </c:pt>
                <c:pt idx="132" formatCode="General">
                  <c:v>117.4981581267722</c:v>
                </c:pt>
                <c:pt idx="133" formatCode="General">
                  <c:v>118.89030944004615</c:v>
                </c:pt>
                <c:pt idx="134" formatCode="General">
                  <c:v>118.89030944004615</c:v>
                </c:pt>
                <c:pt idx="135" formatCode="General">
                  <c:v>119.93842497024642</c:v>
                </c:pt>
                <c:pt idx="136" formatCode="General">
                  <c:v>117.39222052575478</c:v>
                </c:pt>
                <c:pt idx="137" formatCode="General">
                  <c:v>117.84140461238533</c:v>
                </c:pt>
                <c:pt idx="138" formatCode="General">
                  <c:v>120.68116162006761</c:v>
                </c:pt>
                <c:pt idx="139" formatCode="General">
                  <c:v>119.10470314593144</c:v>
                </c:pt>
                <c:pt idx="140" formatCode="General">
                  <c:v>117.25828970714281</c:v>
                </c:pt>
                <c:pt idx="141" formatCode="General">
                  <c:v>118.58220591711797</c:v>
                </c:pt>
                <c:pt idx="142" formatCode="General">
                  <c:v>121.27077419399262</c:v>
                </c:pt>
                <c:pt idx="143" formatCode="General">
                  <c:v>120.7646540582632</c:v>
                </c:pt>
                <c:pt idx="144" formatCode="General">
                  <c:v>121.83021558072328</c:v>
                </c:pt>
                <c:pt idx="145" formatCode="General">
                  <c:v>123.6432347960256</c:v>
                </c:pt>
                <c:pt idx="146" formatCode="General">
                  <c:v>124.37014397406061</c:v>
                </c:pt>
                <c:pt idx="147" formatCode="General">
                  <c:v>124.68315244324694</c:v>
                </c:pt>
                <c:pt idx="148" formatCode="General">
                  <c:v>126.51689523154816</c:v>
                </c:pt>
                <c:pt idx="149" formatCode="General">
                  <c:v>124.27983544554556</c:v>
                </c:pt>
                <c:pt idx="150" formatCode="General">
                  <c:v>128.46872883619403</c:v>
                </c:pt>
                <c:pt idx="151" formatCode="General">
                  <c:v>128.43448008303679</c:v>
                </c:pt>
                <c:pt idx="152" formatCode="General">
                  <c:v>126.81650357969124</c:v>
                </c:pt>
                <c:pt idx="153" formatCode="General">
                  <c:v>126.81650357969124</c:v>
                </c:pt>
                <c:pt idx="154" formatCode="General">
                  <c:v>128.47323292990527</c:v>
                </c:pt>
                <c:pt idx="155" formatCode="General">
                  <c:v>127.00929154213962</c:v>
                </c:pt>
                <c:pt idx="156" formatCode="General">
                  <c:v>126.71271237637521</c:v>
                </c:pt>
                <c:pt idx="157" formatCode="General">
                  <c:v>125.12686857190543</c:v>
                </c:pt>
                <c:pt idx="158" formatCode="General">
                  <c:v>127.66520559414484</c:v>
                </c:pt>
                <c:pt idx="159" formatCode="General">
                  <c:v>129.036755936578</c:v>
                </c:pt>
                <c:pt idx="160" formatCode="General">
                  <c:v>127.4500647276128</c:v>
                </c:pt>
                <c:pt idx="161" formatCode="General">
                  <c:v>127.56819190692221</c:v>
                </c:pt>
                <c:pt idx="162" formatCode="General">
                  <c:v>129.92340196763072</c:v>
                </c:pt>
                <c:pt idx="163" formatCode="General">
                  <c:v>127.97130202883784</c:v>
                </c:pt>
                <c:pt idx="164" formatCode="General">
                  <c:v>126.09185418792663</c:v>
                </c:pt>
                <c:pt idx="165" formatCode="General">
                  <c:v>129.08522236324544</c:v>
                </c:pt>
                <c:pt idx="166" formatCode="General">
                  <c:v>130.2428611776194</c:v>
                </c:pt>
                <c:pt idx="167" formatCode="General">
                  <c:v>131.19434864001005</c:v>
                </c:pt>
                <c:pt idx="168" formatCode="General">
                  <c:v>130.65008142017919</c:v>
                </c:pt>
                <c:pt idx="169" formatCode="General">
                  <c:v>132.67590763848727</c:v>
                </c:pt>
                <c:pt idx="170" formatCode="General">
                  <c:v>132.90834400865825</c:v>
                </c:pt>
                <c:pt idx="171" formatCode="General">
                  <c:v>135.14144661959469</c:v>
                </c:pt>
                <c:pt idx="172" formatCode="General">
                  <c:v>137.77381286329683</c:v>
                </c:pt>
                <c:pt idx="173" formatCode="General">
                  <c:v>137.40051349297252</c:v>
                </c:pt>
                <c:pt idx="174" formatCode="General">
                  <c:v>136.67921170522359</c:v>
                </c:pt>
                <c:pt idx="175" formatCode="General">
                  <c:v>137.58077551970524</c:v>
                </c:pt>
                <c:pt idx="176" formatCode="General">
                  <c:v>139.39832155557173</c:v>
                </c:pt>
                <c:pt idx="177" formatCode="General">
                  <c:v>136.03230350653169</c:v>
                </c:pt>
                <c:pt idx="178" formatCode="General">
                  <c:v>138.4322812907258</c:v>
                </c:pt>
                <c:pt idx="179" formatCode="General">
                  <c:v>138.4322812907258</c:v>
                </c:pt>
                <c:pt idx="180" formatCode="General">
                  <c:v>139.95313636928094</c:v>
                </c:pt>
                <c:pt idx="181" formatCode="General">
                  <c:v>137.41021675355174</c:v>
                </c:pt>
                <c:pt idx="182" formatCode="General">
                  <c:v>138.6812352919255</c:v>
                </c:pt>
                <c:pt idx="183" formatCode="General">
                  <c:v>138.16320984783775</c:v>
                </c:pt>
                <c:pt idx="184" formatCode="General">
                  <c:v>139.52861681479877</c:v>
                </c:pt>
                <c:pt idx="185" formatCode="General">
                  <c:v>138.08375836694466</c:v>
                </c:pt>
                <c:pt idx="186" formatCode="General">
                  <c:v>133.63429632476013</c:v>
                </c:pt>
                <c:pt idx="187" formatCode="General">
                  <c:v>132.32158924435592</c:v>
                </c:pt>
                <c:pt idx="188" formatCode="General">
                  <c:v>134.83200245803812</c:v>
                </c:pt>
                <c:pt idx="189" formatCode="General">
                  <c:v>138.52205186848914</c:v>
                </c:pt>
                <c:pt idx="190" formatCode="General">
                  <c:v>142.47040203624741</c:v>
                </c:pt>
                <c:pt idx="191" formatCode="General">
                  <c:v>147.13506624604298</c:v>
                </c:pt>
                <c:pt idx="192" formatCode="General">
                  <c:v>147.18274951764249</c:v>
                </c:pt>
                <c:pt idx="193" formatCode="General">
                  <c:v>149.95331861407203</c:v>
                </c:pt>
                <c:pt idx="194" formatCode="General">
                  <c:v>153.92492412624787</c:v>
                </c:pt>
                <c:pt idx="195" formatCode="General">
                  <c:v>154.18509278517195</c:v>
                </c:pt>
                <c:pt idx="196" formatCode="General">
                  <c:v>152.09068282135598</c:v>
                </c:pt>
                <c:pt idx="197" formatCode="General">
                  <c:v>149.93884406569961</c:v>
                </c:pt>
                <c:pt idx="198" formatCode="General">
                  <c:v>152.1522190311878</c:v>
                </c:pt>
                <c:pt idx="199" formatCode="General">
                  <c:v>150.21222181725429</c:v>
                </c:pt>
                <c:pt idx="200" formatCode="General">
                  <c:v>150.72065665224474</c:v>
                </c:pt>
                <c:pt idx="201" formatCode="General">
                  <c:v>153.04260393667053</c:v>
                </c:pt>
                <c:pt idx="202" formatCode="General">
                  <c:v>152.60602526831704</c:v>
                </c:pt>
                <c:pt idx="203" formatCode="General">
                  <c:v>155.34070903248119</c:v>
                </c:pt>
                <c:pt idx="204" formatCode="General">
                  <c:v>156.46259150483627</c:v>
                </c:pt>
                <c:pt idx="205" formatCode="General">
                  <c:v>155.0763540872436</c:v>
                </c:pt>
                <c:pt idx="206" formatCode="General">
                  <c:v>155.0763540872436</c:v>
                </c:pt>
                <c:pt idx="207" formatCode="General">
                  <c:v>155.48328662012983</c:v>
                </c:pt>
                <c:pt idx="208" formatCode="General">
                  <c:v>154.39451754106727</c:v>
                </c:pt>
                <c:pt idx="209" formatCode="General">
                  <c:v>153.63325396072077</c:v>
                </c:pt>
                <c:pt idx="210" formatCode="General">
                  <c:v>153.63325396072077</c:v>
                </c:pt>
                <c:pt idx="211" formatCode="General">
                  <c:v>153.63325396072077</c:v>
                </c:pt>
                <c:pt idx="212" formatCode="General">
                  <c:v>158.22030056238455</c:v>
                </c:pt>
                <c:pt idx="213" formatCode="General">
                  <c:v>159.22944347090589</c:v>
                </c:pt>
                <c:pt idx="214" formatCode="General">
                  <c:v>157.43875824111774</c:v>
                </c:pt>
                <c:pt idx="215" formatCode="General">
                  <c:v>161.53112909026305</c:v>
                </c:pt>
                <c:pt idx="216" formatCode="General">
                  <c:v>164.6050860719053</c:v>
                </c:pt>
                <c:pt idx="217" formatCode="General">
                  <c:v>164.25358752740974</c:v>
                </c:pt>
                <c:pt idx="218" formatCode="General">
                  <c:v>168.0007992727063</c:v>
                </c:pt>
                <c:pt idx="219" formatCode="General">
                  <c:v>167.14594466919152</c:v>
                </c:pt>
                <c:pt idx="220" formatCode="General">
                  <c:v>168.00287736700096</c:v>
                </c:pt>
                <c:pt idx="221" formatCode="General">
                  <c:v>170.41219723908415</c:v>
                </c:pt>
                <c:pt idx="222" formatCode="General">
                  <c:v>170.60319076293226</c:v>
                </c:pt>
                <c:pt idx="223" formatCode="General">
                  <c:v>171.38815034294791</c:v>
                </c:pt>
                <c:pt idx="224" formatCode="General">
                  <c:v>159.7836993268804</c:v>
                </c:pt>
                <c:pt idx="225" formatCode="General">
                  <c:v>160.17185087987963</c:v>
                </c:pt>
                <c:pt idx="226" formatCode="General">
                  <c:v>156.911005826815</c:v>
                </c:pt>
                <c:pt idx="227" formatCode="General">
                  <c:v>158.07407623619628</c:v>
                </c:pt>
                <c:pt idx="228" formatCode="General">
                  <c:v>152.18270446319212</c:v>
                </c:pt>
                <c:pt idx="229" formatCode="General">
                  <c:v>152.04423453923059</c:v>
                </c:pt>
              </c:numCache>
            </c:numRef>
          </c:val>
          <c:smooth val="0"/>
          <c:extLst xmlns:c16r2="http://schemas.microsoft.com/office/drawing/2015/06/chart">
            <c:ext xmlns:c16="http://schemas.microsoft.com/office/drawing/2014/chart" uri="{C3380CC4-5D6E-409C-BE32-E72D297353CC}">
              <c16:uniqueId val="{00000000-9E0E-4D56-8F8C-27131B1FF130}"/>
            </c:ext>
          </c:extLst>
        </c:ser>
        <c:ser>
          <c:idx val="1"/>
          <c:order val="1"/>
          <c:tx>
            <c:strRef>
              <c:f>Abenomics!$J$1</c:f>
              <c:strCache>
                <c:ptCount val="1"/>
                <c:pt idx="0">
                  <c:v>MSCI JAPAN in USD</c:v>
                </c:pt>
              </c:strCache>
            </c:strRef>
          </c:tx>
          <c:spPr>
            <a:ln w="19050">
              <a:prstDash val="sysDash"/>
            </a:ln>
          </c:spPr>
          <c:marker>
            <c:symbol val="none"/>
          </c:marker>
          <c:cat>
            <c:numRef>
              <c:f>Abenomics!$H$2:$H$254</c:f>
              <c:numCache>
                <c:formatCode>m/d/yyyy</c:formatCode>
                <c:ptCount val="253"/>
                <c:pt idx="0">
                  <c:v>41089</c:v>
                </c:pt>
                <c:pt idx="1">
                  <c:v>41092</c:v>
                </c:pt>
                <c:pt idx="2">
                  <c:v>41093</c:v>
                </c:pt>
                <c:pt idx="3">
                  <c:v>41095</c:v>
                </c:pt>
                <c:pt idx="4">
                  <c:v>41096</c:v>
                </c:pt>
                <c:pt idx="5">
                  <c:v>41099</c:v>
                </c:pt>
                <c:pt idx="6">
                  <c:v>41100</c:v>
                </c:pt>
                <c:pt idx="7">
                  <c:v>41101</c:v>
                </c:pt>
                <c:pt idx="8">
                  <c:v>41102</c:v>
                </c:pt>
                <c:pt idx="9">
                  <c:v>41103</c:v>
                </c:pt>
                <c:pt idx="10">
                  <c:v>41106</c:v>
                </c:pt>
                <c:pt idx="11">
                  <c:v>41107</c:v>
                </c:pt>
                <c:pt idx="12">
                  <c:v>41108</c:v>
                </c:pt>
                <c:pt idx="13">
                  <c:v>41109</c:v>
                </c:pt>
                <c:pt idx="14">
                  <c:v>41110</c:v>
                </c:pt>
                <c:pt idx="15">
                  <c:v>41113</c:v>
                </c:pt>
                <c:pt idx="16">
                  <c:v>41114</c:v>
                </c:pt>
                <c:pt idx="17">
                  <c:v>41115</c:v>
                </c:pt>
                <c:pt idx="18">
                  <c:v>41116</c:v>
                </c:pt>
                <c:pt idx="19">
                  <c:v>41117</c:v>
                </c:pt>
                <c:pt idx="20">
                  <c:v>41120</c:v>
                </c:pt>
                <c:pt idx="21">
                  <c:v>41121</c:v>
                </c:pt>
                <c:pt idx="22">
                  <c:v>41122</c:v>
                </c:pt>
                <c:pt idx="23">
                  <c:v>41123</c:v>
                </c:pt>
                <c:pt idx="24">
                  <c:v>41124</c:v>
                </c:pt>
                <c:pt idx="25">
                  <c:v>41127</c:v>
                </c:pt>
                <c:pt idx="26">
                  <c:v>41128</c:v>
                </c:pt>
                <c:pt idx="27">
                  <c:v>41129</c:v>
                </c:pt>
                <c:pt idx="28">
                  <c:v>41130</c:v>
                </c:pt>
                <c:pt idx="29">
                  <c:v>41131</c:v>
                </c:pt>
                <c:pt idx="30">
                  <c:v>41134</c:v>
                </c:pt>
                <c:pt idx="31">
                  <c:v>41135</c:v>
                </c:pt>
                <c:pt idx="32">
                  <c:v>41136</c:v>
                </c:pt>
                <c:pt idx="33">
                  <c:v>41137</c:v>
                </c:pt>
                <c:pt idx="34">
                  <c:v>41138</c:v>
                </c:pt>
                <c:pt idx="35">
                  <c:v>41141</c:v>
                </c:pt>
                <c:pt idx="36">
                  <c:v>41142</c:v>
                </c:pt>
                <c:pt idx="37">
                  <c:v>41143</c:v>
                </c:pt>
                <c:pt idx="38">
                  <c:v>41144</c:v>
                </c:pt>
                <c:pt idx="39">
                  <c:v>41145</c:v>
                </c:pt>
                <c:pt idx="40">
                  <c:v>41148</c:v>
                </c:pt>
                <c:pt idx="41">
                  <c:v>41149</c:v>
                </c:pt>
                <c:pt idx="42">
                  <c:v>41150</c:v>
                </c:pt>
                <c:pt idx="43">
                  <c:v>41151</c:v>
                </c:pt>
                <c:pt idx="44">
                  <c:v>41152</c:v>
                </c:pt>
                <c:pt idx="45">
                  <c:v>41156</c:v>
                </c:pt>
                <c:pt idx="46">
                  <c:v>41157</c:v>
                </c:pt>
                <c:pt idx="47">
                  <c:v>41158</c:v>
                </c:pt>
                <c:pt idx="48">
                  <c:v>41159</c:v>
                </c:pt>
                <c:pt idx="49">
                  <c:v>41162</c:v>
                </c:pt>
                <c:pt idx="50">
                  <c:v>41163</c:v>
                </c:pt>
                <c:pt idx="51">
                  <c:v>41164</c:v>
                </c:pt>
                <c:pt idx="52">
                  <c:v>41165</c:v>
                </c:pt>
                <c:pt idx="53">
                  <c:v>41166</c:v>
                </c:pt>
                <c:pt idx="54">
                  <c:v>41169</c:v>
                </c:pt>
                <c:pt idx="55">
                  <c:v>41170</c:v>
                </c:pt>
                <c:pt idx="56">
                  <c:v>41171</c:v>
                </c:pt>
                <c:pt idx="57">
                  <c:v>41172</c:v>
                </c:pt>
                <c:pt idx="58">
                  <c:v>41173</c:v>
                </c:pt>
                <c:pt idx="59">
                  <c:v>41176</c:v>
                </c:pt>
                <c:pt idx="60">
                  <c:v>41177</c:v>
                </c:pt>
                <c:pt idx="61">
                  <c:v>41178</c:v>
                </c:pt>
                <c:pt idx="62">
                  <c:v>41179</c:v>
                </c:pt>
                <c:pt idx="63">
                  <c:v>41180</c:v>
                </c:pt>
                <c:pt idx="64">
                  <c:v>41183</c:v>
                </c:pt>
                <c:pt idx="65">
                  <c:v>41184</c:v>
                </c:pt>
                <c:pt idx="66">
                  <c:v>41185</c:v>
                </c:pt>
                <c:pt idx="67">
                  <c:v>41186</c:v>
                </c:pt>
                <c:pt idx="68">
                  <c:v>41187</c:v>
                </c:pt>
                <c:pt idx="69">
                  <c:v>41190</c:v>
                </c:pt>
                <c:pt idx="70">
                  <c:v>41191</c:v>
                </c:pt>
                <c:pt idx="71">
                  <c:v>41192</c:v>
                </c:pt>
                <c:pt idx="72">
                  <c:v>41193</c:v>
                </c:pt>
                <c:pt idx="73">
                  <c:v>41194</c:v>
                </c:pt>
                <c:pt idx="74">
                  <c:v>41197</c:v>
                </c:pt>
                <c:pt idx="75">
                  <c:v>41198</c:v>
                </c:pt>
                <c:pt idx="76">
                  <c:v>41199</c:v>
                </c:pt>
                <c:pt idx="77">
                  <c:v>41200</c:v>
                </c:pt>
                <c:pt idx="78">
                  <c:v>41201</c:v>
                </c:pt>
                <c:pt idx="79">
                  <c:v>41204</c:v>
                </c:pt>
                <c:pt idx="80">
                  <c:v>41205</c:v>
                </c:pt>
                <c:pt idx="81">
                  <c:v>41206</c:v>
                </c:pt>
                <c:pt idx="82">
                  <c:v>41207</c:v>
                </c:pt>
                <c:pt idx="83">
                  <c:v>41208</c:v>
                </c:pt>
                <c:pt idx="84">
                  <c:v>41213</c:v>
                </c:pt>
                <c:pt idx="85">
                  <c:v>41214</c:v>
                </c:pt>
                <c:pt idx="86">
                  <c:v>41215</c:v>
                </c:pt>
                <c:pt idx="87">
                  <c:v>41218</c:v>
                </c:pt>
                <c:pt idx="88">
                  <c:v>41219</c:v>
                </c:pt>
                <c:pt idx="89">
                  <c:v>41220</c:v>
                </c:pt>
                <c:pt idx="90">
                  <c:v>41221</c:v>
                </c:pt>
                <c:pt idx="91">
                  <c:v>41222</c:v>
                </c:pt>
                <c:pt idx="92">
                  <c:v>41225</c:v>
                </c:pt>
                <c:pt idx="93">
                  <c:v>41226</c:v>
                </c:pt>
                <c:pt idx="94">
                  <c:v>41227</c:v>
                </c:pt>
                <c:pt idx="95">
                  <c:v>41228</c:v>
                </c:pt>
                <c:pt idx="96">
                  <c:v>41229</c:v>
                </c:pt>
                <c:pt idx="97">
                  <c:v>41232</c:v>
                </c:pt>
                <c:pt idx="98">
                  <c:v>41233</c:v>
                </c:pt>
                <c:pt idx="99">
                  <c:v>41234</c:v>
                </c:pt>
                <c:pt idx="100">
                  <c:v>41236</c:v>
                </c:pt>
                <c:pt idx="101">
                  <c:v>41239</c:v>
                </c:pt>
                <c:pt idx="102">
                  <c:v>41240</c:v>
                </c:pt>
                <c:pt idx="103">
                  <c:v>41241</c:v>
                </c:pt>
                <c:pt idx="104">
                  <c:v>41242</c:v>
                </c:pt>
                <c:pt idx="105">
                  <c:v>41243</c:v>
                </c:pt>
                <c:pt idx="106">
                  <c:v>41246</c:v>
                </c:pt>
                <c:pt idx="107">
                  <c:v>41247</c:v>
                </c:pt>
                <c:pt idx="108">
                  <c:v>41248</c:v>
                </c:pt>
                <c:pt idx="109">
                  <c:v>41249</c:v>
                </c:pt>
                <c:pt idx="110">
                  <c:v>41250</c:v>
                </c:pt>
                <c:pt idx="111">
                  <c:v>41253</c:v>
                </c:pt>
                <c:pt idx="112">
                  <c:v>41254</c:v>
                </c:pt>
                <c:pt idx="113">
                  <c:v>41255</c:v>
                </c:pt>
                <c:pt idx="114">
                  <c:v>41256</c:v>
                </c:pt>
                <c:pt idx="115">
                  <c:v>41257</c:v>
                </c:pt>
                <c:pt idx="116">
                  <c:v>41260</c:v>
                </c:pt>
                <c:pt idx="117">
                  <c:v>41261</c:v>
                </c:pt>
                <c:pt idx="118">
                  <c:v>41262</c:v>
                </c:pt>
                <c:pt idx="119">
                  <c:v>41263</c:v>
                </c:pt>
                <c:pt idx="120">
                  <c:v>41264</c:v>
                </c:pt>
                <c:pt idx="121">
                  <c:v>41267</c:v>
                </c:pt>
                <c:pt idx="122">
                  <c:v>41269</c:v>
                </c:pt>
                <c:pt idx="123">
                  <c:v>41270</c:v>
                </c:pt>
                <c:pt idx="124">
                  <c:v>41271</c:v>
                </c:pt>
                <c:pt idx="125">
                  <c:v>41274</c:v>
                </c:pt>
                <c:pt idx="126">
                  <c:v>41276</c:v>
                </c:pt>
                <c:pt idx="127">
                  <c:v>41277</c:v>
                </c:pt>
                <c:pt idx="128">
                  <c:v>41278</c:v>
                </c:pt>
                <c:pt idx="129">
                  <c:v>41281</c:v>
                </c:pt>
                <c:pt idx="130">
                  <c:v>41282</c:v>
                </c:pt>
                <c:pt idx="131">
                  <c:v>41283</c:v>
                </c:pt>
                <c:pt idx="132">
                  <c:v>41284</c:v>
                </c:pt>
                <c:pt idx="133">
                  <c:v>41285</c:v>
                </c:pt>
                <c:pt idx="134">
                  <c:v>41288</c:v>
                </c:pt>
                <c:pt idx="135">
                  <c:v>41289</c:v>
                </c:pt>
                <c:pt idx="136">
                  <c:v>41290</c:v>
                </c:pt>
                <c:pt idx="137">
                  <c:v>41291</c:v>
                </c:pt>
                <c:pt idx="138">
                  <c:v>41292</c:v>
                </c:pt>
                <c:pt idx="139">
                  <c:v>41296</c:v>
                </c:pt>
                <c:pt idx="140">
                  <c:v>41297</c:v>
                </c:pt>
                <c:pt idx="141">
                  <c:v>41298</c:v>
                </c:pt>
                <c:pt idx="142">
                  <c:v>41299</c:v>
                </c:pt>
                <c:pt idx="143">
                  <c:v>41302</c:v>
                </c:pt>
                <c:pt idx="144">
                  <c:v>41303</c:v>
                </c:pt>
                <c:pt idx="145">
                  <c:v>41304</c:v>
                </c:pt>
                <c:pt idx="146">
                  <c:v>41305</c:v>
                </c:pt>
                <c:pt idx="147">
                  <c:v>41306</c:v>
                </c:pt>
                <c:pt idx="148">
                  <c:v>41309</c:v>
                </c:pt>
                <c:pt idx="149">
                  <c:v>41310</c:v>
                </c:pt>
                <c:pt idx="150">
                  <c:v>41311</c:v>
                </c:pt>
                <c:pt idx="151">
                  <c:v>41312</c:v>
                </c:pt>
                <c:pt idx="152">
                  <c:v>41313</c:v>
                </c:pt>
                <c:pt idx="153">
                  <c:v>41316</c:v>
                </c:pt>
                <c:pt idx="154">
                  <c:v>41317</c:v>
                </c:pt>
                <c:pt idx="155">
                  <c:v>41318</c:v>
                </c:pt>
                <c:pt idx="156">
                  <c:v>41319</c:v>
                </c:pt>
                <c:pt idx="157">
                  <c:v>41320</c:v>
                </c:pt>
                <c:pt idx="158">
                  <c:v>41324</c:v>
                </c:pt>
                <c:pt idx="159">
                  <c:v>41325</c:v>
                </c:pt>
                <c:pt idx="160">
                  <c:v>41326</c:v>
                </c:pt>
                <c:pt idx="161">
                  <c:v>41327</c:v>
                </c:pt>
                <c:pt idx="162">
                  <c:v>41330</c:v>
                </c:pt>
                <c:pt idx="163">
                  <c:v>41331</c:v>
                </c:pt>
                <c:pt idx="164">
                  <c:v>41332</c:v>
                </c:pt>
                <c:pt idx="165">
                  <c:v>41333</c:v>
                </c:pt>
                <c:pt idx="166">
                  <c:v>41334</c:v>
                </c:pt>
                <c:pt idx="167">
                  <c:v>41337</c:v>
                </c:pt>
                <c:pt idx="168">
                  <c:v>41338</c:v>
                </c:pt>
                <c:pt idx="169">
                  <c:v>41339</c:v>
                </c:pt>
                <c:pt idx="170">
                  <c:v>41340</c:v>
                </c:pt>
                <c:pt idx="171">
                  <c:v>41341</c:v>
                </c:pt>
                <c:pt idx="172">
                  <c:v>41344</c:v>
                </c:pt>
                <c:pt idx="173">
                  <c:v>41345</c:v>
                </c:pt>
                <c:pt idx="174">
                  <c:v>41346</c:v>
                </c:pt>
                <c:pt idx="175">
                  <c:v>41347</c:v>
                </c:pt>
                <c:pt idx="176">
                  <c:v>41348</c:v>
                </c:pt>
                <c:pt idx="177">
                  <c:v>41351</c:v>
                </c:pt>
                <c:pt idx="178">
                  <c:v>41352</c:v>
                </c:pt>
                <c:pt idx="179">
                  <c:v>41353</c:v>
                </c:pt>
                <c:pt idx="180">
                  <c:v>41354</c:v>
                </c:pt>
                <c:pt idx="181">
                  <c:v>41355</c:v>
                </c:pt>
                <c:pt idx="182">
                  <c:v>41358</c:v>
                </c:pt>
                <c:pt idx="183">
                  <c:v>41359</c:v>
                </c:pt>
                <c:pt idx="184">
                  <c:v>41360</c:v>
                </c:pt>
                <c:pt idx="185">
                  <c:v>41361</c:v>
                </c:pt>
                <c:pt idx="186">
                  <c:v>41365</c:v>
                </c:pt>
                <c:pt idx="187">
                  <c:v>41366</c:v>
                </c:pt>
                <c:pt idx="188">
                  <c:v>41367</c:v>
                </c:pt>
                <c:pt idx="189">
                  <c:v>41368</c:v>
                </c:pt>
                <c:pt idx="190">
                  <c:v>41369</c:v>
                </c:pt>
                <c:pt idx="191">
                  <c:v>41372</c:v>
                </c:pt>
                <c:pt idx="192">
                  <c:v>41373</c:v>
                </c:pt>
                <c:pt idx="193">
                  <c:v>41374</c:v>
                </c:pt>
                <c:pt idx="194">
                  <c:v>41375</c:v>
                </c:pt>
                <c:pt idx="195">
                  <c:v>41376</c:v>
                </c:pt>
                <c:pt idx="196">
                  <c:v>41379</c:v>
                </c:pt>
                <c:pt idx="197">
                  <c:v>41380</c:v>
                </c:pt>
                <c:pt idx="198">
                  <c:v>41381</c:v>
                </c:pt>
                <c:pt idx="199">
                  <c:v>41382</c:v>
                </c:pt>
                <c:pt idx="200">
                  <c:v>41383</c:v>
                </c:pt>
                <c:pt idx="201">
                  <c:v>41386</c:v>
                </c:pt>
                <c:pt idx="202">
                  <c:v>41387</c:v>
                </c:pt>
                <c:pt idx="203">
                  <c:v>41388</c:v>
                </c:pt>
                <c:pt idx="204">
                  <c:v>41389</c:v>
                </c:pt>
                <c:pt idx="205">
                  <c:v>41390</c:v>
                </c:pt>
                <c:pt idx="206">
                  <c:v>41393</c:v>
                </c:pt>
                <c:pt idx="207">
                  <c:v>41394</c:v>
                </c:pt>
                <c:pt idx="208">
                  <c:v>41395</c:v>
                </c:pt>
                <c:pt idx="209">
                  <c:v>41396</c:v>
                </c:pt>
                <c:pt idx="210">
                  <c:v>41397</c:v>
                </c:pt>
                <c:pt idx="211">
                  <c:v>41400</c:v>
                </c:pt>
                <c:pt idx="212">
                  <c:v>41401</c:v>
                </c:pt>
                <c:pt idx="213">
                  <c:v>41402</c:v>
                </c:pt>
                <c:pt idx="214">
                  <c:v>41403</c:v>
                </c:pt>
                <c:pt idx="215">
                  <c:v>41404</c:v>
                </c:pt>
                <c:pt idx="216">
                  <c:v>41407</c:v>
                </c:pt>
                <c:pt idx="217">
                  <c:v>41408</c:v>
                </c:pt>
                <c:pt idx="218">
                  <c:v>41409</c:v>
                </c:pt>
                <c:pt idx="219">
                  <c:v>41410</c:v>
                </c:pt>
                <c:pt idx="220">
                  <c:v>41411</c:v>
                </c:pt>
                <c:pt idx="221">
                  <c:v>41414</c:v>
                </c:pt>
                <c:pt idx="222">
                  <c:v>41415</c:v>
                </c:pt>
                <c:pt idx="223">
                  <c:v>41416</c:v>
                </c:pt>
                <c:pt idx="224">
                  <c:v>41417</c:v>
                </c:pt>
                <c:pt idx="225">
                  <c:v>41418</c:v>
                </c:pt>
                <c:pt idx="226">
                  <c:v>41422</c:v>
                </c:pt>
                <c:pt idx="227">
                  <c:v>41423</c:v>
                </c:pt>
                <c:pt idx="228">
                  <c:v>41424</c:v>
                </c:pt>
                <c:pt idx="229">
                  <c:v>41425</c:v>
                </c:pt>
              </c:numCache>
            </c:numRef>
          </c:cat>
          <c:val>
            <c:numRef>
              <c:f>Abenomics!$J$2:$J$254</c:f>
              <c:numCache>
                <c:formatCode>General</c:formatCode>
                <c:ptCount val="253"/>
                <c:pt idx="0">
                  <c:v>100</c:v>
                </c:pt>
                <c:pt idx="1">
                  <c:v>100.51224424471961</c:v>
                </c:pt>
                <c:pt idx="2">
                  <c:v>100.87170253863079</c:v>
                </c:pt>
                <c:pt idx="3">
                  <c:v>100.65797245429681</c:v>
                </c:pt>
                <c:pt idx="4">
                  <c:v>100.56254494486193</c:v>
                </c:pt>
                <c:pt idx="5">
                  <c:v>99.336680794319321</c:v>
                </c:pt>
                <c:pt idx="6">
                  <c:v>98.774580538558439</c:v>
                </c:pt>
                <c:pt idx="7">
                  <c:v>98.416131146828633</c:v>
                </c:pt>
                <c:pt idx="8">
                  <c:v>97.604333618216955</c:v>
                </c:pt>
                <c:pt idx="9">
                  <c:v>97.408141731153464</c:v>
                </c:pt>
                <c:pt idx="10">
                  <c:v>97.989572090949366</c:v>
                </c:pt>
                <c:pt idx="11">
                  <c:v>97.319528395405683</c:v>
                </c:pt>
                <c:pt idx="12">
                  <c:v>97.24862815944384</c:v>
                </c:pt>
                <c:pt idx="13">
                  <c:v>98.418590808744852</c:v>
                </c:pt>
                <c:pt idx="14">
                  <c:v>96.749164676449467</c:v>
                </c:pt>
                <c:pt idx="15">
                  <c:v>95.255068704983429</c:v>
                </c:pt>
                <c:pt idx="16">
                  <c:v>95.010868201085017</c:v>
                </c:pt>
                <c:pt idx="17">
                  <c:v>93.48191928229852</c:v>
                </c:pt>
                <c:pt idx="18">
                  <c:v>94.465196829380034</c:v>
                </c:pt>
                <c:pt idx="19">
                  <c:v>95.656667750686552</c:v>
                </c:pt>
                <c:pt idx="20">
                  <c:v>96.792840045346679</c:v>
                </c:pt>
                <c:pt idx="21">
                  <c:v>97.611962978114477</c:v>
                </c:pt>
                <c:pt idx="22">
                  <c:v>96.531732479795977</c:v>
                </c:pt>
                <c:pt idx="23">
                  <c:v>97.045845110291026</c:v>
                </c:pt>
                <c:pt idx="24">
                  <c:v>95.502882372490546</c:v>
                </c:pt>
                <c:pt idx="25">
                  <c:v>97.592179091354467</c:v>
                </c:pt>
                <c:pt idx="26">
                  <c:v>98.217253101269492</c:v>
                </c:pt>
                <c:pt idx="27">
                  <c:v>98.770680109003138</c:v>
                </c:pt>
                <c:pt idx="28">
                  <c:v>99.245311001462156</c:v>
                </c:pt>
                <c:pt idx="29">
                  <c:v>99.075399469762772</c:v>
                </c:pt>
                <c:pt idx="30">
                  <c:v>98.91662923374389</c:v>
                </c:pt>
                <c:pt idx="31">
                  <c:v>98.496493489080962</c:v>
                </c:pt>
                <c:pt idx="32">
                  <c:v>98.144967748468929</c:v>
                </c:pt>
                <c:pt idx="33">
                  <c:v>99.31070169928114</c:v>
                </c:pt>
                <c:pt idx="34">
                  <c:v>99.918204105109623</c:v>
                </c:pt>
                <c:pt idx="35">
                  <c:v>99.951215212413075</c:v>
                </c:pt>
                <c:pt idx="36">
                  <c:v>99.964706420314954</c:v>
                </c:pt>
                <c:pt idx="37">
                  <c:v>99.835320051932229</c:v>
                </c:pt>
                <c:pt idx="38">
                  <c:v>101.21304916520872</c:v>
                </c:pt>
                <c:pt idx="39">
                  <c:v>99.881052676273271</c:v>
                </c:pt>
                <c:pt idx="40">
                  <c:v>99.652128480436517</c:v>
                </c:pt>
                <c:pt idx="41">
                  <c:v>98.693860059990968</c:v>
                </c:pt>
                <c:pt idx="42">
                  <c:v>98.893446918141578</c:v>
                </c:pt>
                <c:pt idx="43">
                  <c:v>98.30605862830879</c:v>
                </c:pt>
                <c:pt idx="44">
                  <c:v>96.903104047271171</c:v>
                </c:pt>
                <c:pt idx="45">
                  <c:v>96.157879142552389</c:v>
                </c:pt>
                <c:pt idx="46">
                  <c:v>95.081206483759331</c:v>
                </c:pt>
                <c:pt idx="47">
                  <c:v>94.478839334492108</c:v>
                </c:pt>
                <c:pt idx="48">
                  <c:v>97.977667774877233</c:v>
                </c:pt>
                <c:pt idx="49">
                  <c:v>97.896925569627385</c:v>
                </c:pt>
                <c:pt idx="50">
                  <c:v>97.780254183941665</c:v>
                </c:pt>
                <c:pt idx="51">
                  <c:v>99.002020377259342</c:v>
                </c:pt>
                <c:pt idx="52">
                  <c:v>99.87579089854303</c:v>
                </c:pt>
                <c:pt idx="53">
                  <c:v>100.54226959401311</c:v>
                </c:pt>
                <c:pt idx="54">
                  <c:v>99.917189185889654</c:v>
                </c:pt>
                <c:pt idx="55">
                  <c:v>100.32969350144722</c:v>
                </c:pt>
                <c:pt idx="56">
                  <c:v>101.70205174073266</c:v>
                </c:pt>
                <c:pt idx="57">
                  <c:v>100.18438604894878</c:v>
                </c:pt>
                <c:pt idx="58">
                  <c:v>100.57442922228972</c:v>
                </c:pt>
                <c:pt idx="59">
                  <c:v>100.49897063035819</c:v>
                </c:pt>
                <c:pt idx="60">
                  <c:v>100.95415900089823</c:v>
                </c:pt>
                <c:pt idx="61">
                  <c:v>99.841134144797692</c:v>
                </c:pt>
                <c:pt idx="62">
                  <c:v>100.42961538476722</c:v>
                </c:pt>
                <c:pt idx="63">
                  <c:v>99.156908534329304</c:v>
                </c:pt>
                <c:pt idx="64">
                  <c:v>98.161191154740905</c:v>
                </c:pt>
                <c:pt idx="65">
                  <c:v>98.162595629563469</c:v>
                </c:pt>
                <c:pt idx="66">
                  <c:v>97.101725129888067</c:v>
                </c:pt>
                <c:pt idx="67">
                  <c:v>98.294020657745889</c:v>
                </c:pt>
                <c:pt idx="68">
                  <c:v>98.14737026213173</c:v>
                </c:pt>
                <c:pt idx="69">
                  <c:v>98.819182476946068</c:v>
                </c:pt>
                <c:pt idx="70">
                  <c:v>97.469043391465405</c:v>
                </c:pt>
                <c:pt idx="71">
                  <c:v>95.863774654662478</c:v>
                </c:pt>
                <c:pt idx="72">
                  <c:v>95.291920942701694</c:v>
                </c:pt>
                <c:pt idx="73">
                  <c:v>96.081126805644203</c:v>
                </c:pt>
                <c:pt idx="74">
                  <c:v>96.242805503869619</c:v>
                </c:pt>
                <c:pt idx="75">
                  <c:v>97.374456824433295</c:v>
                </c:pt>
                <c:pt idx="76">
                  <c:v>98.530075861107306</c:v>
                </c:pt>
                <c:pt idx="77">
                  <c:v>99.60862047233671</c:v>
                </c:pt>
                <c:pt idx="78">
                  <c:v>99.688028147434295</c:v>
                </c:pt>
                <c:pt idx="79">
                  <c:v>99.074941330810745</c:v>
                </c:pt>
                <c:pt idx="80">
                  <c:v>98.555417912394446</c:v>
                </c:pt>
                <c:pt idx="81">
                  <c:v>97.619025320610476</c:v>
                </c:pt>
                <c:pt idx="82">
                  <c:v>98.258514221917338</c:v>
                </c:pt>
                <c:pt idx="83">
                  <c:v>97.556999998761185</c:v>
                </c:pt>
                <c:pt idx="84">
                  <c:v>97.300140408003955</c:v>
                </c:pt>
                <c:pt idx="85">
                  <c:v>97.061224089178609</c:v>
                </c:pt>
                <c:pt idx="86">
                  <c:v>97.724524563083008</c:v>
                </c:pt>
                <c:pt idx="87">
                  <c:v>97.633273096242689</c:v>
                </c:pt>
                <c:pt idx="88">
                  <c:v>97.162524800034547</c:v>
                </c:pt>
                <c:pt idx="89">
                  <c:v>97.856334953999536</c:v>
                </c:pt>
                <c:pt idx="90">
                  <c:v>96.516218294511788</c:v>
                </c:pt>
                <c:pt idx="91">
                  <c:v>96.328226650898785</c:v>
                </c:pt>
                <c:pt idx="92">
                  <c:v>95.297374476100728</c:v>
                </c:pt>
                <c:pt idx="93">
                  <c:v>95.279249032199502</c:v>
                </c:pt>
                <c:pt idx="94">
                  <c:v>94.267528562521463</c:v>
                </c:pt>
                <c:pt idx="95">
                  <c:v>95.310408116805363</c:v>
                </c:pt>
                <c:pt idx="96">
                  <c:v>97.063802267696616</c:v>
                </c:pt>
                <c:pt idx="97">
                  <c:v>98.650773652988903</c:v>
                </c:pt>
                <c:pt idx="98">
                  <c:v>97.818019677431451</c:v>
                </c:pt>
                <c:pt idx="99">
                  <c:v>97.749740991673022</c:v>
                </c:pt>
                <c:pt idx="100">
                  <c:v>99.044223613682831</c:v>
                </c:pt>
                <c:pt idx="101">
                  <c:v>99.759962116071577</c:v>
                </c:pt>
                <c:pt idx="102">
                  <c:v>99.767108778787147</c:v>
                </c:pt>
                <c:pt idx="103">
                  <c:v>98.919642463210579</c:v>
                </c:pt>
                <c:pt idx="104">
                  <c:v>99.55740880344203</c:v>
                </c:pt>
                <c:pt idx="105">
                  <c:v>99.610591637843768</c:v>
                </c:pt>
                <c:pt idx="106">
                  <c:v>99.802557630739599</c:v>
                </c:pt>
                <c:pt idx="107">
                  <c:v>100.29856945724255</c:v>
                </c:pt>
                <c:pt idx="108">
                  <c:v>99.716652125716934</c:v>
                </c:pt>
                <c:pt idx="109">
                  <c:v>100.47544637816002</c:v>
                </c:pt>
                <c:pt idx="110">
                  <c:v>100.69421242430528</c:v>
                </c:pt>
                <c:pt idx="111">
                  <c:v>100.47718971299311</c:v>
                </c:pt>
                <c:pt idx="112">
                  <c:v>100.1021934923604</c:v>
                </c:pt>
                <c:pt idx="113">
                  <c:v>100.16662135509891</c:v>
                </c:pt>
                <c:pt idx="114">
                  <c:v>100.43594315847942</c:v>
                </c:pt>
                <c:pt idx="115">
                  <c:v>100.84460547237681</c:v>
                </c:pt>
                <c:pt idx="116">
                  <c:v>101.45114479808704</c:v>
                </c:pt>
                <c:pt idx="117">
                  <c:v>102.34402453546862</c:v>
                </c:pt>
                <c:pt idx="118">
                  <c:v>104.95215772297182</c:v>
                </c:pt>
                <c:pt idx="119">
                  <c:v>104.660836510214</c:v>
                </c:pt>
                <c:pt idx="120">
                  <c:v>104.17482268760612</c:v>
                </c:pt>
                <c:pt idx="121">
                  <c:v>103.34555203286534</c:v>
                </c:pt>
                <c:pt idx="122">
                  <c:v>104.22388883300665</c:v>
                </c:pt>
                <c:pt idx="123">
                  <c:v>104.73815551058024</c:v>
                </c:pt>
                <c:pt idx="124">
                  <c:v>105.33844193523043</c:v>
                </c:pt>
                <c:pt idx="125">
                  <c:v>104.88767891960342</c:v>
                </c:pt>
                <c:pt idx="126">
                  <c:v>104.03938462139956</c:v>
                </c:pt>
                <c:pt idx="127">
                  <c:v>104.43474386195017</c:v>
                </c:pt>
                <c:pt idx="128">
                  <c:v>106.58588729735497</c:v>
                </c:pt>
                <c:pt idx="129">
                  <c:v>105.96455368010453</c:v>
                </c:pt>
                <c:pt idx="130">
                  <c:v>105.51067675171343</c:v>
                </c:pt>
                <c:pt idx="131">
                  <c:v>105.46062680688982</c:v>
                </c:pt>
                <c:pt idx="132">
                  <c:v>106.2945355910079</c:v>
                </c:pt>
                <c:pt idx="133">
                  <c:v>106.49144353289032</c:v>
                </c:pt>
                <c:pt idx="134">
                  <c:v>106.28860270927643</c:v>
                </c:pt>
                <c:pt idx="135">
                  <c:v>107.95134717886586</c:v>
                </c:pt>
                <c:pt idx="136">
                  <c:v>105.84468365303887</c:v>
                </c:pt>
                <c:pt idx="137">
                  <c:v>105.16234957080205</c:v>
                </c:pt>
                <c:pt idx="138">
                  <c:v>107.05002659816935</c:v>
                </c:pt>
                <c:pt idx="139">
                  <c:v>107.33413444348511</c:v>
                </c:pt>
                <c:pt idx="140">
                  <c:v>105.67019361781973</c:v>
                </c:pt>
                <c:pt idx="141">
                  <c:v>105.12971348019344</c:v>
                </c:pt>
                <c:pt idx="142">
                  <c:v>106.3551887557939</c:v>
                </c:pt>
                <c:pt idx="143">
                  <c:v>106.31446739890214</c:v>
                </c:pt>
                <c:pt idx="144">
                  <c:v>107.23478104779322</c:v>
                </c:pt>
                <c:pt idx="145">
                  <c:v>108.33463692066043</c:v>
                </c:pt>
                <c:pt idx="146">
                  <c:v>108.7387002839974</c:v>
                </c:pt>
                <c:pt idx="147">
                  <c:v>107.42326682368416</c:v>
                </c:pt>
                <c:pt idx="148">
                  <c:v>108.90321025753157</c:v>
                </c:pt>
                <c:pt idx="149">
                  <c:v>106.17579173031012</c:v>
                </c:pt>
                <c:pt idx="150">
                  <c:v>109.578490355783</c:v>
                </c:pt>
                <c:pt idx="151">
                  <c:v>109.94300154633807</c:v>
                </c:pt>
                <c:pt idx="152">
                  <c:v>109.11402194201608</c:v>
                </c:pt>
                <c:pt idx="153">
                  <c:v>108.3023528404227</c:v>
                </c:pt>
                <c:pt idx="154">
                  <c:v>110.1593601236123</c:v>
                </c:pt>
                <c:pt idx="155">
                  <c:v>108.43217818035849</c:v>
                </c:pt>
                <c:pt idx="156">
                  <c:v>108.64396440728363</c:v>
                </c:pt>
                <c:pt idx="157">
                  <c:v>106.42653074040354</c:v>
                </c:pt>
                <c:pt idx="158">
                  <c:v>108.92222793840888</c:v>
                </c:pt>
                <c:pt idx="159">
                  <c:v>109.89265401675512</c:v>
                </c:pt>
                <c:pt idx="160">
                  <c:v>109.47616176593166</c:v>
                </c:pt>
                <c:pt idx="161">
                  <c:v>109.18972358418979</c:v>
                </c:pt>
                <c:pt idx="162">
                  <c:v>110.51799835778407</c:v>
                </c:pt>
                <c:pt idx="163">
                  <c:v>111.35645558745539</c:v>
                </c:pt>
                <c:pt idx="164">
                  <c:v>109.82881996221435</c:v>
                </c:pt>
                <c:pt idx="165">
                  <c:v>111.63787014095377</c:v>
                </c:pt>
                <c:pt idx="166">
                  <c:v>111.21063616937462</c:v>
                </c:pt>
                <c:pt idx="167">
                  <c:v>112.2332699134743</c:v>
                </c:pt>
                <c:pt idx="168">
                  <c:v>111.67187999498434</c:v>
                </c:pt>
                <c:pt idx="169">
                  <c:v>113.19729119456905</c:v>
                </c:pt>
                <c:pt idx="170">
                  <c:v>112.02405081114104</c:v>
                </c:pt>
                <c:pt idx="171">
                  <c:v>112.10621232961179</c:v>
                </c:pt>
                <c:pt idx="172">
                  <c:v>114.36717159285837</c:v>
                </c:pt>
                <c:pt idx="173">
                  <c:v>114.21176136920461</c:v>
                </c:pt>
                <c:pt idx="174">
                  <c:v>113.58852516979655</c:v>
                </c:pt>
                <c:pt idx="175">
                  <c:v>114.20692965998846</c:v>
                </c:pt>
                <c:pt idx="176">
                  <c:v>116.95680415640689</c:v>
                </c:pt>
                <c:pt idx="177">
                  <c:v>114.37923496567014</c:v>
                </c:pt>
                <c:pt idx="178">
                  <c:v>116.45241680276813</c:v>
                </c:pt>
                <c:pt idx="179">
                  <c:v>115.65375354370561</c:v>
                </c:pt>
                <c:pt idx="180">
                  <c:v>117.47788911885684</c:v>
                </c:pt>
                <c:pt idx="181">
                  <c:v>116.03303207164609</c:v>
                </c:pt>
                <c:pt idx="182">
                  <c:v>117.29251393410688</c:v>
                </c:pt>
                <c:pt idx="183">
                  <c:v>117.00321077074958</c:v>
                </c:pt>
                <c:pt idx="184">
                  <c:v>117.97168953393177</c:v>
                </c:pt>
                <c:pt idx="185">
                  <c:v>117.18467436311242</c:v>
                </c:pt>
                <c:pt idx="186">
                  <c:v>114.33283839787607</c:v>
                </c:pt>
                <c:pt idx="187">
                  <c:v>112.95538255616678</c:v>
                </c:pt>
                <c:pt idx="188">
                  <c:v>115.85446343718591</c:v>
                </c:pt>
                <c:pt idx="189">
                  <c:v>114.68999192096857</c:v>
                </c:pt>
                <c:pt idx="190">
                  <c:v>116.9878911182289</c:v>
                </c:pt>
                <c:pt idx="191">
                  <c:v>118.72282896977558</c:v>
                </c:pt>
                <c:pt idx="192">
                  <c:v>118.61735858730715</c:v>
                </c:pt>
                <c:pt idx="193">
                  <c:v>120.24295560311739</c:v>
                </c:pt>
                <c:pt idx="194">
                  <c:v>123.37187039631033</c:v>
                </c:pt>
                <c:pt idx="195">
                  <c:v>124.59417210606274</c:v>
                </c:pt>
                <c:pt idx="196">
                  <c:v>123.88031424133798</c:v>
                </c:pt>
                <c:pt idx="197">
                  <c:v>122.40876215317572</c:v>
                </c:pt>
                <c:pt idx="198">
                  <c:v>124.40667682729396</c:v>
                </c:pt>
                <c:pt idx="199">
                  <c:v>122.02019018661026</c:v>
                </c:pt>
                <c:pt idx="200">
                  <c:v>121.18098749758755</c:v>
                </c:pt>
                <c:pt idx="201">
                  <c:v>122.98589351586902</c:v>
                </c:pt>
                <c:pt idx="202">
                  <c:v>122.54865903556427</c:v>
                </c:pt>
                <c:pt idx="203">
                  <c:v>124.72588856583381</c:v>
                </c:pt>
                <c:pt idx="204">
                  <c:v>125.48145727719501</c:v>
                </c:pt>
                <c:pt idx="205">
                  <c:v>126.67426591414478</c:v>
                </c:pt>
                <c:pt idx="206">
                  <c:v>126.06767493991774</c:v>
                </c:pt>
                <c:pt idx="207">
                  <c:v>127.35870484360579</c:v>
                </c:pt>
                <c:pt idx="208">
                  <c:v>126.55132327679262</c:v>
                </c:pt>
                <c:pt idx="209">
                  <c:v>125.06016465476362</c:v>
                </c:pt>
                <c:pt idx="210">
                  <c:v>123.89728460441434</c:v>
                </c:pt>
                <c:pt idx="211">
                  <c:v>123.43567959313059</c:v>
                </c:pt>
                <c:pt idx="212">
                  <c:v>127.42263729442472</c:v>
                </c:pt>
                <c:pt idx="213">
                  <c:v>128.56625481671085</c:v>
                </c:pt>
                <c:pt idx="214">
                  <c:v>126.49955719632848</c:v>
                </c:pt>
                <c:pt idx="215">
                  <c:v>126.631644616058</c:v>
                </c:pt>
                <c:pt idx="216">
                  <c:v>129.08585016732607</c:v>
                </c:pt>
                <c:pt idx="217">
                  <c:v>128.44410013915015</c:v>
                </c:pt>
                <c:pt idx="218">
                  <c:v>130.87413984765703</c:v>
                </c:pt>
                <c:pt idx="219">
                  <c:v>130.80202953350403</c:v>
                </c:pt>
                <c:pt idx="220">
                  <c:v>130.17673795727501</c:v>
                </c:pt>
                <c:pt idx="221">
                  <c:v>132.7008171179248</c:v>
                </c:pt>
                <c:pt idx="222">
                  <c:v>132.74590278809828</c:v>
                </c:pt>
                <c:pt idx="223">
                  <c:v>132.11980601775466</c:v>
                </c:pt>
                <c:pt idx="224">
                  <c:v>125.68779391855188</c:v>
                </c:pt>
                <c:pt idx="225">
                  <c:v>126.3044126279235</c:v>
                </c:pt>
                <c:pt idx="226">
                  <c:v>122.32466200476864</c:v>
                </c:pt>
                <c:pt idx="227">
                  <c:v>124.98370456623665</c:v>
                </c:pt>
                <c:pt idx="228">
                  <c:v>120.31367840450679</c:v>
                </c:pt>
                <c:pt idx="229">
                  <c:v>120.1446840764097</c:v>
                </c:pt>
              </c:numCache>
            </c:numRef>
          </c:val>
          <c:smooth val="0"/>
          <c:extLst xmlns:c16r2="http://schemas.microsoft.com/office/drawing/2015/06/chart">
            <c:ext xmlns:c16="http://schemas.microsoft.com/office/drawing/2014/chart" uri="{C3380CC4-5D6E-409C-BE32-E72D297353CC}">
              <c16:uniqueId val="{00000001-9E0E-4D56-8F8C-27131B1FF130}"/>
            </c:ext>
          </c:extLst>
        </c:ser>
        <c:dLbls>
          <c:showLegendKey val="0"/>
          <c:showVal val="0"/>
          <c:showCatName val="0"/>
          <c:showSerName val="0"/>
          <c:showPercent val="0"/>
          <c:showBubbleSize val="0"/>
        </c:dLbls>
        <c:marker val="1"/>
        <c:smooth val="0"/>
        <c:axId val="258971136"/>
        <c:axId val="258972672"/>
      </c:lineChart>
      <c:lineChart>
        <c:grouping val="standard"/>
        <c:varyColors val="0"/>
        <c:ser>
          <c:idx val="2"/>
          <c:order val="2"/>
          <c:tx>
            <c:strRef>
              <c:f>Abenomics!$K$1</c:f>
              <c:strCache>
                <c:ptCount val="1"/>
                <c:pt idx="0">
                  <c:v>USD/JPY</c:v>
                </c:pt>
              </c:strCache>
            </c:strRef>
          </c:tx>
          <c:spPr>
            <a:ln w="28575">
              <a:solidFill>
                <a:schemeClr val="accent1"/>
              </a:solidFill>
              <a:prstDash val="solid"/>
            </a:ln>
          </c:spPr>
          <c:marker>
            <c:symbol val="none"/>
          </c:marker>
          <c:cat>
            <c:numRef>
              <c:f>Abenomics!$H$2:$H$254</c:f>
              <c:numCache>
                <c:formatCode>m/d/yyyy</c:formatCode>
                <c:ptCount val="253"/>
                <c:pt idx="0">
                  <c:v>41089</c:v>
                </c:pt>
                <c:pt idx="1">
                  <c:v>41092</c:v>
                </c:pt>
                <c:pt idx="2">
                  <c:v>41093</c:v>
                </c:pt>
                <c:pt idx="3">
                  <c:v>41095</c:v>
                </c:pt>
                <c:pt idx="4">
                  <c:v>41096</c:v>
                </c:pt>
                <c:pt idx="5">
                  <c:v>41099</c:v>
                </c:pt>
                <c:pt idx="6">
                  <c:v>41100</c:v>
                </c:pt>
                <c:pt idx="7">
                  <c:v>41101</c:v>
                </c:pt>
                <c:pt idx="8">
                  <c:v>41102</c:v>
                </c:pt>
                <c:pt idx="9">
                  <c:v>41103</c:v>
                </c:pt>
                <c:pt idx="10">
                  <c:v>41106</c:v>
                </c:pt>
                <c:pt idx="11">
                  <c:v>41107</c:v>
                </c:pt>
                <c:pt idx="12">
                  <c:v>41108</c:v>
                </c:pt>
                <c:pt idx="13">
                  <c:v>41109</c:v>
                </c:pt>
                <c:pt idx="14">
                  <c:v>41110</c:v>
                </c:pt>
                <c:pt idx="15">
                  <c:v>41113</c:v>
                </c:pt>
                <c:pt idx="16">
                  <c:v>41114</c:v>
                </c:pt>
                <c:pt idx="17">
                  <c:v>41115</c:v>
                </c:pt>
                <c:pt idx="18">
                  <c:v>41116</c:v>
                </c:pt>
                <c:pt idx="19">
                  <c:v>41117</c:v>
                </c:pt>
                <c:pt idx="20">
                  <c:v>41120</c:v>
                </c:pt>
                <c:pt idx="21">
                  <c:v>41121</c:v>
                </c:pt>
                <c:pt idx="22">
                  <c:v>41122</c:v>
                </c:pt>
                <c:pt idx="23">
                  <c:v>41123</c:v>
                </c:pt>
                <c:pt idx="24">
                  <c:v>41124</c:v>
                </c:pt>
                <c:pt idx="25">
                  <c:v>41127</c:v>
                </c:pt>
                <c:pt idx="26">
                  <c:v>41128</c:v>
                </c:pt>
                <c:pt idx="27">
                  <c:v>41129</c:v>
                </c:pt>
                <c:pt idx="28">
                  <c:v>41130</c:v>
                </c:pt>
                <c:pt idx="29">
                  <c:v>41131</c:v>
                </c:pt>
                <c:pt idx="30">
                  <c:v>41134</c:v>
                </c:pt>
                <c:pt idx="31">
                  <c:v>41135</c:v>
                </c:pt>
                <c:pt idx="32">
                  <c:v>41136</c:v>
                </c:pt>
                <c:pt idx="33">
                  <c:v>41137</c:v>
                </c:pt>
                <c:pt idx="34">
                  <c:v>41138</c:v>
                </c:pt>
                <c:pt idx="35">
                  <c:v>41141</c:v>
                </c:pt>
                <c:pt idx="36">
                  <c:v>41142</c:v>
                </c:pt>
                <c:pt idx="37">
                  <c:v>41143</c:v>
                </c:pt>
                <c:pt idx="38">
                  <c:v>41144</c:v>
                </c:pt>
                <c:pt idx="39">
                  <c:v>41145</c:v>
                </c:pt>
                <c:pt idx="40">
                  <c:v>41148</c:v>
                </c:pt>
                <c:pt idx="41">
                  <c:v>41149</c:v>
                </c:pt>
                <c:pt idx="42">
                  <c:v>41150</c:v>
                </c:pt>
                <c:pt idx="43">
                  <c:v>41151</c:v>
                </c:pt>
                <c:pt idx="44">
                  <c:v>41152</c:v>
                </c:pt>
                <c:pt idx="45">
                  <c:v>41156</c:v>
                </c:pt>
                <c:pt idx="46">
                  <c:v>41157</c:v>
                </c:pt>
                <c:pt idx="47">
                  <c:v>41158</c:v>
                </c:pt>
                <c:pt idx="48">
                  <c:v>41159</c:v>
                </c:pt>
                <c:pt idx="49">
                  <c:v>41162</c:v>
                </c:pt>
                <c:pt idx="50">
                  <c:v>41163</c:v>
                </c:pt>
                <c:pt idx="51">
                  <c:v>41164</c:v>
                </c:pt>
                <c:pt idx="52">
                  <c:v>41165</c:v>
                </c:pt>
                <c:pt idx="53">
                  <c:v>41166</c:v>
                </c:pt>
                <c:pt idx="54">
                  <c:v>41169</c:v>
                </c:pt>
                <c:pt idx="55">
                  <c:v>41170</c:v>
                </c:pt>
                <c:pt idx="56">
                  <c:v>41171</c:v>
                </c:pt>
                <c:pt idx="57">
                  <c:v>41172</c:v>
                </c:pt>
                <c:pt idx="58">
                  <c:v>41173</c:v>
                </c:pt>
                <c:pt idx="59">
                  <c:v>41176</c:v>
                </c:pt>
                <c:pt idx="60">
                  <c:v>41177</c:v>
                </c:pt>
                <c:pt idx="61">
                  <c:v>41178</c:v>
                </c:pt>
                <c:pt idx="62">
                  <c:v>41179</c:v>
                </c:pt>
                <c:pt idx="63">
                  <c:v>41180</c:v>
                </c:pt>
                <c:pt idx="64">
                  <c:v>41183</c:v>
                </c:pt>
                <c:pt idx="65">
                  <c:v>41184</c:v>
                </c:pt>
                <c:pt idx="66">
                  <c:v>41185</c:v>
                </c:pt>
                <c:pt idx="67">
                  <c:v>41186</c:v>
                </c:pt>
                <c:pt idx="68">
                  <c:v>41187</c:v>
                </c:pt>
                <c:pt idx="69">
                  <c:v>41190</c:v>
                </c:pt>
                <c:pt idx="70">
                  <c:v>41191</c:v>
                </c:pt>
                <c:pt idx="71">
                  <c:v>41192</c:v>
                </c:pt>
                <c:pt idx="72">
                  <c:v>41193</c:v>
                </c:pt>
                <c:pt idx="73">
                  <c:v>41194</c:v>
                </c:pt>
                <c:pt idx="74">
                  <c:v>41197</c:v>
                </c:pt>
                <c:pt idx="75">
                  <c:v>41198</c:v>
                </c:pt>
                <c:pt idx="76">
                  <c:v>41199</c:v>
                </c:pt>
                <c:pt idx="77">
                  <c:v>41200</c:v>
                </c:pt>
                <c:pt idx="78">
                  <c:v>41201</c:v>
                </c:pt>
                <c:pt idx="79">
                  <c:v>41204</c:v>
                </c:pt>
                <c:pt idx="80">
                  <c:v>41205</c:v>
                </c:pt>
                <c:pt idx="81">
                  <c:v>41206</c:v>
                </c:pt>
                <c:pt idx="82">
                  <c:v>41207</c:v>
                </c:pt>
                <c:pt idx="83">
                  <c:v>41208</c:v>
                </c:pt>
                <c:pt idx="84">
                  <c:v>41213</c:v>
                </c:pt>
                <c:pt idx="85">
                  <c:v>41214</c:v>
                </c:pt>
                <c:pt idx="86">
                  <c:v>41215</c:v>
                </c:pt>
                <c:pt idx="87">
                  <c:v>41218</c:v>
                </c:pt>
                <c:pt idx="88">
                  <c:v>41219</c:v>
                </c:pt>
                <c:pt idx="89">
                  <c:v>41220</c:v>
                </c:pt>
                <c:pt idx="90">
                  <c:v>41221</c:v>
                </c:pt>
                <c:pt idx="91">
                  <c:v>41222</c:v>
                </c:pt>
                <c:pt idx="92">
                  <c:v>41225</c:v>
                </c:pt>
                <c:pt idx="93">
                  <c:v>41226</c:v>
                </c:pt>
                <c:pt idx="94">
                  <c:v>41227</c:v>
                </c:pt>
                <c:pt idx="95">
                  <c:v>41228</c:v>
                </c:pt>
                <c:pt idx="96">
                  <c:v>41229</c:v>
                </c:pt>
                <c:pt idx="97">
                  <c:v>41232</c:v>
                </c:pt>
                <c:pt idx="98">
                  <c:v>41233</c:v>
                </c:pt>
                <c:pt idx="99">
                  <c:v>41234</c:v>
                </c:pt>
                <c:pt idx="100">
                  <c:v>41236</c:v>
                </c:pt>
                <c:pt idx="101">
                  <c:v>41239</c:v>
                </c:pt>
                <c:pt idx="102">
                  <c:v>41240</c:v>
                </c:pt>
                <c:pt idx="103">
                  <c:v>41241</c:v>
                </c:pt>
                <c:pt idx="104">
                  <c:v>41242</c:v>
                </c:pt>
                <c:pt idx="105">
                  <c:v>41243</c:v>
                </c:pt>
                <c:pt idx="106">
                  <c:v>41246</c:v>
                </c:pt>
                <c:pt idx="107">
                  <c:v>41247</c:v>
                </c:pt>
                <c:pt idx="108">
                  <c:v>41248</c:v>
                </c:pt>
                <c:pt idx="109">
                  <c:v>41249</c:v>
                </c:pt>
                <c:pt idx="110">
                  <c:v>41250</c:v>
                </c:pt>
                <c:pt idx="111">
                  <c:v>41253</c:v>
                </c:pt>
                <c:pt idx="112">
                  <c:v>41254</c:v>
                </c:pt>
                <c:pt idx="113">
                  <c:v>41255</c:v>
                </c:pt>
                <c:pt idx="114">
                  <c:v>41256</c:v>
                </c:pt>
                <c:pt idx="115">
                  <c:v>41257</c:v>
                </c:pt>
                <c:pt idx="116">
                  <c:v>41260</c:v>
                </c:pt>
                <c:pt idx="117">
                  <c:v>41261</c:v>
                </c:pt>
                <c:pt idx="118">
                  <c:v>41262</c:v>
                </c:pt>
                <c:pt idx="119">
                  <c:v>41263</c:v>
                </c:pt>
                <c:pt idx="120">
                  <c:v>41264</c:v>
                </c:pt>
                <c:pt idx="121">
                  <c:v>41267</c:v>
                </c:pt>
                <c:pt idx="122">
                  <c:v>41269</c:v>
                </c:pt>
                <c:pt idx="123">
                  <c:v>41270</c:v>
                </c:pt>
                <c:pt idx="124">
                  <c:v>41271</c:v>
                </c:pt>
                <c:pt idx="125">
                  <c:v>41274</c:v>
                </c:pt>
                <c:pt idx="126">
                  <c:v>41276</c:v>
                </c:pt>
                <c:pt idx="127">
                  <c:v>41277</c:v>
                </c:pt>
                <c:pt idx="128">
                  <c:v>41278</c:v>
                </c:pt>
                <c:pt idx="129">
                  <c:v>41281</c:v>
                </c:pt>
                <c:pt idx="130">
                  <c:v>41282</c:v>
                </c:pt>
                <c:pt idx="131">
                  <c:v>41283</c:v>
                </c:pt>
                <c:pt idx="132">
                  <c:v>41284</c:v>
                </c:pt>
                <c:pt idx="133">
                  <c:v>41285</c:v>
                </c:pt>
                <c:pt idx="134">
                  <c:v>41288</c:v>
                </c:pt>
                <c:pt idx="135">
                  <c:v>41289</c:v>
                </c:pt>
                <c:pt idx="136">
                  <c:v>41290</c:v>
                </c:pt>
                <c:pt idx="137">
                  <c:v>41291</c:v>
                </c:pt>
                <c:pt idx="138">
                  <c:v>41292</c:v>
                </c:pt>
                <c:pt idx="139">
                  <c:v>41296</c:v>
                </c:pt>
                <c:pt idx="140">
                  <c:v>41297</c:v>
                </c:pt>
                <c:pt idx="141">
                  <c:v>41298</c:v>
                </c:pt>
                <c:pt idx="142">
                  <c:v>41299</c:v>
                </c:pt>
                <c:pt idx="143">
                  <c:v>41302</c:v>
                </c:pt>
                <c:pt idx="144">
                  <c:v>41303</c:v>
                </c:pt>
                <c:pt idx="145">
                  <c:v>41304</c:v>
                </c:pt>
                <c:pt idx="146">
                  <c:v>41305</c:v>
                </c:pt>
                <c:pt idx="147">
                  <c:v>41306</c:v>
                </c:pt>
                <c:pt idx="148">
                  <c:v>41309</c:v>
                </c:pt>
                <c:pt idx="149">
                  <c:v>41310</c:v>
                </c:pt>
                <c:pt idx="150">
                  <c:v>41311</c:v>
                </c:pt>
                <c:pt idx="151">
                  <c:v>41312</c:v>
                </c:pt>
                <c:pt idx="152">
                  <c:v>41313</c:v>
                </c:pt>
                <c:pt idx="153">
                  <c:v>41316</c:v>
                </c:pt>
                <c:pt idx="154">
                  <c:v>41317</c:v>
                </c:pt>
                <c:pt idx="155">
                  <c:v>41318</c:v>
                </c:pt>
                <c:pt idx="156">
                  <c:v>41319</c:v>
                </c:pt>
                <c:pt idx="157">
                  <c:v>41320</c:v>
                </c:pt>
                <c:pt idx="158">
                  <c:v>41324</c:v>
                </c:pt>
                <c:pt idx="159">
                  <c:v>41325</c:v>
                </c:pt>
                <c:pt idx="160">
                  <c:v>41326</c:v>
                </c:pt>
                <c:pt idx="161">
                  <c:v>41327</c:v>
                </c:pt>
                <c:pt idx="162">
                  <c:v>41330</c:v>
                </c:pt>
                <c:pt idx="163">
                  <c:v>41331</c:v>
                </c:pt>
                <c:pt idx="164">
                  <c:v>41332</c:v>
                </c:pt>
                <c:pt idx="165">
                  <c:v>41333</c:v>
                </c:pt>
                <c:pt idx="166">
                  <c:v>41334</c:v>
                </c:pt>
                <c:pt idx="167">
                  <c:v>41337</c:v>
                </c:pt>
                <c:pt idx="168">
                  <c:v>41338</c:v>
                </c:pt>
                <c:pt idx="169">
                  <c:v>41339</c:v>
                </c:pt>
                <c:pt idx="170">
                  <c:v>41340</c:v>
                </c:pt>
                <c:pt idx="171">
                  <c:v>41341</c:v>
                </c:pt>
                <c:pt idx="172">
                  <c:v>41344</c:v>
                </c:pt>
                <c:pt idx="173">
                  <c:v>41345</c:v>
                </c:pt>
                <c:pt idx="174">
                  <c:v>41346</c:v>
                </c:pt>
                <c:pt idx="175">
                  <c:v>41347</c:v>
                </c:pt>
                <c:pt idx="176">
                  <c:v>41348</c:v>
                </c:pt>
                <c:pt idx="177">
                  <c:v>41351</c:v>
                </c:pt>
                <c:pt idx="178">
                  <c:v>41352</c:v>
                </c:pt>
                <c:pt idx="179">
                  <c:v>41353</c:v>
                </c:pt>
                <c:pt idx="180">
                  <c:v>41354</c:v>
                </c:pt>
                <c:pt idx="181">
                  <c:v>41355</c:v>
                </c:pt>
                <c:pt idx="182">
                  <c:v>41358</c:v>
                </c:pt>
                <c:pt idx="183">
                  <c:v>41359</c:v>
                </c:pt>
                <c:pt idx="184">
                  <c:v>41360</c:v>
                </c:pt>
                <c:pt idx="185">
                  <c:v>41361</c:v>
                </c:pt>
                <c:pt idx="186">
                  <c:v>41365</c:v>
                </c:pt>
                <c:pt idx="187">
                  <c:v>41366</c:v>
                </c:pt>
                <c:pt idx="188">
                  <c:v>41367</c:v>
                </c:pt>
                <c:pt idx="189">
                  <c:v>41368</c:v>
                </c:pt>
                <c:pt idx="190">
                  <c:v>41369</c:v>
                </c:pt>
                <c:pt idx="191">
                  <c:v>41372</c:v>
                </c:pt>
                <c:pt idx="192">
                  <c:v>41373</c:v>
                </c:pt>
                <c:pt idx="193">
                  <c:v>41374</c:v>
                </c:pt>
                <c:pt idx="194">
                  <c:v>41375</c:v>
                </c:pt>
                <c:pt idx="195">
                  <c:v>41376</c:v>
                </c:pt>
                <c:pt idx="196">
                  <c:v>41379</c:v>
                </c:pt>
                <c:pt idx="197">
                  <c:v>41380</c:v>
                </c:pt>
                <c:pt idx="198">
                  <c:v>41381</c:v>
                </c:pt>
                <c:pt idx="199">
                  <c:v>41382</c:v>
                </c:pt>
                <c:pt idx="200">
                  <c:v>41383</c:v>
                </c:pt>
                <c:pt idx="201">
                  <c:v>41386</c:v>
                </c:pt>
                <c:pt idx="202">
                  <c:v>41387</c:v>
                </c:pt>
                <c:pt idx="203">
                  <c:v>41388</c:v>
                </c:pt>
                <c:pt idx="204">
                  <c:v>41389</c:v>
                </c:pt>
                <c:pt idx="205">
                  <c:v>41390</c:v>
                </c:pt>
                <c:pt idx="206">
                  <c:v>41393</c:v>
                </c:pt>
                <c:pt idx="207">
                  <c:v>41394</c:v>
                </c:pt>
                <c:pt idx="208">
                  <c:v>41395</c:v>
                </c:pt>
                <c:pt idx="209">
                  <c:v>41396</c:v>
                </c:pt>
                <c:pt idx="210">
                  <c:v>41397</c:v>
                </c:pt>
                <c:pt idx="211">
                  <c:v>41400</c:v>
                </c:pt>
                <c:pt idx="212">
                  <c:v>41401</c:v>
                </c:pt>
                <c:pt idx="213">
                  <c:v>41402</c:v>
                </c:pt>
                <c:pt idx="214">
                  <c:v>41403</c:v>
                </c:pt>
                <c:pt idx="215">
                  <c:v>41404</c:v>
                </c:pt>
                <c:pt idx="216">
                  <c:v>41407</c:v>
                </c:pt>
                <c:pt idx="217">
                  <c:v>41408</c:v>
                </c:pt>
                <c:pt idx="218">
                  <c:v>41409</c:v>
                </c:pt>
                <c:pt idx="219">
                  <c:v>41410</c:v>
                </c:pt>
                <c:pt idx="220">
                  <c:v>41411</c:v>
                </c:pt>
                <c:pt idx="221">
                  <c:v>41414</c:v>
                </c:pt>
                <c:pt idx="222">
                  <c:v>41415</c:v>
                </c:pt>
                <c:pt idx="223">
                  <c:v>41416</c:v>
                </c:pt>
                <c:pt idx="224">
                  <c:v>41417</c:v>
                </c:pt>
                <c:pt idx="225">
                  <c:v>41418</c:v>
                </c:pt>
                <c:pt idx="226">
                  <c:v>41422</c:v>
                </c:pt>
                <c:pt idx="227">
                  <c:v>41423</c:v>
                </c:pt>
                <c:pt idx="228">
                  <c:v>41424</c:v>
                </c:pt>
                <c:pt idx="229">
                  <c:v>41425</c:v>
                </c:pt>
              </c:numCache>
            </c:numRef>
          </c:cat>
          <c:val>
            <c:numRef>
              <c:f>Abenomics!$K$2:$K$254</c:f>
              <c:numCache>
                <c:formatCode>General</c:formatCode>
                <c:ptCount val="253"/>
                <c:pt idx="0">
                  <c:v>1.25328988595062E-2</c:v>
                </c:pt>
                <c:pt idx="1">
                  <c:v>1.260398285858331E-2</c:v>
                </c:pt>
                <c:pt idx="2">
                  <c:v>1.2520345561537499E-2</c:v>
                </c:pt>
                <c:pt idx="3">
                  <c:v>1.250781738586617E-2</c:v>
                </c:pt>
                <c:pt idx="4">
                  <c:v>1.257387149503332E-2</c:v>
                </c:pt>
                <c:pt idx="5">
                  <c:v>1.256202499842975E-2</c:v>
                </c:pt>
                <c:pt idx="6">
                  <c:v>1.258336479174531E-2</c:v>
                </c:pt>
                <c:pt idx="7">
                  <c:v>1.255335174491589E-2</c:v>
                </c:pt>
                <c:pt idx="8">
                  <c:v>1.261829652996845E-2</c:v>
                </c:pt>
                <c:pt idx="9">
                  <c:v>1.262466860244919E-2</c:v>
                </c:pt>
                <c:pt idx="10">
                  <c:v>1.27000254000508E-2</c:v>
                </c:pt>
                <c:pt idx="11">
                  <c:v>1.265902905247168E-2</c:v>
                </c:pt>
                <c:pt idx="12">
                  <c:v>1.2678288431061811E-2</c:v>
                </c:pt>
                <c:pt idx="13">
                  <c:v>1.27177921912756E-2</c:v>
                </c:pt>
                <c:pt idx="14">
                  <c:v>1.272831413479285E-2</c:v>
                </c:pt>
                <c:pt idx="15">
                  <c:v>1.275510204081633E-2</c:v>
                </c:pt>
                <c:pt idx="16">
                  <c:v>1.278445410380977E-2</c:v>
                </c:pt>
                <c:pt idx="17">
                  <c:v>1.278445410380977E-2</c:v>
                </c:pt>
                <c:pt idx="18">
                  <c:v>1.278118609406953E-2</c:v>
                </c:pt>
                <c:pt idx="19">
                  <c:v>1.27177921912756E-2</c:v>
                </c:pt>
                <c:pt idx="20">
                  <c:v>1.278935925310142E-2</c:v>
                </c:pt>
                <c:pt idx="21">
                  <c:v>1.2804097311139569E-2</c:v>
                </c:pt>
                <c:pt idx="22">
                  <c:v>1.278118609406953E-2</c:v>
                </c:pt>
                <c:pt idx="23">
                  <c:v>1.2785271367384769E-2</c:v>
                </c:pt>
                <c:pt idx="24">
                  <c:v>1.2723455690565559E-2</c:v>
                </c:pt>
                <c:pt idx="25">
                  <c:v>1.278118609406953E-2</c:v>
                </c:pt>
                <c:pt idx="26">
                  <c:v>1.271294177472667E-2</c:v>
                </c:pt>
                <c:pt idx="27">
                  <c:v>1.2761613067891781E-2</c:v>
                </c:pt>
                <c:pt idx="28">
                  <c:v>1.271051795360661E-2</c:v>
                </c:pt>
                <c:pt idx="29">
                  <c:v>1.278935925310142E-2</c:v>
                </c:pt>
                <c:pt idx="30">
                  <c:v>1.2768130745658839E-2</c:v>
                </c:pt>
                <c:pt idx="31">
                  <c:v>1.269196598553116E-2</c:v>
                </c:pt>
                <c:pt idx="32">
                  <c:v>1.2680699974638601E-2</c:v>
                </c:pt>
                <c:pt idx="33">
                  <c:v>1.2615908660821301E-2</c:v>
                </c:pt>
                <c:pt idx="34">
                  <c:v>1.2575452716297789E-2</c:v>
                </c:pt>
                <c:pt idx="35">
                  <c:v>1.25992188484314E-2</c:v>
                </c:pt>
                <c:pt idx="36">
                  <c:v>1.25992188484314E-2</c:v>
                </c:pt>
                <c:pt idx="37">
                  <c:v>1.261829652996845E-2</c:v>
                </c:pt>
                <c:pt idx="38">
                  <c:v>1.2758356723654E-2</c:v>
                </c:pt>
                <c:pt idx="39">
                  <c:v>1.2714558169103621E-2</c:v>
                </c:pt>
                <c:pt idx="40">
                  <c:v>1.271213373164686E-2</c:v>
                </c:pt>
                <c:pt idx="41">
                  <c:v>1.2738853503184711E-2</c:v>
                </c:pt>
                <c:pt idx="42">
                  <c:v>1.27000254000508E-2</c:v>
                </c:pt>
                <c:pt idx="43">
                  <c:v>1.273074474856779E-2</c:v>
                </c:pt>
                <c:pt idx="44">
                  <c:v>1.277139208173691E-2</c:v>
                </c:pt>
                <c:pt idx="45">
                  <c:v>1.275672917463962E-2</c:v>
                </c:pt>
                <c:pt idx="46">
                  <c:v>1.276894592351401E-2</c:v>
                </c:pt>
                <c:pt idx="47">
                  <c:v>1.2663036596175761E-2</c:v>
                </c:pt>
                <c:pt idx="48">
                  <c:v>1.2810658467845249E-2</c:v>
                </c:pt>
                <c:pt idx="49">
                  <c:v>1.2773023374632771E-2</c:v>
                </c:pt>
                <c:pt idx="50">
                  <c:v>1.2853470437018E-2</c:v>
                </c:pt>
                <c:pt idx="51">
                  <c:v>1.284191601386927E-2</c:v>
                </c:pt>
                <c:pt idx="52">
                  <c:v>1.291322314049587E-2</c:v>
                </c:pt>
                <c:pt idx="53">
                  <c:v>1.276731567187999E-2</c:v>
                </c:pt>
                <c:pt idx="54">
                  <c:v>1.2687940112922669E-2</c:v>
                </c:pt>
                <c:pt idx="55">
                  <c:v>1.272102785905101E-2</c:v>
                </c:pt>
                <c:pt idx="56">
                  <c:v>1.27762872109365E-2</c:v>
                </c:pt>
                <c:pt idx="57">
                  <c:v>1.2780369352674291E-2</c:v>
                </c:pt>
                <c:pt idx="58">
                  <c:v>1.2794268167860799E-2</c:v>
                </c:pt>
                <c:pt idx="59">
                  <c:v>1.2841091492776889E-2</c:v>
                </c:pt>
                <c:pt idx="60">
                  <c:v>1.284026707755522E-2</c:v>
                </c:pt>
                <c:pt idx="61">
                  <c:v>1.285677552069941E-2</c:v>
                </c:pt>
                <c:pt idx="62">
                  <c:v>1.2870841109466499E-2</c:v>
                </c:pt>
                <c:pt idx="63">
                  <c:v>1.2853470437018E-2</c:v>
                </c:pt>
                <c:pt idx="64">
                  <c:v>1.2810658467845249E-2</c:v>
                </c:pt>
                <c:pt idx="65">
                  <c:v>1.2813941568426451E-2</c:v>
                </c:pt>
                <c:pt idx="66">
                  <c:v>1.2733987011333251E-2</c:v>
                </c:pt>
                <c:pt idx="67">
                  <c:v>1.2746972594008921E-2</c:v>
                </c:pt>
                <c:pt idx="68">
                  <c:v>1.2707287629455491E-2</c:v>
                </c:pt>
                <c:pt idx="69">
                  <c:v>1.2794268167860799E-2</c:v>
                </c:pt>
                <c:pt idx="70">
                  <c:v>1.2790177143953439E-2</c:v>
                </c:pt>
                <c:pt idx="71">
                  <c:v>1.2768130745658839E-2</c:v>
                </c:pt>
                <c:pt idx="72">
                  <c:v>1.2737230925996689E-2</c:v>
                </c:pt>
                <c:pt idx="73">
                  <c:v>1.2762427413694081E-2</c:v>
                </c:pt>
                <c:pt idx="74">
                  <c:v>1.269680040629761E-2</c:v>
                </c:pt>
                <c:pt idx="75">
                  <c:v>1.2674271229404311E-2</c:v>
                </c:pt>
                <c:pt idx="76">
                  <c:v>1.270163851136797E-2</c:v>
                </c:pt>
                <c:pt idx="77">
                  <c:v>1.261988894497729E-2</c:v>
                </c:pt>
                <c:pt idx="78">
                  <c:v>1.2597631645250689E-2</c:v>
                </c:pt>
                <c:pt idx="79">
                  <c:v>1.2528188423953901E-2</c:v>
                </c:pt>
                <c:pt idx="80">
                  <c:v>1.2534469791927801E-2</c:v>
                </c:pt>
                <c:pt idx="81">
                  <c:v>1.252740369558409E-2</c:v>
                </c:pt>
                <c:pt idx="82">
                  <c:v>1.2474271814382831E-2</c:v>
                </c:pt>
                <c:pt idx="83">
                  <c:v>1.256913021618904E-2</c:v>
                </c:pt>
                <c:pt idx="84">
                  <c:v>1.251094707869386E-2</c:v>
                </c:pt>
                <c:pt idx="85">
                  <c:v>1.247816321437485E-2</c:v>
                </c:pt>
                <c:pt idx="86">
                  <c:v>1.241773252204148E-2</c:v>
                </c:pt>
                <c:pt idx="87">
                  <c:v>1.247271593389461E-2</c:v>
                </c:pt>
                <c:pt idx="88">
                  <c:v>1.2454851164528579E-2</c:v>
                </c:pt>
                <c:pt idx="89">
                  <c:v>1.2520345561537499E-2</c:v>
                </c:pt>
                <c:pt idx="90">
                  <c:v>1.252661906551422E-2</c:v>
                </c:pt>
                <c:pt idx="91">
                  <c:v>1.258653241032096E-2</c:v>
                </c:pt>
                <c:pt idx="92">
                  <c:v>1.259128682951398E-2</c:v>
                </c:pt>
                <c:pt idx="93">
                  <c:v>1.2588116817724071E-2</c:v>
                </c:pt>
                <c:pt idx="94">
                  <c:v>1.246571927200199E-2</c:v>
                </c:pt>
                <c:pt idx="95">
                  <c:v>1.23304562268804E-2</c:v>
                </c:pt>
                <c:pt idx="96">
                  <c:v>1.230466346745417E-2</c:v>
                </c:pt>
                <c:pt idx="97">
                  <c:v>1.232513711715043E-2</c:v>
                </c:pt>
                <c:pt idx="98">
                  <c:v>1.223391240518718E-2</c:v>
                </c:pt>
                <c:pt idx="99">
                  <c:v>1.21381319414942E-2</c:v>
                </c:pt>
                <c:pt idx="100">
                  <c:v>1.214034235765449E-2</c:v>
                </c:pt>
                <c:pt idx="101">
                  <c:v>1.217730150998539E-2</c:v>
                </c:pt>
                <c:pt idx="102">
                  <c:v>1.2161751292186079E-2</c:v>
                </c:pt>
                <c:pt idx="103">
                  <c:v>1.222120378857317E-2</c:v>
                </c:pt>
                <c:pt idx="104">
                  <c:v>1.2172113687541839E-2</c:v>
                </c:pt>
                <c:pt idx="105">
                  <c:v>1.2125621438098699E-2</c:v>
                </c:pt>
                <c:pt idx="106">
                  <c:v>1.215288327155618E-2</c:v>
                </c:pt>
                <c:pt idx="107">
                  <c:v>1.222269754934914E-2</c:v>
                </c:pt>
                <c:pt idx="108">
                  <c:v>1.215288327155618E-2</c:v>
                </c:pt>
                <c:pt idx="109">
                  <c:v>1.214329083181542E-2</c:v>
                </c:pt>
                <c:pt idx="110">
                  <c:v>1.214034235765449E-2</c:v>
                </c:pt>
                <c:pt idx="111">
                  <c:v>1.2144765606023801E-2</c:v>
                </c:pt>
                <c:pt idx="112">
                  <c:v>1.213739531496541E-2</c:v>
                </c:pt>
                <c:pt idx="113">
                  <c:v>1.2058362474375981E-2</c:v>
                </c:pt>
                <c:pt idx="114">
                  <c:v>1.1960291831120681E-2</c:v>
                </c:pt>
                <c:pt idx="115">
                  <c:v>1.1976047904191619E-2</c:v>
                </c:pt>
                <c:pt idx="116">
                  <c:v>1.19388729703916E-2</c:v>
                </c:pt>
                <c:pt idx="117">
                  <c:v>1.190688813478597E-2</c:v>
                </c:pt>
                <c:pt idx="118">
                  <c:v>1.1868027533823881E-2</c:v>
                </c:pt>
                <c:pt idx="119">
                  <c:v>1.184974523047755E-2</c:v>
                </c:pt>
                <c:pt idx="120">
                  <c:v>1.1887779362815031E-2</c:v>
                </c:pt>
                <c:pt idx="121">
                  <c:v>1.179314818090689E-2</c:v>
                </c:pt>
                <c:pt idx="122">
                  <c:v>1.167269756040621E-2</c:v>
                </c:pt>
                <c:pt idx="123">
                  <c:v>1.1638056444573761E-2</c:v>
                </c:pt>
                <c:pt idx="124">
                  <c:v>1.161507636912713E-2</c:v>
                </c:pt>
                <c:pt idx="125">
                  <c:v>1.156537327242237E-2</c:v>
                </c:pt>
                <c:pt idx="126">
                  <c:v>1.1471836641046229E-2</c:v>
                </c:pt>
                <c:pt idx="127">
                  <c:v>1.151543067710732E-2</c:v>
                </c:pt>
                <c:pt idx="128">
                  <c:v>1.135847342117219E-2</c:v>
                </c:pt>
                <c:pt idx="129">
                  <c:v>1.1398609369656899E-2</c:v>
                </c:pt>
                <c:pt idx="130">
                  <c:v>1.147710317915758E-2</c:v>
                </c:pt>
                <c:pt idx="131">
                  <c:v>1.13836871762764E-2</c:v>
                </c:pt>
                <c:pt idx="132">
                  <c:v>1.133786848072562E-2</c:v>
                </c:pt>
                <c:pt idx="133">
                  <c:v>1.1225864391558151E-2</c:v>
                </c:pt>
                <c:pt idx="134">
                  <c:v>1.120448179271709E-2</c:v>
                </c:pt>
                <c:pt idx="135">
                  <c:v>1.128031584884377E-2</c:v>
                </c:pt>
                <c:pt idx="136">
                  <c:v>1.130007345047743E-2</c:v>
                </c:pt>
                <c:pt idx="137">
                  <c:v>1.1184431271669839E-2</c:v>
                </c:pt>
                <c:pt idx="138">
                  <c:v>1.111728738187882E-2</c:v>
                </c:pt>
                <c:pt idx="139">
                  <c:v>1.12943302462164E-2</c:v>
                </c:pt>
                <c:pt idx="140">
                  <c:v>1.12943302462164E-2</c:v>
                </c:pt>
                <c:pt idx="141">
                  <c:v>1.111111111111111E-2</c:v>
                </c:pt>
                <c:pt idx="142">
                  <c:v>1.0991426687183999E-2</c:v>
                </c:pt>
                <c:pt idx="143">
                  <c:v>1.103326529486401E-2</c:v>
                </c:pt>
                <c:pt idx="144">
                  <c:v>1.1031439602868171E-2</c:v>
                </c:pt>
                <c:pt idx="145">
                  <c:v>1.098116729808379E-2</c:v>
                </c:pt>
                <c:pt idx="146">
                  <c:v>1.0957703265395569E-2</c:v>
                </c:pt>
                <c:pt idx="147">
                  <c:v>1.079796998164345E-2</c:v>
                </c:pt>
                <c:pt idx="148">
                  <c:v>1.078806839635363E-2</c:v>
                </c:pt>
                <c:pt idx="149">
                  <c:v>1.070721130681514E-2</c:v>
                </c:pt>
                <c:pt idx="150">
                  <c:v>1.0690042225666789E-2</c:v>
                </c:pt>
                <c:pt idx="151">
                  <c:v>1.0728462611307801E-2</c:v>
                </c:pt>
                <c:pt idx="152">
                  <c:v>1.0783415107564569E-2</c:v>
                </c:pt>
                <c:pt idx="153">
                  <c:v>1.0703200256876809E-2</c:v>
                </c:pt>
                <c:pt idx="154">
                  <c:v>1.0746332813927249E-2</c:v>
                </c:pt>
                <c:pt idx="155">
                  <c:v>1.0699764605178691E-2</c:v>
                </c:pt>
                <c:pt idx="156">
                  <c:v>1.0745755426606491E-2</c:v>
                </c:pt>
                <c:pt idx="157">
                  <c:v>1.065984436627225E-2</c:v>
                </c:pt>
                <c:pt idx="158">
                  <c:v>1.0692899914456801E-2</c:v>
                </c:pt>
                <c:pt idx="159">
                  <c:v>1.0673497705197991E-2</c:v>
                </c:pt>
                <c:pt idx="160">
                  <c:v>1.07654214662504E-2</c:v>
                </c:pt>
                <c:pt idx="161">
                  <c:v>1.072731173567904E-2</c:v>
                </c:pt>
                <c:pt idx="162">
                  <c:v>1.066098081023454E-2</c:v>
                </c:pt>
                <c:pt idx="163">
                  <c:v>1.0905720050166309E-2</c:v>
                </c:pt>
                <c:pt idx="164">
                  <c:v>1.091643469242945E-2</c:v>
                </c:pt>
                <c:pt idx="165">
                  <c:v>1.083893344894862E-2</c:v>
                </c:pt>
                <c:pt idx="166">
                  <c:v>1.0701482155278511E-2</c:v>
                </c:pt>
                <c:pt idx="167">
                  <c:v>1.072156105929023E-2</c:v>
                </c:pt>
                <c:pt idx="168">
                  <c:v>1.071237279057311E-2</c:v>
                </c:pt>
                <c:pt idx="169">
                  <c:v>1.0692899914456801E-2</c:v>
                </c:pt>
                <c:pt idx="170">
                  <c:v>1.0563566259969371E-2</c:v>
                </c:pt>
                <c:pt idx="171">
                  <c:v>1.039663149139679E-2</c:v>
                </c:pt>
                <c:pt idx="172">
                  <c:v>1.0403662089055349E-2</c:v>
                </c:pt>
                <c:pt idx="173">
                  <c:v>1.041775184915095E-2</c:v>
                </c:pt>
                <c:pt idx="174">
                  <c:v>1.0415581710238519E-2</c:v>
                </c:pt>
                <c:pt idx="175">
                  <c:v>1.0403662089055349E-2</c:v>
                </c:pt>
                <c:pt idx="176">
                  <c:v>1.0515247108307049E-2</c:v>
                </c:pt>
                <c:pt idx="177">
                  <c:v>1.0537963011749829E-2</c:v>
                </c:pt>
                <c:pt idx="178">
                  <c:v>1.054296257248287E-2</c:v>
                </c:pt>
                <c:pt idx="179">
                  <c:v>1.0470655986597559E-2</c:v>
                </c:pt>
                <c:pt idx="180">
                  <c:v>1.0520225132817839E-2</c:v>
                </c:pt>
                <c:pt idx="181">
                  <c:v>1.058313048999894E-2</c:v>
                </c:pt>
                <c:pt idx="182">
                  <c:v>1.05999576001696E-2</c:v>
                </c:pt>
                <c:pt idx="183">
                  <c:v>1.061345786457228E-2</c:v>
                </c:pt>
                <c:pt idx="184">
                  <c:v>1.059658789869662E-2</c:v>
                </c:pt>
                <c:pt idx="185">
                  <c:v>1.0636034886194429E-2</c:v>
                </c:pt>
                <c:pt idx="186">
                  <c:v>1.072271070126528E-2</c:v>
                </c:pt>
                <c:pt idx="187">
                  <c:v>1.069861987803573E-2</c:v>
                </c:pt>
                <c:pt idx="188">
                  <c:v>1.076889941847943E-2</c:v>
                </c:pt>
                <c:pt idx="189">
                  <c:v>1.037667323855972E-2</c:v>
                </c:pt>
                <c:pt idx="190">
                  <c:v>1.029124215292786E-2</c:v>
                </c:pt>
                <c:pt idx="191">
                  <c:v>1.0112757243262381E-2</c:v>
                </c:pt>
                <c:pt idx="192">
                  <c:v>1.0100499974748749E-2</c:v>
                </c:pt>
                <c:pt idx="193">
                  <c:v>1.0049746243907341E-2</c:v>
                </c:pt>
                <c:pt idx="194">
                  <c:v>1.004520341536916E-2</c:v>
                </c:pt>
                <c:pt idx="195">
                  <c:v>1.01276078590237E-2</c:v>
                </c:pt>
                <c:pt idx="196">
                  <c:v>1.02082482645978E-2</c:v>
                </c:pt>
                <c:pt idx="197">
                  <c:v>1.0231749117511639E-2</c:v>
                </c:pt>
                <c:pt idx="198">
                  <c:v>1.024747655889737E-2</c:v>
                </c:pt>
                <c:pt idx="199">
                  <c:v>1.0180707559175359E-2</c:v>
                </c:pt>
                <c:pt idx="200">
                  <c:v>1.007658202337767E-2</c:v>
                </c:pt>
                <c:pt idx="201">
                  <c:v>1.007150770470339E-2</c:v>
                </c:pt>
                <c:pt idx="202">
                  <c:v>1.006441223832528E-2</c:v>
                </c:pt>
                <c:pt idx="203">
                  <c:v>1.0062893081761009E-2</c:v>
                </c:pt>
                <c:pt idx="204">
                  <c:v>1.005126143330988E-2</c:v>
                </c:pt>
                <c:pt idx="205">
                  <c:v>1.0237510237510241E-2</c:v>
                </c:pt>
                <c:pt idx="206">
                  <c:v>1.0188487009679059E-2</c:v>
                </c:pt>
                <c:pt idx="207">
                  <c:v>1.026588645929576E-2</c:v>
                </c:pt>
                <c:pt idx="208">
                  <c:v>1.027274128101084E-2</c:v>
                </c:pt>
                <c:pt idx="209">
                  <c:v>1.020199959192002E-2</c:v>
                </c:pt>
                <c:pt idx="210">
                  <c:v>1.0107135637760259E-2</c:v>
                </c:pt>
                <c:pt idx="211">
                  <c:v>1.0069479407914609E-2</c:v>
                </c:pt>
                <c:pt idx="212">
                  <c:v>1.009336361342417E-2</c:v>
                </c:pt>
                <c:pt idx="213">
                  <c:v>1.011940902651285E-2</c:v>
                </c:pt>
                <c:pt idx="214">
                  <c:v>1.0069986405518349E-2</c:v>
                </c:pt>
                <c:pt idx="215">
                  <c:v>9.8251129887993709E-3</c:v>
                </c:pt>
                <c:pt idx="216">
                  <c:v>9.8284928006290226E-3</c:v>
                </c:pt>
                <c:pt idx="217">
                  <c:v>9.8005586318420154E-3</c:v>
                </c:pt>
                <c:pt idx="218">
                  <c:v>9.7632413961435197E-3</c:v>
                </c:pt>
                <c:pt idx="219">
                  <c:v>9.8077677520596318E-3</c:v>
                </c:pt>
                <c:pt idx="220">
                  <c:v>9.7110949259529011E-3</c:v>
                </c:pt>
                <c:pt idx="221">
                  <c:v>9.7594300492851206E-3</c:v>
                </c:pt>
                <c:pt idx="222">
                  <c:v>9.7518162757813647E-3</c:v>
                </c:pt>
                <c:pt idx="223">
                  <c:v>9.6613690159895668E-3</c:v>
                </c:pt>
                <c:pt idx="224">
                  <c:v>9.8585300931631099E-3</c:v>
                </c:pt>
                <c:pt idx="225">
                  <c:v>9.8828877798092605E-3</c:v>
                </c:pt>
                <c:pt idx="226">
                  <c:v>9.7703957010258913E-3</c:v>
                </c:pt>
                <c:pt idx="227">
                  <c:v>9.9093296338502689E-3</c:v>
                </c:pt>
                <c:pt idx="228">
                  <c:v>9.908347783007183E-3</c:v>
                </c:pt>
                <c:pt idx="229">
                  <c:v>9.9034414459024511E-3</c:v>
                </c:pt>
              </c:numCache>
            </c:numRef>
          </c:val>
          <c:smooth val="0"/>
          <c:extLst xmlns:c16r2="http://schemas.microsoft.com/office/drawing/2015/06/chart">
            <c:ext xmlns:c16="http://schemas.microsoft.com/office/drawing/2014/chart" uri="{C3380CC4-5D6E-409C-BE32-E72D297353CC}">
              <c16:uniqueId val="{00000002-9E0E-4D56-8F8C-27131B1FF130}"/>
            </c:ext>
          </c:extLst>
        </c:ser>
        <c:dLbls>
          <c:showLegendKey val="0"/>
          <c:showVal val="0"/>
          <c:showCatName val="0"/>
          <c:showSerName val="0"/>
          <c:showPercent val="0"/>
          <c:showBubbleSize val="0"/>
        </c:dLbls>
        <c:marker val="1"/>
        <c:smooth val="0"/>
        <c:axId val="258980096"/>
        <c:axId val="258978560"/>
      </c:lineChart>
      <c:dateAx>
        <c:axId val="258971136"/>
        <c:scaling>
          <c:orientation val="minMax"/>
        </c:scaling>
        <c:delete val="0"/>
        <c:axPos val="b"/>
        <c:numFmt formatCode="m/d/yyyy" sourceLinked="1"/>
        <c:majorTickMark val="out"/>
        <c:minorTickMark val="none"/>
        <c:tickLblPos val="nextTo"/>
        <c:spPr>
          <a:ln w="3175">
            <a:solidFill>
              <a:schemeClr val="tx1"/>
            </a:solidFill>
            <a:prstDash val="solid"/>
          </a:ln>
        </c:spPr>
        <c:txPr>
          <a:bodyPr rot="0" vert="horz"/>
          <a:lstStyle/>
          <a:p>
            <a:pPr>
              <a:defRPr lang="ja-JP" b="1">
                <a:solidFill>
                  <a:schemeClr val="tx1"/>
                </a:solidFill>
              </a:defRPr>
            </a:pPr>
            <a:endParaRPr lang="en-US"/>
          </a:p>
        </c:txPr>
        <c:crossAx val="258972672"/>
        <c:crosses val="autoZero"/>
        <c:auto val="1"/>
        <c:lblOffset val="100"/>
        <c:baseTimeUnit val="days"/>
      </c:dateAx>
      <c:valAx>
        <c:axId val="258972672"/>
        <c:scaling>
          <c:orientation val="minMax"/>
          <c:max val="180"/>
          <c:min val="20"/>
        </c:scaling>
        <c:delete val="0"/>
        <c:axPos val="l"/>
        <c:majorGridlines>
          <c:spPr>
            <a:ln w="3175">
              <a:solidFill>
                <a:srgbClr val="F0EDE8"/>
              </a:solidFill>
              <a:prstDash val="solid"/>
            </a:ln>
          </c:spPr>
        </c:majorGridlines>
        <c:numFmt formatCode="#,##0" sourceLinked="0"/>
        <c:majorTickMark val="out"/>
        <c:minorTickMark val="none"/>
        <c:tickLblPos val="low"/>
        <c:spPr>
          <a:ln w="3175">
            <a:solidFill>
              <a:schemeClr val="tx1"/>
            </a:solidFill>
            <a:prstDash val="solid"/>
          </a:ln>
        </c:spPr>
        <c:txPr>
          <a:bodyPr rot="0" vert="horz"/>
          <a:lstStyle/>
          <a:p>
            <a:pPr>
              <a:defRPr lang="ja-JP" b="1">
                <a:solidFill>
                  <a:schemeClr val="tx1"/>
                </a:solidFill>
              </a:defRPr>
            </a:pPr>
            <a:endParaRPr lang="en-US"/>
          </a:p>
        </c:txPr>
        <c:crossAx val="258971136"/>
        <c:crosses val="autoZero"/>
        <c:crossBetween val="midCat"/>
        <c:majorUnit val="40"/>
      </c:valAx>
      <c:valAx>
        <c:axId val="258978560"/>
        <c:scaling>
          <c:orientation val="minMax"/>
          <c:max val="1.6000000000000004E-2"/>
          <c:min val="9.0000000000000028E-3"/>
        </c:scaling>
        <c:delete val="0"/>
        <c:axPos val="r"/>
        <c:numFmt formatCode="#,##0.000" sourceLinked="0"/>
        <c:majorTickMark val="none"/>
        <c:minorTickMark val="none"/>
        <c:tickLblPos val="nextTo"/>
        <c:spPr>
          <a:ln>
            <a:solidFill>
              <a:schemeClr val="tx1"/>
            </a:solidFill>
          </a:ln>
        </c:spPr>
        <c:txPr>
          <a:bodyPr/>
          <a:lstStyle/>
          <a:p>
            <a:pPr>
              <a:defRPr lang="ja-JP" b="1">
                <a:solidFill>
                  <a:schemeClr val="tx1"/>
                </a:solidFill>
              </a:defRPr>
            </a:pPr>
            <a:endParaRPr lang="en-US"/>
          </a:p>
        </c:txPr>
        <c:crossAx val="258980096"/>
        <c:crosses val="max"/>
        <c:crossBetween val="between"/>
        <c:majorUnit val="1.0000000000000002E-3"/>
        <c:minorUnit val="4.0000000000000013E-4"/>
      </c:valAx>
      <c:dateAx>
        <c:axId val="258980096"/>
        <c:scaling>
          <c:orientation val="minMax"/>
        </c:scaling>
        <c:delete val="1"/>
        <c:axPos val="b"/>
        <c:numFmt formatCode="m/d/yyyy" sourceLinked="1"/>
        <c:majorTickMark val="out"/>
        <c:minorTickMark val="none"/>
        <c:tickLblPos val="nextTo"/>
        <c:crossAx val="258978560"/>
        <c:crosses val="autoZero"/>
        <c:auto val="1"/>
        <c:lblOffset val="100"/>
        <c:baseTimeUnit val="days"/>
      </c:dateAx>
      <c:spPr>
        <a:noFill/>
        <a:ln w="25400">
          <a:noFill/>
        </a:ln>
      </c:spPr>
    </c:plotArea>
    <c:legend>
      <c:legendPos val="b"/>
      <c:layout>
        <c:manualLayout>
          <c:xMode val="edge"/>
          <c:yMode val="edge"/>
          <c:x val="0"/>
          <c:y val="0.91461880137894458"/>
          <c:w val="1"/>
          <c:h val="8.4209758684699015E-2"/>
        </c:manualLayout>
      </c:layout>
      <c:overlay val="0"/>
      <c:spPr>
        <a:noFill/>
        <a:ln w="25400">
          <a:noFill/>
        </a:ln>
      </c:spPr>
      <c:txPr>
        <a:bodyPr/>
        <a:lstStyle/>
        <a:p>
          <a:pPr>
            <a:defRPr lang="ja-JP">
              <a:solidFill>
                <a:schemeClr val="tx1"/>
              </a:solidFill>
            </a:defRPr>
          </a:pPr>
          <a:endParaRPr lang="en-US"/>
        </a:p>
      </c:txPr>
    </c:legend>
    <c:plotVisOnly val="1"/>
    <c:dispBlanksAs val="span"/>
    <c:showDLblsOverMax val="0"/>
  </c:chart>
  <c:spPr>
    <a:solidFill>
      <a:sysClr val="window" lastClr="FFFFFF"/>
    </a:solidFill>
    <a:ln w="9525">
      <a:noFill/>
    </a:ln>
  </c:spPr>
  <c:txPr>
    <a:bodyPr/>
    <a:lstStyle/>
    <a:p>
      <a:pPr>
        <a:defRPr sz="800" b="0" i="0" u="none" strike="noStrike" baseline="0">
          <a:solidFill>
            <a:srgbClr val="000000"/>
          </a:solidFill>
          <a:latin typeface="Arial"/>
          <a:ea typeface="Arial"/>
          <a:cs typeface="Arial"/>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xMode val="edge"/>
          <c:yMode val="edge"/>
          <c:x val="1.2678288431061807E-2"/>
          <c:y val="2.0600504712365453E-2"/>
          <c:w val="0.98732171156893822"/>
          <c:h val="0.7982695576041613"/>
        </c:manualLayout>
      </c:layout>
      <c:barChart>
        <c:barDir val="col"/>
        <c:grouping val="clustered"/>
        <c:varyColors val="0"/>
        <c:ser>
          <c:idx val="0"/>
          <c:order val="0"/>
          <c:tx>
            <c:strRef>
              <c:f>'Amundi Fds Europe MinVar BRUT'!$T$105</c:f>
              <c:strCache>
                <c:ptCount val="1"/>
                <c:pt idx="0">
                  <c:v>Amundi Fds Europe Conservative</c:v>
                </c:pt>
              </c:strCache>
            </c:strRef>
          </c:tx>
          <c:spPr>
            <a:solidFill>
              <a:srgbClr val="003C64"/>
            </a:solidFill>
            <a:ln>
              <a:noFill/>
              <a:round/>
            </a:ln>
            <a:effectLst/>
            <a:extLst>
              <a:ext uri="{91240B29-F687-4F45-9708-019B960494DF}">
                <a14:hiddenLine xmlns:a14="http://schemas.microsoft.com/office/drawing/2010/main">
                  <a:noFill/>
                  <a:round/>
                </a14:hiddenLine>
              </a:ext>
            </a:extLst>
          </c:spPr>
          <c:invertIfNegative val="0"/>
          <c:dLbls>
            <c:dLbl>
              <c:idx val="0"/>
              <c:layout>
                <c:manualLayout>
                  <c:x val="-2.2187004754358162E-2"/>
                  <c:y val="2.0600504712365453E-2"/>
                </c:manualLayout>
              </c:layout>
              <c:tx>
                <c:rich>
                  <a:bodyPr/>
                  <a:lstStyle/>
                  <a:p>
                    <a:r>
                      <a:rPr lang="en-US" sz="700" dirty="0" smtClean="0"/>
                      <a:t>19.9%</a:t>
                    </a:r>
                    <a:endParaRPr lang="en-US" dirty="0"/>
                  </a:p>
                </c:rich>
              </c:tx>
              <c:showLegendKey val="0"/>
              <c:showVal val="1"/>
              <c:showCatName val="0"/>
              <c:showSerName val="0"/>
              <c:showPercent val="0"/>
              <c:showBubbleSize val="0"/>
            </c:dLbl>
            <c:dLbl>
              <c:idx val="1"/>
              <c:layout>
                <c:manualLayout>
                  <c:x val="-2.4957260691066551E-7"/>
                  <c:y val="2.0600504712365453E-2"/>
                </c:manualLayout>
              </c:layout>
              <c:tx>
                <c:rich>
                  <a:bodyPr/>
                  <a:lstStyle/>
                  <a:p>
                    <a:r>
                      <a:rPr lang="en-US" sz="700" smtClean="0"/>
                      <a:t>15.3</a:t>
                    </a:r>
                    <a:r>
                      <a:rPr lang="en-US" sz="700"/>
                      <a:t>%</a:t>
                    </a:r>
                    <a:endParaRPr lang="en-US"/>
                  </a:p>
                </c:rich>
              </c:tx>
              <c:showLegendKey val="0"/>
              <c:showVal val="1"/>
              <c:showCatName val="0"/>
              <c:showSerName val="0"/>
              <c:showPercent val="0"/>
              <c:showBubbleSize val="0"/>
            </c:dLbl>
            <c:dLbl>
              <c:idx val="2"/>
              <c:layout>
                <c:manualLayout>
                  <c:x val="0"/>
                  <c:y val="1.5450378534274089E-2"/>
                </c:manualLayout>
              </c:layout>
              <c:tx>
                <c:rich>
                  <a:bodyPr/>
                  <a:lstStyle/>
                  <a:p>
                    <a:r>
                      <a:rPr lang="en-US" sz="700" smtClean="0"/>
                      <a:t>1.6</a:t>
                    </a:r>
                    <a:r>
                      <a:rPr lang="en-US" sz="700"/>
                      <a:t>%</a:t>
                    </a:r>
                    <a:endParaRPr lang="en-US"/>
                  </a:p>
                </c:rich>
              </c:tx>
              <c:showLegendKey val="0"/>
              <c:showVal val="1"/>
              <c:showCatName val="0"/>
              <c:showSerName val="0"/>
              <c:showPercent val="0"/>
              <c:showBubbleSize val="0"/>
            </c:dLbl>
            <c:dLbl>
              <c:idx val="3"/>
              <c:layout>
                <c:manualLayout>
                  <c:x val="-4.1204437400950873E-2"/>
                  <c:y val="2.0600504712365453E-2"/>
                </c:manualLayout>
              </c:layout>
              <c:tx>
                <c:rich>
                  <a:bodyPr/>
                  <a:lstStyle/>
                  <a:p>
                    <a:r>
                      <a:rPr lang="en-US" sz="700" dirty="0" smtClean="0"/>
                      <a:t>16,9</a:t>
                    </a:r>
                    <a:r>
                      <a:rPr lang="en-US" sz="700" dirty="0"/>
                      <a:t>%</a:t>
                    </a:r>
                    <a:endParaRPr lang="en-US" dirty="0"/>
                  </a:p>
                </c:rich>
              </c:tx>
              <c:showLegendKey val="0"/>
              <c:showVal val="1"/>
              <c:showCatName val="0"/>
              <c:showSerName val="0"/>
              <c:showPercent val="0"/>
              <c:showBubbleSize val="0"/>
            </c:dLbl>
            <c:dLbl>
              <c:idx val="4"/>
              <c:layout>
                <c:manualLayout>
                  <c:x val="-2.2187004754358162E-2"/>
                  <c:y val="3.0900757068548178E-2"/>
                </c:manualLayout>
              </c:layout>
              <c:tx>
                <c:rich>
                  <a:bodyPr/>
                  <a:lstStyle/>
                  <a:p>
                    <a:r>
                      <a:rPr lang="en-US" sz="700" dirty="0" smtClean="0"/>
                      <a:t>18.0%</a:t>
                    </a:r>
                    <a:endParaRPr lang="en-US" dirty="0"/>
                  </a:p>
                </c:rich>
              </c:tx>
              <c:showLegendKey val="0"/>
              <c:showVal val="1"/>
              <c:showCatName val="0"/>
              <c:showSerName val="0"/>
              <c:showPercent val="0"/>
              <c:showBubbleSize val="0"/>
            </c:dLbl>
            <c:dLbl>
              <c:idx val="5"/>
              <c:layout>
                <c:manualLayout>
                  <c:x val="0"/>
                  <c:y val="1.5450378534274089E-2"/>
                </c:manualLayout>
              </c:layout>
              <c:tx>
                <c:rich>
                  <a:bodyPr/>
                  <a:lstStyle/>
                  <a:p>
                    <a:r>
                      <a:rPr lang="en-US" sz="700" smtClean="0"/>
                      <a:t>11.5</a:t>
                    </a:r>
                    <a:r>
                      <a:rPr lang="en-US" sz="700"/>
                      <a:t>%</a:t>
                    </a:r>
                    <a:endParaRPr lang="en-US"/>
                  </a:p>
                </c:rich>
              </c:tx>
              <c:showLegendKey val="0"/>
              <c:showVal val="1"/>
              <c:showCatName val="0"/>
              <c:showSerName val="0"/>
              <c:showPercent val="0"/>
              <c:showBubbleSize val="0"/>
            </c:dLbl>
            <c:dLbl>
              <c:idx val="6"/>
              <c:layout>
                <c:manualLayout>
                  <c:x val="0"/>
                  <c:y val="1.5450378534274114E-2"/>
                </c:manualLayout>
              </c:layout>
              <c:tx>
                <c:rich>
                  <a:bodyPr/>
                  <a:lstStyle/>
                  <a:p>
                    <a:r>
                      <a:rPr lang="en-US" sz="700" smtClean="0"/>
                      <a:t>20.0</a:t>
                    </a:r>
                    <a:r>
                      <a:rPr lang="en-US" sz="700"/>
                      <a:t>%</a:t>
                    </a:r>
                    <a:endParaRPr lang="en-US"/>
                  </a:p>
                </c:rich>
              </c:tx>
              <c:showLegendKey val="0"/>
              <c:showVal val="1"/>
              <c:showCatName val="0"/>
              <c:showSerName val="0"/>
              <c:showPercent val="0"/>
              <c:showBubbleSize val="0"/>
            </c:dLbl>
            <c:dLbl>
              <c:idx val="7"/>
              <c:layout>
                <c:manualLayout>
                  <c:x val="-9.5087163232963554E-3"/>
                  <c:y val="2.0600504712365453E-2"/>
                </c:manualLayout>
              </c:layout>
              <c:tx>
                <c:rich>
                  <a:bodyPr/>
                  <a:lstStyle/>
                  <a:p>
                    <a:r>
                      <a:rPr lang="en-US" sz="700" dirty="0" smtClean="0"/>
                      <a:t>1.6%</a:t>
                    </a:r>
                    <a:endParaRPr lang="en-US" dirty="0"/>
                  </a:p>
                </c:rich>
              </c:tx>
              <c:showLegendKey val="0"/>
              <c:showVal val="1"/>
              <c:showCatName val="0"/>
              <c:showSerName val="0"/>
              <c:showPercent val="0"/>
              <c:showBubbleSize val="0"/>
            </c:dLbl>
            <c:dLbl>
              <c:idx val="8"/>
              <c:layout>
                <c:manualLayout>
                  <c:x val="-2.2187004754358162E-2"/>
                  <c:y val="2.0600504712365453E-2"/>
                </c:manualLayout>
              </c:layout>
              <c:tx>
                <c:rich>
                  <a:bodyPr/>
                  <a:lstStyle/>
                  <a:p>
                    <a:r>
                      <a:rPr lang="en-US" sz="700" dirty="0" smtClean="0"/>
                      <a:t>9.3%</a:t>
                    </a:r>
                    <a:endParaRPr lang="en-US" dirty="0"/>
                  </a:p>
                </c:rich>
              </c:tx>
              <c:showLegendKey val="0"/>
              <c:showVal val="1"/>
              <c:showCatName val="0"/>
              <c:showSerName val="0"/>
              <c:showPercent val="0"/>
              <c:showBubbleSize val="0"/>
            </c:dLbl>
            <c:dLbl>
              <c:idx val="9"/>
              <c:layout>
                <c:manualLayout>
                  <c:x val="-2.2187254326965073E-2"/>
                  <c:y val="2.0600504712365453E-2"/>
                </c:manualLayout>
              </c:layout>
              <c:showLegendKey val="0"/>
              <c:showVal val="1"/>
              <c:showCatName val="0"/>
              <c:showSerName val="0"/>
              <c:showPercent val="0"/>
              <c:showBubbleSize val="0"/>
            </c:dLbl>
            <c:numFmt formatCode="0.0%" sourceLinked="0"/>
            <c:txPr>
              <a:bodyPr/>
              <a:lstStyle/>
              <a:p>
                <a:pPr>
                  <a:defRPr sz="700" b="0" i="0">
                    <a:solidFill>
                      <a:srgbClr val="003C64"/>
                    </a:solidFill>
                    <a:latin typeface="Arial(Corps)"/>
                    <a:ea typeface="Arial(Corps)"/>
                    <a:cs typeface="Arial(Corps)"/>
                  </a:defRPr>
                </a:pPr>
                <a:endParaRPr lang="en-US"/>
              </a:p>
            </c:txPr>
            <c:showLegendKey val="0"/>
            <c:showVal val="1"/>
            <c:showCatName val="0"/>
            <c:showSerName val="0"/>
            <c:showPercent val="0"/>
            <c:showBubbleSize val="0"/>
            <c:showLeaderLines val="0"/>
          </c:dLbls>
          <c:cat>
            <c:strRef>
              <c:f>'Amundi Fds Europe MinVar BRUT'!$S$107:$S$116</c:f>
              <c:strCache>
                <c:ptCount val="10"/>
                <c:pt idx="0">
                  <c:v>2009 (partial)</c:v>
                </c:pt>
                <c:pt idx="1">
                  <c:v>2010</c:v>
                </c:pt>
                <c:pt idx="2">
                  <c:v>2011</c:v>
                </c:pt>
                <c:pt idx="3">
                  <c:v>2012</c:v>
                </c:pt>
                <c:pt idx="4">
                  <c:v>2013</c:v>
                </c:pt>
                <c:pt idx="5">
                  <c:v>2014</c:v>
                </c:pt>
                <c:pt idx="6">
                  <c:v>2015</c:v>
                </c:pt>
                <c:pt idx="7">
                  <c:v>2016</c:v>
                </c:pt>
                <c:pt idx="8">
                  <c:v>2017</c:v>
                </c:pt>
                <c:pt idx="9">
                  <c:v>YTD</c:v>
                </c:pt>
              </c:strCache>
            </c:strRef>
          </c:cat>
          <c:val>
            <c:numRef>
              <c:f>'Amundi Fds Europe MinVar BRUT'!$T$107:$T$116</c:f>
              <c:numCache>
                <c:formatCode>0\.0%</c:formatCode>
                <c:ptCount val="10"/>
                <c:pt idx="0">
                  <c:v>0.19930220122717568</c:v>
                </c:pt>
                <c:pt idx="1">
                  <c:v>0.152790566508614</c:v>
                </c:pt>
                <c:pt idx="2">
                  <c:v>1.5935666422327355E-2</c:v>
                </c:pt>
                <c:pt idx="3">
                  <c:v>0.16945915108568821</c:v>
                </c:pt>
                <c:pt idx="4">
                  <c:v>0.17966131432930132</c:v>
                </c:pt>
                <c:pt idx="5">
                  <c:v>0.11539213168067408</c:v>
                </c:pt>
                <c:pt idx="6">
                  <c:v>0.19972228809625192</c:v>
                </c:pt>
                <c:pt idx="7">
                  <c:v>1.6038131670890632E-2</c:v>
                </c:pt>
                <c:pt idx="8">
                  <c:v>9.3205019692278679E-2</c:v>
                </c:pt>
                <c:pt idx="9">
                  <c:v>1.402958040144564E-2</c:v>
                </c:pt>
              </c:numCache>
            </c:numRef>
          </c:val>
          <c:extLst xmlns:c16r2="http://schemas.microsoft.com/office/drawing/2015/06/chart">
            <c:ext xmlns:c16="http://schemas.microsoft.com/office/drawing/2014/chart" uri="{C3380CC4-5D6E-409C-BE32-E72D297353CC}">
              <c16:uniqueId val="{00000004-3189-4598-86ED-EC93C2D0ABFE}"/>
            </c:ext>
          </c:extLst>
        </c:ser>
        <c:ser>
          <c:idx val="1"/>
          <c:order val="1"/>
          <c:tx>
            <c:strRef>
              <c:f>'Amundi Fds Europe MinVar BRUT'!$U$105</c:f>
              <c:strCache>
                <c:ptCount val="1"/>
                <c:pt idx="0">
                  <c:v>MSCI Europe</c:v>
                </c:pt>
              </c:strCache>
            </c:strRef>
          </c:tx>
          <c:spPr>
            <a:solidFill>
              <a:srgbClr val="00A0E3"/>
            </a:solidFill>
            <a:ln>
              <a:noFill/>
              <a:round/>
            </a:ln>
            <a:effectLst/>
            <a:extLst>
              <a:ext uri="{91240B29-F687-4F45-9708-019B960494DF}">
                <a14:hiddenLine xmlns:a14="http://schemas.microsoft.com/office/drawing/2010/main">
                  <a:noFill/>
                  <a:round/>
                </a14:hiddenLine>
              </a:ext>
            </a:extLst>
          </c:spPr>
          <c:invertIfNegative val="0"/>
          <c:dLbls>
            <c:dLbl>
              <c:idx val="0"/>
              <c:layout>
                <c:manualLayout>
                  <c:x val="3.1695721077654518E-3"/>
                  <c:y val="1.5450378534274089E-2"/>
                </c:manualLayout>
              </c:layout>
              <c:tx>
                <c:rich>
                  <a:bodyPr/>
                  <a:lstStyle/>
                  <a:p>
                    <a:r>
                      <a:rPr lang="en-US" sz="700" smtClean="0"/>
                      <a:t>28.9</a:t>
                    </a:r>
                    <a:r>
                      <a:rPr lang="en-US" sz="700"/>
                      <a:t>%</a:t>
                    </a:r>
                    <a:endParaRPr lang="en-US"/>
                  </a:p>
                </c:rich>
              </c:tx>
              <c:showLegendKey val="0"/>
              <c:showVal val="1"/>
              <c:showCatName val="0"/>
              <c:showSerName val="0"/>
              <c:showPercent val="0"/>
              <c:showBubbleSize val="0"/>
            </c:dLbl>
            <c:dLbl>
              <c:idx val="1"/>
              <c:layout>
                <c:manualLayout>
                  <c:x val="2.2187004754358162E-2"/>
                  <c:y val="2.0600504712365453E-2"/>
                </c:manualLayout>
              </c:layout>
              <c:tx>
                <c:rich>
                  <a:bodyPr/>
                  <a:lstStyle/>
                  <a:p>
                    <a:r>
                      <a:rPr lang="en-US" sz="700" dirty="0" smtClean="0"/>
                      <a:t>11.1%</a:t>
                    </a:r>
                    <a:endParaRPr lang="en-US" dirty="0"/>
                  </a:p>
                </c:rich>
              </c:tx>
              <c:showLegendKey val="0"/>
              <c:showVal val="1"/>
              <c:showCatName val="0"/>
              <c:showSerName val="0"/>
              <c:showPercent val="0"/>
              <c:showBubbleSize val="0"/>
            </c:dLbl>
            <c:dLbl>
              <c:idx val="2"/>
              <c:layout>
                <c:manualLayout>
                  <c:x val="0"/>
                  <c:y val="1.5450378534274089E-2"/>
                </c:manualLayout>
              </c:layout>
              <c:tx>
                <c:rich>
                  <a:bodyPr/>
                  <a:lstStyle/>
                  <a:p>
                    <a:r>
                      <a:rPr lang="en-US" sz="700"/>
                      <a:t>-</a:t>
                    </a:r>
                    <a:r>
                      <a:rPr lang="en-US" sz="700" smtClean="0"/>
                      <a:t>8.1</a:t>
                    </a:r>
                    <a:r>
                      <a:rPr lang="en-US" sz="700"/>
                      <a:t>%</a:t>
                    </a:r>
                    <a:endParaRPr lang="en-US"/>
                  </a:p>
                </c:rich>
              </c:tx>
              <c:showLegendKey val="0"/>
              <c:showVal val="1"/>
              <c:showCatName val="0"/>
              <c:showSerName val="0"/>
              <c:showPercent val="0"/>
              <c:showBubbleSize val="0"/>
            </c:dLbl>
            <c:dLbl>
              <c:idx val="3"/>
              <c:layout>
                <c:manualLayout>
                  <c:x val="-6.3391442155309036E-3"/>
                  <c:y val="-1.5450378534274089E-2"/>
                </c:manualLayout>
              </c:layout>
              <c:tx>
                <c:rich>
                  <a:bodyPr/>
                  <a:lstStyle/>
                  <a:p>
                    <a:r>
                      <a:rPr lang="en-US" sz="700" dirty="0" smtClean="0"/>
                      <a:t>17.3%</a:t>
                    </a:r>
                    <a:endParaRPr lang="en-US" dirty="0"/>
                  </a:p>
                </c:rich>
              </c:tx>
              <c:showLegendKey val="0"/>
              <c:showVal val="1"/>
              <c:showCatName val="0"/>
              <c:showSerName val="0"/>
              <c:showPercent val="0"/>
              <c:showBubbleSize val="0"/>
            </c:dLbl>
            <c:dLbl>
              <c:idx val="4"/>
              <c:layout>
                <c:manualLayout>
                  <c:x val="0"/>
                  <c:y val="1.5449973012527783E-2"/>
                </c:manualLayout>
              </c:layout>
              <c:tx>
                <c:rich>
                  <a:bodyPr/>
                  <a:lstStyle/>
                  <a:p>
                    <a:r>
                      <a:rPr lang="en-US" sz="700" dirty="0" smtClean="0"/>
                      <a:t>19.8%</a:t>
                    </a:r>
                    <a:endParaRPr lang="en-US" dirty="0"/>
                  </a:p>
                </c:rich>
              </c:tx>
              <c:showLegendKey val="0"/>
              <c:showVal val="1"/>
              <c:showCatName val="0"/>
              <c:showSerName val="0"/>
              <c:showPercent val="0"/>
              <c:showBubbleSize val="0"/>
            </c:dLbl>
            <c:dLbl>
              <c:idx val="5"/>
              <c:layout>
                <c:manualLayout>
                  <c:x val="1.2678288431061807E-2"/>
                  <c:y val="1.5449973012527783E-2"/>
                </c:manualLayout>
              </c:layout>
              <c:tx>
                <c:rich>
                  <a:bodyPr/>
                  <a:lstStyle/>
                  <a:p>
                    <a:r>
                      <a:rPr lang="en-US" sz="700" dirty="0" smtClean="0"/>
                      <a:t>6.8%</a:t>
                    </a:r>
                    <a:endParaRPr lang="en-US" dirty="0"/>
                  </a:p>
                </c:rich>
              </c:tx>
              <c:showLegendKey val="0"/>
              <c:showVal val="1"/>
              <c:showCatName val="0"/>
              <c:showSerName val="0"/>
              <c:showPercent val="0"/>
              <c:showBubbleSize val="0"/>
            </c:dLbl>
            <c:dLbl>
              <c:idx val="6"/>
              <c:layout>
                <c:manualLayout>
                  <c:x val="2.2187004754358162E-2"/>
                  <c:y val="1.0300252356182774E-2"/>
                </c:manualLayout>
              </c:layout>
              <c:tx>
                <c:rich>
                  <a:bodyPr/>
                  <a:lstStyle/>
                  <a:p>
                    <a:r>
                      <a:rPr lang="en-US" sz="700" dirty="0" smtClean="0"/>
                      <a:t>8.2%</a:t>
                    </a:r>
                    <a:endParaRPr lang="en-US" dirty="0"/>
                  </a:p>
                </c:rich>
              </c:tx>
              <c:showLegendKey val="0"/>
              <c:showVal val="1"/>
              <c:showCatName val="0"/>
              <c:showSerName val="0"/>
              <c:showPercent val="0"/>
              <c:showBubbleSize val="0"/>
            </c:dLbl>
            <c:dLbl>
              <c:idx val="7"/>
              <c:layout>
                <c:manualLayout>
                  <c:x val="1.5847860538827259E-2"/>
                  <c:y val="0"/>
                </c:manualLayout>
              </c:layout>
              <c:tx>
                <c:rich>
                  <a:bodyPr/>
                  <a:lstStyle/>
                  <a:p>
                    <a:r>
                      <a:rPr lang="en-US" sz="700" dirty="0" smtClean="0"/>
                      <a:t>2.6%</a:t>
                    </a:r>
                    <a:endParaRPr lang="en-US" dirty="0"/>
                  </a:p>
                </c:rich>
              </c:tx>
              <c:showLegendKey val="0"/>
              <c:showVal val="1"/>
              <c:showCatName val="0"/>
              <c:showSerName val="0"/>
              <c:showPercent val="0"/>
              <c:showBubbleSize val="0"/>
            </c:dLbl>
            <c:dLbl>
              <c:idx val="8"/>
              <c:layout>
                <c:manualLayout>
                  <c:x val="1.2678288431061807E-2"/>
                  <c:y val="1.0300252356182727E-2"/>
                </c:manualLayout>
              </c:layout>
              <c:tx>
                <c:rich>
                  <a:bodyPr/>
                  <a:lstStyle/>
                  <a:p>
                    <a:r>
                      <a:rPr lang="en-US" sz="700" dirty="0" smtClean="0"/>
                      <a:t>10.2%</a:t>
                    </a:r>
                    <a:endParaRPr lang="en-US" dirty="0"/>
                  </a:p>
                </c:rich>
              </c:tx>
              <c:showLegendKey val="0"/>
              <c:showVal val="1"/>
              <c:showCatName val="0"/>
              <c:showSerName val="0"/>
              <c:showPercent val="0"/>
              <c:showBubbleSize val="0"/>
            </c:dLbl>
            <c:dLbl>
              <c:idx val="9"/>
              <c:layout>
                <c:manualLayout>
                  <c:x val="0"/>
                  <c:y val="5.1501261780913634E-3"/>
                </c:manualLayout>
              </c:layout>
              <c:showLegendKey val="0"/>
              <c:showVal val="1"/>
              <c:showCatName val="0"/>
              <c:showSerName val="0"/>
              <c:showPercent val="0"/>
              <c:showBubbleSize val="0"/>
            </c:dLbl>
            <c:numFmt formatCode="0.0%" sourceLinked="0"/>
            <c:txPr>
              <a:bodyPr/>
              <a:lstStyle/>
              <a:p>
                <a:pPr>
                  <a:defRPr sz="700" b="0" i="0">
                    <a:solidFill>
                      <a:srgbClr val="00A0E3"/>
                    </a:solidFill>
                    <a:latin typeface="Arial(Corps)"/>
                    <a:ea typeface="Arial(Corps)"/>
                    <a:cs typeface="Arial(Corps)"/>
                  </a:defRPr>
                </a:pPr>
                <a:endParaRPr lang="en-US"/>
              </a:p>
            </c:txPr>
            <c:showLegendKey val="0"/>
            <c:showVal val="1"/>
            <c:showCatName val="0"/>
            <c:showSerName val="0"/>
            <c:showPercent val="0"/>
            <c:showBubbleSize val="0"/>
            <c:showLeaderLines val="0"/>
          </c:dLbls>
          <c:cat>
            <c:strRef>
              <c:f>'Amundi Fds Europe MinVar BRUT'!$S$107:$S$116</c:f>
              <c:strCache>
                <c:ptCount val="10"/>
                <c:pt idx="0">
                  <c:v>2009 (partial)</c:v>
                </c:pt>
                <c:pt idx="1">
                  <c:v>2010</c:v>
                </c:pt>
                <c:pt idx="2">
                  <c:v>2011</c:v>
                </c:pt>
                <c:pt idx="3">
                  <c:v>2012</c:v>
                </c:pt>
                <c:pt idx="4">
                  <c:v>2013</c:v>
                </c:pt>
                <c:pt idx="5">
                  <c:v>2014</c:v>
                </c:pt>
                <c:pt idx="6">
                  <c:v>2015</c:v>
                </c:pt>
                <c:pt idx="7">
                  <c:v>2016</c:v>
                </c:pt>
                <c:pt idx="8">
                  <c:v>2017</c:v>
                </c:pt>
                <c:pt idx="9">
                  <c:v>YTD</c:v>
                </c:pt>
              </c:strCache>
            </c:strRef>
          </c:cat>
          <c:val>
            <c:numRef>
              <c:f>'Amundi Fds Europe MinVar BRUT'!$U$107:$U$116</c:f>
              <c:numCache>
                <c:formatCode>0\.0%</c:formatCode>
                <c:ptCount val="10"/>
                <c:pt idx="0">
                  <c:v>0.28858262714933725</c:v>
                </c:pt>
                <c:pt idx="1">
                  <c:v>0.11094124466194044</c:v>
                </c:pt>
                <c:pt idx="2">
                  <c:v>-8.0827276157913408E-2</c:v>
                </c:pt>
                <c:pt idx="3">
                  <c:v>0.17286865317118338</c:v>
                </c:pt>
                <c:pt idx="4">
                  <c:v>0.19823382050892002</c:v>
                </c:pt>
                <c:pt idx="5">
                  <c:v>6.8395360874025091E-2</c:v>
                </c:pt>
                <c:pt idx="6">
                  <c:v>8.2241681310087245E-2</c:v>
                </c:pt>
                <c:pt idx="7">
                  <c:v>2.5766313200967783E-2</c:v>
                </c:pt>
                <c:pt idx="8">
                  <c:v>0.10241921219648109</c:v>
                </c:pt>
                <c:pt idx="9">
                  <c:v>1.6013612364863761E-2</c:v>
                </c:pt>
              </c:numCache>
            </c:numRef>
          </c:val>
          <c:extLst xmlns:c16r2="http://schemas.microsoft.com/office/drawing/2015/06/chart">
            <c:ext xmlns:c16="http://schemas.microsoft.com/office/drawing/2014/chart" uri="{C3380CC4-5D6E-409C-BE32-E72D297353CC}">
              <c16:uniqueId val="{0000000C-3189-4598-86ED-EC93C2D0ABFE}"/>
            </c:ext>
          </c:extLst>
        </c:ser>
        <c:dLbls>
          <c:showLegendKey val="0"/>
          <c:showVal val="0"/>
          <c:showCatName val="0"/>
          <c:showSerName val="0"/>
          <c:showPercent val="0"/>
          <c:showBubbleSize val="0"/>
        </c:dLbls>
        <c:gapWidth val="150"/>
        <c:axId val="336658432"/>
        <c:axId val="336659968"/>
      </c:barChart>
      <c:catAx>
        <c:axId val="336658432"/>
        <c:scaling>
          <c:orientation val="minMax"/>
        </c:scaling>
        <c:delete val="0"/>
        <c:axPos val="b"/>
        <c:numFmt formatCode="General" sourceLinked="1"/>
        <c:majorTickMark val="out"/>
        <c:minorTickMark val="none"/>
        <c:tickLblPos val="low"/>
        <c:spPr>
          <a:ln>
            <a:solidFill>
              <a:srgbClr val="003C64"/>
            </a:solidFill>
          </a:ln>
        </c:spPr>
        <c:txPr>
          <a:bodyPr/>
          <a:lstStyle/>
          <a:p>
            <a:pPr>
              <a:defRPr sz="900" b="0" i="0" u="none">
                <a:solidFill>
                  <a:srgbClr val="003C64"/>
                </a:solidFill>
                <a:latin typeface="Arial"/>
                <a:ea typeface="Arial"/>
                <a:cs typeface="Arial"/>
              </a:defRPr>
            </a:pPr>
            <a:endParaRPr lang="en-US"/>
          </a:p>
        </c:txPr>
        <c:crossAx val="336659968"/>
        <c:crosses val="autoZero"/>
        <c:auto val="1"/>
        <c:lblAlgn val="ctr"/>
        <c:lblOffset val="100"/>
        <c:noMultiLvlLbl val="0"/>
      </c:catAx>
      <c:valAx>
        <c:axId val="336659968"/>
        <c:scaling>
          <c:orientation val="minMax"/>
        </c:scaling>
        <c:delete val="1"/>
        <c:axPos val="l"/>
        <c:majorGridlines>
          <c:spPr>
            <a:ln>
              <a:solidFill>
                <a:srgbClr val="FFFFFF"/>
              </a:solidFill>
            </a:ln>
          </c:spPr>
        </c:majorGridlines>
        <c:numFmt formatCode="0\.0%" sourceLinked="1"/>
        <c:majorTickMark val="none"/>
        <c:minorTickMark val="none"/>
        <c:tickLblPos val="nextTo"/>
        <c:crossAx val="336658432"/>
        <c:crosses val="autoZero"/>
        <c:crossBetween val="between"/>
      </c:valAx>
    </c:plotArea>
    <c:legend>
      <c:legendPos val="b"/>
      <c:legendEntry>
        <c:idx val="0"/>
        <c:txPr>
          <a:bodyPr/>
          <a:lstStyle/>
          <a:p>
            <a:pPr>
              <a:defRPr sz="900" b="0" i="0" u="none">
                <a:solidFill>
                  <a:srgbClr val="003C64"/>
                </a:solidFill>
                <a:latin typeface="Arial"/>
                <a:ea typeface="Arial"/>
                <a:cs typeface="Arial"/>
              </a:defRPr>
            </a:pPr>
            <a:endParaRPr lang="en-US"/>
          </a:p>
        </c:txPr>
      </c:legendEntry>
      <c:legendEntry>
        <c:idx val="1"/>
        <c:txPr>
          <a:bodyPr/>
          <a:lstStyle/>
          <a:p>
            <a:pPr>
              <a:defRPr sz="900" b="0" i="0" u="none">
                <a:solidFill>
                  <a:srgbClr val="00A0E3"/>
                </a:solidFill>
                <a:latin typeface="Arial"/>
                <a:ea typeface="Arial"/>
                <a:cs typeface="Arial"/>
              </a:defRPr>
            </a:pPr>
            <a:endParaRPr lang="en-US"/>
          </a:p>
        </c:txPr>
      </c:legendEntry>
      <c:layout>
        <c:manualLayout>
          <c:xMode val="edge"/>
          <c:yMode val="edge"/>
          <c:x val="0.11964286159951085"/>
          <c:y val="0.79940501849381929"/>
          <c:w val="0.78607060409049501"/>
          <c:h val="8.2142079410079408E-2"/>
        </c:manualLayout>
      </c:layout>
      <c:overlay val="0"/>
      <c:txPr>
        <a:bodyPr/>
        <a:lstStyle/>
        <a:p>
          <a:pPr>
            <a:defRPr sz="900" b="0" i="0" u="none">
              <a:latin typeface="Arial"/>
              <a:ea typeface="Arial"/>
              <a:cs typeface="Arial"/>
            </a:defRPr>
          </a:pPr>
          <a:endParaRPr lang="en-US"/>
        </a:p>
      </c:txPr>
    </c:legend>
    <c:plotVisOnly val="1"/>
    <c:dispBlanksAs val="gap"/>
    <c:showDLblsOverMax val="0"/>
  </c:chart>
  <c:spPr>
    <a:ln w="25400">
      <a:noFill/>
    </a:ln>
  </c:sp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8073804475775253E-2"/>
          <c:y val="6.6386747698154572E-2"/>
          <c:w val="0.82391220612483973"/>
          <c:h val="0.6078293818869388"/>
        </c:manualLayout>
      </c:layout>
      <c:areaChart>
        <c:grouping val="stacked"/>
        <c:varyColors val="0"/>
        <c:ser>
          <c:idx val="2"/>
          <c:order val="2"/>
          <c:tx>
            <c:strRef>
              <c:f>'Amundi Fds Europe MinVar BRUT'!$H$4</c:f>
              <c:strCache>
                <c:ptCount val="1"/>
                <c:pt idx="0">
                  <c:v>Excess return</c:v>
                </c:pt>
              </c:strCache>
            </c:strRef>
          </c:tx>
          <c:spPr>
            <a:solidFill>
              <a:schemeClr val="bg1">
                <a:lumMod val="95000"/>
              </a:schemeClr>
            </a:solidFill>
            <a:ln>
              <a:noFill/>
            </a:ln>
          </c:spPr>
          <c:cat>
            <c:numRef>
              <c:f>'Amundi Fds Europe MinVar BRUT'!$C$5:$C$2289</c:f>
              <c:numCache>
                <c:formatCode>m/d/yyyy</c:formatCode>
                <c:ptCount val="2285"/>
                <c:pt idx="0">
                  <c:v>39933</c:v>
                </c:pt>
                <c:pt idx="1">
                  <c:v>39934</c:v>
                </c:pt>
                <c:pt idx="2">
                  <c:v>39937</c:v>
                </c:pt>
                <c:pt idx="3">
                  <c:v>39938</c:v>
                </c:pt>
                <c:pt idx="4">
                  <c:v>39939</c:v>
                </c:pt>
                <c:pt idx="5">
                  <c:v>39940</c:v>
                </c:pt>
                <c:pt idx="6">
                  <c:v>39941</c:v>
                </c:pt>
                <c:pt idx="7">
                  <c:v>39944</c:v>
                </c:pt>
                <c:pt idx="8">
                  <c:v>39945</c:v>
                </c:pt>
                <c:pt idx="9">
                  <c:v>39946</c:v>
                </c:pt>
                <c:pt idx="10">
                  <c:v>39947</c:v>
                </c:pt>
                <c:pt idx="11">
                  <c:v>39948</c:v>
                </c:pt>
                <c:pt idx="12">
                  <c:v>39951</c:v>
                </c:pt>
                <c:pt idx="13">
                  <c:v>39952</c:v>
                </c:pt>
                <c:pt idx="14">
                  <c:v>39953</c:v>
                </c:pt>
                <c:pt idx="15">
                  <c:v>39954</c:v>
                </c:pt>
                <c:pt idx="16">
                  <c:v>39955</c:v>
                </c:pt>
                <c:pt idx="17">
                  <c:v>39958</c:v>
                </c:pt>
                <c:pt idx="18">
                  <c:v>39959</c:v>
                </c:pt>
                <c:pt idx="19">
                  <c:v>39960</c:v>
                </c:pt>
                <c:pt idx="20">
                  <c:v>39961</c:v>
                </c:pt>
                <c:pt idx="21">
                  <c:v>39962</c:v>
                </c:pt>
                <c:pt idx="22">
                  <c:v>39965</c:v>
                </c:pt>
                <c:pt idx="23">
                  <c:v>39966</c:v>
                </c:pt>
                <c:pt idx="24">
                  <c:v>39967</c:v>
                </c:pt>
                <c:pt idx="25">
                  <c:v>39968</c:v>
                </c:pt>
                <c:pt idx="26">
                  <c:v>39969</c:v>
                </c:pt>
                <c:pt idx="27">
                  <c:v>39972</c:v>
                </c:pt>
                <c:pt idx="28">
                  <c:v>39973</c:v>
                </c:pt>
                <c:pt idx="29">
                  <c:v>39974</c:v>
                </c:pt>
                <c:pt idx="30">
                  <c:v>39975</c:v>
                </c:pt>
                <c:pt idx="31">
                  <c:v>39976</c:v>
                </c:pt>
                <c:pt idx="32">
                  <c:v>39979</c:v>
                </c:pt>
                <c:pt idx="33">
                  <c:v>39980</c:v>
                </c:pt>
                <c:pt idx="34">
                  <c:v>39981</c:v>
                </c:pt>
                <c:pt idx="35">
                  <c:v>39982</c:v>
                </c:pt>
                <c:pt idx="36">
                  <c:v>39983</c:v>
                </c:pt>
                <c:pt idx="37">
                  <c:v>39986</c:v>
                </c:pt>
                <c:pt idx="38">
                  <c:v>39987</c:v>
                </c:pt>
                <c:pt idx="39">
                  <c:v>39988</c:v>
                </c:pt>
                <c:pt idx="40">
                  <c:v>39989</c:v>
                </c:pt>
                <c:pt idx="41">
                  <c:v>39990</c:v>
                </c:pt>
                <c:pt idx="42">
                  <c:v>39993</c:v>
                </c:pt>
                <c:pt idx="43">
                  <c:v>39994</c:v>
                </c:pt>
                <c:pt idx="44">
                  <c:v>39995</c:v>
                </c:pt>
                <c:pt idx="45">
                  <c:v>39996</c:v>
                </c:pt>
                <c:pt idx="46">
                  <c:v>39997</c:v>
                </c:pt>
                <c:pt idx="47">
                  <c:v>40000</c:v>
                </c:pt>
                <c:pt idx="48">
                  <c:v>40001</c:v>
                </c:pt>
                <c:pt idx="49">
                  <c:v>40002</c:v>
                </c:pt>
                <c:pt idx="50">
                  <c:v>40003</c:v>
                </c:pt>
                <c:pt idx="51">
                  <c:v>40004</c:v>
                </c:pt>
                <c:pt idx="52">
                  <c:v>40007</c:v>
                </c:pt>
                <c:pt idx="53">
                  <c:v>40008</c:v>
                </c:pt>
                <c:pt idx="54">
                  <c:v>40009</c:v>
                </c:pt>
                <c:pt idx="55">
                  <c:v>40010</c:v>
                </c:pt>
                <c:pt idx="56">
                  <c:v>40011</c:v>
                </c:pt>
                <c:pt idx="57">
                  <c:v>40014</c:v>
                </c:pt>
                <c:pt idx="58">
                  <c:v>40015</c:v>
                </c:pt>
                <c:pt idx="59">
                  <c:v>40016</c:v>
                </c:pt>
                <c:pt idx="60">
                  <c:v>40017</c:v>
                </c:pt>
                <c:pt idx="61">
                  <c:v>40018</c:v>
                </c:pt>
                <c:pt idx="62">
                  <c:v>40021</c:v>
                </c:pt>
                <c:pt idx="63">
                  <c:v>40022</c:v>
                </c:pt>
                <c:pt idx="64">
                  <c:v>40023</c:v>
                </c:pt>
                <c:pt idx="65">
                  <c:v>40024</c:v>
                </c:pt>
                <c:pt idx="66">
                  <c:v>40025</c:v>
                </c:pt>
                <c:pt idx="67">
                  <c:v>40028</c:v>
                </c:pt>
                <c:pt idx="68">
                  <c:v>40029</c:v>
                </c:pt>
                <c:pt idx="69">
                  <c:v>40030</c:v>
                </c:pt>
                <c:pt idx="70">
                  <c:v>40031</c:v>
                </c:pt>
                <c:pt idx="71">
                  <c:v>40032</c:v>
                </c:pt>
                <c:pt idx="72">
                  <c:v>40035</c:v>
                </c:pt>
                <c:pt idx="73">
                  <c:v>40036</c:v>
                </c:pt>
                <c:pt idx="74">
                  <c:v>40037</c:v>
                </c:pt>
                <c:pt idx="75">
                  <c:v>40038</c:v>
                </c:pt>
                <c:pt idx="76">
                  <c:v>40039</c:v>
                </c:pt>
                <c:pt idx="77">
                  <c:v>40042</c:v>
                </c:pt>
                <c:pt idx="78">
                  <c:v>40043</c:v>
                </c:pt>
                <c:pt idx="79">
                  <c:v>40044</c:v>
                </c:pt>
                <c:pt idx="80">
                  <c:v>40045</c:v>
                </c:pt>
                <c:pt idx="81">
                  <c:v>40046</c:v>
                </c:pt>
                <c:pt idx="82">
                  <c:v>40049</c:v>
                </c:pt>
                <c:pt idx="83">
                  <c:v>40050</c:v>
                </c:pt>
                <c:pt idx="84">
                  <c:v>40051</c:v>
                </c:pt>
                <c:pt idx="85">
                  <c:v>40052</c:v>
                </c:pt>
                <c:pt idx="86">
                  <c:v>40053</c:v>
                </c:pt>
                <c:pt idx="87">
                  <c:v>40056</c:v>
                </c:pt>
                <c:pt idx="88">
                  <c:v>40057</c:v>
                </c:pt>
                <c:pt idx="89">
                  <c:v>40058</c:v>
                </c:pt>
                <c:pt idx="90">
                  <c:v>40059</c:v>
                </c:pt>
                <c:pt idx="91">
                  <c:v>40060</c:v>
                </c:pt>
                <c:pt idx="92">
                  <c:v>40063</c:v>
                </c:pt>
                <c:pt idx="93">
                  <c:v>40064</c:v>
                </c:pt>
                <c:pt idx="94">
                  <c:v>40065</c:v>
                </c:pt>
                <c:pt idx="95">
                  <c:v>40066</c:v>
                </c:pt>
                <c:pt idx="96">
                  <c:v>40067</c:v>
                </c:pt>
                <c:pt idx="97">
                  <c:v>40070</c:v>
                </c:pt>
                <c:pt idx="98">
                  <c:v>40071</c:v>
                </c:pt>
                <c:pt idx="99">
                  <c:v>40072</c:v>
                </c:pt>
                <c:pt idx="100">
                  <c:v>40073</c:v>
                </c:pt>
                <c:pt idx="101">
                  <c:v>40074</c:v>
                </c:pt>
                <c:pt idx="102">
                  <c:v>40077</c:v>
                </c:pt>
                <c:pt idx="103">
                  <c:v>40078</c:v>
                </c:pt>
                <c:pt idx="104">
                  <c:v>40079</c:v>
                </c:pt>
                <c:pt idx="105">
                  <c:v>40080</c:v>
                </c:pt>
                <c:pt idx="106">
                  <c:v>40081</c:v>
                </c:pt>
                <c:pt idx="107">
                  <c:v>40084</c:v>
                </c:pt>
                <c:pt idx="108">
                  <c:v>40085</c:v>
                </c:pt>
                <c:pt idx="109">
                  <c:v>40086</c:v>
                </c:pt>
                <c:pt idx="110">
                  <c:v>40087</c:v>
                </c:pt>
                <c:pt idx="111">
                  <c:v>40088</c:v>
                </c:pt>
                <c:pt idx="112">
                  <c:v>40091</c:v>
                </c:pt>
                <c:pt idx="113">
                  <c:v>40092</c:v>
                </c:pt>
                <c:pt idx="114">
                  <c:v>40093</c:v>
                </c:pt>
                <c:pt idx="115">
                  <c:v>40094</c:v>
                </c:pt>
                <c:pt idx="116">
                  <c:v>40095</c:v>
                </c:pt>
                <c:pt idx="117">
                  <c:v>40098</c:v>
                </c:pt>
                <c:pt idx="118">
                  <c:v>40099</c:v>
                </c:pt>
                <c:pt idx="119">
                  <c:v>40100</c:v>
                </c:pt>
                <c:pt idx="120">
                  <c:v>40101</c:v>
                </c:pt>
                <c:pt idx="121">
                  <c:v>40102</c:v>
                </c:pt>
                <c:pt idx="122">
                  <c:v>40105</c:v>
                </c:pt>
                <c:pt idx="123">
                  <c:v>40106</c:v>
                </c:pt>
                <c:pt idx="124">
                  <c:v>40107</c:v>
                </c:pt>
                <c:pt idx="125">
                  <c:v>40108</c:v>
                </c:pt>
                <c:pt idx="126">
                  <c:v>40109</c:v>
                </c:pt>
                <c:pt idx="127">
                  <c:v>40112</c:v>
                </c:pt>
                <c:pt idx="128">
                  <c:v>40113</c:v>
                </c:pt>
                <c:pt idx="129">
                  <c:v>40114</c:v>
                </c:pt>
                <c:pt idx="130">
                  <c:v>40115</c:v>
                </c:pt>
                <c:pt idx="131">
                  <c:v>40116</c:v>
                </c:pt>
                <c:pt idx="132">
                  <c:v>40119</c:v>
                </c:pt>
                <c:pt idx="133">
                  <c:v>40120</c:v>
                </c:pt>
                <c:pt idx="134">
                  <c:v>40121</c:v>
                </c:pt>
                <c:pt idx="135">
                  <c:v>40122</c:v>
                </c:pt>
                <c:pt idx="136">
                  <c:v>40123</c:v>
                </c:pt>
                <c:pt idx="137">
                  <c:v>40126</c:v>
                </c:pt>
                <c:pt idx="138">
                  <c:v>40127</c:v>
                </c:pt>
                <c:pt idx="139">
                  <c:v>40128</c:v>
                </c:pt>
                <c:pt idx="140">
                  <c:v>40129</c:v>
                </c:pt>
                <c:pt idx="141">
                  <c:v>40130</c:v>
                </c:pt>
                <c:pt idx="142">
                  <c:v>40133</c:v>
                </c:pt>
                <c:pt idx="143">
                  <c:v>40134</c:v>
                </c:pt>
                <c:pt idx="144">
                  <c:v>40135</c:v>
                </c:pt>
                <c:pt idx="145">
                  <c:v>40136</c:v>
                </c:pt>
                <c:pt idx="146">
                  <c:v>40137</c:v>
                </c:pt>
                <c:pt idx="147">
                  <c:v>40140</c:v>
                </c:pt>
                <c:pt idx="148">
                  <c:v>40141</c:v>
                </c:pt>
                <c:pt idx="149">
                  <c:v>40142</c:v>
                </c:pt>
                <c:pt idx="150">
                  <c:v>40143</c:v>
                </c:pt>
                <c:pt idx="151">
                  <c:v>40144</c:v>
                </c:pt>
                <c:pt idx="152">
                  <c:v>40147</c:v>
                </c:pt>
                <c:pt idx="153">
                  <c:v>40148</c:v>
                </c:pt>
                <c:pt idx="154">
                  <c:v>40149</c:v>
                </c:pt>
                <c:pt idx="155">
                  <c:v>40150</c:v>
                </c:pt>
                <c:pt idx="156">
                  <c:v>40151</c:v>
                </c:pt>
                <c:pt idx="157">
                  <c:v>40154</c:v>
                </c:pt>
                <c:pt idx="158">
                  <c:v>40155</c:v>
                </c:pt>
                <c:pt idx="159">
                  <c:v>40156</c:v>
                </c:pt>
                <c:pt idx="160">
                  <c:v>40157</c:v>
                </c:pt>
                <c:pt idx="161">
                  <c:v>40158</c:v>
                </c:pt>
                <c:pt idx="162">
                  <c:v>40161</c:v>
                </c:pt>
                <c:pt idx="163">
                  <c:v>40162</c:v>
                </c:pt>
                <c:pt idx="164">
                  <c:v>40163</c:v>
                </c:pt>
                <c:pt idx="165">
                  <c:v>40164</c:v>
                </c:pt>
                <c:pt idx="166">
                  <c:v>40165</c:v>
                </c:pt>
                <c:pt idx="167">
                  <c:v>40168</c:v>
                </c:pt>
                <c:pt idx="168">
                  <c:v>40169</c:v>
                </c:pt>
                <c:pt idx="169">
                  <c:v>40170</c:v>
                </c:pt>
                <c:pt idx="170">
                  <c:v>40171</c:v>
                </c:pt>
                <c:pt idx="171">
                  <c:v>40172</c:v>
                </c:pt>
                <c:pt idx="172">
                  <c:v>40175</c:v>
                </c:pt>
                <c:pt idx="173">
                  <c:v>40176</c:v>
                </c:pt>
                <c:pt idx="174">
                  <c:v>40177</c:v>
                </c:pt>
                <c:pt idx="175">
                  <c:v>40178</c:v>
                </c:pt>
                <c:pt idx="176">
                  <c:v>40179</c:v>
                </c:pt>
                <c:pt idx="177">
                  <c:v>40182</c:v>
                </c:pt>
                <c:pt idx="178">
                  <c:v>40183</c:v>
                </c:pt>
                <c:pt idx="179">
                  <c:v>40184</c:v>
                </c:pt>
                <c:pt idx="180">
                  <c:v>40185</c:v>
                </c:pt>
                <c:pt idx="181">
                  <c:v>40186</c:v>
                </c:pt>
                <c:pt idx="182">
                  <c:v>40189</c:v>
                </c:pt>
                <c:pt idx="183">
                  <c:v>40190</c:v>
                </c:pt>
                <c:pt idx="184">
                  <c:v>40191</c:v>
                </c:pt>
                <c:pt idx="185">
                  <c:v>40192</c:v>
                </c:pt>
                <c:pt idx="186">
                  <c:v>40193</c:v>
                </c:pt>
                <c:pt idx="187">
                  <c:v>40196</c:v>
                </c:pt>
                <c:pt idx="188">
                  <c:v>40197</c:v>
                </c:pt>
                <c:pt idx="189">
                  <c:v>40198</c:v>
                </c:pt>
                <c:pt idx="190">
                  <c:v>40199</c:v>
                </c:pt>
                <c:pt idx="191">
                  <c:v>40200</c:v>
                </c:pt>
                <c:pt idx="192">
                  <c:v>40203</c:v>
                </c:pt>
                <c:pt idx="193">
                  <c:v>40204</c:v>
                </c:pt>
                <c:pt idx="194">
                  <c:v>40205</c:v>
                </c:pt>
                <c:pt idx="195">
                  <c:v>40206</c:v>
                </c:pt>
                <c:pt idx="196">
                  <c:v>40207</c:v>
                </c:pt>
                <c:pt idx="197">
                  <c:v>40210</c:v>
                </c:pt>
                <c:pt idx="198">
                  <c:v>40211</c:v>
                </c:pt>
                <c:pt idx="199">
                  <c:v>40212</c:v>
                </c:pt>
                <c:pt idx="200">
                  <c:v>40213</c:v>
                </c:pt>
                <c:pt idx="201">
                  <c:v>40214</c:v>
                </c:pt>
                <c:pt idx="202">
                  <c:v>40217</c:v>
                </c:pt>
                <c:pt idx="203">
                  <c:v>40218</c:v>
                </c:pt>
                <c:pt idx="204">
                  <c:v>40219</c:v>
                </c:pt>
                <c:pt idx="205">
                  <c:v>40220</c:v>
                </c:pt>
                <c:pt idx="206">
                  <c:v>40221</c:v>
                </c:pt>
                <c:pt idx="207">
                  <c:v>40224</c:v>
                </c:pt>
                <c:pt idx="208">
                  <c:v>40225</c:v>
                </c:pt>
                <c:pt idx="209">
                  <c:v>40226</c:v>
                </c:pt>
                <c:pt idx="210">
                  <c:v>40227</c:v>
                </c:pt>
                <c:pt idx="211">
                  <c:v>40228</c:v>
                </c:pt>
                <c:pt idx="212">
                  <c:v>40231</c:v>
                </c:pt>
                <c:pt idx="213">
                  <c:v>40232</c:v>
                </c:pt>
                <c:pt idx="214">
                  <c:v>40233</c:v>
                </c:pt>
                <c:pt idx="215">
                  <c:v>40234</c:v>
                </c:pt>
                <c:pt idx="216">
                  <c:v>40235</c:v>
                </c:pt>
                <c:pt idx="217">
                  <c:v>40238</c:v>
                </c:pt>
                <c:pt idx="218">
                  <c:v>40239</c:v>
                </c:pt>
                <c:pt idx="219">
                  <c:v>40240</c:v>
                </c:pt>
                <c:pt idx="220">
                  <c:v>40241</c:v>
                </c:pt>
                <c:pt idx="221">
                  <c:v>40242</c:v>
                </c:pt>
                <c:pt idx="222">
                  <c:v>40245</c:v>
                </c:pt>
                <c:pt idx="223">
                  <c:v>40246</c:v>
                </c:pt>
                <c:pt idx="224">
                  <c:v>40247</c:v>
                </c:pt>
                <c:pt idx="225">
                  <c:v>40248</c:v>
                </c:pt>
                <c:pt idx="226">
                  <c:v>40249</c:v>
                </c:pt>
                <c:pt idx="227">
                  <c:v>40252</c:v>
                </c:pt>
                <c:pt idx="228">
                  <c:v>40253</c:v>
                </c:pt>
                <c:pt idx="229">
                  <c:v>40254</c:v>
                </c:pt>
                <c:pt idx="230">
                  <c:v>40255</c:v>
                </c:pt>
                <c:pt idx="231">
                  <c:v>40256</c:v>
                </c:pt>
                <c:pt idx="232">
                  <c:v>40259</c:v>
                </c:pt>
                <c:pt idx="233">
                  <c:v>40260</c:v>
                </c:pt>
                <c:pt idx="234">
                  <c:v>40261</c:v>
                </c:pt>
                <c:pt idx="235">
                  <c:v>40262</c:v>
                </c:pt>
                <c:pt idx="236">
                  <c:v>40263</c:v>
                </c:pt>
                <c:pt idx="237">
                  <c:v>40266</c:v>
                </c:pt>
                <c:pt idx="238">
                  <c:v>40267</c:v>
                </c:pt>
                <c:pt idx="239">
                  <c:v>40268</c:v>
                </c:pt>
                <c:pt idx="240">
                  <c:v>40269</c:v>
                </c:pt>
                <c:pt idx="241">
                  <c:v>40270</c:v>
                </c:pt>
                <c:pt idx="242">
                  <c:v>40273</c:v>
                </c:pt>
                <c:pt idx="243">
                  <c:v>40274</c:v>
                </c:pt>
                <c:pt idx="244">
                  <c:v>40275</c:v>
                </c:pt>
                <c:pt idx="245">
                  <c:v>40276</c:v>
                </c:pt>
                <c:pt idx="246">
                  <c:v>40277</c:v>
                </c:pt>
                <c:pt idx="247">
                  <c:v>40280</c:v>
                </c:pt>
                <c:pt idx="248">
                  <c:v>40281</c:v>
                </c:pt>
                <c:pt idx="249">
                  <c:v>40282</c:v>
                </c:pt>
                <c:pt idx="250">
                  <c:v>40283</c:v>
                </c:pt>
                <c:pt idx="251">
                  <c:v>40284</c:v>
                </c:pt>
                <c:pt idx="252">
                  <c:v>40287</c:v>
                </c:pt>
                <c:pt idx="253">
                  <c:v>40288</c:v>
                </c:pt>
                <c:pt idx="254">
                  <c:v>40289</c:v>
                </c:pt>
                <c:pt idx="255">
                  <c:v>40290</c:v>
                </c:pt>
                <c:pt idx="256">
                  <c:v>40291</c:v>
                </c:pt>
                <c:pt idx="257">
                  <c:v>40294</c:v>
                </c:pt>
                <c:pt idx="258">
                  <c:v>40295</c:v>
                </c:pt>
                <c:pt idx="259">
                  <c:v>40296</c:v>
                </c:pt>
                <c:pt idx="260">
                  <c:v>40297</c:v>
                </c:pt>
                <c:pt idx="261">
                  <c:v>40298</c:v>
                </c:pt>
                <c:pt idx="262">
                  <c:v>40301</c:v>
                </c:pt>
                <c:pt idx="263">
                  <c:v>40302</c:v>
                </c:pt>
                <c:pt idx="264">
                  <c:v>40303</c:v>
                </c:pt>
                <c:pt idx="265">
                  <c:v>40304</c:v>
                </c:pt>
                <c:pt idx="266">
                  <c:v>40305</c:v>
                </c:pt>
                <c:pt idx="267">
                  <c:v>40308</c:v>
                </c:pt>
                <c:pt idx="268">
                  <c:v>40309</c:v>
                </c:pt>
                <c:pt idx="269">
                  <c:v>40310</c:v>
                </c:pt>
                <c:pt idx="270">
                  <c:v>40311</c:v>
                </c:pt>
                <c:pt idx="271">
                  <c:v>40312</c:v>
                </c:pt>
                <c:pt idx="272">
                  <c:v>40315</c:v>
                </c:pt>
                <c:pt idx="273">
                  <c:v>40316</c:v>
                </c:pt>
                <c:pt idx="274">
                  <c:v>40317</c:v>
                </c:pt>
                <c:pt idx="275">
                  <c:v>40318</c:v>
                </c:pt>
                <c:pt idx="276">
                  <c:v>40319</c:v>
                </c:pt>
                <c:pt idx="277">
                  <c:v>40322</c:v>
                </c:pt>
                <c:pt idx="278">
                  <c:v>40323</c:v>
                </c:pt>
                <c:pt idx="279">
                  <c:v>40324</c:v>
                </c:pt>
                <c:pt idx="280">
                  <c:v>40325</c:v>
                </c:pt>
                <c:pt idx="281">
                  <c:v>40326</c:v>
                </c:pt>
                <c:pt idx="282">
                  <c:v>40329</c:v>
                </c:pt>
                <c:pt idx="283">
                  <c:v>40330</c:v>
                </c:pt>
                <c:pt idx="284">
                  <c:v>40331</c:v>
                </c:pt>
                <c:pt idx="285">
                  <c:v>40332</c:v>
                </c:pt>
                <c:pt idx="286">
                  <c:v>40333</c:v>
                </c:pt>
                <c:pt idx="287">
                  <c:v>40336</c:v>
                </c:pt>
                <c:pt idx="288">
                  <c:v>40337</c:v>
                </c:pt>
                <c:pt idx="289">
                  <c:v>40338</c:v>
                </c:pt>
                <c:pt idx="290">
                  <c:v>40339</c:v>
                </c:pt>
                <c:pt idx="291">
                  <c:v>40340</c:v>
                </c:pt>
                <c:pt idx="292">
                  <c:v>40343</c:v>
                </c:pt>
                <c:pt idx="293">
                  <c:v>40344</c:v>
                </c:pt>
                <c:pt idx="294">
                  <c:v>40345</c:v>
                </c:pt>
                <c:pt idx="295">
                  <c:v>40346</c:v>
                </c:pt>
                <c:pt idx="296">
                  <c:v>40347</c:v>
                </c:pt>
                <c:pt idx="297">
                  <c:v>40350</c:v>
                </c:pt>
                <c:pt idx="298">
                  <c:v>40351</c:v>
                </c:pt>
                <c:pt idx="299">
                  <c:v>40352</c:v>
                </c:pt>
                <c:pt idx="300">
                  <c:v>40353</c:v>
                </c:pt>
                <c:pt idx="301">
                  <c:v>40354</c:v>
                </c:pt>
                <c:pt idx="302">
                  <c:v>40357</c:v>
                </c:pt>
                <c:pt idx="303">
                  <c:v>40358</c:v>
                </c:pt>
                <c:pt idx="304">
                  <c:v>40359</c:v>
                </c:pt>
                <c:pt idx="305">
                  <c:v>40360</c:v>
                </c:pt>
                <c:pt idx="306">
                  <c:v>40361</c:v>
                </c:pt>
                <c:pt idx="307">
                  <c:v>40364</c:v>
                </c:pt>
                <c:pt idx="308">
                  <c:v>40365</c:v>
                </c:pt>
                <c:pt idx="309">
                  <c:v>40366</c:v>
                </c:pt>
                <c:pt idx="310">
                  <c:v>40367</c:v>
                </c:pt>
                <c:pt idx="311">
                  <c:v>40368</c:v>
                </c:pt>
                <c:pt idx="312">
                  <c:v>40371</c:v>
                </c:pt>
                <c:pt idx="313">
                  <c:v>40372</c:v>
                </c:pt>
                <c:pt idx="314">
                  <c:v>40373</c:v>
                </c:pt>
                <c:pt idx="315">
                  <c:v>40374</c:v>
                </c:pt>
                <c:pt idx="316">
                  <c:v>40375</c:v>
                </c:pt>
                <c:pt idx="317">
                  <c:v>40378</c:v>
                </c:pt>
                <c:pt idx="318">
                  <c:v>40379</c:v>
                </c:pt>
                <c:pt idx="319">
                  <c:v>40380</c:v>
                </c:pt>
                <c:pt idx="320">
                  <c:v>40381</c:v>
                </c:pt>
                <c:pt idx="321">
                  <c:v>40382</c:v>
                </c:pt>
                <c:pt idx="322">
                  <c:v>40385</c:v>
                </c:pt>
                <c:pt idx="323">
                  <c:v>40386</c:v>
                </c:pt>
                <c:pt idx="324">
                  <c:v>40387</c:v>
                </c:pt>
                <c:pt idx="325">
                  <c:v>40388</c:v>
                </c:pt>
                <c:pt idx="326">
                  <c:v>40389</c:v>
                </c:pt>
                <c:pt idx="327">
                  <c:v>40392</c:v>
                </c:pt>
                <c:pt idx="328">
                  <c:v>40393</c:v>
                </c:pt>
                <c:pt idx="329">
                  <c:v>40394</c:v>
                </c:pt>
                <c:pt idx="330">
                  <c:v>40395</c:v>
                </c:pt>
                <c:pt idx="331">
                  <c:v>40396</c:v>
                </c:pt>
                <c:pt idx="332">
                  <c:v>40399</c:v>
                </c:pt>
                <c:pt idx="333">
                  <c:v>40400</c:v>
                </c:pt>
                <c:pt idx="334">
                  <c:v>40401</c:v>
                </c:pt>
                <c:pt idx="335">
                  <c:v>40402</c:v>
                </c:pt>
                <c:pt idx="336">
                  <c:v>40403</c:v>
                </c:pt>
                <c:pt idx="337">
                  <c:v>40406</c:v>
                </c:pt>
                <c:pt idx="338">
                  <c:v>40407</c:v>
                </c:pt>
                <c:pt idx="339">
                  <c:v>40408</c:v>
                </c:pt>
                <c:pt idx="340">
                  <c:v>40409</c:v>
                </c:pt>
                <c:pt idx="341">
                  <c:v>40410</c:v>
                </c:pt>
                <c:pt idx="342">
                  <c:v>40413</c:v>
                </c:pt>
                <c:pt idx="343">
                  <c:v>40414</c:v>
                </c:pt>
                <c:pt idx="344">
                  <c:v>40415</c:v>
                </c:pt>
                <c:pt idx="345">
                  <c:v>40416</c:v>
                </c:pt>
                <c:pt idx="346">
                  <c:v>40417</c:v>
                </c:pt>
                <c:pt idx="347">
                  <c:v>40420</c:v>
                </c:pt>
                <c:pt idx="348">
                  <c:v>40421</c:v>
                </c:pt>
                <c:pt idx="349">
                  <c:v>40422</c:v>
                </c:pt>
                <c:pt idx="350">
                  <c:v>40423</c:v>
                </c:pt>
                <c:pt idx="351">
                  <c:v>40424</c:v>
                </c:pt>
                <c:pt idx="352">
                  <c:v>40427</c:v>
                </c:pt>
                <c:pt idx="353">
                  <c:v>40428</c:v>
                </c:pt>
                <c:pt idx="354">
                  <c:v>40429</c:v>
                </c:pt>
                <c:pt idx="355">
                  <c:v>40430</c:v>
                </c:pt>
                <c:pt idx="356">
                  <c:v>40431</c:v>
                </c:pt>
                <c:pt idx="357">
                  <c:v>40434</c:v>
                </c:pt>
                <c:pt idx="358">
                  <c:v>40435</c:v>
                </c:pt>
                <c:pt idx="359">
                  <c:v>40436</c:v>
                </c:pt>
                <c:pt idx="360">
                  <c:v>40437</c:v>
                </c:pt>
                <c:pt idx="361">
                  <c:v>40438</c:v>
                </c:pt>
                <c:pt idx="362">
                  <c:v>40441</c:v>
                </c:pt>
                <c:pt idx="363">
                  <c:v>40442</c:v>
                </c:pt>
                <c:pt idx="364">
                  <c:v>40443</c:v>
                </c:pt>
                <c:pt idx="365">
                  <c:v>40444</c:v>
                </c:pt>
                <c:pt idx="366">
                  <c:v>40445</c:v>
                </c:pt>
                <c:pt idx="367">
                  <c:v>40448</c:v>
                </c:pt>
                <c:pt idx="368">
                  <c:v>40449</c:v>
                </c:pt>
                <c:pt idx="369">
                  <c:v>40450</c:v>
                </c:pt>
                <c:pt idx="370">
                  <c:v>40451</c:v>
                </c:pt>
                <c:pt idx="371">
                  <c:v>40452</c:v>
                </c:pt>
                <c:pt idx="372">
                  <c:v>40455</c:v>
                </c:pt>
                <c:pt idx="373">
                  <c:v>40456</c:v>
                </c:pt>
                <c:pt idx="374">
                  <c:v>40457</c:v>
                </c:pt>
                <c:pt idx="375">
                  <c:v>40458</c:v>
                </c:pt>
                <c:pt idx="376">
                  <c:v>40459</c:v>
                </c:pt>
                <c:pt idx="377">
                  <c:v>40462</c:v>
                </c:pt>
                <c:pt idx="378">
                  <c:v>40463</c:v>
                </c:pt>
                <c:pt idx="379">
                  <c:v>40464</c:v>
                </c:pt>
                <c:pt idx="380">
                  <c:v>40465</c:v>
                </c:pt>
                <c:pt idx="381">
                  <c:v>40466</c:v>
                </c:pt>
                <c:pt idx="382">
                  <c:v>40469</c:v>
                </c:pt>
                <c:pt idx="383">
                  <c:v>40470</c:v>
                </c:pt>
                <c:pt idx="384">
                  <c:v>40471</c:v>
                </c:pt>
                <c:pt idx="385">
                  <c:v>40472</c:v>
                </c:pt>
                <c:pt idx="386">
                  <c:v>40473</c:v>
                </c:pt>
                <c:pt idx="387">
                  <c:v>40476</c:v>
                </c:pt>
                <c:pt idx="388">
                  <c:v>40477</c:v>
                </c:pt>
                <c:pt idx="389">
                  <c:v>40478</c:v>
                </c:pt>
                <c:pt idx="390">
                  <c:v>40479</c:v>
                </c:pt>
                <c:pt idx="391">
                  <c:v>40480</c:v>
                </c:pt>
                <c:pt idx="392">
                  <c:v>40483</c:v>
                </c:pt>
                <c:pt idx="393">
                  <c:v>40484</c:v>
                </c:pt>
                <c:pt idx="394">
                  <c:v>40485</c:v>
                </c:pt>
                <c:pt idx="395">
                  <c:v>40486</c:v>
                </c:pt>
                <c:pt idx="396">
                  <c:v>40487</c:v>
                </c:pt>
                <c:pt idx="397">
                  <c:v>40490</c:v>
                </c:pt>
                <c:pt idx="398">
                  <c:v>40491</c:v>
                </c:pt>
                <c:pt idx="399">
                  <c:v>40492</c:v>
                </c:pt>
                <c:pt idx="400">
                  <c:v>40493</c:v>
                </c:pt>
                <c:pt idx="401">
                  <c:v>40494</c:v>
                </c:pt>
                <c:pt idx="402">
                  <c:v>40497</c:v>
                </c:pt>
                <c:pt idx="403">
                  <c:v>40498</c:v>
                </c:pt>
                <c:pt idx="404">
                  <c:v>40499</c:v>
                </c:pt>
                <c:pt idx="405">
                  <c:v>40500</c:v>
                </c:pt>
                <c:pt idx="406">
                  <c:v>40501</c:v>
                </c:pt>
                <c:pt idx="407">
                  <c:v>40504</c:v>
                </c:pt>
                <c:pt idx="408">
                  <c:v>40505</c:v>
                </c:pt>
                <c:pt idx="409">
                  <c:v>40506</c:v>
                </c:pt>
                <c:pt idx="410">
                  <c:v>40507</c:v>
                </c:pt>
                <c:pt idx="411">
                  <c:v>40508</c:v>
                </c:pt>
                <c:pt idx="412">
                  <c:v>40511</c:v>
                </c:pt>
                <c:pt idx="413">
                  <c:v>40512</c:v>
                </c:pt>
                <c:pt idx="414">
                  <c:v>40513</c:v>
                </c:pt>
                <c:pt idx="415">
                  <c:v>40514</c:v>
                </c:pt>
                <c:pt idx="416">
                  <c:v>40515</c:v>
                </c:pt>
                <c:pt idx="417">
                  <c:v>40518</c:v>
                </c:pt>
                <c:pt idx="418">
                  <c:v>40519</c:v>
                </c:pt>
                <c:pt idx="419">
                  <c:v>40520</c:v>
                </c:pt>
                <c:pt idx="420">
                  <c:v>40521</c:v>
                </c:pt>
                <c:pt idx="421">
                  <c:v>40522</c:v>
                </c:pt>
                <c:pt idx="422">
                  <c:v>40525</c:v>
                </c:pt>
                <c:pt idx="423">
                  <c:v>40526</c:v>
                </c:pt>
                <c:pt idx="424">
                  <c:v>40527</c:v>
                </c:pt>
                <c:pt idx="425">
                  <c:v>40528</c:v>
                </c:pt>
                <c:pt idx="426">
                  <c:v>40529</c:v>
                </c:pt>
                <c:pt idx="427">
                  <c:v>40532</c:v>
                </c:pt>
                <c:pt idx="428">
                  <c:v>40533</c:v>
                </c:pt>
                <c:pt idx="429">
                  <c:v>40534</c:v>
                </c:pt>
                <c:pt idx="430">
                  <c:v>40535</c:v>
                </c:pt>
                <c:pt idx="431">
                  <c:v>40536</c:v>
                </c:pt>
                <c:pt idx="432">
                  <c:v>40539</c:v>
                </c:pt>
                <c:pt idx="433">
                  <c:v>40540</c:v>
                </c:pt>
                <c:pt idx="434">
                  <c:v>40541</c:v>
                </c:pt>
                <c:pt idx="435">
                  <c:v>40542</c:v>
                </c:pt>
                <c:pt idx="436">
                  <c:v>40543</c:v>
                </c:pt>
                <c:pt idx="437">
                  <c:v>40546</c:v>
                </c:pt>
                <c:pt idx="438">
                  <c:v>40547</c:v>
                </c:pt>
                <c:pt idx="439">
                  <c:v>40548</c:v>
                </c:pt>
                <c:pt idx="440">
                  <c:v>40549</c:v>
                </c:pt>
                <c:pt idx="441">
                  <c:v>40550</c:v>
                </c:pt>
                <c:pt idx="442">
                  <c:v>40553</c:v>
                </c:pt>
                <c:pt idx="443">
                  <c:v>40554</c:v>
                </c:pt>
                <c:pt idx="444">
                  <c:v>40555</c:v>
                </c:pt>
                <c:pt idx="445">
                  <c:v>40556</c:v>
                </c:pt>
                <c:pt idx="446">
                  <c:v>40557</c:v>
                </c:pt>
                <c:pt idx="447">
                  <c:v>40560</c:v>
                </c:pt>
                <c:pt idx="448">
                  <c:v>40561</c:v>
                </c:pt>
                <c:pt idx="449">
                  <c:v>40562</c:v>
                </c:pt>
                <c:pt idx="450">
                  <c:v>40563</c:v>
                </c:pt>
                <c:pt idx="451">
                  <c:v>40564</c:v>
                </c:pt>
                <c:pt idx="452">
                  <c:v>40567</c:v>
                </c:pt>
                <c:pt idx="453">
                  <c:v>40568</c:v>
                </c:pt>
                <c:pt idx="454">
                  <c:v>40569</c:v>
                </c:pt>
                <c:pt idx="455">
                  <c:v>40570</c:v>
                </c:pt>
                <c:pt idx="456">
                  <c:v>40571</c:v>
                </c:pt>
                <c:pt idx="457">
                  <c:v>40574</c:v>
                </c:pt>
                <c:pt idx="458">
                  <c:v>40575</c:v>
                </c:pt>
                <c:pt idx="459">
                  <c:v>40576</c:v>
                </c:pt>
                <c:pt idx="460">
                  <c:v>40577</c:v>
                </c:pt>
                <c:pt idx="461">
                  <c:v>40578</c:v>
                </c:pt>
                <c:pt idx="462">
                  <c:v>40581</c:v>
                </c:pt>
                <c:pt idx="463">
                  <c:v>40582</c:v>
                </c:pt>
                <c:pt idx="464">
                  <c:v>40583</c:v>
                </c:pt>
                <c:pt idx="465">
                  <c:v>40584</c:v>
                </c:pt>
                <c:pt idx="466">
                  <c:v>40585</c:v>
                </c:pt>
                <c:pt idx="467">
                  <c:v>40588</c:v>
                </c:pt>
                <c:pt idx="468">
                  <c:v>40589</c:v>
                </c:pt>
                <c:pt idx="469">
                  <c:v>40590</c:v>
                </c:pt>
                <c:pt idx="470">
                  <c:v>40591</c:v>
                </c:pt>
                <c:pt idx="471">
                  <c:v>40592</c:v>
                </c:pt>
                <c:pt idx="472">
                  <c:v>40595</c:v>
                </c:pt>
                <c:pt idx="473">
                  <c:v>40596</c:v>
                </c:pt>
                <c:pt idx="474">
                  <c:v>40597</c:v>
                </c:pt>
                <c:pt idx="475">
                  <c:v>40598</c:v>
                </c:pt>
                <c:pt idx="476">
                  <c:v>40599</c:v>
                </c:pt>
                <c:pt idx="477">
                  <c:v>40602</c:v>
                </c:pt>
                <c:pt idx="478">
                  <c:v>40603</c:v>
                </c:pt>
                <c:pt idx="479">
                  <c:v>40604</c:v>
                </c:pt>
                <c:pt idx="480">
                  <c:v>40605</c:v>
                </c:pt>
                <c:pt idx="481">
                  <c:v>40606</c:v>
                </c:pt>
                <c:pt idx="482">
                  <c:v>40609</c:v>
                </c:pt>
                <c:pt idx="483">
                  <c:v>40610</c:v>
                </c:pt>
                <c:pt idx="484">
                  <c:v>40611</c:v>
                </c:pt>
                <c:pt idx="485">
                  <c:v>40612</c:v>
                </c:pt>
                <c:pt idx="486">
                  <c:v>40613</c:v>
                </c:pt>
                <c:pt idx="487">
                  <c:v>40616</c:v>
                </c:pt>
                <c:pt idx="488">
                  <c:v>40617</c:v>
                </c:pt>
                <c:pt idx="489">
                  <c:v>40618</c:v>
                </c:pt>
                <c:pt idx="490">
                  <c:v>40619</c:v>
                </c:pt>
                <c:pt idx="491">
                  <c:v>40620</c:v>
                </c:pt>
                <c:pt idx="492">
                  <c:v>40623</c:v>
                </c:pt>
                <c:pt idx="493">
                  <c:v>40624</c:v>
                </c:pt>
                <c:pt idx="494">
                  <c:v>40625</c:v>
                </c:pt>
                <c:pt idx="495">
                  <c:v>40626</c:v>
                </c:pt>
                <c:pt idx="496">
                  <c:v>40627</c:v>
                </c:pt>
                <c:pt idx="497">
                  <c:v>40630</c:v>
                </c:pt>
                <c:pt idx="498">
                  <c:v>40631</c:v>
                </c:pt>
                <c:pt idx="499">
                  <c:v>40632</c:v>
                </c:pt>
                <c:pt idx="500">
                  <c:v>40633</c:v>
                </c:pt>
                <c:pt idx="501">
                  <c:v>40634</c:v>
                </c:pt>
                <c:pt idx="502">
                  <c:v>40637</c:v>
                </c:pt>
                <c:pt idx="503">
                  <c:v>40638</c:v>
                </c:pt>
                <c:pt idx="504">
                  <c:v>40639</c:v>
                </c:pt>
                <c:pt idx="505">
                  <c:v>40640</c:v>
                </c:pt>
                <c:pt idx="506">
                  <c:v>40641</c:v>
                </c:pt>
                <c:pt idx="507">
                  <c:v>40644</c:v>
                </c:pt>
                <c:pt idx="508">
                  <c:v>40645</c:v>
                </c:pt>
                <c:pt idx="509">
                  <c:v>40646</c:v>
                </c:pt>
                <c:pt idx="510">
                  <c:v>40647</c:v>
                </c:pt>
                <c:pt idx="511">
                  <c:v>40648</c:v>
                </c:pt>
                <c:pt idx="512">
                  <c:v>40651</c:v>
                </c:pt>
                <c:pt idx="513">
                  <c:v>40652</c:v>
                </c:pt>
                <c:pt idx="514">
                  <c:v>40653</c:v>
                </c:pt>
                <c:pt idx="515">
                  <c:v>40654</c:v>
                </c:pt>
                <c:pt idx="516">
                  <c:v>40655</c:v>
                </c:pt>
                <c:pt idx="517">
                  <c:v>40658</c:v>
                </c:pt>
                <c:pt idx="518">
                  <c:v>40659</c:v>
                </c:pt>
                <c:pt idx="519">
                  <c:v>40660</c:v>
                </c:pt>
                <c:pt idx="520">
                  <c:v>40661</c:v>
                </c:pt>
                <c:pt idx="521">
                  <c:v>40662</c:v>
                </c:pt>
                <c:pt idx="522">
                  <c:v>40665</c:v>
                </c:pt>
                <c:pt idx="523">
                  <c:v>40666</c:v>
                </c:pt>
                <c:pt idx="524">
                  <c:v>40667</c:v>
                </c:pt>
                <c:pt idx="525">
                  <c:v>40668</c:v>
                </c:pt>
                <c:pt idx="526">
                  <c:v>40669</c:v>
                </c:pt>
                <c:pt idx="527">
                  <c:v>40672</c:v>
                </c:pt>
                <c:pt idx="528">
                  <c:v>40673</c:v>
                </c:pt>
                <c:pt idx="529">
                  <c:v>40674</c:v>
                </c:pt>
                <c:pt idx="530">
                  <c:v>40675</c:v>
                </c:pt>
                <c:pt idx="531">
                  <c:v>40676</c:v>
                </c:pt>
                <c:pt idx="532">
                  <c:v>40679</c:v>
                </c:pt>
                <c:pt idx="533">
                  <c:v>40680</c:v>
                </c:pt>
                <c:pt idx="534">
                  <c:v>40681</c:v>
                </c:pt>
                <c:pt idx="535">
                  <c:v>40682</c:v>
                </c:pt>
                <c:pt idx="536">
                  <c:v>40683</c:v>
                </c:pt>
                <c:pt idx="537">
                  <c:v>40686</c:v>
                </c:pt>
                <c:pt idx="538">
                  <c:v>40687</c:v>
                </c:pt>
                <c:pt idx="539">
                  <c:v>40688</c:v>
                </c:pt>
                <c:pt idx="540">
                  <c:v>40689</c:v>
                </c:pt>
                <c:pt idx="541">
                  <c:v>40690</c:v>
                </c:pt>
                <c:pt idx="542">
                  <c:v>40693</c:v>
                </c:pt>
                <c:pt idx="543">
                  <c:v>40694</c:v>
                </c:pt>
                <c:pt idx="544">
                  <c:v>40695</c:v>
                </c:pt>
                <c:pt idx="545">
                  <c:v>40696</c:v>
                </c:pt>
                <c:pt idx="546">
                  <c:v>40697</c:v>
                </c:pt>
                <c:pt idx="547">
                  <c:v>40700</c:v>
                </c:pt>
                <c:pt idx="548">
                  <c:v>40701</c:v>
                </c:pt>
                <c:pt idx="549">
                  <c:v>40702</c:v>
                </c:pt>
                <c:pt idx="550">
                  <c:v>40703</c:v>
                </c:pt>
                <c:pt idx="551">
                  <c:v>40704</c:v>
                </c:pt>
                <c:pt idx="552">
                  <c:v>40707</c:v>
                </c:pt>
                <c:pt idx="553">
                  <c:v>40708</c:v>
                </c:pt>
                <c:pt idx="554">
                  <c:v>40709</c:v>
                </c:pt>
                <c:pt idx="555">
                  <c:v>40710</c:v>
                </c:pt>
                <c:pt idx="556">
                  <c:v>40711</c:v>
                </c:pt>
                <c:pt idx="557">
                  <c:v>40714</c:v>
                </c:pt>
                <c:pt idx="558">
                  <c:v>40715</c:v>
                </c:pt>
                <c:pt idx="559">
                  <c:v>40716</c:v>
                </c:pt>
                <c:pt idx="560">
                  <c:v>40717</c:v>
                </c:pt>
                <c:pt idx="561">
                  <c:v>40718</c:v>
                </c:pt>
                <c:pt idx="562">
                  <c:v>40721</c:v>
                </c:pt>
                <c:pt idx="563">
                  <c:v>40722</c:v>
                </c:pt>
                <c:pt idx="564">
                  <c:v>40723</c:v>
                </c:pt>
                <c:pt idx="565">
                  <c:v>40724</c:v>
                </c:pt>
                <c:pt idx="566">
                  <c:v>40725</c:v>
                </c:pt>
                <c:pt idx="567">
                  <c:v>40728</c:v>
                </c:pt>
                <c:pt idx="568">
                  <c:v>40729</c:v>
                </c:pt>
                <c:pt idx="569">
                  <c:v>40730</c:v>
                </c:pt>
                <c:pt idx="570">
                  <c:v>40731</c:v>
                </c:pt>
                <c:pt idx="571">
                  <c:v>40732</c:v>
                </c:pt>
                <c:pt idx="572">
                  <c:v>40735</c:v>
                </c:pt>
                <c:pt idx="573">
                  <c:v>40736</c:v>
                </c:pt>
                <c:pt idx="574">
                  <c:v>40737</c:v>
                </c:pt>
                <c:pt idx="575">
                  <c:v>40738</c:v>
                </c:pt>
                <c:pt idx="576">
                  <c:v>40739</c:v>
                </c:pt>
                <c:pt idx="577">
                  <c:v>40742</c:v>
                </c:pt>
                <c:pt idx="578">
                  <c:v>40743</c:v>
                </c:pt>
                <c:pt idx="579">
                  <c:v>40744</c:v>
                </c:pt>
                <c:pt idx="580">
                  <c:v>40745</c:v>
                </c:pt>
                <c:pt idx="581">
                  <c:v>40746</c:v>
                </c:pt>
                <c:pt idx="582">
                  <c:v>40749</c:v>
                </c:pt>
                <c:pt idx="583">
                  <c:v>40750</c:v>
                </c:pt>
                <c:pt idx="584">
                  <c:v>40751</c:v>
                </c:pt>
                <c:pt idx="585">
                  <c:v>40752</c:v>
                </c:pt>
                <c:pt idx="586">
                  <c:v>40753</c:v>
                </c:pt>
                <c:pt idx="587">
                  <c:v>40756</c:v>
                </c:pt>
                <c:pt idx="588">
                  <c:v>40757</c:v>
                </c:pt>
                <c:pt idx="589">
                  <c:v>40758</c:v>
                </c:pt>
                <c:pt idx="590">
                  <c:v>40759</c:v>
                </c:pt>
                <c:pt idx="591">
                  <c:v>40760</c:v>
                </c:pt>
                <c:pt idx="592">
                  <c:v>40763</c:v>
                </c:pt>
                <c:pt idx="593">
                  <c:v>40764</c:v>
                </c:pt>
                <c:pt idx="594">
                  <c:v>40765</c:v>
                </c:pt>
                <c:pt idx="595">
                  <c:v>40766</c:v>
                </c:pt>
                <c:pt idx="596">
                  <c:v>40767</c:v>
                </c:pt>
                <c:pt idx="597">
                  <c:v>40770</c:v>
                </c:pt>
                <c:pt idx="598">
                  <c:v>40771</c:v>
                </c:pt>
                <c:pt idx="599">
                  <c:v>40772</c:v>
                </c:pt>
                <c:pt idx="600">
                  <c:v>40773</c:v>
                </c:pt>
                <c:pt idx="601">
                  <c:v>40774</c:v>
                </c:pt>
                <c:pt idx="602">
                  <c:v>40777</c:v>
                </c:pt>
                <c:pt idx="603">
                  <c:v>40778</c:v>
                </c:pt>
                <c:pt idx="604">
                  <c:v>40779</c:v>
                </c:pt>
                <c:pt idx="605">
                  <c:v>40780</c:v>
                </c:pt>
                <c:pt idx="606">
                  <c:v>40781</c:v>
                </c:pt>
                <c:pt idx="607">
                  <c:v>40784</c:v>
                </c:pt>
                <c:pt idx="608">
                  <c:v>40785</c:v>
                </c:pt>
                <c:pt idx="609">
                  <c:v>40786</c:v>
                </c:pt>
                <c:pt idx="610">
                  <c:v>40787</c:v>
                </c:pt>
                <c:pt idx="611">
                  <c:v>40788</c:v>
                </c:pt>
                <c:pt idx="612">
                  <c:v>40791</c:v>
                </c:pt>
                <c:pt idx="613">
                  <c:v>40792</c:v>
                </c:pt>
                <c:pt idx="614">
                  <c:v>40793</c:v>
                </c:pt>
                <c:pt idx="615">
                  <c:v>40794</c:v>
                </c:pt>
                <c:pt idx="616">
                  <c:v>40795</c:v>
                </c:pt>
                <c:pt idx="617">
                  <c:v>40798</c:v>
                </c:pt>
                <c:pt idx="618">
                  <c:v>40799</c:v>
                </c:pt>
                <c:pt idx="619">
                  <c:v>40800</c:v>
                </c:pt>
                <c:pt idx="620">
                  <c:v>40801</c:v>
                </c:pt>
                <c:pt idx="621">
                  <c:v>40802</c:v>
                </c:pt>
                <c:pt idx="622">
                  <c:v>40805</c:v>
                </c:pt>
                <c:pt idx="623">
                  <c:v>40806</c:v>
                </c:pt>
                <c:pt idx="624">
                  <c:v>40807</c:v>
                </c:pt>
                <c:pt idx="625">
                  <c:v>40808</c:v>
                </c:pt>
                <c:pt idx="626">
                  <c:v>40809</c:v>
                </c:pt>
                <c:pt idx="627">
                  <c:v>40812</c:v>
                </c:pt>
                <c:pt idx="628">
                  <c:v>40813</c:v>
                </c:pt>
                <c:pt idx="629">
                  <c:v>40814</c:v>
                </c:pt>
                <c:pt idx="630">
                  <c:v>40815</c:v>
                </c:pt>
                <c:pt idx="631">
                  <c:v>40816</c:v>
                </c:pt>
                <c:pt idx="632">
                  <c:v>40819</c:v>
                </c:pt>
                <c:pt idx="633">
                  <c:v>40820</c:v>
                </c:pt>
                <c:pt idx="634">
                  <c:v>40821</c:v>
                </c:pt>
                <c:pt idx="635">
                  <c:v>40822</c:v>
                </c:pt>
                <c:pt idx="636">
                  <c:v>40823</c:v>
                </c:pt>
                <c:pt idx="637">
                  <c:v>40826</c:v>
                </c:pt>
                <c:pt idx="638">
                  <c:v>40827</c:v>
                </c:pt>
                <c:pt idx="639">
                  <c:v>40828</c:v>
                </c:pt>
                <c:pt idx="640">
                  <c:v>40829</c:v>
                </c:pt>
                <c:pt idx="641">
                  <c:v>40830</c:v>
                </c:pt>
                <c:pt idx="642">
                  <c:v>40833</c:v>
                </c:pt>
                <c:pt idx="643">
                  <c:v>40834</c:v>
                </c:pt>
                <c:pt idx="644">
                  <c:v>40835</c:v>
                </c:pt>
                <c:pt idx="645">
                  <c:v>40836</c:v>
                </c:pt>
                <c:pt idx="646">
                  <c:v>40837</c:v>
                </c:pt>
                <c:pt idx="647">
                  <c:v>40840</c:v>
                </c:pt>
                <c:pt idx="648">
                  <c:v>40841</c:v>
                </c:pt>
                <c:pt idx="649">
                  <c:v>40842</c:v>
                </c:pt>
                <c:pt idx="650">
                  <c:v>40843</c:v>
                </c:pt>
                <c:pt idx="651">
                  <c:v>40844</c:v>
                </c:pt>
                <c:pt idx="652">
                  <c:v>40847</c:v>
                </c:pt>
                <c:pt idx="653">
                  <c:v>40848</c:v>
                </c:pt>
                <c:pt idx="654">
                  <c:v>40849</c:v>
                </c:pt>
                <c:pt idx="655">
                  <c:v>40850</c:v>
                </c:pt>
                <c:pt idx="656">
                  <c:v>40851</c:v>
                </c:pt>
                <c:pt idx="657">
                  <c:v>40854</c:v>
                </c:pt>
                <c:pt idx="658">
                  <c:v>40855</c:v>
                </c:pt>
                <c:pt idx="659">
                  <c:v>40856</c:v>
                </c:pt>
                <c:pt idx="660">
                  <c:v>40857</c:v>
                </c:pt>
                <c:pt idx="661">
                  <c:v>40858</c:v>
                </c:pt>
                <c:pt idx="662">
                  <c:v>40861</c:v>
                </c:pt>
                <c:pt idx="663">
                  <c:v>40862</c:v>
                </c:pt>
                <c:pt idx="664">
                  <c:v>40863</c:v>
                </c:pt>
                <c:pt idx="665">
                  <c:v>40864</c:v>
                </c:pt>
                <c:pt idx="666">
                  <c:v>40865</c:v>
                </c:pt>
                <c:pt idx="667">
                  <c:v>40868</c:v>
                </c:pt>
                <c:pt idx="668">
                  <c:v>40869</c:v>
                </c:pt>
                <c:pt idx="669">
                  <c:v>40870</c:v>
                </c:pt>
                <c:pt idx="670">
                  <c:v>40871</c:v>
                </c:pt>
                <c:pt idx="671">
                  <c:v>40872</c:v>
                </c:pt>
                <c:pt idx="672">
                  <c:v>40875</c:v>
                </c:pt>
                <c:pt idx="673">
                  <c:v>40876</c:v>
                </c:pt>
                <c:pt idx="674">
                  <c:v>40877</c:v>
                </c:pt>
                <c:pt idx="675">
                  <c:v>40878</c:v>
                </c:pt>
                <c:pt idx="676">
                  <c:v>40879</c:v>
                </c:pt>
                <c:pt idx="677">
                  <c:v>40882</c:v>
                </c:pt>
                <c:pt idx="678">
                  <c:v>40883</c:v>
                </c:pt>
                <c:pt idx="679">
                  <c:v>40884</c:v>
                </c:pt>
                <c:pt idx="680">
                  <c:v>40885</c:v>
                </c:pt>
                <c:pt idx="681">
                  <c:v>40886</c:v>
                </c:pt>
                <c:pt idx="682">
                  <c:v>40889</c:v>
                </c:pt>
                <c:pt idx="683">
                  <c:v>40890</c:v>
                </c:pt>
                <c:pt idx="684">
                  <c:v>40891</c:v>
                </c:pt>
                <c:pt idx="685">
                  <c:v>40892</c:v>
                </c:pt>
                <c:pt idx="686">
                  <c:v>40893</c:v>
                </c:pt>
                <c:pt idx="687">
                  <c:v>40896</c:v>
                </c:pt>
                <c:pt idx="688">
                  <c:v>40897</c:v>
                </c:pt>
                <c:pt idx="689">
                  <c:v>40898</c:v>
                </c:pt>
                <c:pt idx="690">
                  <c:v>40899</c:v>
                </c:pt>
                <c:pt idx="691">
                  <c:v>40900</c:v>
                </c:pt>
                <c:pt idx="692">
                  <c:v>40903</c:v>
                </c:pt>
                <c:pt idx="693">
                  <c:v>40904</c:v>
                </c:pt>
                <c:pt idx="694">
                  <c:v>40905</c:v>
                </c:pt>
                <c:pt idx="695">
                  <c:v>40906</c:v>
                </c:pt>
                <c:pt idx="696">
                  <c:v>40907</c:v>
                </c:pt>
                <c:pt idx="697">
                  <c:v>40910</c:v>
                </c:pt>
                <c:pt idx="698">
                  <c:v>40911</c:v>
                </c:pt>
                <c:pt idx="699">
                  <c:v>40912</c:v>
                </c:pt>
                <c:pt idx="700">
                  <c:v>40913</c:v>
                </c:pt>
                <c:pt idx="701">
                  <c:v>40914</c:v>
                </c:pt>
                <c:pt idx="702">
                  <c:v>40917</c:v>
                </c:pt>
                <c:pt idx="703">
                  <c:v>40918</c:v>
                </c:pt>
                <c:pt idx="704">
                  <c:v>40919</c:v>
                </c:pt>
                <c:pt idx="705">
                  <c:v>40920</c:v>
                </c:pt>
                <c:pt idx="706">
                  <c:v>40921</c:v>
                </c:pt>
                <c:pt idx="707">
                  <c:v>40924</c:v>
                </c:pt>
                <c:pt idx="708">
                  <c:v>40925</c:v>
                </c:pt>
                <c:pt idx="709">
                  <c:v>40926</c:v>
                </c:pt>
                <c:pt idx="710">
                  <c:v>40927</c:v>
                </c:pt>
                <c:pt idx="711">
                  <c:v>40928</c:v>
                </c:pt>
                <c:pt idx="712">
                  <c:v>40931</c:v>
                </c:pt>
                <c:pt idx="713">
                  <c:v>40932</c:v>
                </c:pt>
                <c:pt idx="714">
                  <c:v>40933</c:v>
                </c:pt>
                <c:pt idx="715">
                  <c:v>40934</c:v>
                </c:pt>
                <c:pt idx="716">
                  <c:v>40935</c:v>
                </c:pt>
                <c:pt idx="717">
                  <c:v>40938</c:v>
                </c:pt>
                <c:pt idx="718">
                  <c:v>40939</c:v>
                </c:pt>
                <c:pt idx="719">
                  <c:v>40940</c:v>
                </c:pt>
                <c:pt idx="720">
                  <c:v>40941</c:v>
                </c:pt>
                <c:pt idx="721">
                  <c:v>40942</c:v>
                </c:pt>
                <c:pt idx="722">
                  <c:v>40945</c:v>
                </c:pt>
                <c:pt idx="723">
                  <c:v>40946</c:v>
                </c:pt>
                <c:pt idx="724">
                  <c:v>40947</c:v>
                </c:pt>
                <c:pt idx="725">
                  <c:v>40948</c:v>
                </c:pt>
                <c:pt idx="726">
                  <c:v>40949</c:v>
                </c:pt>
                <c:pt idx="727">
                  <c:v>40952</c:v>
                </c:pt>
                <c:pt idx="728">
                  <c:v>40953</c:v>
                </c:pt>
                <c:pt idx="729">
                  <c:v>40954</c:v>
                </c:pt>
                <c:pt idx="730">
                  <c:v>40955</c:v>
                </c:pt>
                <c:pt idx="731">
                  <c:v>40956</c:v>
                </c:pt>
                <c:pt idx="732">
                  <c:v>40959</c:v>
                </c:pt>
                <c:pt idx="733">
                  <c:v>40960</c:v>
                </c:pt>
                <c:pt idx="734">
                  <c:v>40961</c:v>
                </c:pt>
                <c:pt idx="735">
                  <c:v>40962</c:v>
                </c:pt>
                <c:pt idx="736">
                  <c:v>40963</c:v>
                </c:pt>
                <c:pt idx="737">
                  <c:v>40966</c:v>
                </c:pt>
                <c:pt idx="738">
                  <c:v>40967</c:v>
                </c:pt>
                <c:pt idx="739">
                  <c:v>40968</c:v>
                </c:pt>
                <c:pt idx="740">
                  <c:v>40969</c:v>
                </c:pt>
                <c:pt idx="741">
                  <c:v>40970</c:v>
                </c:pt>
                <c:pt idx="742">
                  <c:v>40973</c:v>
                </c:pt>
                <c:pt idx="743">
                  <c:v>40974</c:v>
                </c:pt>
                <c:pt idx="744">
                  <c:v>40975</c:v>
                </c:pt>
                <c:pt idx="745">
                  <c:v>40976</c:v>
                </c:pt>
                <c:pt idx="746">
                  <c:v>40977</c:v>
                </c:pt>
                <c:pt idx="747">
                  <c:v>40980</c:v>
                </c:pt>
                <c:pt idx="748">
                  <c:v>40981</c:v>
                </c:pt>
                <c:pt idx="749">
                  <c:v>40982</c:v>
                </c:pt>
                <c:pt idx="750">
                  <c:v>40983</c:v>
                </c:pt>
                <c:pt idx="751">
                  <c:v>40984</c:v>
                </c:pt>
                <c:pt idx="752">
                  <c:v>40987</c:v>
                </c:pt>
                <c:pt idx="753">
                  <c:v>40988</c:v>
                </c:pt>
                <c:pt idx="754">
                  <c:v>40989</c:v>
                </c:pt>
                <c:pt idx="755">
                  <c:v>40990</c:v>
                </c:pt>
                <c:pt idx="756">
                  <c:v>40991</c:v>
                </c:pt>
                <c:pt idx="757">
                  <c:v>40994</c:v>
                </c:pt>
                <c:pt idx="758">
                  <c:v>40995</c:v>
                </c:pt>
                <c:pt idx="759">
                  <c:v>40996</c:v>
                </c:pt>
                <c:pt idx="760">
                  <c:v>40997</c:v>
                </c:pt>
                <c:pt idx="761">
                  <c:v>40998</c:v>
                </c:pt>
                <c:pt idx="762">
                  <c:v>41001</c:v>
                </c:pt>
                <c:pt idx="763">
                  <c:v>41002</c:v>
                </c:pt>
                <c:pt idx="764">
                  <c:v>41003</c:v>
                </c:pt>
                <c:pt idx="765">
                  <c:v>41004</c:v>
                </c:pt>
                <c:pt idx="766">
                  <c:v>41005</c:v>
                </c:pt>
                <c:pt idx="767">
                  <c:v>41008</c:v>
                </c:pt>
                <c:pt idx="768">
                  <c:v>41009</c:v>
                </c:pt>
                <c:pt idx="769">
                  <c:v>41010</c:v>
                </c:pt>
                <c:pt idx="770">
                  <c:v>41011</c:v>
                </c:pt>
                <c:pt idx="771">
                  <c:v>41012</c:v>
                </c:pt>
                <c:pt idx="772">
                  <c:v>41015</c:v>
                </c:pt>
                <c:pt idx="773">
                  <c:v>41016</c:v>
                </c:pt>
                <c:pt idx="774">
                  <c:v>41017</c:v>
                </c:pt>
                <c:pt idx="775">
                  <c:v>41018</c:v>
                </c:pt>
                <c:pt idx="776">
                  <c:v>41019</c:v>
                </c:pt>
                <c:pt idx="777">
                  <c:v>41022</c:v>
                </c:pt>
                <c:pt idx="778">
                  <c:v>41023</c:v>
                </c:pt>
                <c:pt idx="779">
                  <c:v>41024</c:v>
                </c:pt>
                <c:pt idx="780">
                  <c:v>41025</c:v>
                </c:pt>
                <c:pt idx="781">
                  <c:v>41026</c:v>
                </c:pt>
                <c:pt idx="782">
                  <c:v>41029</c:v>
                </c:pt>
                <c:pt idx="783">
                  <c:v>41030</c:v>
                </c:pt>
                <c:pt idx="784">
                  <c:v>41031</c:v>
                </c:pt>
                <c:pt idx="785">
                  <c:v>41032</c:v>
                </c:pt>
                <c:pt idx="786">
                  <c:v>41033</c:v>
                </c:pt>
                <c:pt idx="787">
                  <c:v>41036</c:v>
                </c:pt>
                <c:pt idx="788">
                  <c:v>41037</c:v>
                </c:pt>
                <c:pt idx="789">
                  <c:v>41038</c:v>
                </c:pt>
                <c:pt idx="790">
                  <c:v>41039</c:v>
                </c:pt>
                <c:pt idx="791">
                  <c:v>41040</c:v>
                </c:pt>
                <c:pt idx="792">
                  <c:v>41043</c:v>
                </c:pt>
                <c:pt idx="793">
                  <c:v>41044</c:v>
                </c:pt>
                <c:pt idx="794">
                  <c:v>41045</c:v>
                </c:pt>
                <c:pt idx="795">
                  <c:v>41046</c:v>
                </c:pt>
                <c:pt idx="796">
                  <c:v>41047</c:v>
                </c:pt>
                <c:pt idx="797">
                  <c:v>41050</c:v>
                </c:pt>
                <c:pt idx="798">
                  <c:v>41051</c:v>
                </c:pt>
                <c:pt idx="799">
                  <c:v>41052</c:v>
                </c:pt>
                <c:pt idx="800">
                  <c:v>41053</c:v>
                </c:pt>
                <c:pt idx="801">
                  <c:v>41054</c:v>
                </c:pt>
                <c:pt idx="802">
                  <c:v>41057</c:v>
                </c:pt>
                <c:pt idx="803">
                  <c:v>41058</c:v>
                </c:pt>
                <c:pt idx="804">
                  <c:v>41059</c:v>
                </c:pt>
                <c:pt idx="805">
                  <c:v>41060</c:v>
                </c:pt>
                <c:pt idx="806">
                  <c:v>41061</c:v>
                </c:pt>
                <c:pt idx="807">
                  <c:v>41064</c:v>
                </c:pt>
                <c:pt idx="808">
                  <c:v>41065</c:v>
                </c:pt>
                <c:pt idx="809">
                  <c:v>41066</c:v>
                </c:pt>
                <c:pt idx="810">
                  <c:v>41067</c:v>
                </c:pt>
                <c:pt idx="811">
                  <c:v>41068</c:v>
                </c:pt>
                <c:pt idx="812">
                  <c:v>41071</c:v>
                </c:pt>
                <c:pt idx="813">
                  <c:v>41072</c:v>
                </c:pt>
                <c:pt idx="814">
                  <c:v>41073</c:v>
                </c:pt>
                <c:pt idx="815">
                  <c:v>41074</c:v>
                </c:pt>
                <c:pt idx="816">
                  <c:v>41075</c:v>
                </c:pt>
                <c:pt idx="817">
                  <c:v>41078</c:v>
                </c:pt>
                <c:pt idx="818">
                  <c:v>41079</c:v>
                </c:pt>
                <c:pt idx="819">
                  <c:v>41080</c:v>
                </c:pt>
                <c:pt idx="820">
                  <c:v>41081</c:v>
                </c:pt>
                <c:pt idx="821">
                  <c:v>41082</c:v>
                </c:pt>
                <c:pt idx="822">
                  <c:v>41085</c:v>
                </c:pt>
                <c:pt idx="823">
                  <c:v>41086</c:v>
                </c:pt>
                <c:pt idx="824">
                  <c:v>41087</c:v>
                </c:pt>
                <c:pt idx="825">
                  <c:v>41088</c:v>
                </c:pt>
                <c:pt idx="826">
                  <c:v>41089</c:v>
                </c:pt>
                <c:pt idx="827">
                  <c:v>41092</c:v>
                </c:pt>
                <c:pt idx="828">
                  <c:v>41093</c:v>
                </c:pt>
                <c:pt idx="829">
                  <c:v>41094</c:v>
                </c:pt>
                <c:pt idx="830">
                  <c:v>41095</c:v>
                </c:pt>
                <c:pt idx="831">
                  <c:v>41096</c:v>
                </c:pt>
                <c:pt idx="832">
                  <c:v>41099</c:v>
                </c:pt>
                <c:pt idx="833">
                  <c:v>41100</c:v>
                </c:pt>
                <c:pt idx="834">
                  <c:v>41101</c:v>
                </c:pt>
                <c:pt idx="835">
                  <c:v>41102</c:v>
                </c:pt>
                <c:pt idx="836">
                  <c:v>41103</c:v>
                </c:pt>
                <c:pt idx="837">
                  <c:v>41106</c:v>
                </c:pt>
                <c:pt idx="838">
                  <c:v>41107</c:v>
                </c:pt>
                <c:pt idx="839">
                  <c:v>41108</c:v>
                </c:pt>
                <c:pt idx="840">
                  <c:v>41109</c:v>
                </c:pt>
                <c:pt idx="841">
                  <c:v>41110</c:v>
                </c:pt>
                <c:pt idx="842">
                  <c:v>41113</c:v>
                </c:pt>
                <c:pt idx="843">
                  <c:v>41114</c:v>
                </c:pt>
                <c:pt idx="844">
                  <c:v>41115</c:v>
                </c:pt>
                <c:pt idx="845">
                  <c:v>41116</c:v>
                </c:pt>
                <c:pt idx="846">
                  <c:v>41117</c:v>
                </c:pt>
                <c:pt idx="847">
                  <c:v>41120</c:v>
                </c:pt>
                <c:pt idx="848">
                  <c:v>41121</c:v>
                </c:pt>
                <c:pt idx="849">
                  <c:v>41122</c:v>
                </c:pt>
                <c:pt idx="850">
                  <c:v>41123</c:v>
                </c:pt>
                <c:pt idx="851">
                  <c:v>41124</c:v>
                </c:pt>
                <c:pt idx="852">
                  <c:v>41127</c:v>
                </c:pt>
                <c:pt idx="853">
                  <c:v>41128</c:v>
                </c:pt>
                <c:pt idx="854">
                  <c:v>41129</c:v>
                </c:pt>
                <c:pt idx="855">
                  <c:v>41130</c:v>
                </c:pt>
                <c:pt idx="856">
                  <c:v>41131</c:v>
                </c:pt>
                <c:pt idx="857">
                  <c:v>41134</c:v>
                </c:pt>
                <c:pt idx="858">
                  <c:v>41135</c:v>
                </c:pt>
                <c:pt idx="859">
                  <c:v>41136</c:v>
                </c:pt>
                <c:pt idx="860">
                  <c:v>41137</c:v>
                </c:pt>
                <c:pt idx="861">
                  <c:v>41138</c:v>
                </c:pt>
                <c:pt idx="862">
                  <c:v>41141</c:v>
                </c:pt>
                <c:pt idx="863">
                  <c:v>41142</c:v>
                </c:pt>
                <c:pt idx="864">
                  <c:v>41143</c:v>
                </c:pt>
                <c:pt idx="865">
                  <c:v>41144</c:v>
                </c:pt>
                <c:pt idx="866">
                  <c:v>41145</c:v>
                </c:pt>
                <c:pt idx="867">
                  <c:v>41148</c:v>
                </c:pt>
                <c:pt idx="868">
                  <c:v>41149</c:v>
                </c:pt>
                <c:pt idx="869">
                  <c:v>41150</c:v>
                </c:pt>
                <c:pt idx="870">
                  <c:v>41151</c:v>
                </c:pt>
                <c:pt idx="871">
                  <c:v>41152</c:v>
                </c:pt>
                <c:pt idx="872">
                  <c:v>41155</c:v>
                </c:pt>
                <c:pt idx="873">
                  <c:v>41156</c:v>
                </c:pt>
                <c:pt idx="874">
                  <c:v>41157</c:v>
                </c:pt>
                <c:pt idx="875">
                  <c:v>41158</c:v>
                </c:pt>
                <c:pt idx="876">
                  <c:v>41159</c:v>
                </c:pt>
                <c:pt idx="877">
                  <c:v>41162</c:v>
                </c:pt>
                <c:pt idx="878">
                  <c:v>41163</c:v>
                </c:pt>
                <c:pt idx="879">
                  <c:v>41164</c:v>
                </c:pt>
                <c:pt idx="880">
                  <c:v>41165</c:v>
                </c:pt>
                <c:pt idx="881">
                  <c:v>41166</c:v>
                </c:pt>
                <c:pt idx="882">
                  <c:v>41169</c:v>
                </c:pt>
                <c:pt idx="883">
                  <c:v>41170</c:v>
                </c:pt>
                <c:pt idx="884">
                  <c:v>41171</c:v>
                </c:pt>
                <c:pt idx="885">
                  <c:v>41172</c:v>
                </c:pt>
                <c:pt idx="886">
                  <c:v>41173</c:v>
                </c:pt>
                <c:pt idx="887">
                  <c:v>41176</c:v>
                </c:pt>
                <c:pt idx="888">
                  <c:v>41177</c:v>
                </c:pt>
                <c:pt idx="889">
                  <c:v>41178</c:v>
                </c:pt>
                <c:pt idx="890">
                  <c:v>41179</c:v>
                </c:pt>
                <c:pt idx="891">
                  <c:v>41180</c:v>
                </c:pt>
                <c:pt idx="892">
                  <c:v>41183</c:v>
                </c:pt>
                <c:pt idx="893">
                  <c:v>41184</c:v>
                </c:pt>
                <c:pt idx="894">
                  <c:v>41185</c:v>
                </c:pt>
                <c:pt idx="895">
                  <c:v>41186</c:v>
                </c:pt>
                <c:pt idx="896">
                  <c:v>41187</c:v>
                </c:pt>
                <c:pt idx="897">
                  <c:v>41190</c:v>
                </c:pt>
                <c:pt idx="898">
                  <c:v>41191</c:v>
                </c:pt>
                <c:pt idx="899">
                  <c:v>41192</c:v>
                </c:pt>
                <c:pt idx="900">
                  <c:v>41193</c:v>
                </c:pt>
                <c:pt idx="901">
                  <c:v>41194</c:v>
                </c:pt>
                <c:pt idx="902">
                  <c:v>41197</c:v>
                </c:pt>
                <c:pt idx="903">
                  <c:v>41198</c:v>
                </c:pt>
                <c:pt idx="904">
                  <c:v>41199</c:v>
                </c:pt>
                <c:pt idx="905">
                  <c:v>41200</c:v>
                </c:pt>
                <c:pt idx="906">
                  <c:v>41201</c:v>
                </c:pt>
                <c:pt idx="907">
                  <c:v>41204</c:v>
                </c:pt>
                <c:pt idx="908">
                  <c:v>41205</c:v>
                </c:pt>
                <c:pt idx="909">
                  <c:v>41206</c:v>
                </c:pt>
                <c:pt idx="910">
                  <c:v>41207</c:v>
                </c:pt>
                <c:pt idx="911">
                  <c:v>41208</c:v>
                </c:pt>
                <c:pt idx="912">
                  <c:v>41211</c:v>
                </c:pt>
                <c:pt idx="913">
                  <c:v>41212</c:v>
                </c:pt>
                <c:pt idx="914">
                  <c:v>41213</c:v>
                </c:pt>
                <c:pt idx="915">
                  <c:v>41214</c:v>
                </c:pt>
                <c:pt idx="916">
                  <c:v>41215</c:v>
                </c:pt>
                <c:pt idx="917">
                  <c:v>41218</c:v>
                </c:pt>
                <c:pt idx="918">
                  <c:v>41219</c:v>
                </c:pt>
                <c:pt idx="919">
                  <c:v>41220</c:v>
                </c:pt>
                <c:pt idx="920">
                  <c:v>41221</c:v>
                </c:pt>
                <c:pt idx="921">
                  <c:v>41222</c:v>
                </c:pt>
                <c:pt idx="922">
                  <c:v>41225</c:v>
                </c:pt>
                <c:pt idx="923">
                  <c:v>41226</c:v>
                </c:pt>
                <c:pt idx="924">
                  <c:v>41227</c:v>
                </c:pt>
                <c:pt idx="925">
                  <c:v>41228</c:v>
                </c:pt>
                <c:pt idx="926">
                  <c:v>41229</c:v>
                </c:pt>
                <c:pt idx="927">
                  <c:v>41232</c:v>
                </c:pt>
                <c:pt idx="928">
                  <c:v>41233</c:v>
                </c:pt>
                <c:pt idx="929">
                  <c:v>41234</c:v>
                </c:pt>
                <c:pt idx="930">
                  <c:v>41235</c:v>
                </c:pt>
                <c:pt idx="931">
                  <c:v>41236</c:v>
                </c:pt>
                <c:pt idx="932">
                  <c:v>41239</c:v>
                </c:pt>
                <c:pt idx="933">
                  <c:v>41240</c:v>
                </c:pt>
                <c:pt idx="934">
                  <c:v>41241</c:v>
                </c:pt>
                <c:pt idx="935">
                  <c:v>41242</c:v>
                </c:pt>
                <c:pt idx="936">
                  <c:v>41243</c:v>
                </c:pt>
                <c:pt idx="937">
                  <c:v>41246</c:v>
                </c:pt>
                <c:pt idx="938">
                  <c:v>41247</c:v>
                </c:pt>
                <c:pt idx="939">
                  <c:v>41248</c:v>
                </c:pt>
                <c:pt idx="940">
                  <c:v>41249</c:v>
                </c:pt>
                <c:pt idx="941">
                  <c:v>41250</c:v>
                </c:pt>
                <c:pt idx="942">
                  <c:v>41253</c:v>
                </c:pt>
                <c:pt idx="943">
                  <c:v>41254</c:v>
                </c:pt>
                <c:pt idx="944">
                  <c:v>41255</c:v>
                </c:pt>
                <c:pt idx="945">
                  <c:v>41256</c:v>
                </c:pt>
                <c:pt idx="946">
                  <c:v>41257</c:v>
                </c:pt>
                <c:pt idx="947">
                  <c:v>41260</c:v>
                </c:pt>
                <c:pt idx="948">
                  <c:v>41261</c:v>
                </c:pt>
                <c:pt idx="949">
                  <c:v>41262</c:v>
                </c:pt>
                <c:pt idx="950">
                  <c:v>41263</c:v>
                </c:pt>
                <c:pt idx="951">
                  <c:v>41264</c:v>
                </c:pt>
                <c:pt idx="952">
                  <c:v>41267</c:v>
                </c:pt>
                <c:pt idx="953">
                  <c:v>41268</c:v>
                </c:pt>
                <c:pt idx="954">
                  <c:v>41269</c:v>
                </c:pt>
                <c:pt idx="955">
                  <c:v>41270</c:v>
                </c:pt>
                <c:pt idx="956">
                  <c:v>41271</c:v>
                </c:pt>
                <c:pt idx="957">
                  <c:v>41274</c:v>
                </c:pt>
                <c:pt idx="958">
                  <c:v>41275</c:v>
                </c:pt>
                <c:pt idx="959">
                  <c:v>41276</c:v>
                </c:pt>
                <c:pt idx="960">
                  <c:v>41277</c:v>
                </c:pt>
                <c:pt idx="961">
                  <c:v>41278</c:v>
                </c:pt>
                <c:pt idx="962">
                  <c:v>41281</c:v>
                </c:pt>
                <c:pt idx="963">
                  <c:v>41282</c:v>
                </c:pt>
                <c:pt idx="964">
                  <c:v>41283</c:v>
                </c:pt>
                <c:pt idx="965">
                  <c:v>41284</c:v>
                </c:pt>
                <c:pt idx="966">
                  <c:v>41285</c:v>
                </c:pt>
                <c:pt idx="967">
                  <c:v>41288</c:v>
                </c:pt>
                <c:pt idx="968">
                  <c:v>41289</c:v>
                </c:pt>
                <c:pt idx="969">
                  <c:v>41290</c:v>
                </c:pt>
                <c:pt idx="970">
                  <c:v>41291</c:v>
                </c:pt>
                <c:pt idx="971">
                  <c:v>41292</c:v>
                </c:pt>
                <c:pt idx="972">
                  <c:v>41295</c:v>
                </c:pt>
                <c:pt idx="973">
                  <c:v>41296</c:v>
                </c:pt>
                <c:pt idx="974">
                  <c:v>41297</c:v>
                </c:pt>
                <c:pt idx="975">
                  <c:v>41298</c:v>
                </c:pt>
                <c:pt idx="976">
                  <c:v>41299</c:v>
                </c:pt>
                <c:pt idx="977">
                  <c:v>41302</c:v>
                </c:pt>
                <c:pt idx="978">
                  <c:v>41303</c:v>
                </c:pt>
                <c:pt idx="979">
                  <c:v>41304</c:v>
                </c:pt>
                <c:pt idx="980">
                  <c:v>41305</c:v>
                </c:pt>
                <c:pt idx="981">
                  <c:v>41306</c:v>
                </c:pt>
                <c:pt idx="982">
                  <c:v>41309</c:v>
                </c:pt>
                <c:pt idx="983">
                  <c:v>41310</c:v>
                </c:pt>
                <c:pt idx="984">
                  <c:v>41311</c:v>
                </c:pt>
                <c:pt idx="985">
                  <c:v>41312</c:v>
                </c:pt>
                <c:pt idx="986">
                  <c:v>41313</c:v>
                </c:pt>
                <c:pt idx="987">
                  <c:v>41316</c:v>
                </c:pt>
                <c:pt idx="988">
                  <c:v>41317</c:v>
                </c:pt>
                <c:pt idx="989">
                  <c:v>41318</c:v>
                </c:pt>
                <c:pt idx="990">
                  <c:v>41319</c:v>
                </c:pt>
                <c:pt idx="991">
                  <c:v>41320</c:v>
                </c:pt>
                <c:pt idx="992">
                  <c:v>41323</c:v>
                </c:pt>
                <c:pt idx="993">
                  <c:v>41324</c:v>
                </c:pt>
                <c:pt idx="994">
                  <c:v>41325</c:v>
                </c:pt>
                <c:pt idx="995">
                  <c:v>41326</c:v>
                </c:pt>
                <c:pt idx="996">
                  <c:v>41327</c:v>
                </c:pt>
                <c:pt idx="997">
                  <c:v>41330</c:v>
                </c:pt>
                <c:pt idx="998">
                  <c:v>41331</c:v>
                </c:pt>
                <c:pt idx="999">
                  <c:v>41332</c:v>
                </c:pt>
                <c:pt idx="1000">
                  <c:v>41333</c:v>
                </c:pt>
                <c:pt idx="1001">
                  <c:v>41334</c:v>
                </c:pt>
                <c:pt idx="1002">
                  <c:v>41337</c:v>
                </c:pt>
                <c:pt idx="1003">
                  <c:v>41338</c:v>
                </c:pt>
                <c:pt idx="1004">
                  <c:v>41339</c:v>
                </c:pt>
                <c:pt idx="1005">
                  <c:v>41340</c:v>
                </c:pt>
                <c:pt idx="1006">
                  <c:v>41341</c:v>
                </c:pt>
                <c:pt idx="1007">
                  <c:v>41344</c:v>
                </c:pt>
                <c:pt idx="1008">
                  <c:v>41345</c:v>
                </c:pt>
                <c:pt idx="1009">
                  <c:v>41346</c:v>
                </c:pt>
                <c:pt idx="1010">
                  <c:v>41347</c:v>
                </c:pt>
                <c:pt idx="1011">
                  <c:v>41348</c:v>
                </c:pt>
                <c:pt idx="1012">
                  <c:v>41351</c:v>
                </c:pt>
                <c:pt idx="1013">
                  <c:v>41352</c:v>
                </c:pt>
                <c:pt idx="1014">
                  <c:v>41353</c:v>
                </c:pt>
                <c:pt idx="1015">
                  <c:v>41354</c:v>
                </c:pt>
                <c:pt idx="1016">
                  <c:v>41355</c:v>
                </c:pt>
                <c:pt idx="1017">
                  <c:v>41358</c:v>
                </c:pt>
                <c:pt idx="1018">
                  <c:v>41359</c:v>
                </c:pt>
                <c:pt idx="1019">
                  <c:v>41360</c:v>
                </c:pt>
                <c:pt idx="1020">
                  <c:v>41361</c:v>
                </c:pt>
                <c:pt idx="1021">
                  <c:v>41362</c:v>
                </c:pt>
                <c:pt idx="1022">
                  <c:v>41365</c:v>
                </c:pt>
                <c:pt idx="1023">
                  <c:v>41366</c:v>
                </c:pt>
                <c:pt idx="1024">
                  <c:v>41367</c:v>
                </c:pt>
                <c:pt idx="1025">
                  <c:v>41368</c:v>
                </c:pt>
                <c:pt idx="1026">
                  <c:v>41369</c:v>
                </c:pt>
                <c:pt idx="1027">
                  <c:v>41372</c:v>
                </c:pt>
                <c:pt idx="1028">
                  <c:v>41373</c:v>
                </c:pt>
                <c:pt idx="1029">
                  <c:v>41374</c:v>
                </c:pt>
                <c:pt idx="1030">
                  <c:v>41375</c:v>
                </c:pt>
                <c:pt idx="1031">
                  <c:v>41376</c:v>
                </c:pt>
                <c:pt idx="1032">
                  <c:v>41379</c:v>
                </c:pt>
                <c:pt idx="1033">
                  <c:v>41380</c:v>
                </c:pt>
                <c:pt idx="1034">
                  <c:v>41381</c:v>
                </c:pt>
                <c:pt idx="1035">
                  <c:v>41382</c:v>
                </c:pt>
                <c:pt idx="1036">
                  <c:v>41383</c:v>
                </c:pt>
                <c:pt idx="1037">
                  <c:v>41386</c:v>
                </c:pt>
                <c:pt idx="1038">
                  <c:v>41387</c:v>
                </c:pt>
                <c:pt idx="1039">
                  <c:v>41388</c:v>
                </c:pt>
                <c:pt idx="1040">
                  <c:v>41389</c:v>
                </c:pt>
                <c:pt idx="1041">
                  <c:v>41390</c:v>
                </c:pt>
                <c:pt idx="1042">
                  <c:v>41393</c:v>
                </c:pt>
                <c:pt idx="1043">
                  <c:v>41394</c:v>
                </c:pt>
                <c:pt idx="1044">
                  <c:v>41395</c:v>
                </c:pt>
                <c:pt idx="1045">
                  <c:v>41396</c:v>
                </c:pt>
                <c:pt idx="1046">
                  <c:v>41397</c:v>
                </c:pt>
                <c:pt idx="1047">
                  <c:v>41400</c:v>
                </c:pt>
                <c:pt idx="1048">
                  <c:v>41401</c:v>
                </c:pt>
                <c:pt idx="1049">
                  <c:v>41402</c:v>
                </c:pt>
                <c:pt idx="1050">
                  <c:v>41403</c:v>
                </c:pt>
                <c:pt idx="1051">
                  <c:v>41404</c:v>
                </c:pt>
                <c:pt idx="1052">
                  <c:v>41407</c:v>
                </c:pt>
                <c:pt idx="1053">
                  <c:v>41408</c:v>
                </c:pt>
                <c:pt idx="1054">
                  <c:v>41409</c:v>
                </c:pt>
                <c:pt idx="1055">
                  <c:v>41410</c:v>
                </c:pt>
                <c:pt idx="1056">
                  <c:v>41411</c:v>
                </c:pt>
                <c:pt idx="1057">
                  <c:v>41414</c:v>
                </c:pt>
                <c:pt idx="1058">
                  <c:v>41415</c:v>
                </c:pt>
                <c:pt idx="1059">
                  <c:v>41416</c:v>
                </c:pt>
                <c:pt idx="1060">
                  <c:v>41417</c:v>
                </c:pt>
                <c:pt idx="1061">
                  <c:v>41418</c:v>
                </c:pt>
                <c:pt idx="1062">
                  <c:v>41421</c:v>
                </c:pt>
                <c:pt idx="1063">
                  <c:v>41422</c:v>
                </c:pt>
                <c:pt idx="1064">
                  <c:v>41423</c:v>
                </c:pt>
                <c:pt idx="1065">
                  <c:v>41424</c:v>
                </c:pt>
                <c:pt idx="1066">
                  <c:v>41425</c:v>
                </c:pt>
                <c:pt idx="1067">
                  <c:v>41428</c:v>
                </c:pt>
                <c:pt idx="1068">
                  <c:v>41429</c:v>
                </c:pt>
                <c:pt idx="1069">
                  <c:v>41430</c:v>
                </c:pt>
                <c:pt idx="1070">
                  <c:v>41431</c:v>
                </c:pt>
                <c:pt idx="1071">
                  <c:v>41432</c:v>
                </c:pt>
                <c:pt idx="1072">
                  <c:v>41435</c:v>
                </c:pt>
                <c:pt idx="1073">
                  <c:v>41436</c:v>
                </c:pt>
                <c:pt idx="1074">
                  <c:v>41437</c:v>
                </c:pt>
                <c:pt idx="1075">
                  <c:v>41438</c:v>
                </c:pt>
                <c:pt idx="1076">
                  <c:v>41439</c:v>
                </c:pt>
                <c:pt idx="1077">
                  <c:v>41442</c:v>
                </c:pt>
                <c:pt idx="1078">
                  <c:v>41443</c:v>
                </c:pt>
                <c:pt idx="1079">
                  <c:v>41444</c:v>
                </c:pt>
                <c:pt idx="1080">
                  <c:v>41445</c:v>
                </c:pt>
                <c:pt idx="1081">
                  <c:v>41446</c:v>
                </c:pt>
                <c:pt idx="1082">
                  <c:v>41449</c:v>
                </c:pt>
                <c:pt idx="1083">
                  <c:v>41450</c:v>
                </c:pt>
                <c:pt idx="1084">
                  <c:v>41451</c:v>
                </c:pt>
                <c:pt idx="1085">
                  <c:v>41452</c:v>
                </c:pt>
                <c:pt idx="1086">
                  <c:v>41453</c:v>
                </c:pt>
                <c:pt idx="1087">
                  <c:v>41456</c:v>
                </c:pt>
                <c:pt idx="1088">
                  <c:v>41457</c:v>
                </c:pt>
                <c:pt idx="1089">
                  <c:v>41458</c:v>
                </c:pt>
                <c:pt idx="1090">
                  <c:v>41459</c:v>
                </c:pt>
                <c:pt idx="1091">
                  <c:v>41460</c:v>
                </c:pt>
                <c:pt idx="1092">
                  <c:v>41463</c:v>
                </c:pt>
                <c:pt idx="1093">
                  <c:v>41464</c:v>
                </c:pt>
                <c:pt idx="1094">
                  <c:v>41465</c:v>
                </c:pt>
                <c:pt idx="1095">
                  <c:v>41466</c:v>
                </c:pt>
                <c:pt idx="1096">
                  <c:v>41467</c:v>
                </c:pt>
                <c:pt idx="1097">
                  <c:v>41470</c:v>
                </c:pt>
                <c:pt idx="1098">
                  <c:v>41471</c:v>
                </c:pt>
                <c:pt idx="1099">
                  <c:v>41472</c:v>
                </c:pt>
                <c:pt idx="1100">
                  <c:v>41473</c:v>
                </c:pt>
                <c:pt idx="1101">
                  <c:v>41474</c:v>
                </c:pt>
                <c:pt idx="1102">
                  <c:v>41477</c:v>
                </c:pt>
                <c:pt idx="1103">
                  <c:v>41478</c:v>
                </c:pt>
                <c:pt idx="1104">
                  <c:v>41479</c:v>
                </c:pt>
                <c:pt idx="1105">
                  <c:v>41480</c:v>
                </c:pt>
                <c:pt idx="1106">
                  <c:v>41481</c:v>
                </c:pt>
                <c:pt idx="1107">
                  <c:v>41484</c:v>
                </c:pt>
                <c:pt idx="1108">
                  <c:v>41485</c:v>
                </c:pt>
                <c:pt idx="1109">
                  <c:v>41486</c:v>
                </c:pt>
                <c:pt idx="1110">
                  <c:v>41487</c:v>
                </c:pt>
                <c:pt idx="1111">
                  <c:v>41488</c:v>
                </c:pt>
                <c:pt idx="1112">
                  <c:v>41491</c:v>
                </c:pt>
                <c:pt idx="1113">
                  <c:v>41492</c:v>
                </c:pt>
                <c:pt idx="1114">
                  <c:v>41493</c:v>
                </c:pt>
                <c:pt idx="1115">
                  <c:v>41494</c:v>
                </c:pt>
                <c:pt idx="1116">
                  <c:v>41495</c:v>
                </c:pt>
                <c:pt idx="1117">
                  <c:v>41498</c:v>
                </c:pt>
                <c:pt idx="1118">
                  <c:v>41499</c:v>
                </c:pt>
                <c:pt idx="1119">
                  <c:v>41500</c:v>
                </c:pt>
                <c:pt idx="1120">
                  <c:v>41501</c:v>
                </c:pt>
                <c:pt idx="1121">
                  <c:v>41502</c:v>
                </c:pt>
                <c:pt idx="1122">
                  <c:v>41505</c:v>
                </c:pt>
                <c:pt idx="1123">
                  <c:v>41506</c:v>
                </c:pt>
                <c:pt idx="1124">
                  <c:v>41507</c:v>
                </c:pt>
                <c:pt idx="1125">
                  <c:v>41508</c:v>
                </c:pt>
                <c:pt idx="1126">
                  <c:v>41509</c:v>
                </c:pt>
                <c:pt idx="1127">
                  <c:v>41512</c:v>
                </c:pt>
                <c:pt idx="1128">
                  <c:v>41513</c:v>
                </c:pt>
                <c:pt idx="1129">
                  <c:v>41514</c:v>
                </c:pt>
                <c:pt idx="1130">
                  <c:v>41515</c:v>
                </c:pt>
                <c:pt idx="1131">
                  <c:v>41516</c:v>
                </c:pt>
                <c:pt idx="1132">
                  <c:v>41519</c:v>
                </c:pt>
                <c:pt idx="1133">
                  <c:v>41520</c:v>
                </c:pt>
                <c:pt idx="1134">
                  <c:v>41521</c:v>
                </c:pt>
                <c:pt idx="1135">
                  <c:v>41522</c:v>
                </c:pt>
                <c:pt idx="1136">
                  <c:v>41523</c:v>
                </c:pt>
                <c:pt idx="1137">
                  <c:v>41526</c:v>
                </c:pt>
                <c:pt idx="1138">
                  <c:v>41527</c:v>
                </c:pt>
                <c:pt idx="1139">
                  <c:v>41528</c:v>
                </c:pt>
                <c:pt idx="1140">
                  <c:v>41529</c:v>
                </c:pt>
                <c:pt idx="1141">
                  <c:v>41530</c:v>
                </c:pt>
                <c:pt idx="1142">
                  <c:v>41533</c:v>
                </c:pt>
                <c:pt idx="1143">
                  <c:v>41534</c:v>
                </c:pt>
                <c:pt idx="1144">
                  <c:v>41535</c:v>
                </c:pt>
                <c:pt idx="1145">
                  <c:v>41536</c:v>
                </c:pt>
                <c:pt idx="1146">
                  <c:v>41537</c:v>
                </c:pt>
                <c:pt idx="1147">
                  <c:v>41540</c:v>
                </c:pt>
                <c:pt idx="1148">
                  <c:v>41541</c:v>
                </c:pt>
                <c:pt idx="1149">
                  <c:v>41542</c:v>
                </c:pt>
                <c:pt idx="1150">
                  <c:v>41543</c:v>
                </c:pt>
                <c:pt idx="1151">
                  <c:v>41544</c:v>
                </c:pt>
                <c:pt idx="1152">
                  <c:v>41547</c:v>
                </c:pt>
                <c:pt idx="1153">
                  <c:v>41548</c:v>
                </c:pt>
                <c:pt idx="1154">
                  <c:v>41549</c:v>
                </c:pt>
                <c:pt idx="1155">
                  <c:v>41550</c:v>
                </c:pt>
                <c:pt idx="1156">
                  <c:v>41551</c:v>
                </c:pt>
                <c:pt idx="1157">
                  <c:v>41554</c:v>
                </c:pt>
                <c:pt idx="1158">
                  <c:v>41555</c:v>
                </c:pt>
                <c:pt idx="1159">
                  <c:v>41556</c:v>
                </c:pt>
                <c:pt idx="1160">
                  <c:v>41557</c:v>
                </c:pt>
                <c:pt idx="1161">
                  <c:v>41558</c:v>
                </c:pt>
                <c:pt idx="1162">
                  <c:v>41561</c:v>
                </c:pt>
                <c:pt idx="1163">
                  <c:v>41562</c:v>
                </c:pt>
                <c:pt idx="1164">
                  <c:v>41563</c:v>
                </c:pt>
                <c:pt idx="1165">
                  <c:v>41564</c:v>
                </c:pt>
                <c:pt idx="1166">
                  <c:v>41565</c:v>
                </c:pt>
                <c:pt idx="1167">
                  <c:v>41568</c:v>
                </c:pt>
                <c:pt idx="1168">
                  <c:v>41569</c:v>
                </c:pt>
                <c:pt idx="1169">
                  <c:v>41570</c:v>
                </c:pt>
                <c:pt idx="1170">
                  <c:v>41571</c:v>
                </c:pt>
                <c:pt idx="1171">
                  <c:v>41572</c:v>
                </c:pt>
                <c:pt idx="1172">
                  <c:v>41575</c:v>
                </c:pt>
                <c:pt idx="1173">
                  <c:v>41576</c:v>
                </c:pt>
                <c:pt idx="1174">
                  <c:v>41577</c:v>
                </c:pt>
                <c:pt idx="1175">
                  <c:v>41578</c:v>
                </c:pt>
                <c:pt idx="1176">
                  <c:v>41579</c:v>
                </c:pt>
                <c:pt idx="1177">
                  <c:v>41582</c:v>
                </c:pt>
                <c:pt idx="1178">
                  <c:v>41583</c:v>
                </c:pt>
                <c:pt idx="1179">
                  <c:v>41584</c:v>
                </c:pt>
                <c:pt idx="1180">
                  <c:v>41585</c:v>
                </c:pt>
                <c:pt idx="1181">
                  <c:v>41586</c:v>
                </c:pt>
                <c:pt idx="1182">
                  <c:v>41589</c:v>
                </c:pt>
                <c:pt idx="1183">
                  <c:v>41590</c:v>
                </c:pt>
                <c:pt idx="1184">
                  <c:v>41591</c:v>
                </c:pt>
                <c:pt idx="1185">
                  <c:v>41592</c:v>
                </c:pt>
                <c:pt idx="1186">
                  <c:v>41593</c:v>
                </c:pt>
                <c:pt idx="1187">
                  <c:v>41596</c:v>
                </c:pt>
                <c:pt idx="1188">
                  <c:v>41597</c:v>
                </c:pt>
                <c:pt idx="1189">
                  <c:v>41598</c:v>
                </c:pt>
                <c:pt idx="1190">
                  <c:v>41599</c:v>
                </c:pt>
                <c:pt idx="1191">
                  <c:v>41600</c:v>
                </c:pt>
                <c:pt idx="1192">
                  <c:v>41603</c:v>
                </c:pt>
                <c:pt idx="1193">
                  <c:v>41604</c:v>
                </c:pt>
                <c:pt idx="1194">
                  <c:v>41605</c:v>
                </c:pt>
                <c:pt idx="1195">
                  <c:v>41606</c:v>
                </c:pt>
                <c:pt idx="1196">
                  <c:v>41607</c:v>
                </c:pt>
                <c:pt idx="1197">
                  <c:v>41610</c:v>
                </c:pt>
                <c:pt idx="1198">
                  <c:v>41611</c:v>
                </c:pt>
                <c:pt idx="1199">
                  <c:v>41612</c:v>
                </c:pt>
                <c:pt idx="1200">
                  <c:v>41613</c:v>
                </c:pt>
                <c:pt idx="1201">
                  <c:v>41614</c:v>
                </c:pt>
                <c:pt idx="1202">
                  <c:v>41617</c:v>
                </c:pt>
                <c:pt idx="1203">
                  <c:v>41618</c:v>
                </c:pt>
                <c:pt idx="1204">
                  <c:v>41619</c:v>
                </c:pt>
                <c:pt idx="1205">
                  <c:v>41620</c:v>
                </c:pt>
                <c:pt idx="1206">
                  <c:v>41621</c:v>
                </c:pt>
                <c:pt idx="1207">
                  <c:v>41624</c:v>
                </c:pt>
                <c:pt idx="1208">
                  <c:v>41625</c:v>
                </c:pt>
                <c:pt idx="1209">
                  <c:v>41626</c:v>
                </c:pt>
                <c:pt idx="1210">
                  <c:v>41627</c:v>
                </c:pt>
                <c:pt idx="1211">
                  <c:v>41628</c:v>
                </c:pt>
                <c:pt idx="1212">
                  <c:v>41631</c:v>
                </c:pt>
                <c:pt idx="1213">
                  <c:v>41632</c:v>
                </c:pt>
                <c:pt idx="1214">
                  <c:v>41633</c:v>
                </c:pt>
                <c:pt idx="1215">
                  <c:v>41634</c:v>
                </c:pt>
                <c:pt idx="1216">
                  <c:v>41635</c:v>
                </c:pt>
                <c:pt idx="1217">
                  <c:v>41638</c:v>
                </c:pt>
                <c:pt idx="1218">
                  <c:v>41639</c:v>
                </c:pt>
                <c:pt idx="1219">
                  <c:v>41640</c:v>
                </c:pt>
                <c:pt idx="1220">
                  <c:v>41641</c:v>
                </c:pt>
                <c:pt idx="1221">
                  <c:v>41642</c:v>
                </c:pt>
                <c:pt idx="1222">
                  <c:v>41645</c:v>
                </c:pt>
                <c:pt idx="1223">
                  <c:v>41646</c:v>
                </c:pt>
                <c:pt idx="1224">
                  <c:v>41647</c:v>
                </c:pt>
                <c:pt idx="1225">
                  <c:v>41648</c:v>
                </c:pt>
                <c:pt idx="1226">
                  <c:v>41649</c:v>
                </c:pt>
                <c:pt idx="1227">
                  <c:v>41652</c:v>
                </c:pt>
                <c:pt idx="1228">
                  <c:v>41653</c:v>
                </c:pt>
                <c:pt idx="1229">
                  <c:v>41654</c:v>
                </c:pt>
                <c:pt idx="1230">
                  <c:v>41655</c:v>
                </c:pt>
                <c:pt idx="1231">
                  <c:v>41656</c:v>
                </c:pt>
                <c:pt idx="1232">
                  <c:v>41659</c:v>
                </c:pt>
                <c:pt idx="1233">
                  <c:v>41660</c:v>
                </c:pt>
                <c:pt idx="1234">
                  <c:v>41661</c:v>
                </c:pt>
                <c:pt idx="1235">
                  <c:v>41662</c:v>
                </c:pt>
                <c:pt idx="1236">
                  <c:v>41663</c:v>
                </c:pt>
                <c:pt idx="1237">
                  <c:v>41666</c:v>
                </c:pt>
                <c:pt idx="1238">
                  <c:v>41667</c:v>
                </c:pt>
                <c:pt idx="1239">
                  <c:v>41668</c:v>
                </c:pt>
                <c:pt idx="1240">
                  <c:v>41669</c:v>
                </c:pt>
                <c:pt idx="1241">
                  <c:v>41670</c:v>
                </c:pt>
                <c:pt idx="1242">
                  <c:v>41673</c:v>
                </c:pt>
                <c:pt idx="1243">
                  <c:v>41674</c:v>
                </c:pt>
                <c:pt idx="1244">
                  <c:v>41675</c:v>
                </c:pt>
                <c:pt idx="1245">
                  <c:v>41676</c:v>
                </c:pt>
                <c:pt idx="1246">
                  <c:v>41677</c:v>
                </c:pt>
                <c:pt idx="1247">
                  <c:v>41680</c:v>
                </c:pt>
                <c:pt idx="1248">
                  <c:v>41681</c:v>
                </c:pt>
                <c:pt idx="1249">
                  <c:v>41682</c:v>
                </c:pt>
                <c:pt idx="1250">
                  <c:v>41683</c:v>
                </c:pt>
                <c:pt idx="1251">
                  <c:v>41684</c:v>
                </c:pt>
                <c:pt idx="1252">
                  <c:v>41687</c:v>
                </c:pt>
                <c:pt idx="1253">
                  <c:v>41688</c:v>
                </c:pt>
                <c:pt idx="1254">
                  <c:v>41689</c:v>
                </c:pt>
                <c:pt idx="1255">
                  <c:v>41690</c:v>
                </c:pt>
                <c:pt idx="1256">
                  <c:v>41691</c:v>
                </c:pt>
                <c:pt idx="1257">
                  <c:v>41694</c:v>
                </c:pt>
                <c:pt idx="1258">
                  <c:v>41695</c:v>
                </c:pt>
                <c:pt idx="1259">
                  <c:v>41696</c:v>
                </c:pt>
                <c:pt idx="1260">
                  <c:v>41697</c:v>
                </c:pt>
                <c:pt idx="1261">
                  <c:v>41698</c:v>
                </c:pt>
                <c:pt idx="1262">
                  <c:v>41701</c:v>
                </c:pt>
                <c:pt idx="1263">
                  <c:v>41702</c:v>
                </c:pt>
                <c:pt idx="1264">
                  <c:v>41703</c:v>
                </c:pt>
                <c:pt idx="1265">
                  <c:v>41704</c:v>
                </c:pt>
                <c:pt idx="1266">
                  <c:v>41705</c:v>
                </c:pt>
                <c:pt idx="1267">
                  <c:v>41708</c:v>
                </c:pt>
                <c:pt idx="1268">
                  <c:v>41709</c:v>
                </c:pt>
                <c:pt idx="1269">
                  <c:v>41710</c:v>
                </c:pt>
                <c:pt idx="1270">
                  <c:v>41711</c:v>
                </c:pt>
                <c:pt idx="1271">
                  <c:v>41712</c:v>
                </c:pt>
                <c:pt idx="1272">
                  <c:v>41715</c:v>
                </c:pt>
                <c:pt idx="1273">
                  <c:v>41716</c:v>
                </c:pt>
                <c:pt idx="1274">
                  <c:v>41717</c:v>
                </c:pt>
                <c:pt idx="1275">
                  <c:v>41718</c:v>
                </c:pt>
                <c:pt idx="1276">
                  <c:v>41719</c:v>
                </c:pt>
                <c:pt idx="1277">
                  <c:v>41722</c:v>
                </c:pt>
                <c:pt idx="1278">
                  <c:v>41723</c:v>
                </c:pt>
                <c:pt idx="1279">
                  <c:v>41724</c:v>
                </c:pt>
                <c:pt idx="1280">
                  <c:v>41725</c:v>
                </c:pt>
                <c:pt idx="1281">
                  <c:v>41726</c:v>
                </c:pt>
                <c:pt idx="1282">
                  <c:v>41729</c:v>
                </c:pt>
                <c:pt idx="1283">
                  <c:v>41730</c:v>
                </c:pt>
                <c:pt idx="1284">
                  <c:v>41731</c:v>
                </c:pt>
                <c:pt idx="1285">
                  <c:v>41732</c:v>
                </c:pt>
                <c:pt idx="1286">
                  <c:v>41733</c:v>
                </c:pt>
                <c:pt idx="1287">
                  <c:v>41736</c:v>
                </c:pt>
                <c:pt idx="1288">
                  <c:v>41737</c:v>
                </c:pt>
                <c:pt idx="1289">
                  <c:v>41738</c:v>
                </c:pt>
                <c:pt idx="1290">
                  <c:v>41739</c:v>
                </c:pt>
                <c:pt idx="1291">
                  <c:v>41740</c:v>
                </c:pt>
                <c:pt idx="1292">
                  <c:v>41743</c:v>
                </c:pt>
                <c:pt idx="1293">
                  <c:v>41744</c:v>
                </c:pt>
                <c:pt idx="1294">
                  <c:v>41745</c:v>
                </c:pt>
                <c:pt idx="1295">
                  <c:v>41746</c:v>
                </c:pt>
                <c:pt idx="1296">
                  <c:v>41747</c:v>
                </c:pt>
                <c:pt idx="1297">
                  <c:v>41750</c:v>
                </c:pt>
                <c:pt idx="1298">
                  <c:v>41751</c:v>
                </c:pt>
                <c:pt idx="1299">
                  <c:v>41752</c:v>
                </c:pt>
                <c:pt idx="1300">
                  <c:v>41753</c:v>
                </c:pt>
                <c:pt idx="1301">
                  <c:v>41754</c:v>
                </c:pt>
                <c:pt idx="1302">
                  <c:v>41757</c:v>
                </c:pt>
                <c:pt idx="1303">
                  <c:v>41758</c:v>
                </c:pt>
                <c:pt idx="1304">
                  <c:v>41759</c:v>
                </c:pt>
                <c:pt idx="1305">
                  <c:v>41760</c:v>
                </c:pt>
                <c:pt idx="1306">
                  <c:v>41761</c:v>
                </c:pt>
                <c:pt idx="1307">
                  <c:v>41764</c:v>
                </c:pt>
                <c:pt idx="1308">
                  <c:v>41765</c:v>
                </c:pt>
                <c:pt idx="1309">
                  <c:v>41766</c:v>
                </c:pt>
                <c:pt idx="1310">
                  <c:v>41767</c:v>
                </c:pt>
                <c:pt idx="1311">
                  <c:v>41768</c:v>
                </c:pt>
                <c:pt idx="1312">
                  <c:v>41771</c:v>
                </c:pt>
                <c:pt idx="1313">
                  <c:v>41772</c:v>
                </c:pt>
                <c:pt idx="1314">
                  <c:v>41773</c:v>
                </c:pt>
                <c:pt idx="1315">
                  <c:v>41774</c:v>
                </c:pt>
                <c:pt idx="1316">
                  <c:v>41775</c:v>
                </c:pt>
                <c:pt idx="1317">
                  <c:v>41778</c:v>
                </c:pt>
                <c:pt idx="1318">
                  <c:v>41779</c:v>
                </c:pt>
                <c:pt idx="1319">
                  <c:v>41780</c:v>
                </c:pt>
                <c:pt idx="1320">
                  <c:v>41781</c:v>
                </c:pt>
                <c:pt idx="1321">
                  <c:v>41782</c:v>
                </c:pt>
                <c:pt idx="1322">
                  <c:v>41785</c:v>
                </c:pt>
                <c:pt idx="1323">
                  <c:v>41786</c:v>
                </c:pt>
                <c:pt idx="1324">
                  <c:v>41787</c:v>
                </c:pt>
                <c:pt idx="1325">
                  <c:v>41788</c:v>
                </c:pt>
                <c:pt idx="1326">
                  <c:v>41789</c:v>
                </c:pt>
                <c:pt idx="1327">
                  <c:v>41792</c:v>
                </c:pt>
                <c:pt idx="1328">
                  <c:v>41793</c:v>
                </c:pt>
                <c:pt idx="1329">
                  <c:v>41794</c:v>
                </c:pt>
                <c:pt idx="1330">
                  <c:v>41795</c:v>
                </c:pt>
                <c:pt idx="1331">
                  <c:v>41796</c:v>
                </c:pt>
                <c:pt idx="1332">
                  <c:v>41799</c:v>
                </c:pt>
                <c:pt idx="1333">
                  <c:v>41800</c:v>
                </c:pt>
                <c:pt idx="1334">
                  <c:v>41801</c:v>
                </c:pt>
                <c:pt idx="1335">
                  <c:v>41802</c:v>
                </c:pt>
                <c:pt idx="1336">
                  <c:v>41803</c:v>
                </c:pt>
                <c:pt idx="1337">
                  <c:v>41806</c:v>
                </c:pt>
                <c:pt idx="1338">
                  <c:v>41807</c:v>
                </c:pt>
                <c:pt idx="1339">
                  <c:v>41808</c:v>
                </c:pt>
                <c:pt idx="1340">
                  <c:v>41809</c:v>
                </c:pt>
                <c:pt idx="1341">
                  <c:v>41810</c:v>
                </c:pt>
                <c:pt idx="1342">
                  <c:v>41813</c:v>
                </c:pt>
                <c:pt idx="1343">
                  <c:v>41814</c:v>
                </c:pt>
                <c:pt idx="1344">
                  <c:v>41815</c:v>
                </c:pt>
                <c:pt idx="1345">
                  <c:v>41816</c:v>
                </c:pt>
                <c:pt idx="1346">
                  <c:v>41817</c:v>
                </c:pt>
                <c:pt idx="1347">
                  <c:v>41820</c:v>
                </c:pt>
                <c:pt idx="1348">
                  <c:v>41821</c:v>
                </c:pt>
                <c:pt idx="1349">
                  <c:v>41822</c:v>
                </c:pt>
                <c:pt idx="1350">
                  <c:v>41823</c:v>
                </c:pt>
                <c:pt idx="1351">
                  <c:v>41824</c:v>
                </c:pt>
                <c:pt idx="1352">
                  <c:v>41827</c:v>
                </c:pt>
                <c:pt idx="1353">
                  <c:v>41828</c:v>
                </c:pt>
                <c:pt idx="1354">
                  <c:v>41829</c:v>
                </c:pt>
                <c:pt idx="1355">
                  <c:v>41830</c:v>
                </c:pt>
                <c:pt idx="1356">
                  <c:v>41831</c:v>
                </c:pt>
                <c:pt idx="1357">
                  <c:v>41834</c:v>
                </c:pt>
                <c:pt idx="1358">
                  <c:v>41835</c:v>
                </c:pt>
                <c:pt idx="1359">
                  <c:v>41836</c:v>
                </c:pt>
                <c:pt idx="1360">
                  <c:v>41837</c:v>
                </c:pt>
                <c:pt idx="1361">
                  <c:v>41838</c:v>
                </c:pt>
                <c:pt idx="1362">
                  <c:v>41841</c:v>
                </c:pt>
                <c:pt idx="1363">
                  <c:v>41842</c:v>
                </c:pt>
                <c:pt idx="1364">
                  <c:v>41843</c:v>
                </c:pt>
                <c:pt idx="1365">
                  <c:v>41844</c:v>
                </c:pt>
                <c:pt idx="1366">
                  <c:v>41845</c:v>
                </c:pt>
                <c:pt idx="1367">
                  <c:v>41848</c:v>
                </c:pt>
                <c:pt idx="1368">
                  <c:v>41849</c:v>
                </c:pt>
                <c:pt idx="1369">
                  <c:v>41850</c:v>
                </c:pt>
                <c:pt idx="1370">
                  <c:v>41851</c:v>
                </c:pt>
                <c:pt idx="1371">
                  <c:v>41852</c:v>
                </c:pt>
                <c:pt idx="1372">
                  <c:v>41855</c:v>
                </c:pt>
                <c:pt idx="1373">
                  <c:v>41856</c:v>
                </c:pt>
                <c:pt idx="1374">
                  <c:v>41857</c:v>
                </c:pt>
                <c:pt idx="1375">
                  <c:v>41858</c:v>
                </c:pt>
                <c:pt idx="1376">
                  <c:v>41859</c:v>
                </c:pt>
                <c:pt idx="1377">
                  <c:v>41862</c:v>
                </c:pt>
                <c:pt idx="1378">
                  <c:v>41863</c:v>
                </c:pt>
                <c:pt idx="1379">
                  <c:v>41864</c:v>
                </c:pt>
                <c:pt idx="1380">
                  <c:v>41865</c:v>
                </c:pt>
                <c:pt idx="1381">
                  <c:v>41866</c:v>
                </c:pt>
                <c:pt idx="1382">
                  <c:v>41869</c:v>
                </c:pt>
                <c:pt idx="1383">
                  <c:v>41870</c:v>
                </c:pt>
                <c:pt idx="1384">
                  <c:v>41871</c:v>
                </c:pt>
                <c:pt idx="1385">
                  <c:v>41872</c:v>
                </c:pt>
                <c:pt idx="1386">
                  <c:v>41873</c:v>
                </c:pt>
                <c:pt idx="1387">
                  <c:v>41876</c:v>
                </c:pt>
                <c:pt idx="1388">
                  <c:v>41877</c:v>
                </c:pt>
                <c:pt idx="1389">
                  <c:v>41878</c:v>
                </c:pt>
                <c:pt idx="1390">
                  <c:v>41879</c:v>
                </c:pt>
                <c:pt idx="1391">
                  <c:v>41880</c:v>
                </c:pt>
                <c:pt idx="1392">
                  <c:v>41883</c:v>
                </c:pt>
                <c:pt idx="1393">
                  <c:v>41884</c:v>
                </c:pt>
                <c:pt idx="1394">
                  <c:v>41885</c:v>
                </c:pt>
                <c:pt idx="1395">
                  <c:v>41886</c:v>
                </c:pt>
                <c:pt idx="1396">
                  <c:v>41887</c:v>
                </c:pt>
                <c:pt idx="1397">
                  <c:v>41890</c:v>
                </c:pt>
                <c:pt idx="1398">
                  <c:v>41891</c:v>
                </c:pt>
                <c:pt idx="1399">
                  <c:v>41892</c:v>
                </c:pt>
                <c:pt idx="1400">
                  <c:v>41893</c:v>
                </c:pt>
                <c:pt idx="1401">
                  <c:v>41894</c:v>
                </c:pt>
                <c:pt idx="1402">
                  <c:v>41897</c:v>
                </c:pt>
                <c:pt idx="1403">
                  <c:v>41898</c:v>
                </c:pt>
                <c:pt idx="1404">
                  <c:v>41899</c:v>
                </c:pt>
                <c:pt idx="1405">
                  <c:v>41900</c:v>
                </c:pt>
                <c:pt idx="1406">
                  <c:v>41901</c:v>
                </c:pt>
                <c:pt idx="1407">
                  <c:v>41904</c:v>
                </c:pt>
                <c:pt idx="1408">
                  <c:v>41905</c:v>
                </c:pt>
                <c:pt idx="1409">
                  <c:v>41906</c:v>
                </c:pt>
                <c:pt idx="1410">
                  <c:v>41907</c:v>
                </c:pt>
                <c:pt idx="1411">
                  <c:v>41908</c:v>
                </c:pt>
                <c:pt idx="1412">
                  <c:v>41911</c:v>
                </c:pt>
                <c:pt idx="1413">
                  <c:v>41912</c:v>
                </c:pt>
                <c:pt idx="1414">
                  <c:v>41913</c:v>
                </c:pt>
                <c:pt idx="1415">
                  <c:v>41914</c:v>
                </c:pt>
                <c:pt idx="1416">
                  <c:v>41915</c:v>
                </c:pt>
                <c:pt idx="1417">
                  <c:v>41918</c:v>
                </c:pt>
                <c:pt idx="1418">
                  <c:v>41919</c:v>
                </c:pt>
                <c:pt idx="1419">
                  <c:v>41920</c:v>
                </c:pt>
                <c:pt idx="1420">
                  <c:v>41921</c:v>
                </c:pt>
                <c:pt idx="1421">
                  <c:v>41922</c:v>
                </c:pt>
                <c:pt idx="1422">
                  <c:v>41925</c:v>
                </c:pt>
                <c:pt idx="1423">
                  <c:v>41926</c:v>
                </c:pt>
                <c:pt idx="1424">
                  <c:v>41927</c:v>
                </c:pt>
                <c:pt idx="1425">
                  <c:v>41928</c:v>
                </c:pt>
                <c:pt idx="1426">
                  <c:v>41929</c:v>
                </c:pt>
                <c:pt idx="1427">
                  <c:v>41932</c:v>
                </c:pt>
                <c:pt idx="1428">
                  <c:v>41933</c:v>
                </c:pt>
                <c:pt idx="1429">
                  <c:v>41934</c:v>
                </c:pt>
                <c:pt idx="1430">
                  <c:v>41935</c:v>
                </c:pt>
                <c:pt idx="1431">
                  <c:v>41936</c:v>
                </c:pt>
                <c:pt idx="1432">
                  <c:v>41939</c:v>
                </c:pt>
                <c:pt idx="1433">
                  <c:v>41940</c:v>
                </c:pt>
                <c:pt idx="1434">
                  <c:v>41941</c:v>
                </c:pt>
                <c:pt idx="1435">
                  <c:v>41942</c:v>
                </c:pt>
                <c:pt idx="1436">
                  <c:v>41943</c:v>
                </c:pt>
                <c:pt idx="1437">
                  <c:v>41946</c:v>
                </c:pt>
                <c:pt idx="1438">
                  <c:v>41947</c:v>
                </c:pt>
                <c:pt idx="1439">
                  <c:v>41948</c:v>
                </c:pt>
                <c:pt idx="1440">
                  <c:v>41949</c:v>
                </c:pt>
                <c:pt idx="1441">
                  <c:v>41950</c:v>
                </c:pt>
                <c:pt idx="1442">
                  <c:v>41953</c:v>
                </c:pt>
                <c:pt idx="1443">
                  <c:v>41954</c:v>
                </c:pt>
                <c:pt idx="1444">
                  <c:v>41955</c:v>
                </c:pt>
                <c:pt idx="1445">
                  <c:v>41956</c:v>
                </c:pt>
                <c:pt idx="1446">
                  <c:v>41957</c:v>
                </c:pt>
                <c:pt idx="1447">
                  <c:v>41960</c:v>
                </c:pt>
                <c:pt idx="1448">
                  <c:v>41961</c:v>
                </c:pt>
                <c:pt idx="1449">
                  <c:v>41962</c:v>
                </c:pt>
                <c:pt idx="1450">
                  <c:v>41963</c:v>
                </c:pt>
                <c:pt idx="1451">
                  <c:v>41964</c:v>
                </c:pt>
                <c:pt idx="1452">
                  <c:v>41967</c:v>
                </c:pt>
                <c:pt idx="1453">
                  <c:v>41968</c:v>
                </c:pt>
                <c:pt idx="1454">
                  <c:v>41969</c:v>
                </c:pt>
                <c:pt idx="1455">
                  <c:v>41970</c:v>
                </c:pt>
                <c:pt idx="1456">
                  <c:v>41971</c:v>
                </c:pt>
                <c:pt idx="1457">
                  <c:v>41974</c:v>
                </c:pt>
                <c:pt idx="1458">
                  <c:v>41975</c:v>
                </c:pt>
                <c:pt idx="1459">
                  <c:v>41976</c:v>
                </c:pt>
                <c:pt idx="1460">
                  <c:v>41977</c:v>
                </c:pt>
                <c:pt idx="1461">
                  <c:v>41978</c:v>
                </c:pt>
                <c:pt idx="1462">
                  <c:v>41981</c:v>
                </c:pt>
                <c:pt idx="1463">
                  <c:v>41982</c:v>
                </c:pt>
                <c:pt idx="1464">
                  <c:v>41983</c:v>
                </c:pt>
                <c:pt idx="1465">
                  <c:v>41984</c:v>
                </c:pt>
                <c:pt idx="1466">
                  <c:v>41985</c:v>
                </c:pt>
                <c:pt idx="1467">
                  <c:v>41988</c:v>
                </c:pt>
                <c:pt idx="1468">
                  <c:v>41989</c:v>
                </c:pt>
                <c:pt idx="1469">
                  <c:v>41990</c:v>
                </c:pt>
                <c:pt idx="1470">
                  <c:v>41991</c:v>
                </c:pt>
                <c:pt idx="1471">
                  <c:v>41992</c:v>
                </c:pt>
                <c:pt idx="1472">
                  <c:v>41995</c:v>
                </c:pt>
                <c:pt idx="1473">
                  <c:v>41996</c:v>
                </c:pt>
                <c:pt idx="1474">
                  <c:v>41997</c:v>
                </c:pt>
                <c:pt idx="1475">
                  <c:v>41998</c:v>
                </c:pt>
                <c:pt idx="1476">
                  <c:v>41999</c:v>
                </c:pt>
                <c:pt idx="1477">
                  <c:v>42002</c:v>
                </c:pt>
                <c:pt idx="1478">
                  <c:v>42003</c:v>
                </c:pt>
                <c:pt idx="1479">
                  <c:v>42004</c:v>
                </c:pt>
                <c:pt idx="1480">
                  <c:v>42005</c:v>
                </c:pt>
                <c:pt idx="1481">
                  <c:v>42006</c:v>
                </c:pt>
                <c:pt idx="1482">
                  <c:v>42009</c:v>
                </c:pt>
                <c:pt idx="1483">
                  <c:v>42010</c:v>
                </c:pt>
                <c:pt idx="1484">
                  <c:v>42011</c:v>
                </c:pt>
                <c:pt idx="1485">
                  <c:v>42012</c:v>
                </c:pt>
                <c:pt idx="1486">
                  <c:v>42013</c:v>
                </c:pt>
                <c:pt idx="1487">
                  <c:v>42016</c:v>
                </c:pt>
                <c:pt idx="1488">
                  <c:v>42017</c:v>
                </c:pt>
                <c:pt idx="1489">
                  <c:v>42018</c:v>
                </c:pt>
                <c:pt idx="1490">
                  <c:v>42019</c:v>
                </c:pt>
                <c:pt idx="1491">
                  <c:v>42020</c:v>
                </c:pt>
                <c:pt idx="1492">
                  <c:v>42023</c:v>
                </c:pt>
                <c:pt idx="1493">
                  <c:v>42024</c:v>
                </c:pt>
                <c:pt idx="1494">
                  <c:v>42025</c:v>
                </c:pt>
                <c:pt idx="1495">
                  <c:v>42026</c:v>
                </c:pt>
                <c:pt idx="1496">
                  <c:v>42027</c:v>
                </c:pt>
                <c:pt idx="1497">
                  <c:v>42030</c:v>
                </c:pt>
                <c:pt idx="1498">
                  <c:v>42031</c:v>
                </c:pt>
                <c:pt idx="1499">
                  <c:v>42032</c:v>
                </c:pt>
                <c:pt idx="1500">
                  <c:v>42033</c:v>
                </c:pt>
                <c:pt idx="1501">
                  <c:v>42034</c:v>
                </c:pt>
                <c:pt idx="1502">
                  <c:v>42037</c:v>
                </c:pt>
                <c:pt idx="1503">
                  <c:v>42038</c:v>
                </c:pt>
                <c:pt idx="1504">
                  <c:v>42039</c:v>
                </c:pt>
                <c:pt idx="1505">
                  <c:v>42040</c:v>
                </c:pt>
                <c:pt idx="1506">
                  <c:v>42041</c:v>
                </c:pt>
                <c:pt idx="1507">
                  <c:v>42044</c:v>
                </c:pt>
                <c:pt idx="1508">
                  <c:v>42045</c:v>
                </c:pt>
                <c:pt idx="1509">
                  <c:v>42046</c:v>
                </c:pt>
                <c:pt idx="1510">
                  <c:v>42047</c:v>
                </c:pt>
                <c:pt idx="1511">
                  <c:v>42048</c:v>
                </c:pt>
                <c:pt idx="1512">
                  <c:v>42051</c:v>
                </c:pt>
                <c:pt idx="1513">
                  <c:v>42052</c:v>
                </c:pt>
                <c:pt idx="1514">
                  <c:v>42053</c:v>
                </c:pt>
                <c:pt idx="1515">
                  <c:v>42054</c:v>
                </c:pt>
                <c:pt idx="1516">
                  <c:v>42055</c:v>
                </c:pt>
                <c:pt idx="1517">
                  <c:v>42058</c:v>
                </c:pt>
                <c:pt idx="1518">
                  <c:v>42059</c:v>
                </c:pt>
                <c:pt idx="1519">
                  <c:v>42060</c:v>
                </c:pt>
                <c:pt idx="1520">
                  <c:v>42061</c:v>
                </c:pt>
                <c:pt idx="1521">
                  <c:v>42062</c:v>
                </c:pt>
                <c:pt idx="1522">
                  <c:v>42065</c:v>
                </c:pt>
                <c:pt idx="1523">
                  <c:v>42066</c:v>
                </c:pt>
                <c:pt idx="1524">
                  <c:v>42067</c:v>
                </c:pt>
                <c:pt idx="1525">
                  <c:v>42068</c:v>
                </c:pt>
                <c:pt idx="1526">
                  <c:v>42069</c:v>
                </c:pt>
                <c:pt idx="1527">
                  <c:v>42072</c:v>
                </c:pt>
                <c:pt idx="1528">
                  <c:v>42073</c:v>
                </c:pt>
                <c:pt idx="1529">
                  <c:v>42074</c:v>
                </c:pt>
                <c:pt idx="1530">
                  <c:v>42075</c:v>
                </c:pt>
                <c:pt idx="1531">
                  <c:v>42076</c:v>
                </c:pt>
                <c:pt idx="1532">
                  <c:v>42079</c:v>
                </c:pt>
                <c:pt idx="1533">
                  <c:v>42080</c:v>
                </c:pt>
                <c:pt idx="1534">
                  <c:v>42081</c:v>
                </c:pt>
                <c:pt idx="1535">
                  <c:v>42082</c:v>
                </c:pt>
                <c:pt idx="1536">
                  <c:v>42083</c:v>
                </c:pt>
                <c:pt idx="1537">
                  <c:v>42086</c:v>
                </c:pt>
                <c:pt idx="1538">
                  <c:v>42087</c:v>
                </c:pt>
                <c:pt idx="1539">
                  <c:v>42088</c:v>
                </c:pt>
                <c:pt idx="1540">
                  <c:v>42089</c:v>
                </c:pt>
                <c:pt idx="1541">
                  <c:v>42090</c:v>
                </c:pt>
                <c:pt idx="1542">
                  <c:v>42093</c:v>
                </c:pt>
                <c:pt idx="1543">
                  <c:v>42094</c:v>
                </c:pt>
                <c:pt idx="1544">
                  <c:v>42095</c:v>
                </c:pt>
                <c:pt idx="1545">
                  <c:v>42096</c:v>
                </c:pt>
                <c:pt idx="1546">
                  <c:v>42097</c:v>
                </c:pt>
                <c:pt idx="1547">
                  <c:v>42100</c:v>
                </c:pt>
                <c:pt idx="1548">
                  <c:v>42101</c:v>
                </c:pt>
                <c:pt idx="1549">
                  <c:v>42102</c:v>
                </c:pt>
                <c:pt idx="1550">
                  <c:v>42103</c:v>
                </c:pt>
                <c:pt idx="1551">
                  <c:v>42104</c:v>
                </c:pt>
                <c:pt idx="1552">
                  <c:v>42107</c:v>
                </c:pt>
                <c:pt idx="1553">
                  <c:v>42108</c:v>
                </c:pt>
                <c:pt idx="1554">
                  <c:v>42109</c:v>
                </c:pt>
                <c:pt idx="1555">
                  <c:v>42110</c:v>
                </c:pt>
                <c:pt idx="1556">
                  <c:v>42111</c:v>
                </c:pt>
                <c:pt idx="1557">
                  <c:v>42114</c:v>
                </c:pt>
                <c:pt idx="1558">
                  <c:v>42115</c:v>
                </c:pt>
                <c:pt idx="1559">
                  <c:v>42116</c:v>
                </c:pt>
                <c:pt idx="1560">
                  <c:v>42117</c:v>
                </c:pt>
                <c:pt idx="1561">
                  <c:v>42118</c:v>
                </c:pt>
                <c:pt idx="1562">
                  <c:v>42121</c:v>
                </c:pt>
                <c:pt idx="1563">
                  <c:v>42122</c:v>
                </c:pt>
                <c:pt idx="1564">
                  <c:v>42123</c:v>
                </c:pt>
                <c:pt idx="1565">
                  <c:v>42124</c:v>
                </c:pt>
                <c:pt idx="1566">
                  <c:v>42125</c:v>
                </c:pt>
                <c:pt idx="1567">
                  <c:v>42128</c:v>
                </c:pt>
                <c:pt idx="1568">
                  <c:v>42129</c:v>
                </c:pt>
                <c:pt idx="1569">
                  <c:v>42130</c:v>
                </c:pt>
                <c:pt idx="1570">
                  <c:v>42131</c:v>
                </c:pt>
                <c:pt idx="1571">
                  <c:v>42132</c:v>
                </c:pt>
                <c:pt idx="1572">
                  <c:v>42135</c:v>
                </c:pt>
                <c:pt idx="1573">
                  <c:v>42136</c:v>
                </c:pt>
                <c:pt idx="1574">
                  <c:v>42137</c:v>
                </c:pt>
                <c:pt idx="1575">
                  <c:v>42138</c:v>
                </c:pt>
                <c:pt idx="1576">
                  <c:v>42139</c:v>
                </c:pt>
                <c:pt idx="1577">
                  <c:v>42142</c:v>
                </c:pt>
                <c:pt idx="1578">
                  <c:v>42143</c:v>
                </c:pt>
                <c:pt idx="1579">
                  <c:v>42144</c:v>
                </c:pt>
                <c:pt idx="1580">
                  <c:v>42145</c:v>
                </c:pt>
                <c:pt idx="1581">
                  <c:v>42146</c:v>
                </c:pt>
                <c:pt idx="1582">
                  <c:v>42149</c:v>
                </c:pt>
                <c:pt idx="1583">
                  <c:v>42150</c:v>
                </c:pt>
                <c:pt idx="1584">
                  <c:v>42151</c:v>
                </c:pt>
                <c:pt idx="1585">
                  <c:v>42152</c:v>
                </c:pt>
                <c:pt idx="1586">
                  <c:v>42153</c:v>
                </c:pt>
                <c:pt idx="1587">
                  <c:v>42156</c:v>
                </c:pt>
                <c:pt idx="1588">
                  <c:v>42157</c:v>
                </c:pt>
                <c:pt idx="1589">
                  <c:v>42158</c:v>
                </c:pt>
                <c:pt idx="1590">
                  <c:v>42159</c:v>
                </c:pt>
                <c:pt idx="1591">
                  <c:v>42160</c:v>
                </c:pt>
                <c:pt idx="1592">
                  <c:v>42163</c:v>
                </c:pt>
                <c:pt idx="1593">
                  <c:v>42164</c:v>
                </c:pt>
                <c:pt idx="1594">
                  <c:v>42165</c:v>
                </c:pt>
                <c:pt idx="1595">
                  <c:v>42166</c:v>
                </c:pt>
                <c:pt idx="1596">
                  <c:v>42167</c:v>
                </c:pt>
                <c:pt idx="1597">
                  <c:v>42170</c:v>
                </c:pt>
                <c:pt idx="1598">
                  <c:v>42171</c:v>
                </c:pt>
                <c:pt idx="1599">
                  <c:v>42172</c:v>
                </c:pt>
                <c:pt idx="1600">
                  <c:v>42173</c:v>
                </c:pt>
                <c:pt idx="1601">
                  <c:v>42174</c:v>
                </c:pt>
                <c:pt idx="1602">
                  <c:v>42177</c:v>
                </c:pt>
                <c:pt idx="1603">
                  <c:v>42178</c:v>
                </c:pt>
                <c:pt idx="1604">
                  <c:v>42179</c:v>
                </c:pt>
                <c:pt idx="1605">
                  <c:v>42180</c:v>
                </c:pt>
                <c:pt idx="1606">
                  <c:v>42181</c:v>
                </c:pt>
                <c:pt idx="1607">
                  <c:v>42184</c:v>
                </c:pt>
                <c:pt idx="1608">
                  <c:v>42185</c:v>
                </c:pt>
                <c:pt idx="1609">
                  <c:v>42186</c:v>
                </c:pt>
                <c:pt idx="1610">
                  <c:v>42187</c:v>
                </c:pt>
                <c:pt idx="1611">
                  <c:v>42188</c:v>
                </c:pt>
                <c:pt idx="1612">
                  <c:v>42191</c:v>
                </c:pt>
                <c:pt idx="1613">
                  <c:v>42192</c:v>
                </c:pt>
                <c:pt idx="1614">
                  <c:v>42193</c:v>
                </c:pt>
                <c:pt idx="1615">
                  <c:v>42194</c:v>
                </c:pt>
                <c:pt idx="1616">
                  <c:v>42195</c:v>
                </c:pt>
                <c:pt idx="1617">
                  <c:v>42198</c:v>
                </c:pt>
                <c:pt idx="1618">
                  <c:v>42199</c:v>
                </c:pt>
                <c:pt idx="1619">
                  <c:v>42200</c:v>
                </c:pt>
                <c:pt idx="1620">
                  <c:v>42201</c:v>
                </c:pt>
                <c:pt idx="1621">
                  <c:v>42202</c:v>
                </c:pt>
                <c:pt idx="1622">
                  <c:v>42205</c:v>
                </c:pt>
                <c:pt idx="1623">
                  <c:v>42206</c:v>
                </c:pt>
                <c:pt idx="1624">
                  <c:v>42207</c:v>
                </c:pt>
                <c:pt idx="1625">
                  <c:v>42208</c:v>
                </c:pt>
                <c:pt idx="1626">
                  <c:v>42209</c:v>
                </c:pt>
                <c:pt idx="1627">
                  <c:v>42212</c:v>
                </c:pt>
                <c:pt idx="1628">
                  <c:v>42213</c:v>
                </c:pt>
                <c:pt idx="1629">
                  <c:v>42214</c:v>
                </c:pt>
                <c:pt idx="1630">
                  <c:v>42215</c:v>
                </c:pt>
                <c:pt idx="1631">
                  <c:v>42216</c:v>
                </c:pt>
                <c:pt idx="1632">
                  <c:v>42219</c:v>
                </c:pt>
                <c:pt idx="1633">
                  <c:v>42220</c:v>
                </c:pt>
                <c:pt idx="1634">
                  <c:v>42221</c:v>
                </c:pt>
                <c:pt idx="1635">
                  <c:v>42222</c:v>
                </c:pt>
                <c:pt idx="1636">
                  <c:v>42223</c:v>
                </c:pt>
                <c:pt idx="1637">
                  <c:v>42226</c:v>
                </c:pt>
                <c:pt idx="1638">
                  <c:v>42227</c:v>
                </c:pt>
                <c:pt idx="1639">
                  <c:v>42228</c:v>
                </c:pt>
                <c:pt idx="1640">
                  <c:v>42229</c:v>
                </c:pt>
                <c:pt idx="1641">
                  <c:v>42230</c:v>
                </c:pt>
                <c:pt idx="1642">
                  <c:v>42233</c:v>
                </c:pt>
                <c:pt idx="1643">
                  <c:v>42234</c:v>
                </c:pt>
                <c:pt idx="1644">
                  <c:v>42235</c:v>
                </c:pt>
                <c:pt idx="1645">
                  <c:v>42236</c:v>
                </c:pt>
                <c:pt idx="1646">
                  <c:v>42237</c:v>
                </c:pt>
                <c:pt idx="1647">
                  <c:v>42240</c:v>
                </c:pt>
                <c:pt idx="1648">
                  <c:v>42241</c:v>
                </c:pt>
                <c:pt idx="1649">
                  <c:v>42242</c:v>
                </c:pt>
                <c:pt idx="1650">
                  <c:v>42243</c:v>
                </c:pt>
                <c:pt idx="1651">
                  <c:v>42244</c:v>
                </c:pt>
                <c:pt idx="1652">
                  <c:v>42247</c:v>
                </c:pt>
                <c:pt idx="1653">
                  <c:v>42248</c:v>
                </c:pt>
                <c:pt idx="1654">
                  <c:v>42249</c:v>
                </c:pt>
                <c:pt idx="1655">
                  <c:v>42250</c:v>
                </c:pt>
                <c:pt idx="1656">
                  <c:v>42251</c:v>
                </c:pt>
                <c:pt idx="1657">
                  <c:v>42254</c:v>
                </c:pt>
                <c:pt idx="1658">
                  <c:v>42255</c:v>
                </c:pt>
                <c:pt idx="1659">
                  <c:v>42256</c:v>
                </c:pt>
                <c:pt idx="1660">
                  <c:v>42257</c:v>
                </c:pt>
                <c:pt idx="1661">
                  <c:v>42258</c:v>
                </c:pt>
                <c:pt idx="1662">
                  <c:v>42261</c:v>
                </c:pt>
                <c:pt idx="1663">
                  <c:v>42262</c:v>
                </c:pt>
                <c:pt idx="1664">
                  <c:v>42263</c:v>
                </c:pt>
                <c:pt idx="1665">
                  <c:v>42264</c:v>
                </c:pt>
                <c:pt idx="1666">
                  <c:v>42265</c:v>
                </c:pt>
                <c:pt idx="1667">
                  <c:v>42268</c:v>
                </c:pt>
                <c:pt idx="1668">
                  <c:v>42269</c:v>
                </c:pt>
                <c:pt idx="1669">
                  <c:v>42270</c:v>
                </c:pt>
                <c:pt idx="1670">
                  <c:v>42271</c:v>
                </c:pt>
                <c:pt idx="1671">
                  <c:v>42272</c:v>
                </c:pt>
                <c:pt idx="1672">
                  <c:v>42275</c:v>
                </c:pt>
                <c:pt idx="1673">
                  <c:v>42276</c:v>
                </c:pt>
                <c:pt idx="1674">
                  <c:v>42277</c:v>
                </c:pt>
                <c:pt idx="1675">
                  <c:v>42278</c:v>
                </c:pt>
                <c:pt idx="1676">
                  <c:v>42279</c:v>
                </c:pt>
                <c:pt idx="1677">
                  <c:v>42282</c:v>
                </c:pt>
                <c:pt idx="1678">
                  <c:v>42283</c:v>
                </c:pt>
                <c:pt idx="1679">
                  <c:v>42284</c:v>
                </c:pt>
                <c:pt idx="1680">
                  <c:v>42285</c:v>
                </c:pt>
                <c:pt idx="1681">
                  <c:v>42286</c:v>
                </c:pt>
                <c:pt idx="1682">
                  <c:v>42289</c:v>
                </c:pt>
                <c:pt idx="1683">
                  <c:v>42290</c:v>
                </c:pt>
                <c:pt idx="1684">
                  <c:v>42291</c:v>
                </c:pt>
                <c:pt idx="1685">
                  <c:v>42292</c:v>
                </c:pt>
                <c:pt idx="1686">
                  <c:v>42293</c:v>
                </c:pt>
                <c:pt idx="1687">
                  <c:v>42296</c:v>
                </c:pt>
                <c:pt idx="1688">
                  <c:v>42297</c:v>
                </c:pt>
                <c:pt idx="1689">
                  <c:v>42298</c:v>
                </c:pt>
                <c:pt idx="1690">
                  <c:v>42299</c:v>
                </c:pt>
                <c:pt idx="1691">
                  <c:v>42300</c:v>
                </c:pt>
                <c:pt idx="1692">
                  <c:v>42303</c:v>
                </c:pt>
                <c:pt idx="1693">
                  <c:v>42304</c:v>
                </c:pt>
                <c:pt idx="1694">
                  <c:v>42305</c:v>
                </c:pt>
                <c:pt idx="1695">
                  <c:v>42306</c:v>
                </c:pt>
                <c:pt idx="1696">
                  <c:v>42307</c:v>
                </c:pt>
                <c:pt idx="1697">
                  <c:v>42310</c:v>
                </c:pt>
                <c:pt idx="1698">
                  <c:v>42311</c:v>
                </c:pt>
                <c:pt idx="1699">
                  <c:v>42312</c:v>
                </c:pt>
                <c:pt idx="1700">
                  <c:v>42313</c:v>
                </c:pt>
                <c:pt idx="1701">
                  <c:v>42314</c:v>
                </c:pt>
                <c:pt idx="1702">
                  <c:v>42317</c:v>
                </c:pt>
                <c:pt idx="1703">
                  <c:v>42318</c:v>
                </c:pt>
                <c:pt idx="1704">
                  <c:v>42319</c:v>
                </c:pt>
                <c:pt idx="1705">
                  <c:v>42320</c:v>
                </c:pt>
                <c:pt idx="1706">
                  <c:v>42321</c:v>
                </c:pt>
                <c:pt idx="1707">
                  <c:v>42324</c:v>
                </c:pt>
                <c:pt idx="1708">
                  <c:v>42325</c:v>
                </c:pt>
                <c:pt idx="1709">
                  <c:v>42326</c:v>
                </c:pt>
                <c:pt idx="1710">
                  <c:v>42327</c:v>
                </c:pt>
                <c:pt idx="1711">
                  <c:v>42328</c:v>
                </c:pt>
                <c:pt idx="1712">
                  <c:v>42331</c:v>
                </c:pt>
                <c:pt idx="1713">
                  <c:v>42332</c:v>
                </c:pt>
                <c:pt idx="1714">
                  <c:v>42333</c:v>
                </c:pt>
                <c:pt idx="1715">
                  <c:v>42334</c:v>
                </c:pt>
                <c:pt idx="1716">
                  <c:v>42335</c:v>
                </c:pt>
                <c:pt idx="1717">
                  <c:v>42338</c:v>
                </c:pt>
                <c:pt idx="1718">
                  <c:v>42339</c:v>
                </c:pt>
                <c:pt idx="1719">
                  <c:v>42340</c:v>
                </c:pt>
                <c:pt idx="1720">
                  <c:v>42341</c:v>
                </c:pt>
                <c:pt idx="1721">
                  <c:v>42342</c:v>
                </c:pt>
                <c:pt idx="1722">
                  <c:v>42345</c:v>
                </c:pt>
                <c:pt idx="1723">
                  <c:v>42346</c:v>
                </c:pt>
                <c:pt idx="1724">
                  <c:v>42347</c:v>
                </c:pt>
                <c:pt idx="1725">
                  <c:v>42348</c:v>
                </c:pt>
                <c:pt idx="1726">
                  <c:v>42349</c:v>
                </c:pt>
                <c:pt idx="1727">
                  <c:v>42352</c:v>
                </c:pt>
                <c:pt idx="1728">
                  <c:v>42353</c:v>
                </c:pt>
                <c:pt idx="1729">
                  <c:v>42354</c:v>
                </c:pt>
                <c:pt idx="1730">
                  <c:v>42355</c:v>
                </c:pt>
                <c:pt idx="1731">
                  <c:v>42356</c:v>
                </c:pt>
                <c:pt idx="1732">
                  <c:v>42359</c:v>
                </c:pt>
                <c:pt idx="1733">
                  <c:v>42360</c:v>
                </c:pt>
                <c:pt idx="1734">
                  <c:v>42361</c:v>
                </c:pt>
                <c:pt idx="1735">
                  <c:v>42362</c:v>
                </c:pt>
                <c:pt idx="1736">
                  <c:v>42363</c:v>
                </c:pt>
                <c:pt idx="1737">
                  <c:v>42366</c:v>
                </c:pt>
                <c:pt idx="1738">
                  <c:v>42367</c:v>
                </c:pt>
                <c:pt idx="1739">
                  <c:v>42368</c:v>
                </c:pt>
                <c:pt idx="1740">
                  <c:v>42369</c:v>
                </c:pt>
                <c:pt idx="1741">
                  <c:v>42370</c:v>
                </c:pt>
                <c:pt idx="1742">
                  <c:v>42373</c:v>
                </c:pt>
                <c:pt idx="1743">
                  <c:v>42374</c:v>
                </c:pt>
                <c:pt idx="1744">
                  <c:v>42375</c:v>
                </c:pt>
                <c:pt idx="1745">
                  <c:v>42376</c:v>
                </c:pt>
                <c:pt idx="1746">
                  <c:v>42377</c:v>
                </c:pt>
                <c:pt idx="1747">
                  <c:v>42380</c:v>
                </c:pt>
                <c:pt idx="1748">
                  <c:v>42381</c:v>
                </c:pt>
                <c:pt idx="1749">
                  <c:v>42382</c:v>
                </c:pt>
                <c:pt idx="1750">
                  <c:v>42383</c:v>
                </c:pt>
                <c:pt idx="1751">
                  <c:v>42384</c:v>
                </c:pt>
                <c:pt idx="1752">
                  <c:v>42387</c:v>
                </c:pt>
                <c:pt idx="1753">
                  <c:v>42388</c:v>
                </c:pt>
                <c:pt idx="1754">
                  <c:v>42389</c:v>
                </c:pt>
                <c:pt idx="1755">
                  <c:v>42390</c:v>
                </c:pt>
                <c:pt idx="1756">
                  <c:v>42391</c:v>
                </c:pt>
                <c:pt idx="1757">
                  <c:v>42394</c:v>
                </c:pt>
                <c:pt idx="1758">
                  <c:v>42395</c:v>
                </c:pt>
                <c:pt idx="1759">
                  <c:v>42396</c:v>
                </c:pt>
                <c:pt idx="1760">
                  <c:v>42397</c:v>
                </c:pt>
                <c:pt idx="1761">
                  <c:v>42398</c:v>
                </c:pt>
                <c:pt idx="1762">
                  <c:v>42401</c:v>
                </c:pt>
                <c:pt idx="1763">
                  <c:v>42402</c:v>
                </c:pt>
                <c:pt idx="1764">
                  <c:v>42403</c:v>
                </c:pt>
                <c:pt idx="1765">
                  <c:v>42404</c:v>
                </c:pt>
                <c:pt idx="1766">
                  <c:v>42405</c:v>
                </c:pt>
                <c:pt idx="1767">
                  <c:v>42408</c:v>
                </c:pt>
                <c:pt idx="1768">
                  <c:v>42409</c:v>
                </c:pt>
                <c:pt idx="1769">
                  <c:v>42410</c:v>
                </c:pt>
                <c:pt idx="1770">
                  <c:v>42411</c:v>
                </c:pt>
                <c:pt idx="1771">
                  <c:v>42412</c:v>
                </c:pt>
                <c:pt idx="1772">
                  <c:v>42415</c:v>
                </c:pt>
                <c:pt idx="1773">
                  <c:v>42416</c:v>
                </c:pt>
                <c:pt idx="1774">
                  <c:v>42417</c:v>
                </c:pt>
                <c:pt idx="1775">
                  <c:v>42418</c:v>
                </c:pt>
                <c:pt idx="1776">
                  <c:v>42419</c:v>
                </c:pt>
                <c:pt idx="1777">
                  <c:v>42422</c:v>
                </c:pt>
                <c:pt idx="1778">
                  <c:v>42423</c:v>
                </c:pt>
                <c:pt idx="1779">
                  <c:v>42424</c:v>
                </c:pt>
                <c:pt idx="1780">
                  <c:v>42425</c:v>
                </c:pt>
                <c:pt idx="1781">
                  <c:v>42426</c:v>
                </c:pt>
                <c:pt idx="1782">
                  <c:v>42429</c:v>
                </c:pt>
                <c:pt idx="1783">
                  <c:v>42430</c:v>
                </c:pt>
                <c:pt idx="1784">
                  <c:v>42431</c:v>
                </c:pt>
                <c:pt idx="1785">
                  <c:v>42432</c:v>
                </c:pt>
                <c:pt idx="1786">
                  <c:v>42433</c:v>
                </c:pt>
                <c:pt idx="1787">
                  <c:v>42436</c:v>
                </c:pt>
                <c:pt idx="1788">
                  <c:v>42437</c:v>
                </c:pt>
                <c:pt idx="1789">
                  <c:v>42438</c:v>
                </c:pt>
                <c:pt idx="1790">
                  <c:v>42439</c:v>
                </c:pt>
                <c:pt idx="1791">
                  <c:v>42440</c:v>
                </c:pt>
                <c:pt idx="1792">
                  <c:v>42443</c:v>
                </c:pt>
                <c:pt idx="1793">
                  <c:v>42444</c:v>
                </c:pt>
                <c:pt idx="1794">
                  <c:v>42445</c:v>
                </c:pt>
                <c:pt idx="1795">
                  <c:v>42446</c:v>
                </c:pt>
                <c:pt idx="1796">
                  <c:v>42447</c:v>
                </c:pt>
                <c:pt idx="1797">
                  <c:v>42450</c:v>
                </c:pt>
                <c:pt idx="1798">
                  <c:v>42451</c:v>
                </c:pt>
                <c:pt idx="1799">
                  <c:v>42452</c:v>
                </c:pt>
                <c:pt idx="1800">
                  <c:v>42453</c:v>
                </c:pt>
                <c:pt idx="1801">
                  <c:v>42454</c:v>
                </c:pt>
                <c:pt idx="1802">
                  <c:v>42457</c:v>
                </c:pt>
                <c:pt idx="1803">
                  <c:v>42458</c:v>
                </c:pt>
                <c:pt idx="1804">
                  <c:v>42459</c:v>
                </c:pt>
                <c:pt idx="1805">
                  <c:v>42460</c:v>
                </c:pt>
                <c:pt idx="1806">
                  <c:v>42461</c:v>
                </c:pt>
                <c:pt idx="1807">
                  <c:v>42464</c:v>
                </c:pt>
                <c:pt idx="1808">
                  <c:v>42465</c:v>
                </c:pt>
                <c:pt idx="1809">
                  <c:v>42466</c:v>
                </c:pt>
                <c:pt idx="1810">
                  <c:v>42467</c:v>
                </c:pt>
                <c:pt idx="1811">
                  <c:v>42468</c:v>
                </c:pt>
                <c:pt idx="1812">
                  <c:v>42471</c:v>
                </c:pt>
                <c:pt idx="1813">
                  <c:v>42472</c:v>
                </c:pt>
                <c:pt idx="1814">
                  <c:v>42473</c:v>
                </c:pt>
                <c:pt idx="1815">
                  <c:v>42474</c:v>
                </c:pt>
                <c:pt idx="1816">
                  <c:v>42475</c:v>
                </c:pt>
                <c:pt idx="1817">
                  <c:v>42478</c:v>
                </c:pt>
                <c:pt idx="1818">
                  <c:v>42479</c:v>
                </c:pt>
                <c:pt idx="1819">
                  <c:v>42480</c:v>
                </c:pt>
                <c:pt idx="1820">
                  <c:v>42481</c:v>
                </c:pt>
                <c:pt idx="1821">
                  <c:v>42482</c:v>
                </c:pt>
                <c:pt idx="1822">
                  <c:v>42485</c:v>
                </c:pt>
                <c:pt idx="1823">
                  <c:v>42486</c:v>
                </c:pt>
                <c:pt idx="1824">
                  <c:v>42487</c:v>
                </c:pt>
                <c:pt idx="1825">
                  <c:v>42488</c:v>
                </c:pt>
                <c:pt idx="1826">
                  <c:v>42489</c:v>
                </c:pt>
                <c:pt idx="1827">
                  <c:v>42492</c:v>
                </c:pt>
                <c:pt idx="1828">
                  <c:v>42493</c:v>
                </c:pt>
                <c:pt idx="1829">
                  <c:v>42494</c:v>
                </c:pt>
                <c:pt idx="1830">
                  <c:v>42495</c:v>
                </c:pt>
                <c:pt idx="1831">
                  <c:v>42496</c:v>
                </c:pt>
                <c:pt idx="1832">
                  <c:v>42499</c:v>
                </c:pt>
                <c:pt idx="1833">
                  <c:v>42500</c:v>
                </c:pt>
                <c:pt idx="1834">
                  <c:v>42501</c:v>
                </c:pt>
                <c:pt idx="1835">
                  <c:v>42502</c:v>
                </c:pt>
                <c:pt idx="1836">
                  <c:v>42503</c:v>
                </c:pt>
                <c:pt idx="1837">
                  <c:v>42506</c:v>
                </c:pt>
                <c:pt idx="1838">
                  <c:v>42507</c:v>
                </c:pt>
                <c:pt idx="1839">
                  <c:v>42508</c:v>
                </c:pt>
                <c:pt idx="1840">
                  <c:v>42509</c:v>
                </c:pt>
                <c:pt idx="1841">
                  <c:v>42510</c:v>
                </c:pt>
                <c:pt idx="1842">
                  <c:v>42513</c:v>
                </c:pt>
                <c:pt idx="1843">
                  <c:v>42514</c:v>
                </c:pt>
                <c:pt idx="1844">
                  <c:v>42515</c:v>
                </c:pt>
                <c:pt idx="1845">
                  <c:v>42516</c:v>
                </c:pt>
                <c:pt idx="1846">
                  <c:v>42517</c:v>
                </c:pt>
                <c:pt idx="1847">
                  <c:v>42520</c:v>
                </c:pt>
                <c:pt idx="1848">
                  <c:v>42521</c:v>
                </c:pt>
                <c:pt idx="1849">
                  <c:v>42522</c:v>
                </c:pt>
                <c:pt idx="1850">
                  <c:v>42523</c:v>
                </c:pt>
                <c:pt idx="1851">
                  <c:v>42524</c:v>
                </c:pt>
                <c:pt idx="1852">
                  <c:v>42527</c:v>
                </c:pt>
                <c:pt idx="1853">
                  <c:v>42528</c:v>
                </c:pt>
                <c:pt idx="1854">
                  <c:v>42529</c:v>
                </c:pt>
                <c:pt idx="1855">
                  <c:v>42530</c:v>
                </c:pt>
                <c:pt idx="1856">
                  <c:v>42531</c:v>
                </c:pt>
                <c:pt idx="1857">
                  <c:v>42534</c:v>
                </c:pt>
                <c:pt idx="1858">
                  <c:v>42535</c:v>
                </c:pt>
                <c:pt idx="1859">
                  <c:v>42536</c:v>
                </c:pt>
                <c:pt idx="1860">
                  <c:v>42537</c:v>
                </c:pt>
                <c:pt idx="1861">
                  <c:v>42538</c:v>
                </c:pt>
                <c:pt idx="1862">
                  <c:v>42541</c:v>
                </c:pt>
                <c:pt idx="1863">
                  <c:v>42542</c:v>
                </c:pt>
                <c:pt idx="1864">
                  <c:v>42543</c:v>
                </c:pt>
                <c:pt idx="1865">
                  <c:v>42544</c:v>
                </c:pt>
                <c:pt idx="1866">
                  <c:v>42545</c:v>
                </c:pt>
                <c:pt idx="1867">
                  <c:v>42548</c:v>
                </c:pt>
                <c:pt idx="1868">
                  <c:v>42549</c:v>
                </c:pt>
                <c:pt idx="1869">
                  <c:v>42550</c:v>
                </c:pt>
                <c:pt idx="1870">
                  <c:v>42551</c:v>
                </c:pt>
                <c:pt idx="1871">
                  <c:v>42552</c:v>
                </c:pt>
                <c:pt idx="1872">
                  <c:v>42555</c:v>
                </c:pt>
                <c:pt idx="1873">
                  <c:v>42556</c:v>
                </c:pt>
                <c:pt idx="1874">
                  <c:v>42557</c:v>
                </c:pt>
                <c:pt idx="1875">
                  <c:v>42558</c:v>
                </c:pt>
                <c:pt idx="1876">
                  <c:v>42559</c:v>
                </c:pt>
                <c:pt idx="1877">
                  <c:v>42562</c:v>
                </c:pt>
                <c:pt idx="1878">
                  <c:v>42563</c:v>
                </c:pt>
                <c:pt idx="1879">
                  <c:v>42564</c:v>
                </c:pt>
                <c:pt idx="1880">
                  <c:v>42565</c:v>
                </c:pt>
                <c:pt idx="1881">
                  <c:v>42566</c:v>
                </c:pt>
                <c:pt idx="1882">
                  <c:v>42569</c:v>
                </c:pt>
                <c:pt idx="1883">
                  <c:v>42570</c:v>
                </c:pt>
                <c:pt idx="1884">
                  <c:v>42571</c:v>
                </c:pt>
                <c:pt idx="1885">
                  <c:v>42572</c:v>
                </c:pt>
                <c:pt idx="1886">
                  <c:v>42573</c:v>
                </c:pt>
                <c:pt idx="1887">
                  <c:v>42576</c:v>
                </c:pt>
                <c:pt idx="1888">
                  <c:v>42577</c:v>
                </c:pt>
                <c:pt idx="1889">
                  <c:v>42578</c:v>
                </c:pt>
                <c:pt idx="1890">
                  <c:v>42579</c:v>
                </c:pt>
                <c:pt idx="1891">
                  <c:v>42580</c:v>
                </c:pt>
                <c:pt idx="1892">
                  <c:v>42583</c:v>
                </c:pt>
                <c:pt idx="1893">
                  <c:v>42584</c:v>
                </c:pt>
                <c:pt idx="1894">
                  <c:v>42585</c:v>
                </c:pt>
                <c:pt idx="1895">
                  <c:v>42586</c:v>
                </c:pt>
                <c:pt idx="1896">
                  <c:v>42587</c:v>
                </c:pt>
                <c:pt idx="1897">
                  <c:v>42590</c:v>
                </c:pt>
                <c:pt idx="1898">
                  <c:v>42591</c:v>
                </c:pt>
                <c:pt idx="1899">
                  <c:v>42592</c:v>
                </c:pt>
                <c:pt idx="1900">
                  <c:v>42593</c:v>
                </c:pt>
                <c:pt idx="1901">
                  <c:v>42594</c:v>
                </c:pt>
                <c:pt idx="1902">
                  <c:v>42597</c:v>
                </c:pt>
                <c:pt idx="1903">
                  <c:v>42598</c:v>
                </c:pt>
                <c:pt idx="1904">
                  <c:v>42599</c:v>
                </c:pt>
                <c:pt idx="1905">
                  <c:v>42600</c:v>
                </c:pt>
                <c:pt idx="1906">
                  <c:v>42601</c:v>
                </c:pt>
                <c:pt idx="1907">
                  <c:v>42604</c:v>
                </c:pt>
                <c:pt idx="1908">
                  <c:v>42605</c:v>
                </c:pt>
                <c:pt idx="1909">
                  <c:v>42606</c:v>
                </c:pt>
                <c:pt idx="1910">
                  <c:v>42607</c:v>
                </c:pt>
                <c:pt idx="1911">
                  <c:v>42608</c:v>
                </c:pt>
                <c:pt idx="1912">
                  <c:v>42611</c:v>
                </c:pt>
                <c:pt idx="1913">
                  <c:v>42612</c:v>
                </c:pt>
                <c:pt idx="1914">
                  <c:v>42613</c:v>
                </c:pt>
                <c:pt idx="1915">
                  <c:v>42614</c:v>
                </c:pt>
                <c:pt idx="1916">
                  <c:v>42615</c:v>
                </c:pt>
                <c:pt idx="1917">
                  <c:v>42618</c:v>
                </c:pt>
                <c:pt idx="1918">
                  <c:v>42619</c:v>
                </c:pt>
                <c:pt idx="1919">
                  <c:v>42620</c:v>
                </c:pt>
                <c:pt idx="1920">
                  <c:v>42621</c:v>
                </c:pt>
                <c:pt idx="1921">
                  <c:v>42622</c:v>
                </c:pt>
                <c:pt idx="1922">
                  <c:v>42625</c:v>
                </c:pt>
                <c:pt idx="1923">
                  <c:v>42626</c:v>
                </c:pt>
                <c:pt idx="1924">
                  <c:v>42627</c:v>
                </c:pt>
                <c:pt idx="1925">
                  <c:v>42628</c:v>
                </c:pt>
                <c:pt idx="1926">
                  <c:v>42629</c:v>
                </c:pt>
                <c:pt idx="1927">
                  <c:v>42632</c:v>
                </c:pt>
                <c:pt idx="1928">
                  <c:v>42633</c:v>
                </c:pt>
                <c:pt idx="1929">
                  <c:v>42634</c:v>
                </c:pt>
                <c:pt idx="1930">
                  <c:v>42635</c:v>
                </c:pt>
                <c:pt idx="1931">
                  <c:v>42636</c:v>
                </c:pt>
                <c:pt idx="1932">
                  <c:v>42639</c:v>
                </c:pt>
                <c:pt idx="1933">
                  <c:v>42640</c:v>
                </c:pt>
                <c:pt idx="1934">
                  <c:v>42641</c:v>
                </c:pt>
                <c:pt idx="1935">
                  <c:v>42642</c:v>
                </c:pt>
                <c:pt idx="1936">
                  <c:v>42643</c:v>
                </c:pt>
                <c:pt idx="1937">
                  <c:v>42646</c:v>
                </c:pt>
                <c:pt idx="1938">
                  <c:v>42647</c:v>
                </c:pt>
                <c:pt idx="1939">
                  <c:v>42648</c:v>
                </c:pt>
                <c:pt idx="1940">
                  <c:v>42649</c:v>
                </c:pt>
                <c:pt idx="1941">
                  <c:v>42650</c:v>
                </c:pt>
                <c:pt idx="1942">
                  <c:v>42653</c:v>
                </c:pt>
                <c:pt idx="1943">
                  <c:v>42654</c:v>
                </c:pt>
                <c:pt idx="1944">
                  <c:v>42655</c:v>
                </c:pt>
                <c:pt idx="1945">
                  <c:v>42656</c:v>
                </c:pt>
                <c:pt idx="1946">
                  <c:v>42657</c:v>
                </c:pt>
                <c:pt idx="1947">
                  <c:v>42660</c:v>
                </c:pt>
                <c:pt idx="1948">
                  <c:v>42661</c:v>
                </c:pt>
                <c:pt idx="1949">
                  <c:v>42662</c:v>
                </c:pt>
                <c:pt idx="1950">
                  <c:v>42663</c:v>
                </c:pt>
                <c:pt idx="1951">
                  <c:v>42664</c:v>
                </c:pt>
                <c:pt idx="1952">
                  <c:v>42667</c:v>
                </c:pt>
                <c:pt idx="1953">
                  <c:v>42668</c:v>
                </c:pt>
                <c:pt idx="1954">
                  <c:v>42669</c:v>
                </c:pt>
                <c:pt idx="1955">
                  <c:v>42670</c:v>
                </c:pt>
                <c:pt idx="1956">
                  <c:v>42671</c:v>
                </c:pt>
                <c:pt idx="1957">
                  <c:v>42674</c:v>
                </c:pt>
                <c:pt idx="1958">
                  <c:v>42675</c:v>
                </c:pt>
                <c:pt idx="1959">
                  <c:v>42676</c:v>
                </c:pt>
                <c:pt idx="1960">
                  <c:v>42677</c:v>
                </c:pt>
                <c:pt idx="1961">
                  <c:v>42678</c:v>
                </c:pt>
                <c:pt idx="1962">
                  <c:v>42681</c:v>
                </c:pt>
                <c:pt idx="1963">
                  <c:v>42682</c:v>
                </c:pt>
                <c:pt idx="1964">
                  <c:v>42683</c:v>
                </c:pt>
                <c:pt idx="1965">
                  <c:v>42684</c:v>
                </c:pt>
                <c:pt idx="1966">
                  <c:v>42685</c:v>
                </c:pt>
                <c:pt idx="1967">
                  <c:v>42688</c:v>
                </c:pt>
                <c:pt idx="1968">
                  <c:v>42689</c:v>
                </c:pt>
                <c:pt idx="1969">
                  <c:v>42690</c:v>
                </c:pt>
                <c:pt idx="1970">
                  <c:v>42691</c:v>
                </c:pt>
                <c:pt idx="1971">
                  <c:v>42692</c:v>
                </c:pt>
                <c:pt idx="1972">
                  <c:v>42695</c:v>
                </c:pt>
                <c:pt idx="1973">
                  <c:v>42696</c:v>
                </c:pt>
                <c:pt idx="1974">
                  <c:v>42697</c:v>
                </c:pt>
                <c:pt idx="1975">
                  <c:v>42698</c:v>
                </c:pt>
                <c:pt idx="1976">
                  <c:v>42699</c:v>
                </c:pt>
                <c:pt idx="1977">
                  <c:v>42702</c:v>
                </c:pt>
                <c:pt idx="1978">
                  <c:v>42703</c:v>
                </c:pt>
                <c:pt idx="1979">
                  <c:v>42704</c:v>
                </c:pt>
                <c:pt idx="1980">
                  <c:v>42705</c:v>
                </c:pt>
                <c:pt idx="1981">
                  <c:v>42706</c:v>
                </c:pt>
                <c:pt idx="1982">
                  <c:v>42709</c:v>
                </c:pt>
                <c:pt idx="1983">
                  <c:v>42710</c:v>
                </c:pt>
                <c:pt idx="1984">
                  <c:v>42711</c:v>
                </c:pt>
                <c:pt idx="1985">
                  <c:v>42712</c:v>
                </c:pt>
                <c:pt idx="1986">
                  <c:v>42713</c:v>
                </c:pt>
                <c:pt idx="1987">
                  <c:v>42716</c:v>
                </c:pt>
                <c:pt idx="1988">
                  <c:v>42717</c:v>
                </c:pt>
                <c:pt idx="1989">
                  <c:v>42718</c:v>
                </c:pt>
                <c:pt idx="1990">
                  <c:v>42719</c:v>
                </c:pt>
                <c:pt idx="1991">
                  <c:v>42720</c:v>
                </c:pt>
                <c:pt idx="1992">
                  <c:v>42723</c:v>
                </c:pt>
                <c:pt idx="1993">
                  <c:v>42724</c:v>
                </c:pt>
                <c:pt idx="1994">
                  <c:v>42725</c:v>
                </c:pt>
                <c:pt idx="1995">
                  <c:v>42726</c:v>
                </c:pt>
                <c:pt idx="1996">
                  <c:v>42727</c:v>
                </c:pt>
                <c:pt idx="1997">
                  <c:v>42730</c:v>
                </c:pt>
                <c:pt idx="1998">
                  <c:v>42731</c:v>
                </c:pt>
                <c:pt idx="1999">
                  <c:v>42732</c:v>
                </c:pt>
                <c:pt idx="2000">
                  <c:v>42733</c:v>
                </c:pt>
                <c:pt idx="2001">
                  <c:v>42734</c:v>
                </c:pt>
                <c:pt idx="2002">
                  <c:v>42737</c:v>
                </c:pt>
                <c:pt idx="2003">
                  <c:v>42738</c:v>
                </c:pt>
                <c:pt idx="2004">
                  <c:v>42739</c:v>
                </c:pt>
                <c:pt idx="2005">
                  <c:v>42740</c:v>
                </c:pt>
                <c:pt idx="2006">
                  <c:v>42741</c:v>
                </c:pt>
                <c:pt idx="2007">
                  <c:v>42744</c:v>
                </c:pt>
                <c:pt idx="2008">
                  <c:v>42745</c:v>
                </c:pt>
                <c:pt idx="2009">
                  <c:v>42746</c:v>
                </c:pt>
                <c:pt idx="2010">
                  <c:v>42747</c:v>
                </c:pt>
                <c:pt idx="2011">
                  <c:v>42748</c:v>
                </c:pt>
                <c:pt idx="2012">
                  <c:v>42751</c:v>
                </c:pt>
                <c:pt idx="2013">
                  <c:v>42752</c:v>
                </c:pt>
                <c:pt idx="2014">
                  <c:v>42753</c:v>
                </c:pt>
                <c:pt idx="2015">
                  <c:v>42754</c:v>
                </c:pt>
                <c:pt idx="2016">
                  <c:v>42755</c:v>
                </c:pt>
                <c:pt idx="2017">
                  <c:v>42758</c:v>
                </c:pt>
                <c:pt idx="2018">
                  <c:v>42759</c:v>
                </c:pt>
                <c:pt idx="2019">
                  <c:v>42760</c:v>
                </c:pt>
                <c:pt idx="2020">
                  <c:v>42761</c:v>
                </c:pt>
                <c:pt idx="2021">
                  <c:v>42762</c:v>
                </c:pt>
                <c:pt idx="2022">
                  <c:v>42765</c:v>
                </c:pt>
                <c:pt idx="2023">
                  <c:v>42766</c:v>
                </c:pt>
                <c:pt idx="2024">
                  <c:v>42767</c:v>
                </c:pt>
                <c:pt idx="2025">
                  <c:v>42768</c:v>
                </c:pt>
                <c:pt idx="2026">
                  <c:v>42769</c:v>
                </c:pt>
                <c:pt idx="2027">
                  <c:v>42772</c:v>
                </c:pt>
                <c:pt idx="2028">
                  <c:v>42773</c:v>
                </c:pt>
                <c:pt idx="2029">
                  <c:v>42774</c:v>
                </c:pt>
                <c:pt idx="2030">
                  <c:v>42775</c:v>
                </c:pt>
                <c:pt idx="2031">
                  <c:v>42776</c:v>
                </c:pt>
                <c:pt idx="2032">
                  <c:v>42779</c:v>
                </c:pt>
                <c:pt idx="2033">
                  <c:v>42780</c:v>
                </c:pt>
                <c:pt idx="2034">
                  <c:v>42781</c:v>
                </c:pt>
                <c:pt idx="2035">
                  <c:v>42782</c:v>
                </c:pt>
                <c:pt idx="2036">
                  <c:v>42783</c:v>
                </c:pt>
                <c:pt idx="2037">
                  <c:v>42786</c:v>
                </c:pt>
                <c:pt idx="2038">
                  <c:v>42787</c:v>
                </c:pt>
                <c:pt idx="2039">
                  <c:v>42788</c:v>
                </c:pt>
                <c:pt idx="2040">
                  <c:v>42789</c:v>
                </c:pt>
                <c:pt idx="2041">
                  <c:v>42790</c:v>
                </c:pt>
                <c:pt idx="2042">
                  <c:v>42793</c:v>
                </c:pt>
                <c:pt idx="2043">
                  <c:v>42794</c:v>
                </c:pt>
                <c:pt idx="2044">
                  <c:v>42795</c:v>
                </c:pt>
                <c:pt idx="2045">
                  <c:v>42796</c:v>
                </c:pt>
                <c:pt idx="2046">
                  <c:v>42797</c:v>
                </c:pt>
                <c:pt idx="2047">
                  <c:v>42800</c:v>
                </c:pt>
                <c:pt idx="2048">
                  <c:v>42801</c:v>
                </c:pt>
                <c:pt idx="2049">
                  <c:v>42802</c:v>
                </c:pt>
                <c:pt idx="2050">
                  <c:v>42803</c:v>
                </c:pt>
                <c:pt idx="2051">
                  <c:v>42804</c:v>
                </c:pt>
                <c:pt idx="2052">
                  <c:v>42807</c:v>
                </c:pt>
                <c:pt idx="2053">
                  <c:v>42808</c:v>
                </c:pt>
                <c:pt idx="2054">
                  <c:v>42809</c:v>
                </c:pt>
                <c:pt idx="2055">
                  <c:v>42810</c:v>
                </c:pt>
                <c:pt idx="2056">
                  <c:v>42811</c:v>
                </c:pt>
                <c:pt idx="2057">
                  <c:v>42814</c:v>
                </c:pt>
                <c:pt idx="2058">
                  <c:v>42815</c:v>
                </c:pt>
                <c:pt idx="2059">
                  <c:v>42816</c:v>
                </c:pt>
                <c:pt idx="2060">
                  <c:v>42817</c:v>
                </c:pt>
                <c:pt idx="2061">
                  <c:v>42818</c:v>
                </c:pt>
                <c:pt idx="2062">
                  <c:v>42821</c:v>
                </c:pt>
                <c:pt idx="2063">
                  <c:v>42822</c:v>
                </c:pt>
                <c:pt idx="2064">
                  <c:v>42823</c:v>
                </c:pt>
                <c:pt idx="2065">
                  <c:v>42824</c:v>
                </c:pt>
                <c:pt idx="2066">
                  <c:v>42825</c:v>
                </c:pt>
                <c:pt idx="2067">
                  <c:v>42828</c:v>
                </c:pt>
                <c:pt idx="2068">
                  <c:v>42829</c:v>
                </c:pt>
                <c:pt idx="2069">
                  <c:v>42830</c:v>
                </c:pt>
                <c:pt idx="2070">
                  <c:v>42831</c:v>
                </c:pt>
                <c:pt idx="2071">
                  <c:v>42832</c:v>
                </c:pt>
                <c:pt idx="2072">
                  <c:v>42835</c:v>
                </c:pt>
                <c:pt idx="2073">
                  <c:v>42836</c:v>
                </c:pt>
                <c:pt idx="2074">
                  <c:v>42837</c:v>
                </c:pt>
                <c:pt idx="2075">
                  <c:v>42838</c:v>
                </c:pt>
                <c:pt idx="2076">
                  <c:v>42839</c:v>
                </c:pt>
                <c:pt idx="2077">
                  <c:v>42842</c:v>
                </c:pt>
                <c:pt idx="2078">
                  <c:v>42843</c:v>
                </c:pt>
                <c:pt idx="2079">
                  <c:v>42844</c:v>
                </c:pt>
                <c:pt idx="2080">
                  <c:v>42845</c:v>
                </c:pt>
                <c:pt idx="2081">
                  <c:v>42846</c:v>
                </c:pt>
                <c:pt idx="2082">
                  <c:v>42849</c:v>
                </c:pt>
                <c:pt idx="2083">
                  <c:v>42850</c:v>
                </c:pt>
                <c:pt idx="2084">
                  <c:v>42851</c:v>
                </c:pt>
                <c:pt idx="2085">
                  <c:v>42852</c:v>
                </c:pt>
                <c:pt idx="2086">
                  <c:v>42853</c:v>
                </c:pt>
                <c:pt idx="2087">
                  <c:v>42856</c:v>
                </c:pt>
                <c:pt idx="2088">
                  <c:v>42857</c:v>
                </c:pt>
                <c:pt idx="2089">
                  <c:v>42858</c:v>
                </c:pt>
                <c:pt idx="2090">
                  <c:v>42859</c:v>
                </c:pt>
                <c:pt idx="2091">
                  <c:v>42860</c:v>
                </c:pt>
                <c:pt idx="2092">
                  <c:v>42863</c:v>
                </c:pt>
                <c:pt idx="2093">
                  <c:v>42864</c:v>
                </c:pt>
                <c:pt idx="2094">
                  <c:v>42865</c:v>
                </c:pt>
                <c:pt idx="2095">
                  <c:v>42866</c:v>
                </c:pt>
                <c:pt idx="2096">
                  <c:v>42867</c:v>
                </c:pt>
                <c:pt idx="2097">
                  <c:v>42870</c:v>
                </c:pt>
                <c:pt idx="2098">
                  <c:v>42871</c:v>
                </c:pt>
                <c:pt idx="2099">
                  <c:v>42872</c:v>
                </c:pt>
                <c:pt idx="2100">
                  <c:v>42873</c:v>
                </c:pt>
                <c:pt idx="2101">
                  <c:v>42874</c:v>
                </c:pt>
                <c:pt idx="2102">
                  <c:v>42877</c:v>
                </c:pt>
                <c:pt idx="2103">
                  <c:v>42878</c:v>
                </c:pt>
                <c:pt idx="2104">
                  <c:v>42879</c:v>
                </c:pt>
                <c:pt idx="2105">
                  <c:v>42880</c:v>
                </c:pt>
                <c:pt idx="2106">
                  <c:v>42881</c:v>
                </c:pt>
                <c:pt idx="2107">
                  <c:v>42884</c:v>
                </c:pt>
                <c:pt idx="2108">
                  <c:v>42885</c:v>
                </c:pt>
                <c:pt idx="2109">
                  <c:v>42886</c:v>
                </c:pt>
                <c:pt idx="2110">
                  <c:v>42887</c:v>
                </c:pt>
                <c:pt idx="2111">
                  <c:v>42888</c:v>
                </c:pt>
                <c:pt idx="2112">
                  <c:v>42891</c:v>
                </c:pt>
                <c:pt idx="2113">
                  <c:v>42892</c:v>
                </c:pt>
                <c:pt idx="2114">
                  <c:v>42893</c:v>
                </c:pt>
                <c:pt idx="2115">
                  <c:v>42894</c:v>
                </c:pt>
                <c:pt idx="2116">
                  <c:v>42895</c:v>
                </c:pt>
                <c:pt idx="2117">
                  <c:v>42898</c:v>
                </c:pt>
                <c:pt idx="2118">
                  <c:v>42899</c:v>
                </c:pt>
                <c:pt idx="2119">
                  <c:v>42900</c:v>
                </c:pt>
                <c:pt idx="2120">
                  <c:v>42901</c:v>
                </c:pt>
                <c:pt idx="2121">
                  <c:v>42902</c:v>
                </c:pt>
                <c:pt idx="2122">
                  <c:v>42905</c:v>
                </c:pt>
                <c:pt idx="2123">
                  <c:v>42906</c:v>
                </c:pt>
                <c:pt idx="2124">
                  <c:v>42907</c:v>
                </c:pt>
                <c:pt idx="2125">
                  <c:v>42908</c:v>
                </c:pt>
                <c:pt idx="2126">
                  <c:v>42909</c:v>
                </c:pt>
                <c:pt idx="2127">
                  <c:v>42912</c:v>
                </c:pt>
                <c:pt idx="2128">
                  <c:v>42913</c:v>
                </c:pt>
                <c:pt idx="2129">
                  <c:v>42914</c:v>
                </c:pt>
                <c:pt idx="2130">
                  <c:v>42915</c:v>
                </c:pt>
                <c:pt idx="2131">
                  <c:v>42916</c:v>
                </c:pt>
                <c:pt idx="2132">
                  <c:v>42919</c:v>
                </c:pt>
                <c:pt idx="2133">
                  <c:v>42920</c:v>
                </c:pt>
                <c:pt idx="2134">
                  <c:v>42921</c:v>
                </c:pt>
                <c:pt idx="2135">
                  <c:v>42922</c:v>
                </c:pt>
                <c:pt idx="2136">
                  <c:v>42923</c:v>
                </c:pt>
                <c:pt idx="2137">
                  <c:v>42926</c:v>
                </c:pt>
                <c:pt idx="2138">
                  <c:v>42927</c:v>
                </c:pt>
                <c:pt idx="2139">
                  <c:v>42928</c:v>
                </c:pt>
                <c:pt idx="2140">
                  <c:v>42929</c:v>
                </c:pt>
                <c:pt idx="2141">
                  <c:v>42930</c:v>
                </c:pt>
                <c:pt idx="2142">
                  <c:v>42933</c:v>
                </c:pt>
                <c:pt idx="2143">
                  <c:v>42934</c:v>
                </c:pt>
                <c:pt idx="2144">
                  <c:v>42935</c:v>
                </c:pt>
                <c:pt idx="2145">
                  <c:v>42936</c:v>
                </c:pt>
                <c:pt idx="2146">
                  <c:v>42937</c:v>
                </c:pt>
                <c:pt idx="2147">
                  <c:v>42940</c:v>
                </c:pt>
                <c:pt idx="2148">
                  <c:v>42941</c:v>
                </c:pt>
                <c:pt idx="2149">
                  <c:v>42942</c:v>
                </c:pt>
                <c:pt idx="2150">
                  <c:v>42943</c:v>
                </c:pt>
                <c:pt idx="2151">
                  <c:v>42944</c:v>
                </c:pt>
                <c:pt idx="2152">
                  <c:v>42947</c:v>
                </c:pt>
                <c:pt idx="2153">
                  <c:v>42948</c:v>
                </c:pt>
                <c:pt idx="2154">
                  <c:v>42949</c:v>
                </c:pt>
                <c:pt idx="2155">
                  <c:v>42950</c:v>
                </c:pt>
                <c:pt idx="2156">
                  <c:v>42951</c:v>
                </c:pt>
                <c:pt idx="2157">
                  <c:v>42954</c:v>
                </c:pt>
                <c:pt idx="2158">
                  <c:v>42955</c:v>
                </c:pt>
                <c:pt idx="2159">
                  <c:v>42956</c:v>
                </c:pt>
                <c:pt idx="2160">
                  <c:v>42957</c:v>
                </c:pt>
                <c:pt idx="2161">
                  <c:v>42958</c:v>
                </c:pt>
                <c:pt idx="2162">
                  <c:v>42961</c:v>
                </c:pt>
                <c:pt idx="2163">
                  <c:v>42962</c:v>
                </c:pt>
                <c:pt idx="2164">
                  <c:v>42963</c:v>
                </c:pt>
                <c:pt idx="2165">
                  <c:v>42964</c:v>
                </c:pt>
                <c:pt idx="2166">
                  <c:v>42965</c:v>
                </c:pt>
                <c:pt idx="2167">
                  <c:v>42968</c:v>
                </c:pt>
                <c:pt idx="2168">
                  <c:v>42969</c:v>
                </c:pt>
                <c:pt idx="2169">
                  <c:v>42970</c:v>
                </c:pt>
                <c:pt idx="2170">
                  <c:v>42971</c:v>
                </c:pt>
                <c:pt idx="2171">
                  <c:v>42972</c:v>
                </c:pt>
                <c:pt idx="2172">
                  <c:v>42975</c:v>
                </c:pt>
                <c:pt idx="2173">
                  <c:v>42976</c:v>
                </c:pt>
                <c:pt idx="2174">
                  <c:v>42977</c:v>
                </c:pt>
                <c:pt idx="2175">
                  <c:v>42978</c:v>
                </c:pt>
                <c:pt idx="2176">
                  <c:v>42979</c:v>
                </c:pt>
                <c:pt idx="2177">
                  <c:v>42982</c:v>
                </c:pt>
                <c:pt idx="2178">
                  <c:v>42983</c:v>
                </c:pt>
                <c:pt idx="2179">
                  <c:v>42984</c:v>
                </c:pt>
                <c:pt idx="2180">
                  <c:v>42985</c:v>
                </c:pt>
                <c:pt idx="2181">
                  <c:v>42986</c:v>
                </c:pt>
                <c:pt idx="2182">
                  <c:v>42989</c:v>
                </c:pt>
                <c:pt idx="2183">
                  <c:v>42990</c:v>
                </c:pt>
                <c:pt idx="2184">
                  <c:v>42991</c:v>
                </c:pt>
                <c:pt idx="2185">
                  <c:v>42992</c:v>
                </c:pt>
                <c:pt idx="2186">
                  <c:v>42993</c:v>
                </c:pt>
                <c:pt idx="2187">
                  <c:v>42996</c:v>
                </c:pt>
                <c:pt idx="2188">
                  <c:v>42997</c:v>
                </c:pt>
                <c:pt idx="2189">
                  <c:v>42998</c:v>
                </c:pt>
                <c:pt idx="2190">
                  <c:v>42999</c:v>
                </c:pt>
                <c:pt idx="2191">
                  <c:v>43000</c:v>
                </c:pt>
                <c:pt idx="2192">
                  <c:v>43003</c:v>
                </c:pt>
                <c:pt idx="2193">
                  <c:v>43004</c:v>
                </c:pt>
                <c:pt idx="2194">
                  <c:v>43005</c:v>
                </c:pt>
                <c:pt idx="2195">
                  <c:v>43006</c:v>
                </c:pt>
                <c:pt idx="2196">
                  <c:v>43007</c:v>
                </c:pt>
                <c:pt idx="2197">
                  <c:v>43010</c:v>
                </c:pt>
                <c:pt idx="2198">
                  <c:v>43011</c:v>
                </c:pt>
                <c:pt idx="2199">
                  <c:v>43012</c:v>
                </c:pt>
                <c:pt idx="2200">
                  <c:v>43013</c:v>
                </c:pt>
                <c:pt idx="2201">
                  <c:v>43014</c:v>
                </c:pt>
                <c:pt idx="2202">
                  <c:v>43017</c:v>
                </c:pt>
                <c:pt idx="2203">
                  <c:v>43018</c:v>
                </c:pt>
                <c:pt idx="2204">
                  <c:v>43019</c:v>
                </c:pt>
                <c:pt idx="2205">
                  <c:v>43020</c:v>
                </c:pt>
                <c:pt idx="2206">
                  <c:v>43021</c:v>
                </c:pt>
                <c:pt idx="2207">
                  <c:v>43024</c:v>
                </c:pt>
                <c:pt idx="2208">
                  <c:v>43025</c:v>
                </c:pt>
                <c:pt idx="2209">
                  <c:v>43026</c:v>
                </c:pt>
                <c:pt idx="2210">
                  <c:v>43027</c:v>
                </c:pt>
                <c:pt idx="2211">
                  <c:v>43028</c:v>
                </c:pt>
                <c:pt idx="2212">
                  <c:v>43031</c:v>
                </c:pt>
                <c:pt idx="2213">
                  <c:v>43032</c:v>
                </c:pt>
                <c:pt idx="2214">
                  <c:v>43033</c:v>
                </c:pt>
                <c:pt idx="2215">
                  <c:v>43034</c:v>
                </c:pt>
                <c:pt idx="2216">
                  <c:v>43035</c:v>
                </c:pt>
                <c:pt idx="2217">
                  <c:v>43038</c:v>
                </c:pt>
                <c:pt idx="2218">
                  <c:v>43039</c:v>
                </c:pt>
                <c:pt idx="2219">
                  <c:v>43040</c:v>
                </c:pt>
                <c:pt idx="2220">
                  <c:v>43041</c:v>
                </c:pt>
                <c:pt idx="2221">
                  <c:v>43042</c:v>
                </c:pt>
                <c:pt idx="2222">
                  <c:v>43045</c:v>
                </c:pt>
                <c:pt idx="2223">
                  <c:v>43046</c:v>
                </c:pt>
                <c:pt idx="2224">
                  <c:v>43047</c:v>
                </c:pt>
                <c:pt idx="2225">
                  <c:v>43048</c:v>
                </c:pt>
                <c:pt idx="2226">
                  <c:v>43049</c:v>
                </c:pt>
                <c:pt idx="2227">
                  <c:v>43052</c:v>
                </c:pt>
                <c:pt idx="2228">
                  <c:v>43053</c:v>
                </c:pt>
                <c:pt idx="2229">
                  <c:v>43054</c:v>
                </c:pt>
                <c:pt idx="2230">
                  <c:v>43055</c:v>
                </c:pt>
                <c:pt idx="2231">
                  <c:v>43056</c:v>
                </c:pt>
                <c:pt idx="2232">
                  <c:v>43059</c:v>
                </c:pt>
                <c:pt idx="2233">
                  <c:v>43060</c:v>
                </c:pt>
                <c:pt idx="2234">
                  <c:v>43061</c:v>
                </c:pt>
                <c:pt idx="2235">
                  <c:v>43062</c:v>
                </c:pt>
                <c:pt idx="2236">
                  <c:v>43063</c:v>
                </c:pt>
                <c:pt idx="2237">
                  <c:v>43066</c:v>
                </c:pt>
                <c:pt idx="2238">
                  <c:v>43067</c:v>
                </c:pt>
                <c:pt idx="2239">
                  <c:v>43068</c:v>
                </c:pt>
                <c:pt idx="2240">
                  <c:v>43069</c:v>
                </c:pt>
                <c:pt idx="2241">
                  <c:v>43070</c:v>
                </c:pt>
                <c:pt idx="2242">
                  <c:v>43073</c:v>
                </c:pt>
                <c:pt idx="2243">
                  <c:v>43074</c:v>
                </c:pt>
                <c:pt idx="2244">
                  <c:v>43075</c:v>
                </c:pt>
                <c:pt idx="2245">
                  <c:v>43076</c:v>
                </c:pt>
                <c:pt idx="2246">
                  <c:v>43077</c:v>
                </c:pt>
                <c:pt idx="2247">
                  <c:v>43080</c:v>
                </c:pt>
                <c:pt idx="2248">
                  <c:v>43081</c:v>
                </c:pt>
                <c:pt idx="2249">
                  <c:v>43082</c:v>
                </c:pt>
                <c:pt idx="2250">
                  <c:v>43083</c:v>
                </c:pt>
                <c:pt idx="2251">
                  <c:v>43084</c:v>
                </c:pt>
                <c:pt idx="2252">
                  <c:v>43087</c:v>
                </c:pt>
                <c:pt idx="2253">
                  <c:v>43088</c:v>
                </c:pt>
                <c:pt idx="2254">
                  <c:v>43089</c:v>
                </c:pt>
                <c:pt idx="2255">
                  <c:v>43090</c:v>
                </c:pt>
                <c:pt idx="2256">
                  <c:v>43091</c:v>
                </c:pt>
                <c:pt idx="2257">
                  <c:v>43094</c:v>
                </c:pt>
                <c:pt idx="2258">
                  <c:v>43095</c:v>
                </c:pt>
                <c:pt idx="2259">
                  <c:v>43096</c:v>
                </c:pt>
                <c:pt idx="2260">
                  <c:v>43097</c:v>
                </c:pt>
                <c:pt idx="2261">
                  <c:v>43098</c:v>
                </c:pt>
                <c:pt idx="2262">
                  <c:v>43101</c:v>
                </c:pt>
                <c:pt idx="2263">
                  <c:v>43102</c:v>
                </c:pt>
                <c:pt idx="2264">
                  <c:v>43103</c:v>
                </c:pt>
                <c:pt idx="2265">
                  <c:v>43104</c:v>
                </c:pt>
                <c:pt idx="2266">
                  <c:v>43105</c:v>
                </c:pt>
                <c:pt idx="2267">
                  <c:v>43108</c:v>
                </c:pt>
                <c:pt idx="2268">
                  <c:v>43109</c:v>
                </c:pt>
                <c:pt idx="2269">
                  <c:v>43110</c:v>
                </c:pt>
                <c:pt idx="2270">
                  <c:v>43111</c:v>
                </c:pt>
                <c:pt idx="2271">
                  <c:v>43112</c:v>
                </c:pt>
                <c:pt idx="2272">
                  <c:v>43115</c:v>
                </c:pt>
                <c:pt idx="2273">
                  <c:v>43116</c:v>
                </c:pt>
                <c:pt idx="2274">
                  <c:v>43117</c:v>
                </c:pt>
                <c:pt idx="2275">
                  <c:v>43118</c:v>
                </c:pt>
                <c:pt idx="2276">
                  <c:v>43119</c:v>
                </c:pt>
                <c:pt idx="2277">
                  <c:v>43122</c:v>
                </c:pt>
                <c:pt idx="2278">
                  <c:v>43123</c:v>
                </c:pt>
                <c:pt idx="2279">
                  <c:v>43124</c:v>
                </c:pt>
                <c:pt idx="2280">
                  <c:v>43125</c:v>
                </c:pt>
                <c:pt idx="2281">
                  <c:v>43126</c:v>
                </c:pt>
                <c:pt idx="2282">
                  <c:v>43129</c:v>
                </c:pt>
                <c:pt idx="2283">
                  <c:v>43130</c:v>
                </c:pt>
                <c:pt idx="2284">
                  <c:v>43131</c:v>
                </c:pt>
              </c:numCache>
            </c:numRef>
          </c:cat>
          <c:val>
            <c:numRef>
              <c:f>'Amundi Fds Europe MinVar BRUT'!$H$5:$H$2289</c:f>
              <c:numCache>
                <c:formatCode>_(* #,##0.00_);_(* \(#,##0.00\);_(* "-"??_);_(@_)</c:formatCode>
                <c:ptCount val="2285"/>
                <c:pt idx="0" formatCode="#,##0.00_);[Red]\(#,##0.00\)">
                  <c:v>0</c:v>
                </c:pt>
                <c:pt idx="1">
                  <c:v>0</c:v>
                </c:pt>
                <c:pt idx="2">
                  <c:v>0.15904812731039897</c:v>
                </c:pt>
                <c:pt idx="3">
                  <c:v>-1.4547178983455495</c:v>
                </c:pt>
                <c:pt idx="4">
                  <c:v>-2.2946178914134947</c:v>
                </c:pt>
                <c:pt idx="5">
                  <c:v>-2.0052150008032896</c:v>
                </c:pt>
                <c:pt idx="6">
                  <c:v>-2.8108517597440681</c:v>
                </c:pt>
                <c:pt idx="7">
                  <c:v>-2.2823212040830754</c:v>
                </c:pt>
                <c:pt idx="8">
                  <c:v>-1.0413490379697521</c:v>
                </c:pt>
                <c:pt idx="9">
                  <c:v>1.2807448678341018</c:v>
                </c:pt>
                <c:pt idx="10">
                  <c:v>0.9306333534988056</c:v>
                </c:pt>
                <c:pt idx="11">
                  <c:v>0.38643718526370208</c:v>
                </c:pt>
                <c:pt idx="12">
                  <c:v>-0.83896638939265245</c:v>
                </c:pt>
                <c:pt idx="13">
                  <c:v>-2.3990437954238786</c:v>
                </c:pt>
                <c:pt idx="14">
                  <c:v>-2.2504798646611306</c:v>
                </c:pt>
                <c:pt idx="15">
                  <c:v>-2.2504798646611306</c:v>
                </c:pt>
                <c:pt idx="16">
                  <c:v>-2.0465487217556273</c:v>
                </c:pt>
                <c:pt idx="17">
                  <c:v>-1.8315175133647443</c:v>
                </c:pt>
                <c:pt idx="18">
                  <c:v>-1.6579592034281063</c:v>
                </c:pt>
                <c:pt idx="19">
                  <c:v>-2.1322580512380682</c:v>
                </c:pt>
                <c:pt idx="20">
                  <c:v>-1.6915932465067414</c:v>
                </c:pt>
                <c:pt idx="21">
                  <c:v>-2.1296614069575526</c:v>
                </c:pt>
                <c:pt idx="22">
                  <c:v>-2.1296614069575526</c:v>
                </c:pt>
                <c:pt idx="23">
                  <c:v>-3.6495746387413419</c:v>
                </c:pt>
                <c:pt idx="24">
                  <c:v>-2.6637815520446253</c:v>
                </c:pt>
                <c:pt idx="25">
                  <c:v>-2.4847530090474947</c:v>
                </c:pt>
                <c:pt idx="26">
                  <c:v>-3.4004269626072698</c:v>
                </c:pt>
                <c:pt idx="27">
                  <c:v>-2.787741270035383</c:v>
                </c:pt>
                <c:pt idx="28">
                  <c:v>-3.1959958057444169</c:v>
                </c:pt>
                <c:pt idx="29">
                  <c:v>-3.8772570741208767</c:v>
                </c:pt>
                <c:pt idx="30">
                  <c:v>-4.2855129016874969</c:v>
                </c:pt>
                <c:pt idx="31">
                  <c:v>-3.9012365677266416</c:v>
                </c:pt>
                <c:pt idx="32">
                  <c:v>-3.0915650672683768</c:v>
                </c:pt>
                <c:pt idx="33">
                  <c:v>-2.7947920515697575</c:v>
                </c:pt>
                <c:pt idx="34">
                  <c:v>-0.87629342663333887</c:v>
                </c:pt>
                <c:pt idx="35">
                  <c:v>-1.0639754895309324</c:v>
                </c:pt>
                <c:pt idx="36">
                  <c:v>-1.6221335627213733</c:v>
                </c:pt>
                <c:pt idx="37">
                  <c:v>-0.58535608864455924</c:v>
                </c:pt>
                <c:pt idx="38">
                  <c:v>-0.58535608864455924</c:v>
                </c:pt>
                <c:pt idx="39">
                  <c:v>-1.1999141088684127</c:v>
                </c:pt>
                <c:pt idx="40">
                  <c:v>-1.1919156319037967</c:v>
                </c:pt>
                <c:pt idx="41">
                  <c:v>-1.4234521629078216</c:v>
                </c:pt>
                <c:pt idx="42">
                  <c:v>-2.1304777657421141</c:v>
                </c:pt>
                <c:pt idx="43">
                  <c:v>-1.8963936581528458</c:v>
                </c:pt>
                <c:pt idx="44">
                  <c:v>-2.0868374203908786</c:v>
                </c:pt>
                <c:pt idx="45">
                  <c:v>-1.5213726984988938</c:v>
                </c:pt>
                <c:pt idx="46">
                  <c:v>-1.5577912245212531</c:v>
                </c:pt>
                <c:pt idx="47">
                  <c:v>-0.60170954933491316</c:v>
                </c:pt>
                <c:pt idx="48">
                  <c:v>-1.0057669800739859</c:v>
                </c:pt>
                <c:pt idx="49">
                  <c:v>-0.21127297851883498</c:v>
                </c:pt>
                <c:pt idx="50">
                  <c:v>-0.6109968349005328</c:v>
                </c:pt>
                <c:pt idx="51">
                  <c:v>-0.50346452949794696</c:v>
                </c:pt>
                <c:pt idx="52">
                  <c:v>-1.1142980556658983</c:v>
                </c:pt>
                <c:pt idx="53">
                  <c:v>-2.0276479436796393</c:v>
                </c:pt>
                <c:pt idx="54">
                  <c:v>-3.498082233313923</c:v>
                </c:pt>
                <c:pt idx="55">
                  <c:v>-3.1095237564300078</c:v>
                </c:pt>
                <c:pt idx="56">
                  <c:v>-3.2657132676828553</c:v>
                </c:pt>
                <c:pt idx="57">
                  <c:v>-3.622611946962806</c:v>
                </c:pt>
                <c:pt idx="58">
                  <c:v>-3.9402147202498838</c:v>
                </c:pt>
                <c:pt idx="59">
                  <c:v>-3.9791464223361714</c:v>
                </c:pt>
                <c:pt idx="60">
                  <c:v>-5.1771848634256656</c:v>
                </c:pt>
                <c:pt idx="61">
                  <c:v>-5.5866656008127791</c:v>
                </c:pt>
                <c:pt idx="62">
                  <c:v>-5.7804117551999497</c:v>
                </c:pt>
                <c:pt idx="63">
                  <c:v>-4.9707834656254306</c:v>
                </c:pt>
                <c:pt idx="64">
                  <c:v>-5.1201811666205685</c:v>
                </c:pt>
                <c:pt idx="65">
                  <c:v>-6.1254854361109778</c:v>
                </c:pt>
                <c:pt idx="66">
                  <c:v>-6.4905256814138141</c:v>
                </c:pt>
                <c:pt idx="67">
                  <c:v>-7.8387430224913288</c:v>
                </c:pt>
                <c:pt idx="68">
                  <c:v>-7.7362300614245072</c:v>
                </c:pt>
                <c:pt idx="69">
                  <c:v>-8.0067164271877544</c:v>
                </c:pt>
                <c:pt idx="70">
                  <c:v>-8.5653213632732985</c:v>
                </c:pt>
                <c:pt idx="71">
                  <c:v>-8.5634916842778921</c:v>
                </c:pt>
                <c:pt idx="72">
                  <c:v>-8.1902744321740641</c:v>
                </c:pt>
                <c:pt idx="73">
                  <c:v>-7.3007291503614908</c:v>
                </c:pt>
                <c:pt idx="74">
                  <c:v>-7.6329613365155637</c:v>
                </c:pt>
                <c:pt idx="75">
                  <c:v>-8.62067910527621</c:v>
                </c:pt>
                <c:pt idx="76">
                  <c:v>-8.3492366183851061</c:v>
                </c:pt>
                <c:pt idx="77">
                  <c:v>-7.2429942234017943</c:v>
                </c:pt>
                <c:pt idx="78">
                  <c:v>-7.9907070216504508</c:v>
                </c:pt>
                <c:pt idx="79">
                  <c:v>-7.5419793149863068</c:v>
                </c:pt>
                <c:pt idx="80">
                  <c:v>-8.0842145390418665</c:v>
                </c:pt>
                <c:pt idx="81">
                  <c:v>-8.8058289054905288</c:v>
                </c:pt>
                <c:pt idx="82">
                  <c:v>-9.4273138082387362</c:v>
                </c:pt>
                <c:pt idx="83">
                  <c:v>-9.2407341691148588</c:v>
                </c:pt>
                <c:pt idx="84">
                  <c:v>-8.92575394748782</c:v>
                </c:pt>
                <c:pt idx="85">
                  <c:v>-8.7309429104711427</c:v>
                </c:pt>
                <c:pt idx="86">
                  <c:v>-9.4216086152579521</c:v>
                </c:pt>
                <c:pt idx="87">
                  <c:v>-9.0457552812991935</c:v>
                </c:pt>
                <c:pt idx="88">
                  <c:v>-7.8393615927675881</c:v>
                </c:pt>
                <c:pt idx="89">
                  <c:v>-6.9794643221392789</c:v>
                </c:pt>
                <c:pt idx="90">
                  <c:v>-7.644540651887624</c:v>
                </c:pt>
                <c:pt idx="91">
                  <c:v>-8.3631859988842052</c:v>
                </c:pt>
                <c:pt idx="92">
                  <c:v>-9.1483368699209393</c:v>
                </c:pt>
                <c:pt idx="93">
                  <c:v>-9.060677250149908</c:v>
                </c:pt>
                <c:pt idx="94">
                  <c:v>-9.3731844612411805</c:v>
                </c:pt>
                <c:pt idx="95">
                  <c:v>-9.3835416459520644</c:v>
                </c:pt>
                <c:pt idx="96">
                  <c:v>-9.6932897767512571</c:v>
                </c:pt>
                <c:pt idx="97">
                  <c:v>-9.0863514428242382</c:v>
                </c:pt>
                <c:pt idx="98">
                  <c:v>-9.2569752159254364</c:v>
                </c:pt>
                <c:pt idx="99">
                  <c:v>-10.361805480396598</c:v>
                </c:pt>
                <c:pt idx="100">
                  <c:v>-10.751247333143397</c:v>
                </c:pt>
                <c:pt idx="101">
                  <c:v>-10.398486123396623</c:v>
                </c:pt>
                <c:pt idx="102">
                  <c:v>-9.4282077176054599</c:v>
                </c:pt>
                <c:pt idx="103">
                  <c:v>-9.491467786689384</c:v>
                </c:pt>
                <c:pt idx="104">
                  <c:v>-9.9031034710816925</c:v>
                </c:pt>
                <c:pt idx="105">
                  <c:v>-9.0947185317405683</c:v>
                </c:pt>
                <c:pt idx="106">
                  <c:v>-8.5867097906574799</c:v>
                </c:pt>
                <c:pt idx="107">
                  <c:v>-9.0120335748251534</c:v>
                </c:pt>
                <c:pt idx="108">
                  <c:v>-9.233547584637904</c:v>
                </c:pt>
                <c:pt idx="109">
                  <c:v>-9.0876071774751921</c:v>
                </c:pt>
                <c:pt idx="110">
                  <c:v>-8.0787578766058203</c:v>
                </c:pt>
                <c:pt idx="111">
                  <c:v>-7.0702891532856285</c:v>
                </c:pt>
                <c:pt idx="112">
                  <c:v>-7.3123572169637612</c:v>
                </c:pt>
                <c:pt idx="113">
                  <c:v>-8.7110331928565188</c:v>
                </c:pt>
                <c:pt idx="114">
                  <c:v>-8.618973694889192</c:v>
                </c:pt>
                <c:pt idx="115">
                  <c:v>-9.4126654697440841</c:v>
                </c:pt>
                <c:pt idx="116">
                  <c:v>-9.3896165916397365</c:v>
                </c:pt>
                <c:pt idx="117">
                  <c:v>-9.2836504300535694</c:v>
                </c:pt>
                <c:pt idx="118">
                  <c:v>-9.0189101555682356</c:v>
                </c:pt>
                <c:pt idx="119">
                  <c:v>-10.272222185078675</c:v>
                </c:pt>
                <c:pt idx="120">
                  <c:v>-10.282595724995105</c:v>
                </c:pt>
                <c:pt idx="121">
                  <c:v>-10.01816582433139</c:v>
                </c:pt>
                <c:pt idx="122">
                  <c:v>-10.699216458969374</c:v>
                </c:pt>
                <c:pt idx="123">
                  <c:v>-10.247537625370484</c:v>
                </c:pt>
                <c:pt idx="124">
                  <c:v>-10.312525763352895</c:v>
                </c:pt>
                <c:pt idx="125">
                  <c:v>-9.4933143580142598</c:v>
                </c:pt>
                <c:pt idx="126">
                  <c:v>-9.8273275597129128</c:v>
                </c:pt>
                <c:pt idx="127">
                  <c:v>-8.9859847790968814</c:v>
                </c:pt>
                <c:pt idx="128">
                  <c:v>-8.1161248030471</c:v>
                </c:pt>
                <c:pt idx="129">
                  <c:v>-6.4362551287997007</c:v>
                </c:pt>
                <c:pt idx="130">
                  <c:v>-8.4728044120090402</c:v>
                </c:pt>
                <c:pt idx="131">
                  <c:v>-7.9119230380248382</c:v>
                </c:pt>
                <c:pt idx="132">
                  <c:v>-8.0644280047504679</c:v>
                </c:pt>
                <c:pt idx="133">
                  <c:v>-7.476736091183227</c:v>
                </c:pt>
                <c:pt idx="134">
                  <c:v>-8.5366422534240343</c:v>
                </c:pt>
                <c:pt idx="135">
                  <c:v>-8.8894629758394217</c:v>
                </c:pt>
                <c:pt idx="136">
                  <c:v>-9.2555988245466665</c:v>
                </c:pt>
                <c:pt idx="137">
                  <c:v>-9.9053660305196303</c:v>
                </c:pt>
                <c:pt idx="138">
                  <c:v>-9.8052531995781749</c:v>
                </c:pt>
                <c:pt idx="139">
                  <c:v>-10.407895901525904</c:v>
                </c:pt>
                <c:pt idx="140">
                  <c:v>-10.438893811678867</c:v>
                </c:pt>
                <c:pt idx="141">
                  <c:v>-10.671925623151211</c:v>
                </c:pt>
                <c:pt idx="142">
                  <c:v>-11.453198966180153</c:v>
                </c:pt>
                <c:pt idx="143">
                  <c:v>-10.988949305257165</c:v>
                </c:pt>
                <c:pt idx="144">
                  <c:v>-11.206076605754504</c:v>
                </c:pt>
                <c:pt idx="145">
                  <c:v>-10.579149855587303</c:v>
                </c:pt>
                <c:pt idx="146">
                  <c:v>-10.099449997387296</c:v>
                </c:pt>
                <c:pt idx="147">
                  <c:v>-10.800370523574756</c:v>
                </c:pt>
                <c:pt idx="148">
                  <c:v>-10.461197316959854</c:v>
                </c:pt>
                <c:pt idx="149">
                  <c:v>-10.179286325093472</c:v>
                </c:pt>
                <c:pt idx="150">
                  <c:v>-8.3116487392846921</c:v>
                </c:pt>
                <c:pt idx="151">
                  <c:v>-9.0557206440643938</c:v>
                </c:pt>
                <c:pt idx="152">
                  <c:v>-8.4959450215554853</c:v>
                </c:pt>
                <c:pt idx="153">
                  <c:v>-9.2786506053151783</c:v>
                </c:pt>
                <c:pt idx="154">
                  <c:v>-9.2003805546627291</c:v>
                </c:pt>
                <c:pt idx="155">
                  <c:v>-8.9769148914891304</c:v>
                </c:pt>
                <c:pt idx="156">
                  <c:v>-9.0650985940285267</c:v>
                </c:pt>
                <c:pt idx="157">
                  <c:v>-8.9447166143369543</c:v>
                </c:pt>
                <c:pt idx="158">
                  <c:v>-8.1841473508400782</c:v>
                </c:pt>
                <c:pt idx="159">
                  <c:v>-7.6979071575641314</c:v>
                </c:pt>
                <c:pt idx="160">
                  <c:v>-7.8515327303003914</c:v>
                </c:pt>
                <c:pt idx="161">
                  <c:v>-7.6032231863282647</c:v>
                </c:pt>
                <c:pt idx="162">
                  <c:v>-8.0337605401912953</c:v>
                </c:pt>
                <c:pt idx="163">
                  <c:v>-7.7987095875113681</c:v>
                </c:pt>
                <c:pt idx="164">
                  <c:v>-8.5668933974601771</c:v>
                </c:pt>
                <c:pt idx="165">
                  <c:v>-7.9842791022297348</c:v>
                </c:pt>
                <c:pt idx="166">
                  <c:v>-7.529321171462783</c:v>
                </c:pt>
                <c:pt idx="167">
                  <c:v>-8.1586555085427364</c:v>
                </c:pt>
                <c:pt idx="168">
                  <c:v>-8.3476042895434261</c:v>
                </c:pt>
                <c:pt idx="169">
                  <c:v>-8.530994599115985</c:v>
                </c:pt>
                <c:pt idx="170">
                  <c:v>-8.530994599115985</c:v>
                </c:pt>
                <c:pt idx="171">
                  <c:v>-8.530994599115985</c:v>
                </c:pt>
                <c:pt idx="172">
                  <c:v>-8.8899904562858012</c:v>
                </c:pt>
                <c:pt idx="173">
                  <c:v>-8.9229888083803672</c:v>
                </c:pt>
                <c:pt idx="174">
                  <c:v>-8.7804858915730364</c:v>
                </c:pt>
                <c:pt idx="175">
                  <c:v>-8.9280425922161442</c:v>
                </c:pt>
                <c:pt idx="176">
                  <c:v>-8.9280425922161442</c:v>
                </c:pt>
                <c:pt idx="177">
                  <c:v>-9.7853210575436975</c:v>
                </c:pt>
                <c:pt idx="178">
                  <c:v>-10.780587065691591</c:v>
                </c:pt>
                <c:pt idx="179">
                  <c:v>-10.955246262895329</c:v>
                </c:pt>
                <c:pt idx="180">
                  <c:v>-11.379808132492684</c:v>
                </c:pt>
                <c:pt idx="181">
                  <c:v>-11.872188772299552</c:v>
                </c:pt>
                <c:pt idx="182">
                  <c:v>-11.655580123209887</c:v>
                </c:pt>
                <c:pt idx="183">
                  <c:v>-10.937189178126417</c:v>
                </c:pt>
                <c:pt idx="184">
                  <c:v>-10.824076890500677</c:v>
                </c:pt>
                <c:pt idx="185">
                  <c:v>-11.076246945547382</c:v>
                </c:pt>
                <c:pt idx="186">
                  <c:v>-10.366860544979474</c:v>
                </c:pt>
                <c:pt idx="187">
                  <c:v>-10.648708830257519</c:v>
                </c:pt>
                <c:pt idx="188">
                  <c:v>-10.627711934109371</c:v>
                </c:pt>
                <c:pt idx="189">
                  <c:v>-9.2133232794895292</c:v>
                </c:pt>
                <c:pt idx="190">
                  <c:v>-8.2801203933083514</c:v>
                </c:pt>
                <c:pt idx="191">
                  <c:v>-7.8814230954058218</c:v>
                </c:pt>
                <c:pt idx="192">
                  <c:v>-7.7800384779945091</c:v>
                </c:pt>
                <c:pt idx="193">
                  <c:v>-7.5447256150472839</c:v>
                </c:pt>
                <c:pt idx="194">
                  <c:v>-6.7140381303306782</c:v>
                </c:pt>
                <c:pt idx="195">
                  <c:v>-6.299840633051204</c:v>
                </c:pt>
                <c:pt idx="196">
                  <c:v>-6.7631807937436719</c:v>
                </c:pt>
                <c:pt idx="197">
                  <c:v>-7.5689050396960909</c:v>
                </c:pt>
                <c:pt idx="198">
                  <c:v>-8.4445265876015867</c:v>
                </c:pt>
                <c:pt idx="199">
                  <c:v>-8.1893838434032205</c:v>
                </c:pt>
                <c:pt idx="200">
                  <c:v>-6.5552457041181924</c:v>
                </c:pt>
                <c:pt idx="201">
                  <c:v>-5.7873313339773773</c:v>
                </c:pt>
                <c:pt idx="202">
                  <c:v>-5.4354853325587271</c:v>
                </c:pt>
                <c:pt idx="203">
                  <c:v>-6.1278219917393955</c:v>
                </c:pt>
                <c:pt idx="204">
                  <c:v>-6.3658769961678559</c:v>
                </c:pt>
                <c:pt idx="205">
                  <c:v>-5.8075302424755648</c:v>
                </c:pt>
                <c:pt idx="206">
                  <c:v>-5.1327336861560724</c:v>
                </c:pt>
                <c:pt idx="207">
                  <c:v>-5.3662193260173439</c:v>
                </c:pt>
                <c:pt idx="208">
                  <c:v>-6.2467793946071311</c:v>
                </c:pt>
                <c:pt idx="209">
                  <c:v>-6.7510719728642385</c:v>
                </c:pt>
                <c:pt idx="210">
                  <c:v>-6.7347007580691667</c:v>
                </c:pt>
                <c:pt idx="211">
                  <c:v>-6.6622131175905395</c:v>
                </c:pt>
                <c:pt idx="212">
                  <c:v>-6.7684630096963048</c:v>
                </c:pt>
                <c:pt idx="213">
                  <c:v>-5.9131765886017291</c:v>
                </c:pt>
                <c:pt idx="214">
                  <c:v>-5.9865849214346412</c:v>
                </c:pt>
                <c:pt idx="215">
                  <c:v>-5.4942992529649928</c:v>
                </c:pt>
                <c:pt idx="216">
                  <c:v>-6.0059411539750869</c:v>
                </c:pt>
                <c:pt idx="217">
                  <c:v>-6.419641239169394</c:v>
                </c:pt>
                <c:pt idx="218">
                  <c:v>-7.0042721805960184</c:v>
                </c:pt>
                <c:pt idx="219">
                  <c:v>-7.4513461217808299</c:v>
                </c:pt>
                <c:pt idx="220">
                  <c:v>-7.6487887068793441</c:v>
                </c:pt>
                <c:pt idx="221">
                  <c:v>-8.4405969420143094</c:v>
                </c:pt>
                <c:pt idx="222">
                  <c:v>-8.3410517302113618</c:v>
                </c:pt>
                <c:pt idx="223">
                  <c:v>-8.2190553452526132</c:v>
                </c:pt>
                <c:pt idx="224">
                  <c:v>-8.7590049312953511</c:v>
                </c:pt>
                <c:pt idx="225">
                  <c:v>-8.5176031429944317</c:v>
                </c:pt>
                <c:pt idx="226">
                  <c:v>-8.857949448468716</c:v>
                </c:pt>
                <c:pt idx="227">
                  <c:v>-8.3162158867110492</c:v>
                </c:pt>
                <c:pt idx="228">
                  <c:v>-8.6872898795481603</c:v>
                </c:pt>
                <c:pt idx="229">
                  <c:v>-9.3118034178551738</c:v>
                </c:pt>
                <c:pt idx="230">
                  <c:v>-8.7891888989283302</c:v>
                </c:pt>
                <c:pt idx="231">
                  <c:v>-8.4229812516513363</c:v>
                </c:pt>
                <c:pt idx="232">
                  <c:v>-8.2791141460291584</c:v>
                </c:pt>
                <c:pt idx="233">
                  <c:v>-8.7244691441171653</c:v>
                </c:pt>
                <c:pt idx="234">
                  <c:v>-9.0340628961094325</c:v>
                </c:pt>
                <c:pt idx="235">
                  <c:v>-9.7327156347214725</c:v>
                </c:pt>
                <c:pt idx="236">
                  <c:v>-9.7626228243535138</c:v>
                </c:pt>
                <c:pt idx="237">
                  <c:v>-9.7480784836254344</c:v>
                </c:pt>
                <c:pt idx="238">
                  <c:v>-9.4745802874901131</c:v>
                </c:pt>
                <c:pt idx="239">
                  <c:v>-9.3908424429482835</c:v>
                </c:pt>
                <c:pt idx="240">
                  <c:v>-10.148963170378266</c:v>
                </c:pt>
                <c:pt idx="241">
                  <c:v>-10.148963170378266</c:v>
                </c:pt>
                <c:pt idx="242">
                  <c:v>-10.148963170378266</c:v>
                </c:pt>
                <c:pt idx="243">
                  <c:v>-10.47440977281093</c:v>
                </c:pt>
                <c:pt idx="244">
                  <c:v>-10.279225987373394</c:v>
                </c:pt>
                <c:pt idx="245">
                  <c:v>-9.6367287835106765</c:v>
                </c:pt>
                <c:pt idx="246">
                  <c:v>-10.352136624964174</c:v>
                </c:pt>
                <c:pt idx="247">
                  <c:v>-10.483156352270143</c:v>
                </c:pt>
                <c:pt idx="248">
                  <c:v>-10.44291761956454</c:v>
                </c:pt>
                <c:pt idx="249">
                  <c:v>-11.005274512392234</c:v>
                </c:pt>
                <c:pt idx="250">
                  <c:v>-11.425298114245322</c:v>
                </c:pt>
                <c:pt idx="251">
                  <c:v>-10.530506109067304</c:v>
                </c:pt>
                <c:pt idx="252">
                  <c:v>-10.127576517052461</c:v>
                </c:pt>
                <c:pt idx="253">
                  <c:v>-10.434225094192769</c:v>
                </c:pt>
                <c:pt idx="254">
                  <c:v>-9.6584264127779278</c:v>
                </c:pt>
                <c:pt idx="255">
                  <c:v>-8.8914050707623318</c:v>
                </c:pt>
                <c:pt idx="256">
                  <c:v>-9.6235612728083595</c:v>
                </c:pt>
                <c:pt idx="257">
                  <c:v>-10.083342750780858</c:v>
                </c:pt>
                <c:pt idx="258">
                  <c:v>-8.7803266677355083</c:v>
                </c:pt>
                <c:pt idx="259">
                  <c:v>-8.5885879997329511</c:v>
                </c:pt>
                <c:pt idx="260">
                  <c:v>-9.0395779875760809</c:v>
                </c:pt>
                <c:pt idx="261">
                  <c:v>-8.716628984615781</c:v>
                </c:pt>
                <c:pt idx="262">
                  <c:v>-8.873433150279169</c:v>
                </c:pt>
                <c:pt idx="263">
                  <c:v>-6.3608948768770261</c:v>
                </c:pt>
                <c:pt idx="264">
                  <c:v>-5.5672628850748822</c:v>
                </c:pt>
                <c:pt idx="265">
                  <c:v>-4.0908729193989899</c:v>
                </c:pt>
                <c:pt idx="266">
                  <c:v>-3.9314070989643852</c:v>
                </c:pt>
                <c:pt idx="267">
                  <c:v>-7.4738380987304112</c:v>
                </c:pt>
                <c:pt idx="268">
                  <c:v>-6.747720923710844</c:v>
                </c:pt>
                <c:pt idx="269">
                  <c:v>-6.9598185558495516</c:v>
                </c:pt>
                <c:pt idx="270">
                  <c:v>-6.9598185558495516</c:v>
                </c:pt>
                <c:pt idx="271">
                  <c:v>-5.0561233664191292</c:v>
                </c:pt>
                <c:pt idx="272">
                  <c:v>-5.0221490747483273</c:v>
                </c:pt>
                <c:pt idx="273">
                  <c:v>-5.661235950898643</c:v>
                </c:pt>
                <c:pt idx="274">
                  <c:v>-4.1821712372057931</c:v>
                </c:pt>
                <c:pt idx="275">
                  <c:v>-3.5093103341094576</c:v>
                </c:pt>
                <c:pt idx="276">
                  <c:v>-4.3422271878235676</c:v>
                </c:pt>
                <c:pt idx="277">
                  <c:v>-4.3422271878235676</c:v>
                </c:pt>
                <c:pt idx="278">
                  <c:v>-2.8982244848913865</c:v>
                </c:pt>
                <c:pt idx="279">
                  <c:v>-3.6465351025185981</c:v>
                </c:pt>
                <c:pt idx="280">
                  <c:v>-4.7261373461908249</c:v>
                </c:pt>
                <c:pt idx="281">
                  <c:v>-4.0671533994285909</c:v>
                </c:pt>
                <c:pt idx="282">
                  <c:v>-4.1646939099161813</c:v>
                </c:pt>
                <c:pt idx="283">
                  <c:v>-3.6128692036609067</c:v>
                </c:pt>
                <c:pt idx="284">
                  <c:v>-3.122476644932604</c:v>
                </c:pt>
                <c:pt idx="285">
                  <c:v>-3.2321693601702748</c:v>
                </c:pt>
                <c:pt idx="286">
                  <c:v>-2.0966048235781045</c:v>
                </c:pt>
                <c:pt idx="287">
                  <c:v>-1.55284641101197</c:v>
                </c:pt>
                <c:pt idx="288">
                  <c:v>-0.8730466795865226</c:v>
                </c:pt>
                <c:pt idx="289">
                  <c:v>-1.2693662406055779</c:v>
                </c:pt>
                <c:pt idx="290">
                  <c:v>-1.6467447685988219</c:v>
                </c:pt>
                <c:pt idx="291">
                  <c:v>-2.5702296697500771</c:v>
                </c:pt>
                <c:pt idx="292">
                  <c:v>-3.1462790507706018</c:v>
                </c:pt>
                <c:pt idx="293">
                  <c:v>-3.2813089769047394</c:v>
                </c:pt>
                <c:pt idx="294">
                  <c:v>-2.9290309324573514</c:v>
                </c:pt>
                <c:pt idx="295">
                  <c:v>-3.2014100945040695</c:v>
                </c:pt>
                <c:pt idx="296">
                  <c:v>-4.0210384535150041</c:v>
                </c:pt>
                <c:pt idx="297">
                  <c:v>-4.4237918836600443</c:v>
                </c:pt>
                <c:pt idx="298">
                  <c:v>-4.0296008557445475</c:v>
                </c:pt>
                <c:pt idx="299">
                  <c:v>-4.0296008557445475</c:v>
                </c:pt>
                <c:pt idx="300">
                  <c:v>-2.8061678851865821</c:v>
                </c:pt>
                <c:pt idx="301">
                  <c:v>-2.1323250491671502</c:v>
                </c:pt>
                <c:pt idx="302">
                  <c:v>-2.4548856692684211</c:v>
                </c:pt>
                <c:pt idx="303">
                  <c:v>-1.1013504797971763</c:v>
                </c:pt>
                <c:pt idx="304">
                  <c:v>-1.2257448117975969</c:v>
                </c:pt>
                <c:pt idx="305">
                  <c:v>-0.78693307661842482</c:v>
                </c:pt>
                <c:pt idx="306">
                  <c:v>-1.4658921030888621</c:v>
                </c:pt>
                <c:pt idx="307">
                  <c:v>-1.1771404577404496</c:v>
                </c:pt>
                <c:pt idx="308">
                  <c:v>-2.1520811635238317</c:v>
                </c:pt>
                <c:pt idx="309">
                  <c:v>-3.1907551231162046</c:v>
                </c:pt>
                <c:pt idx="310">
                  <c:v>-3.7428351916433513</c:v>
                </c:pt>
                <c:pt idx="311">
                  <c:v>-3.6342450119373524</c:v>
                </c:pt>
                <c:pt idx="312">
                  <c:v>-3.7747428225049759</c:v>
                </c:pt>
                <c:pt idx="313">
                  <c:v>-4.3405241858636998</c:v>
                </c:pt>
                <c:pt idx="314">
                  <c:v>-3.9790975862402718</c:v>
                </c:pt>
                <c:pt idx="315">
                  <c:v>-3.4235784997802909</c:v>
                </c:pt>
                <c:pt idx="316">
                  <c:v>-3.1038262870944209</c:v>
                </c:pt>
                <c:pt idx="317">
                  <c:v>-2.9973916497959436</c:v>
                </c:pt>
                <c:pt idx="318">
                  <c:v>-3.246871256456501</c:v>
                </c:pt>
                <c:pt idx="319">
                  <c:v>-3.4566900044211621</c:v>
                </c:pt>
                <c:pt idx="320">
                  <c:v>-4.3534545646630676</c:v>
                </c:pt>
                <c:pt idx="321">
                  <c:v>-4.4922007894761293</c:v>
                </c:pt>
                <c:pt idx="322">
                  <c:v>-5.1610235908162565</c:v>
                </c:pt>
                <c:pt idx="323">
                  <c:v>-6.6092595443444537</c:v>
                </c:pt>
                <c:pt idx="324">
                  <c:v>-6.9061196132823568</c:v>
                </c:pt>
                <c:pt idx="325">
                  <c:v>-6.8108318040021061</c:v>
                </c:pt>
                <c:pt idx="326">
                  <c:v>-6.3587103722595799</c:v>
                </c:pt>
                <c:pt idx="327">
                  <c:v>-7.4395788224882438</c:v>
                </c:pt>
                <c:pt idx="328">
                  <c:v>-7.4461740642181553</c:v>
                </c:pt>
                <c:pt idx="329">
                  <c:v>-7.1678082811861543</c:v>
                </c:pt>
                <c:pt idx="330">
                  <c:v>-7.1725389705869134</c:v>
                </c:pt>
                <c:pt idx="331">
                  <c:v>-6.9618618732120012</c:v>
                </c:pt>
                <c:pt idx="332">
                  <c:v>-7.2233831758399845</c:v>
                </c:pt>
                <c:pt idx="333">
                  <c:v>-6.6245191493242004</c:v>
                </c:pt>
                <c:pt idx="334">
                  <c:v>-5.2674909232903246</c:v>
                </c:pt>
                <c:pt idx="335">
                  <c:v>-4.42128259408139</c:v>
                </c:pt>
                <c:pt idx="336">
                  <c:v>-4.2707723224034453</c:v>
                </c:pt>
                <c:pt idx="337">
                  <c:v>-4.3007844655988947</c:v>
                </c:pt>
                <c:pt idx="338">
                  <c:v>-4.8934416329524879</c:v>
                </c:pt>
                <c:pt idx="339">
                  <c:v>-4.520044205797376</c:v>
                </c:pt>
                <c:pt idx="340">
                  <c:v>-4.0284741914154978</c:v>
                </c:pt>
                <c:pt idx="341">
                  <c:v>-3.4550337147585282</c:v>
                </c:pt>
                <c:pt idx="342">
                  <c:v>-3.6330594190556837</c:v>
                </c:pt>
                <c:pt idx="343">
                  <c:v>-2.6549017268380908</c:v>
                </c:pt>
                <c:pt idx="344">
                  <c:v>-1.6971718802166009</c:v>
                </c:pt>
                <c:pt idx="345">
                  <c:v>-2.0362251712086845</c:v>
                </c:pt>
                <c:pt idx="346">
                  <c:v>-2.0586129527188461</c:v>
                </c:pt>
                <c:pt idx="347">
                  <c:v>-1.8290910721047737</c:v>
                </c:pt>
                <c:pt idx="348">
                  <c:v>-1.8228621279188815</c:v>
                </c:pt>
                <c:pt idx="349">
                  <c:v>-2.7048298257448664</c:v>
                </c:pt>
                <c:pt idx="350">
                  <c:v>-3.2222659364535673</c:v>
                </c:pt>
                <c:pt idx="351">
                  <c:v>-3.7029703093541855</c:v>
                </c:pt>
                <c:pt idx="352">
                  <c:v>-3.6716699259097254</c:v>
                </c:pt>
                <c:pt idx="353">
                  <c:v>-3.0678630603052</c:v>
                </c:pt>
                <c:pt idx="354">
                  <c:v>-2.8155764670165979</c:v>
                </c:pt>
                <c:pt idx="355">
                  <c:v>-3.6736703844031524</c:v>
                </c:pt>
                <c:pt idx="356">
                  <c:v>-3.5457627050147948</c:v>
                </c:pt>
                <c:pt idx="357">
                  <c:v>-4.2638257487514579</c:v>
                </c:pt>
                <c:pt idx="358">
                  <c:v>-4.2155365817814641</c:v>
                </c:pt>
                <c:pt idx="359">
                  <c:v>-3.9921052184505754</c:v>
                </c:pt>
                <c:pt idx="360">
                  <c:v>-3.9456862746469881</c:v>
                </c:pt>
                <c:pt idx="361">
                  <c:v>-3.5289194472811971</c:v>
                </c:pt>
                <c:pt idx="362">
                  <c:v>-3.7177265881851724</c:v>
                </c:pt>
                <c:pt idx="363">
                  <c:v>-3.9090299073046424</c:v>
                </c:pt>
                <c:pt idx="364">
                  <c:v>-3.7268622145209349</c:v>
                </c:pt>
                <c:pt idx="365">
                  <c:v>-3.2391988619055212</c:v>
                </c:pt>
                <c:pt idx="366">
                  <c:v>-4.0081724455133383</c:v>
                </c:pt>
                <c:pt idx="367">
                  <c:v>-4.0203711248255729</c:v>
                </c:pt>
                <c:pt idx="368">
                  <c:v>-3.7506952597092891</c:v>
                </c:pt>
                <c:pt idx="369">
                  <c:v>-3.1655549501090832</c:v>
                </c:pt>
                <c:pt idx="370">
                  <c:v>-3.0536061007912565</c:v>
                </c:pt>
                <c:pt idx="371">
                  <c:v>-3.3809309101897043</c:v>
                </c:pt>
                <c:pt idx="372">
                  <c:v>-3.240230512020986</c:v>
                </c:pt>
                <c:pt idx="373">
                  <c:v>-4.0898259104729675</c:v>
                </c:pt>
                <c:pt idx="374">
                  <c:v>-4.6306491925762714</c:v>
                </c:pt>
                <c:pt idx="375">
                  <c:v>-4.5228954141143447</c:v>
                </c:pt>
                <c:pt idx="376">
                  <c:v>-4.3408877554475112</c:v>
                </c:pt>
                <c:pt idx="377">
                  <c:v>-4.4199180781735379</c:v>
                </c:pt>
                <c:pt idx="378">
                  <c:v>-3.9681852172223557</c:v>
                </c:pt>
                <c:pt idx="379">
                  <c:v>-4.8682209041046463</c:v>
                </c:pt>
                <c:pt idx="380">
                  <c:v>-4.654933009033897</c:v>
                </c:pt>
                <c:pt idx="381">
                  <c:v>-4.3338373776973071</c:v>
                </c:pt>
                <c:pt idx="382">
                  <c:v>-4.6214741219135931</c:v>
                </c:pt>
                <c:pt idx="383">
                  <c:v>-4.5868191533230629</c:v>
                </c:pt>
                <c:pt idx="384">
                  <c:v>-5.0695663859629292</c:v>
                </c:pt>
                <c:pt idx="385">
                  <c:v>-4.7141642531378523</c:v>
                </c:pt>
                <c:pt idx="386">
                  <c:v>-5.2633078657396197</c:v>
                </c:pt>
                <c:pt idx="387">
                  <c:v>-5.4790511721900828</c:v>
                </c:pt>
                <c:pt idx="388">
                  <c:v>-4.9051159321563489</c:v>
                </c:pt>
                <c:pt idx="389">
                  <c:v>-4.6358604508799033</c:v>
                </c:pt>
                <c:pt idx="390">
                  <c:v>-4.3270295195051176</c:v>
                </c:pt>
                <c:pt idx="391">
                  <c:v>-4.0775416213944311</c:v>
                </c:pt>
                <c:pt idx="392">
                  <c:v>-4.0775416213944311</c:v>
                </c:pt>
                <c:pt idx="393">
                  <c:v>-4.2435774375232427</c:v>
                </c:pt>
                <c:pt idx="394">
                  <c:v>-4.3492938034831639</c:v>
                </c:pt>
                <c:pt idx="395">
                  <c:v>-6.0804616889944327</c:v>
                </c:pt>
                <c:pt idx="396">
                  <c:v>-6.1487921781906607</c:v>
                </c:pt>
                <c:pt idx="397">
                  <c:v>-5.9315508612527879</c:v>
                </c:pt>
                <c:pt idx="398">
                  <c:v>-6.1160853159103965</c:v>
                </c:pt>
                <c:pt idx="399">
                  <c:v>-5.2847931760625784</c:v>
                </c:pt>
                <c:pt idx="400">
                  <c:v>-5.6096928376617257</c:v>
                </c:pt>
                <c:pt idx="401">
                  <c:v>-5.5223656589919301</c:v>
                </c:pt>
                <c:pt idx="402">
                  <c:v>-5.9931496611388866</c:v>
                </c:pt>
                <c:pt idx="403">
                  <c:v>-4.8020754493163906</c:v>
                </c:pt>
                <c:pt idx="404">
                  <c:v>-5.1045789692481378</c:v>
                </c:pt>
                <c:pt idx="405">
                  <c:v>-5.3219718529377644</c:v>
                </c:pt>
                <c:pt idx="406">
                  <c:v>-5.0996060239559711</c:v>
                </c:pt>
                <c:pt idx="407">
                  <c:v>-4.6311570812506204</c:v>
                </c:pt>
                <c:pt idx="408">
                  <c:v>-3.9840721153176162</c:v>
                </c:pt>
                <c:pt idx="409">
                  <c:v>-4.0829251087795342</c:v>
                </c:pt>
                <c:pt idx="410">
                  <c:v>-4.4073493337674279</c:v>
                </c:pt>
                <c:pt idx="411">
                  <c:v>-3.8999186227414953</c:v>
                </c:pt>
                <c:pt idx="412">
                  <c:v>-3.4858561974445479</c:v>
                </c:pt>
                <c:pt idx="413">
                  <c:v>-3.2215702425520192</c:v>
                </c:pt>
                <c:pt idx="414">
                  <c:v>-4.2078487777737337</c:v>
                </c:pt>
                <c:pt idx="415">
                  <c:v>-5.0143563768189381</c:v>
                </c:pt>
                <c:pt idx="416">
                  <c:v>-5.2311422552858176</c:v>
                </c:pt>
                <c:pt idx="417">
                  <c:v>-5.2616152567678398</c:v>
                </c:pt>
                <c:pt idx="418">
                  <c:v>-5.4115272225915874</c:v>
                </c:pt>
                <c:pt idx="419">
                  <c:v>-5.4305522125411585</c:v>
                </c:pt>
                <c:pt idx="420">
                  <c:v>-5.3606937770648813</c:v>
                </c:pt>
                <c:pt idx="421">
                  <c:v>-5.5429700536119242</c:v>
                </c:pt>
                <c:pt idx="422">
                  <c:v>-5.8942712933587984</c:v>
                </c:pt>
                <c:pt idx="423">
                  <c:v>-5.6959267716157171</c:v>
                </c:pt>
                <c:pt idx="424">
                  <c:v>-5.5664138080606449</c:v>
                </c:pt>
                <c:pt idx="425">
                  <c:v>-5.4538707627593226</c:v>
                </c:pt>
                <c:pt idx="426">
                  <c:v>-5.0801505600281303</c:v>
                </c:pt>
                <c:pt idx="427">
                  <c:v>-5.2131658359741664</c:v>
                </c:pt>
                <c:pt idx="428">
                  <c:v>-5.8371686766965922</c:v>
                </c:pt>
                <c:pt idx="429">
                  <c:v>-5.7284148606242127</c:v>
                </c:pt>
                <c:pt idx="430">
                  <c:v>-5.3474780128645421</c:v>
                </c:pt>
                <c:pt idx="431">
                  <c:v>-5.3923321017372814</c:v>
                </c:pt>
                <c:pt idx="432">
                  <c:v>-5.0418340234243146</c:v>
                </c:pt>
                <c:pt idx="433">
                  <c:v>-4.9150689861309047</c:v>
                </c:pt>
                <c:pt idx="434">
                  <c:v>-4.938124584068305</c:v>
                </c:pt>
                <c:pt idx="435">
                  <c:v>-4.7556235492096732</c:v>
                </c:pt>
                <c:pt idx="436">
                  <c:v>-4.8995323687334178</c:v>
                </c:pt>
                <c:pt idx="437">
                  <c:v>-5.1735801943480624</c:v>
                </c:pt>
                <c:pt idx="438">
                  <c:v>-5.5301666803759701</c:v>
                </c:pt>
                <c:pt idx="439">
                  <c:v>-5.7827766973174732</c:v>
                </c:pt>
                <c:pt idx="440">
                  <c:v>-5.7291946591236638</c:v>
                </c:pt>
                <c:pt idx="441">
                  <c:v>-5.3448548459865322</c:v>
                </c:pt>
                <c:pt idx="442">
                  <c:v>-5.2883496159267054</c:v>
                </c:pt>
                <c:pt idx="443">
                  <c:v>-5.8732939453512074</c:v>
                </c:pt>
                <c:pt idx="444">
                  <c:v>-7.1036408899084051</c:v>
                </c:pt>
                <c:pt idx="445">
                  <c:v>-7.1681912887979991</c:v>
                </c:pt>
                <c:pt idx="446">
                  <c:v>-7.2970854835541559</c:v>
                </c:pt>
                <c:pt idx="447">
                  <c:v>-6.9611886011777528</c:v>
                </c:pt>
                <c:pt idx="448">
                  <c:v>-7.2567800511752125</c:v>
                </c:pt>
                <c:pt idx="449">
                  <c:v>-6.8189479178676322</c:v>
                </c:pt>
                <c:pt idx="450">
                  <c:v>-6.8402666012410691</c:v>
                </c:pt>
                <c:pt idx="451">
                  <c:v>-7.1836949165329429</c:v>
                </c:pt>
                <c:pt idx="452">
                  <c:v>-7.1740473454285052</c:v>
                </c:pt>
                <c:pt idx="453">
                  <c:v>-6.8897406601514319</c:v>
                </c:pt>
                <c:pt idx="454">
                  <c:v>-7.2889641906655811</c:v>
                </c:pt>
                <c:pt idx="455">
                  <c:v>-7.3546121521343082</c:v>
                </c:pt>
                <c:pt idx="456">
                  <c:v>-7.258456902364145</c:v>
                </c:pt>
                <c:pt idx="457">
                  <c:v>-7.0704252648425268</c:v>
                </c:pt>
                <c:pt idx="458">
                  <c:v>-7.3664432878095454</c:v>
                </c:pt>
                <c:pt idx="459">
                  <c:v>-7.3333521518569</c:v>
                </c:pt>
                <c:pt idx="460">
                  <c:v>-7.5499298352229687</c:v>
                </c:pt>
                <c:pt idx="461">
                  <c:v>-7.6700043161833946</c:v>
                </c:pt>
                <c:pt idx="462">
                  <c:v>-7.9766793472160487</c:v>
                </c:pt>
                <c:pt idx="463">
                  <c:v>-8.2677768160684479</c:v>
                </c:pt>
                <c:pt idx="464">
                  <c:v>-8.6565902347896611</c:v>
                </c:pt>
                <c:pt idx="465">
                  <c:v>-7.9417396092923696</c:v>
                </c:pt>
                <c:pt idx="466">
                  <c:v>-8.0621147968421951</c:v>
                </c:pt>
                <c:pt idx="467">
                  <c:v>-8.1822566328543473</c:v>
                </c:pt>
                <c:pt idx="468">
                  <c:v>-8.3896457137240645</c:v>
                </c:pt>
                <c:pt idx="469">
                  <c:v>-8.7220234978809401</c:v>
                </c:pt>
                <c:pt idx="470">
                  <c:v>-8.9509755256035817</c:v>
                </c:pt>
                <c:pt idx="471">
                  <c:v>-8.8377524633105793</c:v>
                </c:pt>
                <c:pt idx="472">
                  <c:v>-7.8781587173262153</c:v>
                </c:pt>
                <c:pt idx="473">
                  <c:v>-7.8629270393461752</c:v>
                </c:pt>
                <c:pt idx="474">
                  <c:v>-7.1425855493984614</c:v>
                </c:pt>
                <c:pt idx="475">
                  <c:v>-6.9965294307023385</c:v>
                </c:pt>
                <c:pt idx="476">
                  <c:v>-7.441296500330111</c:v>
                </c:pt>
                <c:pt idx="477">
                  <c:v>-7.7448747712245449</c:v>
                </c:pt>
                <c:pt idx="478">
                  <c:v>-7.1231067823970307</c:v>
                </c:pt>
                <c:pt idx="479">
                  <c:v>-7.1162001574952001</c:v>
                </c:pt>
                <c:pt idx="480">
                  <c:v>-7.4560679281692046</c:v>
                </c:pt>
                <c:pt idx="481">
                  <c:v>-7.1975236008114507</c:v>
                </c:pt>
                <c:pt idx="482">
                  <c:v>-7.1882352636754092</c:v>
                </c:pt>
                <c:pt idx="483">
                  <c:v>-7.2906681352971532</c:v>
                </c:pt>
                <c:pt idx="484">
                  <c:v>-6.9998208979957042</c:v>
                </c:pt>
                <c:pt idx="485">
                  <c:v>-6.2636603225440979</c:v>
                </c:pt>
                <c:pt idx="486">
                  <c:v>-6.5727612446307262</c:v>
                </c:pt>
                <c:pt idx="487">
                  <c:v>-6.6875765402488696</c:v>
                </c:pt>
                <c:pt idx="488">
                  <c:v>-6.4346333932758739</c:v>
                </c:pt>
                <c:pt idx="489">
                  <c:v>-6.1246222490090076</c:v>
                </c:pt>
                <c:pt idx="490">
                  <c:v>-6.8698530963560529</c:v>
                </c:pt>
                <c:pt idx="491">
                  <c:v>-6.8906489321784647</c:v>
                </c:pt>
                <c:pt idx="492">
                  <c:v>-7.1830198680694366</c:v>
                </c:pt>
                <c:pt idx="493">
                  <c:v>-7.2082722776962385</c:v>
                </c:pt>
                <c:pt idx="494">
                  <c:v>-7.3216151239014948</c:v>
                </c:pt>
                <c:pt idx="495">
                  <c:v>-7.8579314549072308</c:v>
                </c:pt>
                <c:pt idx="496">
                  <c:v>-7.4178242081285077</c:v>
                </c:pt>
                <c:pt idx="497">
                  <c:v>-7.5375905531479646</c:v>
                </c:pt>
                <c:pt idx="498">
                  <c:v>-7.3123175636327744</c:v>
                </c:pt>
                <c:pt idx="499">
                  <c:v>-7.0288616679144695</c:v>
                </c:pt>
                <c:pt idx="500">
                  <c:v>-6.6566620309397706</c:v>
                </c:pt>
                <c:pt idx="501">
                  <c:v>-7.2510926979956594</c:v>
                </c:pt>
                <c:pt idx="502">
                  <c:v>-7.1951236955562194</c:v>
                </c:pt>
                <c:pt idx="503">
                  <c:v>-6.9775434528817755</c:v>
                </c:pt>
                <c:pt idx="504">
                  <c:v>-7.9935826661052829</c:v>
                </c:pt>
                <c:pt idx="505">
                  <c:v>-8.1022293557019509</c:v>
                </c:pt>
                <c:pt idx="506">
                  <c:v>-8.3660613267836084</c:v>
                </c:pt>
                <c:pt idx="507">
                  <c:v>-8.3229418811257858</c:v>
                </c:pt>
                <c:pt idx="508">
                  <c:v>-7.4558201134221349</c:v>
                </c:pt>
                <c:pt idx="509">
                  <c:v>-7.2874594985482872</c:v>
                </c:pt>
                <c:pt idx="510">
                  <c:v>-6.8262444371657693</c:v>
                </c:pt>
                <c:pt idx="511">
                  <c:v>-6.3507464948467316</c:v>
                </c:pt>
                <c:pt idx="512">
                  <c:v>-5.4734189627743604</c:v>
                </c:pt>
                <c:pt idx="513">
                  <c:v>-5.4447352245745435</c:v>
                </c:pt>
                <c:pt idx="514">
                  <c:v>-5.7116686107612509</c:v>
                </c:pt>
                <c:pt idx="515">
                  <c:v>-6.4539602493505583</c:v>
                </c:pt>
                <c:pt idx="516">
                  <c:v>-6.4539602493505583</c:v>
                </c:pt>
                <c:pt idx="517">
                  <c:v>-6.4539602493505583</c:v>
                </c:pt>
                <c:pt idx="518">
                  <c:v>-6.6384507072725398</c:v>
                </c:pt>
                <c:pt idx="519">
                  <c:v>-6.8395867181535834</c:v>
                </c:pt>
                <c:pt idx="520">
                  <c:v>-7.4571450447313907</c:v>
                </c:pt>
                <c:pt idx="521">
                  <c:v>-7.4703093759623869</c:v>
                </c:pt>
                <c:pt idx="522">
                  <c:v>-7.3745972433706584</c:v>
                </c:pt>
                <c:pt idx="523">
                  <c:v>-6.7110128183214783</c:v>
                </c:pt>
                <c:pt idx="524">
                  <c:v>-5.9188314259157551</c:v>
                </c:pt>
                <c:pt idx="525">
                  <c:v>-5.7855141840088606</c:v>
                </c:pt>
                <c:pt idx="526">
                  <c:v>-6.3158873098468575</c:v>
                </c:pt>
                <c:pt idx="527">
                  <c:v>-5.6307091609305644</c:v>
                </c:pt>
                <c:pt idx="528">
                  <c:v>-5.8393229746371276</c:v>
                </c:pt>
                <c:pt idx="529">
                  <c:v>-5.5624200364151761</c:v>
                </c:pt>
                <c:pt idx="530">
                  <c:v>-4.9574347587299314</c:v>
                </c:pt>
                <c:pt idx="531">
                  <c:v>-4.4849645226018708</c:v>
                </c:pt>
                <c:pt idx="532">
                  <c:v>-5.0454876424007864</c:v>
                </c:pt>
                <c:pt idx="533">
                  <c:v>-4.8068781477581126</c:v>
                </c:pt>
                <c:pt idx="534">
                  <c:v>-5.1104251048892024</c:v>
                </c:pt>
                <c:pt idx="535">
                  <c:v>-4.8847543155503104</c:v>
                </c:pt>
                <c:pt idx="536">
                  <c:v>-4.6169725672515085</c:v>
                </c:pt>
                <c:pt idx="537">
                  <c:v>-3.9111258861969418</c:v>
                </c:pt>
                <c:pt idx="538">
                  <c:v>-4.1027770577855449</c:v>
                </c:pt>
                <c:pt idx="539">
                  <c:v>-4.8999014405605408</c:v>
                </c:pt>
                <c:pt idx="540">
                  <c:v>-4.7235093020755414</c:v>
                </c:pt>
                <c:pt idx="541">
                  <c:v>-5.4217675942986716</c:v>
                </c:pt>
                <c:pt idx="542">
                  <c:v>-5.2127970014586822</c:v>
                </c:pt>
                <c:pt idx="543">
                  <c:v>-5.47371557825997</c:v>
                </c:pt>
                <c:pt idx="544">
                  <c:v>-4.758019944651295</c:v>
                </c:pt>
                <c:pt idx="545">
                  <c:v>-4.758019944651295</c:v>
                </c:pt>
                <c:pt idx="546">
                  <c:v>-4.271734934087533</c:v>
                </c:pt>
                <c:pt idx="547">
                  <c:v>-3.6699176581854545</c:v>
                </c:pt>
                <c:pt idx="548">
                  <c:v>-3.6892311685288064</c:v>
                </c:pt>
                <c:pt idx="549">
                  <c:v>-3.2624316502976001</c:v>
                </c:pt>
                <c:pt idx="550">
                  <c:v>-3.4351077488346675</c:v>
                </c:pt>
                <c:pt idx="551">
                  <c:v>-2.9570196716544217</c:v>
                </c:pt>
                <c:pt idx="552">
                  <c:v>-2.9570196716544217</c:v>
                </c:pt>
                <c:pt idx="553">
                  <c:v>-3.385948862713235</c:v>
                </c:pt>
                <c:pt idx="554">
                  <c:v>-2.9951581299350494</c:v>
                </c:pt>
                <c:pt idx="555">
                  <c:v>-2.9867806013383813</c:v>
                </c:pt>
                <c:pt idx="556">
                  <c:v>-3.0766225632182227</c:v>
                </c:pt>
                <c:pt idx="557">
                  <c:v>-2.6503923234633362</c:v>
                </c:pt>
                <c:pt idx="558">
                  <c:v>-3.6518647579113406</c:v>
                </c:pt>
                <c:pt idx="559">
                  <c:v>-3.5017867080893836</c:v>
                </c:pt>
                <c:pt idx="560">
                  <c:v>-3.5017867080893836</c:v>
                </c:pt>
                <c:pt idx="561">
                  <c:v>-2.1952227475955226</c:v>
                </c:pt>
                <c:pt idx="562">
                  <c:v>-2.1837170488344952</c:v>
                </c:pt>
                <c:pt idx="563">
                  <c:v>-2.5976838496275434</c:v>
                </c:pt>
                <c:pt idx="564">
                  <c:v>-3.4953096061797737</c:v>
                </c:pt>
                <c:pt idx="565">
                  <c:v>-4.088547863759004</c:v>
                </c:pt>
                <c:pt idx="566">
                  <c:v>-4.6631430368899487</c:v>
                </c:pt>
                <c:pt idx="567">
                  <c:v>-4.3254627202461791</c:v>
                </c:pt>
                <c:pt idx="568">
                  <c:v>-3.9359534214660243</c:v>
                </c:pt>
                <c:pt idx="569">
                  <c:v>-3.6951792355609712</c:v>
                </c:pt>
                <c:pt idx="570">
                  <c:v>-3.7820044690525094</c:v>
                </c:pt>
                <c:pt idx="571">
                  <c:v>-2.7608842953561066</c:v>
                </c:pt>
                <c:pt idx="572">
                  <c:v>-1.6164611062133361</c:v>
                </c:pt>
                <c:pt idx="573">
                  <c:v>-1.4666911694644966</c:v>
                </c:pt>
                <c:pt idx="574">
                  <c:v>-1.9314361375680846</c:v>
                </c:pt>
                <c:pt idx="575">
                  <c:v>-2.2565068860580766</c:v>
                </c:pt>
                <c:pt idx="576">
                  <c:v>-1.6663802402421481</c:v>
                </c:pt>
                <c:pt idx="577">
                  <c:v>-0.66754396045428166</c:v>
                </c:pt>
                <c:pt idx="578">
                  <c:v>-1.4121392173936727</c:v>
                </c:pt>
                <c:pt idx="579">
                  <c:v>-2.4172736814821576</c:v>
                </c:pt>
                <c:pt idx="580">
                  <c:v>-2.9987255621147995</c:v>
                </c:pt>
                <c:pt idx="581">
                  <c:v>-2.8307664306852303</c:v>
                </c:pt>
                <c:pt idx="582">
                  <c:v>-2.4591404712043072</c:v>
                </c:pt>
                <c:pt idx="583">
                  <c:v>-2.4825209873412462</c:v>
                </c:pt>
                <c:pt idx="584">
                  <c:v>-1.7451296830416823</c:v>
                </c:pt>
                <c:pt idx="585">
                  <c:v>-1.3020452677287722</c:v>
                </c:pt>
                <c:pt idx="586">
                  <c:v>-0.94010714002359919</c:v>
                </c:pt>
                <c:pt idx="587">
                  <c:v>-0.31742756438848119</c:v>
                </c:pt>
                <c:pt idx="588">
                  <c:v>0.65818512448043975</c:v>
                </c:pt>
                <c:pt idx="589">
                  <c:v>1.19531109519437</c:v>
                </c:pt>
                <c:pt idx="590">
                  <c:v>1.932847887582426</c:v>
                </c:pt>
                <c:pt idx="591">
                  <c:v>2.2066509264109584</c:v>
                </c:pt>
                <c:pt idx="592">
                  <c:v>2.728116694011959</c:v>
                </c:pt>
                <c:pt idx="593">
                  <c:v>2.5312788978547047</c:v>
                </c:pt>
                <c:pt idx="594">
                  <c:v>4.3555980451530729</c:v>
                </c:pt>
                <c:pt idx="595">
                  <c:v>3.2004394696636069</c:v>
                </c:pt>
                <c:pt idx="596">
                  <c:v>3.0934607756161796</c:v>
                </c:pt>
                <c:pt idx="597">
                  <c:v>3.0934607756161796</c:v>
                </c:pt>
                <c:pt idx="598">
                  <c:v>3.0680788218834607</c:v>
                </c:pt>
                <c:pt idx="599">
                  <c:v>3.6718592139002624</c:v>
                </c:pt>
                <c:pt idx="600">
                  <c:v>5.4929897406126287</c:v>
                </c:pt>
                <c:pt idx="601">
                  <c:v>6.4134685473297708</c:v>
                </c:pt>
                <c:pt idx="602">
                  <c:v>6.9173396869882851</c:v>
                </c:pt>
                <c:pt idx="603">
                  <c:v>7.0049828920611787</c:v>
                </c:pt>
                <c:pt idx="604">
                  <c:v>6.069237947927931</c:v>
                </c:pt>
                <c:pt idx="605">
                  <c:v>5.6712853090093773</c:v>
                </c:pt>
                <c:pt idx="606">
                  <c:v>6.0726289496756181</c:v>
                </c:pt>
                <c:pt idx="607">
                  <c:v>5.4045745266529934</c:v>
                </c:pt>
                <c:pt idx="608">
                  <c:v>4.9975570965342797</c:v>
                </c:pt>
                <c:pt idx="609">
                  <c:v>4.723886318995838</c:v>
                </c:pt>
                <c:pt idx="610">
                  <c:v>5.4351384423987525</c:v>
                </c:pt>
                <c:pt idx="611">
                  <c:v>6.8596058786464056</c:v>
                </c:pt>
                <c:pt idx="612">
                  <c:v>8.1386078207913215</c:v>
                </c:pt>
                <c:pt idx="613">
                  <c:v>8.1981166675144834</c:v>
                </c:pt>
                <c:pt idx="614">
                  <c:v>7.1233501674619504</c:v>
                </c:pt>
                <c:pt idx="615">
                  <c:v>6.9392200222997502</c:v>
                </c:pt>
                <c:pt idx="616">
                  <c:v>8.5834019482677775</c:v>
                </c:pt>
                <c:pt idx="617">
                  <c:v>8.8103399993604512</c:v>
                </c:pt>
                <c:pt idx="618">
                  <c:v>7.8347242743636798</c:v>
                </c:pt>
                <c:pt idx="619">
                  <c:v>7.6998365436298855</c:v>
                </c:pt>
                <c:pt idx="620">
                  <c:v>6.8902906926831946</c:v>
                </c:pt>
                <c:pt idx="621">
                  <c:v>7.154156954817978</c:v>
                </c:pt>
                <c:pt idx="622">
                  <c:v>7.8627643727669607</c:v>
                </c:pt>
                <c:pt idx="623">
                  <c:v>7.949448955210201</c:v>
                </c:pt>
                <c:pt idx="624">
                  <c:v>8.2506232724548596</c:v>
                </c:pt>
                <c:pt idx="625">
                  <c:v>9.1482059635134476</c:v>
                </c:pt>
                <c:pt idx="626">
                  <c:v>9.0384573165327282</c:v>
                </c:pt>
                <c:pt idx="627">
                  <c:v>8.6859777080012464</c:v>
                </c:pt>
                <c:pt idx="628">
                  <c:v>7.2665183315110369</c:v>
                </c:pt>
                <c:pt idx="629">
                  <c:v>7.6276404438605994</c:v>
                </c:pt>
                <c:pt idx="630">
                  <c:v>6.8993500425696368</c:v>
                </c:pt>
                <c:pt idx="631">
                  <c:v>7.6594382557684639</c:v>
                </c:pt>
                <c:pt idx="632">
                  <c:v>8.4869963769102128</c:v>
                </c:pt>
                <c:pt idx="633">
                  <c:v>9.5514933993310507</c:v>
                </c:pt>
                <c:pt idx="634">
                  <c:v>8.3732618735346165</c:v>
                </c:pt>
                <c:pt idx="635">
                  <c:v>6.7652717901473522</c:v>
                </c:pt>
                <c:pt idx="636">
                  <c:v>6.9676851800169857</c:v>
                </c:pt>
                <c:pt idx="637">
                  <c:v>6.2346680458812216</c:v>
                </c:pt>
                <c:pt idx="638">
                  <c:v>5.9156272507557759</c:v>
                </c:pt>
                <c:pt idx="639">
                  <c:v>5.2050262307648723</c:v>
                </c:pt>
                <c:pt idx="640">
                  <c:v>6.0977093735095451</c:v>
                </c:pt>
                <c:pt idx="641">
                  <c:v>6.1796176658705235</c:v>
                </c:pt>
                <c:pt idx="642">
                  <c:v>6.2942150914369535</c:v>
                </c:pt>
                <c:pt idx="643">
                  <c:v>6.476307200378784</c:v>
                </c:pt>
                <c:pt idx="644">
                  <c:v>6.1653937849668097</c:v>
                </c:pt>
                <c:pt idx="645">
                  <c:v>7.0098180753221015</c:v>
                </c:pt>
                <c:pt idx="646">
                  <c:v>6.2239869717760143</c:v>
                </c:pt>
                <c:pt idx="647">
                  <c:v>5.2067613285762491</c:v>
                </c:pt>
                <c:pt idx="648">
                  <c:v>5.0917592745101388</c:v>
                </c:pt>
                <c:pt idx="649">
                  <c:v>5.3913281874728227</c:v>
                </c:pt>
                <c:pt idx="650">
                  <c:v>3.4920707850372992</c:v>
                </c:pt>
                <c:pt idx="651">
                  <c:v>3.5577452860895562</c:v>
                </c:pt>
                <c:pt idx="652">
                  <c:v>4.9149558591716129</c:v>
                </c:pt>
                <c:pt idx="653">
                  <c:v>4.9149558591716129</c:v>
                </c:pt>
                <c:pt idx="654">
                  <c:v>5.6816893370058068</c:v>
                </c:pt>
                <c:pt idx="655">
                  <c:v>5.5239026306746268</c:v>
                </c:pt>
                <c:pt idx="656">
                  <c:v>6.3201705132202051</c:v>
                </c:pt>
                <c:pt idx="657">
                  <c:v>6.4794208925182062</c:v>
                </c:pt>
                <c:pt idx="658">
                  <c:v>6.3391018767262324</c:v>
                </c:pt>
                <c:pt idx="659">
                  <c:v>6.6092581301365101</c:v>
                </c:pt>
                <c:pt idx="660">
                  <c:v>6.8568088177388944</c:v>
                </c:pt>
                <c:pt idx="661">
                  <c:v>6.1329167484572906</c:v>
                </c:pt>
                <c:pt idx="662">
                  <c:v>6.4946532201940954</c:v>
                </c:pt>
                <c:pt idx="663">
                  <c:v>6.9794792256352309</c:v>
                </c:pt>
                <c:pt idx="664">
                  <c:v>6.8628487582448514</c:v>
                </c:pt>
                <c:pt idx="665">
                  <c:v>7.4414363184724692</c:v>
                </c:pt>
                <c:pt idx="666">
                  <c:v>7.3418194059582902</c:v>
                </c:pt>
                <c:pt idx="667">
                  <c:v>8.0923913884239198</c:v>
                </c:pt>
                <c:pt idx="668">
                  <c:v>8.9038208630921929</c:v>
                </c:pt>
                <c:pt idx="669">
                  <c:v>9.1934270833095866</c:v>
                </c:pt>
                <c:pt idx="670">
                  <c:v>9.0003354836335347</c:v>
                </c:pt>
                <c:pt idx="671">
                  <c:v>8.9327966957889231</c:v>
                </c:pt>
                <c:pt idx="672">
                  <c:v>8.0378494271250531</c:v>
                </c:pt>
                <c:pt idx="673">
                  <c:v>8.17398740918199</c:v>
                </c:pt>
                <c:pt idx="674">
                  <c:v>7.5314821558121707</c:v>
                </c:pt>
                <c:pt idx="675">
                  <c:v>7.3746460123401505</c:v>
                </c:pt>
                <c:pt idx="676">
                  <c:v>6.1938615375212862</c:v>
                </c:pt>
                <c:pt idx="677">
                  <c:v>5.6196996098422289</c:v>
                </c:pt>
                <c:pt idx="678">
                  <c:v>5.9668401898649677</c:v>
                </c:pt>
                <c:pt idx="679">
                  <c:v>6.4891071048837716</c:v>
                </c:pt>
                <c:pt idx="680">
                  <c:v>7.4872158236497057</c:v>
                </c:pt>
                <c:pt idx="681">
                  <c:v>6.7987375419029377</c:v>
                </c:pt>
                <c:pt idx="682">
                  <c:v>8.181280291874117</c:v>
                </c:pt>
                <c:pt idx="683">
                  <c:v>8.3799662663525822</c:v>
                </c:pt>
                <c:pt idx="684">
                  <c:v>9.1206099141079591</c:v>
                </c:pt>
                <c:pt idx="685">
                  <c:v>9.0162528182565751</c:v>
                </c:pt>
                <c:pt idx="686">
                  <c:v>8.6645400365555076</c:v>
                </c:pt>
                <c:pt idx="687">
                  <c:v>9.2058581909811181</c:v>
                </c:pt>
                <c:pt idx="688">
                  <c:v>8.3731789189753272</c:v>
                </c:pt>
                <c:pt idx="689">
                  <c:v>8.5454741513124191</c:v>
                </c:pt>
                <c:pt idx="690">
                  <c:v>8.1074567371915407</c:v>
                </c:pt>
                <c:pt idx="691">
                  <c:v>8.3217066641837789</c:v>
                </c:pt>
                <c:pt idx="692">
                  <c:v>8.3217066641837789</c:v>
                </c:pt>
                <c:pt idx="693">
                  <c:v>8.2971091252522626</c:v>
                </c:pt>
                <c:pt idx="694">
                  <c:v>9.2148710825323121</c:v>
                </c:pt>
                <c:pt idx="695">
                  <c:v>9.1242635540706942</c:v>
                </c:pt>
                <c:pt idx="696">
                  <c:v>8.8743886099736358</c:v>
                </c:pt>
                <c:pt idx="697">
                  <c:v>8.3965376348852487</c:v>
                </c:pt>
                <c:pt idx="698">
                  <c:v>7.7472598082944444</c:v>
                </c:pt>
                <c:pt idx="699">
                  <c:v>7.8803871729946025</c:v>
                </c:pt>
                <c:pt idx="700">
                  <c:v>7.8708882314428479</c:v>
                </c:pt>
                <c:pt idx="701">
                  <c:v>8.1717578570034277</c:v>
                </c:pt>
                <c:pt idx="702">
                  <c:v>8.5773996465120774</c:v>
                </c:pt>
                <c:pt idx="703">
                  <c:v>7.7635972815494085</c:v>
                </c:pt>
                <c:pt idx="704">
                  <c:v>7.5358385249763842</c:v>
                </c:pt>
                <c:pt idx="705">
                  <c:v>6.4639595426950791</c:v>
                </c:pt>
                <c:pt idx="706">
                  <c:v>6.1418469846239532</c:v>
                </c:pt>
                <c:pt idx="707">
                  <c:v>5.9579062477126286</c:v>
                </c:pt>
                <c:pt idx="708">
                  <c:v>5.3906243500031508</c:v>
                </c:pt>
                <c:pt idx="709">
                  <c:v>5.1033112506112559</c:v>
                </c:pt>
                <c:pt idx="710">
                  <c:v>3.2500707531791306</c:v>
                </c:pt>
                <c:pt idx="711">
                  <c:v>3.2411185010026031</c:v>
                </c:pt>
                <c:pt idx="712">
                  <c:v>2.3499416653704657</c:v>
                </c:pt>
                <c:pt idx="713">
                  <c:v>2.7488175406935511</c:v>
                </c:pt>
                <c:pt idx="714">
                  <c:v>2.6441254428727063</c:v>
                </c:pt>
                <c:pt idx="715">
                  <c:v>1.9428516567784584</c:v>
                </c:pt>
                <c:pt idx="716">
                  <c:v>2.1683959486238962</c:v>
                </c:pt>
                <c:pt idx="717">
                  <c:v>3.22801548264394</c:v>
                </c:pt>
                <c:pt idx="718">
                  <c:v>3.2364949349728249</c:v>
                </c:pt>
                <c:pt idx="719">
                  <c:v>2.2678829689730549</c:v>
                </c:pt>
                <c:pt idx="720">
                  <c:v>1.394317893973664</c:v>
                </c:pt>
                <c:pt idx="721">
                  <c:v>1.2393904382730909</c:v>
                </c:pt>
                <c:pt idx="722">
                  <c:v>1.4550086767315236</c:v>
                </c:pt>
                <c:pt idx="723">
                  <c:v>1.8103737867635914</c:v>
                </c:pt>
                <c:pt idx="724">
                  <c:v>1.3218652243527913</c:v>
                </c:pt>
                <c:pt idx="725">
                  <c:v>1.3150663983625748</c:v>
                </c:pt>
                <c:pt idx="726">
                  <c:v>2.4354111622570258</c:v>
                </c:pt>
                <c:pt idx="727">
                  <c:v>2.4424970679447711</c:v>
                </c:pt>
                <c:pt idx="728">
                  <c:v>3.1246433357997034</c:v>
                </c:pt>
                <c:pt idx="729">
                  <c:v>3.0003988619223207</c:v>
                </c:pt>
                <c:pt idx="730">
                  <c:v>2.8486896994262452</c:v>
                </c:pt>
                <c:pt idx="731">
                  <c:v>1.6267717937619466</c:v>
                </c:pt>
                <c:pt idx="732">
                  <c:v>0.34189722450253157</c:v>
                </c:pt>
                <c:pt idx="733">
                  <c:v>0.85790326195220246</c:v>
                </c:pt>
                <c:pt idx="734">
                  <c:v>1.5501746580580686</c:v>
                </c:pt>
                <c:pt idx="735">
                  <c:v>2.222447361621164</c:v>
                </c:pt>
                <c:pt idx="736">
                  <c:v>1.7710161134820339</c:v>
                </c:pt>
                <c:pt idx="737">
                  <c:v>2.0953713156879132</c:v>
                </c:pt>
                <c:pt idx="738">
                  <c:v>1.9678386994160633</c:v>
                </c:pt>
                <c:pt idx="739">
                  <c:v>2.1252362869305728</c:v>
                </c:pt>
                <c:pt idx="740">
                  <c:v>2.0211855544457933</c:v>
                </c:pt>
                <c:pt idx="741">
                  <c:v>1.8484293905393372</c:v>
                </c:pt>
                <c:pt idx="742">
                  <c:v>2.7681832838788409</c:v>
                </c:pt>
                <c:pt idx="743">
                  <c:v>3.9808807454510315</c:v>
                </c:pt>
                <c:pt idx="744">
                  <c:v>4.1725386801227842</c:v>
                </c:pt>
                <c:pt idx="745">
                  <c:v>3.2575770843221221</c:v>
                </c:pt>
                <c:pt idx="746">
                  <c:v>3.6093854295737628</c:v>
                </c:pt>
                <c:pt idx="747">
                  <c:v>3.9667514807838131</c:v>
                </c:pt>
                <c:pt idx="748">
                  <c:v>3.1201141585994208</c:v>
                </c:pt>
                <c:pt idx="749">
                  <c:v>2.3163871923757142</c:v>
                </c:pt>
                <c:pt idx="750">
                  <c:v>1.5220640599057731</c:v>
                </c:pt>
                <c:pt idx="751">
                  <c:v>1.0589769513356089</c:v>
                </c:pt>
                <c:pt idx="752">
                  <c:v>0.90198228817760651</c:v>
                </c:pt>
                <c:pt idx="753">
                  <c:v>2.0114049695597203</c:v>
                </c:pt>
                <c:pt idx="754">
                  <c:v>2.3113736240179321</c:v>
                </c:pt>
                <c:pt idx="755">
                  <c:v>3.59127973750347</c:v>
                </c:pt>
                <c:pt idx="756">
                  <c:v>3.9840634321538744</c:v>
                </c:pt>
                <c:pt idx="757">
                  <c:v>4.1822053163347732</c:v>
                </c:pt>
                <c:pt idx="758">
                  <c:v>3.8513364156177943</c:v>
                </c:pt>
                <c:pt idx="759">
                  <c:v>4.8425325337999823</c:v>
                </c:pt>
                <c:pt idx="760">
                  <c:v>5.6024196898884497</c:v>
                </c:pt>
                <c:pt idx="761">
                  <c:v>5.4724564166196501</c:v>
                </c:pt>
                <c:pt idx="762">
                  <c:v>6.1927700388451399</c:v>
                </c:pt>
                <c:pt idx="763">
                  <c:v>6.925165448844524</c:v>
                </c:pt>
                <c:pt idx="764">
                  <c:v>7.3668903046112462</c:v>
                </c:pt>
                <c:pt idx="765">
                  <c:v>7.6963808685962931</c:v>
                </c:pt>
                <c:pt idx="766">
                  <c:v>7.6963808685962931</c:v>
                </c:pt>
                <c:pt idx="767">
                  <c:v>7.6963808685962931</c:v>
                </c:pt>
                <c:pt idx="768">
                  <c:v>8.9970351536248359</c:v>
                </c:pt>
                <c:pt idx="769">
                  <c:v>8.27184257561305</c:v>
                </c:pt>
                <c:pt idx="770">
                  <c:v>8.1716849149077291</c:v>
                </c:pt>
                <c:pt idx="771">
                  <c:v>9.2097542281491087</c:v>
                </c:pt>
                <c:pt idx="772">
                  <c:v>9.7430268606519519</c:v>
                </c:pt>
                <c:pt idx="773">
                  <c:v>8.6675427757449199</c:v>
                </c:pt>
                <c:pt idx="774">
                  <c:v>9.4989441558151384</c:v>
                </c:pt>
                <c:pt idx="775">
                  <c:v>10.158423055035257</c:v>
                </c:pt>
                <c:pt idx="776">
                  <c:v>9.5597721111063834</c:v>
                </c:pt>
                <c:pt idx="777">
                  <c:v>10.482752122169302</c:v>
                </c:pt>
                <c:pt idx="778">
                  <c:v>10.262158990725823</c:v>
                </c:pt>
                <c:pt idx="779">
                  <c:v>10.086485716364962</c:v>
                </c:pt>
                <c:pt idx="780">
                  <c:v>11.863358094665927</c:v>
                </c:pt>
                <c:pt idx="781">
                  <c:v>11.083668879935203</c:v>
                </c:pt>
                <c:pt idx="782">
                  <c:v>11.62496805033922</c:v>
                </c:pt>
                <c:pt idx="783">
                  <c:v>11.62496805033922</c:v>
                </c:pt>
                <c:pt idx="784">
                  <c:v>12.631695368843594</c:v>
                </c:pt>
                <c:pt idx="785">
                  <c:v>13.047464632791844</c:v>
                </c:pt>
                <c:pt idx="786">
                  <c:v>13.335068079295979</c:v>
                </c:pt>
                <c:pt idx="787">
                  <c:v>13.102949299186321</c:v>
                </c:pt>
                <c:pt idx="788">
                  <c:v>13.644114892387989</c:v>
                </c:pt>
                <c:pt idx="789">
                  <c:v>14.219726798179352</c:v>
                </c:pt>
                <c:pt idx="790">
                  <c:v>13.222599385079945</c:v>
                </c:pt>
                <c:pt idx="791">
                  <c:v>13.92104270709757</c:v>
                </c:pt>
                <c:pt idx="792">
                  <c:v>15.106472210700758</c:v>
                </c:pt>
                <c:pt idx="793">
                  <c:v>15.871371041398248</c:v>
                </c:pt>
                <c:pt idx="794">
                  <c:v>15.797685016481751</c:v>
                </c:pt>
                <c:pt idx="795">
                  <c:v>15.797685016481751</c:v>
                </c:pt>
                <c:pt idx="796">
                  <c:v>16.403889316276377</c:v>
                </c:pt>
                <c:pt idx="797">
                  <c:v>16.001735481180248</c:v>
                </c:pt>
                <c:pt idx="798">
                  <c:v>15.468705680128693</c:v>
                </c:pt>
                <c:pt idx="799">
                  <c:v>16.202647468809488</c:v>
                </c:pt>
                <c:pt idx="800">
                  <c:v>16.106676184211636</c:v>
                </c:pt>
                <c:pt idx="801">
                  <c:v>16.335358582912136</c:v>
                </c:pt>
                <c:pt idx="802">
                  <c:v>16.335358582912136</c:v>
                </c:pt>
                <c:pt idx="803">
                  <c:v>16.756246911226981</c:v>
                </c:pt>
                <c:pt idx="804">
                  <c:v>17.208529464973878</c:v>
                </c:pt>
                <c:pt idx="805">
                  <c:v>17.516846339687078</c:v>
                </c:pt>
                <c:pt idx="806">
                  <c:v>17.334808884533288</c:v>
                </c:pt>
                <c:pt idx="807">
                  <c:v>16.867609325723691</c:v>
                </c:pt>
                <c:pt idx="808">
                  <c:v>16.755539588685849</c:v>
                </c:pt>
                <c:pt idx="809">
                  <c:v>15.931673813944315</c:v>
                </c:pt>
                <c:pt idx="810">
                  <c:v>15.881927788530163</c:v>
                </c:pt>
                <c:pt idx="811">
                  <c:v>16.651384330899504</c:v>
                </c:pt>
                <c:pt idx="812">
                  <c:v>16.729859704655041</c:v>
                </c:pt>
                <c:pt idx="813">
                  <c:v>16.940346136399398</c:v>
                </c:pt>
                <c:pt idx="814">
                  <c:v>16.982140804155449</c:v>
                </c:pt>
                <c:pt idx="815">
                  <c:v>17.057322693265604</c:v>
                </c:pt>
                <c:pt idx="816">
                  <c:v>15.692176113206472</c:v>
                </c:pt>
                <c:pt idx="817">
                  <c:v>16.316439476512528</c:v>
                </c:pt>
                <c:pt idx="818">
                  <c:v>15.354029981519631</c:v>
                </c:pt>
                <c:pt idx="819">
                  <c:v>14.605395171876296</c:v>
                </c:pt>
                <c:pt idx="820">
                  <c:v>14.910332247858662</c:v>
                </c:pt>
                <c:pt idx="821">
                  <c:v>15.016590056291363</c:v>
                </c:pt>
                <c:pt idx="822">
                  <c:v>15.513291471648785</c:v>
                </c:pt>
                <c:pt idx="823">
                  <c:v>15.770511174090871</c:v>
                </c:pt>
                <c:pt idx="824">
                  <c:v>15.526288290166718</c:v>
                </c:pt>
                <c:pt idx="825">
                  <c:v>15.756896485880389</c:v>
                </c:pt>
                <c:pt idx="826">
                  <c:v>14.985195264181385</c:v>
                </c:pt>
                <c:pt idx="827">
                  <c:v>15.070650550681478</c:v>
                </c:pt>
                <c:pt idx="828">
                  <c:v>14.675806844203095</c:v>
                </c:pt>
                <c:pt idx="829">
                  <c:v>14.681672033485626</c:v>
                </c:pt>
                <c:pt idx="830">
                  <c:v>15.050502048342992</c:v>
                </c:pt>
                <c:pt idx="831">
                  <c:v>15.694464096366971</c:v>
                </c:pt>
                <c:pt idx="832">
                  <c:v>15.718634762457413</c:v>
                </c:pt>
                <c:pt idx="833">
                  <c:v>15.307018606005386</c:v>
                </c:pt>
                <c:pt idx="834">
                  <c:v>15.284740164982566</c:v>
                </c:pt>
                <c:pt idx="835">
                  <c:v>15.526525268349417</c:v>
                </c:pt>
                <c:pt idx="836">
                  <c:v>15.658621508926046</c:v>
                </c:pt>
                <c:pt idx="837">
                  <c:v>15.962863190115485</c:v>
                </c:pt>
                <c:pt idx="838">
                  <c:v>15.957643227635032</c:v>
                </c:pt>
                <c:pt idx="839">
                  <c:v>16.176120365361243</c:v>
                </c:pt>
                <c:pt idx="840">
                  <c:v>15.896324044829953</c:v>
                </c:pt>
                <c:pt idx="841">
                  <c:v>16.452887787096017</c:v>
                </c:pt>
                <c:pt idx="842">
                  <c:v>16.41699040228761</c:v>
                </c:pt>
                <c:pt idx="843">
                  <c:v>16.917924968160804</c:v>
                </c:pt>
                <c:pt idx="844">
                  <c:v>16.497122742888592</c:v>
                </c:pt>
                <c:pt idx="845">
                  <c:v>16.271268305298037</c:v>
                </c:pt>
                <c:pt idx="846">
                  <c:v>15.543037670259992</c:v>
                </c:pt>
                <c:pt idx="847">
                  <c:v>14.435248681086506</c:v>
                </c:pt>
                <c:pt idx="848">
                  <c:v>14.469411358841057</c:v>
                </c:pt>
                <c:pt idx="849">
                  <c:v>14.815051813517556</c:v>
                </c:pt>
                <c:pt idx="850">
                  <c:v>15.650437342693323</c:v>
                </c:pt>
                <c:pt idx="851">
                  <c:v>14.595435362741739</c:v>
                </c:pt>
                <c:pt idx="852">
                  <c:v>14.126252023755455</c:v>
                </c:pt>
                <c:pt idx="853">
                  <c:v>13.709066213720973</c:v>
                </c:pt>
                <c:pt idx="854">
                  <c:v>13.665954648011819</c:v>
                </c:pt>
                <c:pt idx="855">
                  <c:v>13.37452703470268</c:v>
                </c:pt>
                <c:pt idx="856">
                  <c:v>13.302349577241756</c:v>
                </c:pt>
                <c:pt idx="857">
                  <c:v>13.312408020144773</c:v>
                </c:pt>
                <c:pt idx="858">
                  <c:v>13.470180258586311</c:v>
                </c:pt>
                <c:pt idx="859">
                  <c:v>13.470180258586311</c:v>
                </c:pt>
                <c:pt idx="860">
                  <c:v>13.235319584045783</c:v>
                </c:pt>
                <c:pt idx="861">
                  <c:v>12.758467238950857</c:v>
                </c:pt>
                <c:pt idx="862">
                  <c:v>13.094033757290873</c:v>
                </c:pt>
                <c:pt idx="863">
                  <c:v>12.648230400643115</c:v>
                </c:pt>
                <c:pt idx="864">
                  <c:v>12.577163643083651</c:v>
                </c:pt>
                <c:pt idx="865">
                  <c:v>12.540637354388792</c:v>
                </c:pt>
                <c:pt idx="866">
                  <c:v>13.168914536578058</c:v>
                </c:pt>
                <c:pt idx="867">
                  <c:v>13.002750403878991</c:v>
                </c:pt>
                <c:pt idx="868">
                  <c:v>13.104362111415469</c:v>
                </c:pt>
                <c:pt idx="869">
                  <c:v>13.480709940996775</c:v>
                </c:pt>
                <c:pt idx="870">
                  <c:v>14.240282336420165</c:v>
                </c:pt>
                <c:pt idx="871">
                  <c:v>14.00602815963353</c:v>
                </c:pt>
                <c:pt idx="872">
                  <c:v>14.062519427672271</c:v>
                </c:pt>
                <c:pt idx="873">
                  <c:v>14.10001462494003</c:v>
                </c:pt>
                <c:pt idx="874">
                  <c:v>14.129219562981177</c:v>
                </c:pt>
                <c:pt idx="875">
                  <c:v>13.001625586224407</c:v>
                </c:pt>
                <c:pt idx="876">
                  <c:v>11.576420792079887</c:v>
                </c:pt>
                <c:pt idx="877">
                  <c:v>11.671176932765945</c:v>
                </c:pt>
                <c:pt idx="878">
                  <c:v>11.240384412299704</c:v>
                </c:pt>
                <c:pt idx="879">
                  <c:v>10.690112447337981</c:v>
                </c:pt>
                <c:pt idx="880">
                  <c:v>11.152461556859379</c:v>
                </c:pt>
                <c:pt idx="881">
                  <c:v>9.5470108425621447</c:v>
                </c:pt>
                <c:pt idx="882">
                  <c:v>9.7235773350151362</c:v>
                </c:pt>
                <c:pt idx="883">
                  <c:v>10.304440316192284</c:v>
                </c:pt>
                <c:pt idx="884">
                  <c:v>9.900285300158572</c:v>
                </c:pt>
                <c:pt idx="885">
                  <c:v>10.348271700953688</c:v>
                </c:pt>
                <c:pt idx="886">
                  <c:v>10.456043682045163</c:v>
                </c:pt>
                <c:pt idx="887">
                  <c:v>10.665846223403065</c:v>
                </c:pt>
                <c:pt idx="888">
                  <c:v>10.842099028107185</c:v>
                </c:pt>
                <c:pt idx="889">
                  <c:v>11.744266329771307</c:v>
                </c:pt>
                <c:pt idx="890">
                  <c:v>11.952357505621649</c:v>
                </c:pt>
                <c:pt idx="891">
                  <c:v>12.651006489563997</c:v>
                </c:pt>
                <c:pt idx="892">
                  <c:v>11.787124835733692</c:v>
                </c:pt>
                <c:pt idx="893">
                  <c:v>12.238111808659994</c:v>
                </c:pt>
                <c:pt idx="894">
                  <c:v>12.475897590502086</c:v>
                </c:pt>
                <c:pt idx="895">
                  <c:v>12.399259719696715</c:v>
                </c:pt>
                <c:pt idx="896">
                  <c:v>11.846350896956466</c:v>
                </c:pt>
                <c:pt idx="897">
                  <c:v>12.264576905777744</c:v>
                </c:pt>
                <c:pt idx="898">
                  <c:v>12.594713191302191</c:v>
                </c:pt>
                <c:pt idx="899">
                  <c:v>12.418473230883166</c:v>
                </c:pt>
                <c:pt idx="900">
                  <c:v>12.29634692359059</c:v>
                </c:pt>
                <c:pt idx="901">
                  <c:v>12.555752396579521</c:v>
                </c:pt>
                <c:pt idx="902">
                  <c:v>12.238861934111299</c:v>
                </c:pt>
                <c:pt idx="903">
                  <c:v>11.480397769460694</c:v>
                </c:pt>
                <c:pt idx="904">
                  <c:v>10.309370893852929</c:v>
                </c:pt>
                <c:pt idx="905">
                  <c:v>9.8439366798441199</c:v>
                </c:pt>
                <c:pt idx="906">
                  <c:v>10.36715163414047</c:v>
                </c:pt>
                <c:pt idx="907">
                  <c:v>9.9628518872399638</c:v>
                </c:pt>
                <c:pt idx="908">
                  <c:v>10.379977869960129</c:v>
                </c:pt>
                <c:pt idx="909">
                  <c:v>11.053338046687657</c:v>
                </c:pt>
                <c:pt idx="910">
                  <c:v>11.289094018325187</c:v>
                </c:pt>
                <c:pt idx="911">
                  <c:v>11.581979154197938</c:v>
                </c:pt>
                <c:pt idx="912">
                  <c:v>11.608684931299706</c:v>
                </c:pt>
                <c:pt idx="913">
                  <c:v>10.909226241342765</c:v>
                </c:pt>
                <c:pt idx="914">
                  <c:v>11.419998490827169</c:v>
                </c:pt>
                <c:pt idx="915">
                  <c:v>11.419998490827169</c:v>
                </c:pt>
                <c:pt idx="916">
                  <c:v>10.920747448978773</c:v>
                </c:pt>
                <c:pt idx="917">
                  <c:v>11.496239839160495</c:v>
                </c:pt>
                <c:pt idx="918">
                  <c:v>10.883945072333916</c:v>
                </c:pt>
                <c:pt idx="919">
                  <c:v>11.700738601550569</c:v>
                </c:pt>
                <c:pt idx="920">
                  <c:v>11.55426020113353</c:v>
                </c:pt>
                <c:pt idx="921">
                  <c:v>11.664109019326247</c:v>
                </c:pt>
                <c:pt idx="922">
                  <c:v>11.410255245490958</c:v>
                </c:pt>
                <c:pt idx="923">
                  <c:v>11.302309954075412</c:v>
                </c:pt>
                <c:pt idx="924">
                  <c:v>11.291362545830765</c:v>
                </c:pt>
                <c:pt idx="925">
                  <c:v>11.104571898468777</c:v>
                </c:pt>
                <c:pt idx="926">
                  <c:v>11.970345476488319</c:v>
                </c:pt>
                <c:pt idx="927">
                  <c:v>10.617319395001175</c:v>
                </c:pt>
                <c:pt idx="928">
                  <c:v>10.874526734021686</c:v>
                </c:pt>
                <c:pt idx="929">
                  <c:v>10.83718220387405</c:v>
                </c:pt>
                <c:pt idx="930">
                  <c:v>10.772212882391301</c:v>
                </c:pt>
                <c:pt idx="931">
                  <c:v>10.515702765156021</c:v>
                </c:pt>
                <c:pt idx="932">
                  <c:v>11.07948437758921</c:v>
                </c:pt>
                <c:pt idx="933">
                  <c:v>11.1001410300766</c:v>
                </c:pt>
                <c:pt idx="934">
                  <c:v>10.888231260146796</c:v>
                </c:pt>
                <c:pt idx="935">
                  <c:v>10.48078845450695</c:v>
                </c:pt>
                <c:pt idx="936">
                  <c:v>10.327152660452725</c:v>
                </c:pt>
                <c:pt idx="937">
                  <c:v>10.611503416992122</c:v>
                </c:pt>
                <c:pt idx="938">
                  <c:v>10.483508177054944</c:v>
                </c:pt>
                <c:pt idx="939">
                  <c:v>10.63822602051431</c:v>
                </c:pt>
                <c:pt idx="940">
                  <c:v>10.318364779507988</c:v>
                </c:pt>
                <c:pt idx="941">
                  <c:v>10.577384105175042</c:v>
                </c:pt>
                <c:pt idx="942">
                  <c:v>10.807936108300822</c:v>
                </c:pt>
                <c:pt idx="943">
                  <c:v>10.706255285226689</c:v>
                </c:pt>
                <c:pt idx="944">
                  <c:v>10.447876736602495</c:v>
                </c:pt>
                <c:pt idx="945">
                  <c:v>10.350123194902494</c:v>
                </c:pt>
                <c:pt idx="946">
                  <c:v>10.600531929903866</c:v>
                </c:pt>
                <c:pt idx="947">
                  <c:v>10.251152217234733</c:v>
                </c:pt>
                <c:pt idx="948">
                  <c:v>10.099395846523748</c:v>
                </c:pt>
                <c:pt idx="949">
                  <c:v>9.834551756158703</c:v>
                </c:pt>
                <c:pt idx="950">
                  <c:v>9.8653184071119142</c:v>
                </c:pt>
                <c:pt idx="951">
                  <c:v>9.8654082693929297</c:v>
                </c:pt>
                <c:pt idx="952">
                  <c:v>9.8654082693929297</c:v>
                </c:pt>
                <c:pt idx="953">
                  <c:v>9.8654082693929297</c:v>
                </c:pt>
                <c:pt idx="954">
                  <c:v>9.8654082693929297</c:v>
                </c:pt>
                <c:pt idx="955">
                  <c:v>9.5207033392280209</c:v>
                </c:pt>
                <c:pt idx="956">
                  <c:v>9.9425069675153281</c:v>
                </c:pt>
                <c:pt idx="957">
                  <c:v>9.9296017269684569</c:v>
                </c:pt>
                <c:pt idx="958">
                  <c:v>9.9296017269684569</c:v>
                </c:pt>
                <c:pt idx="959">
                  <c:v>8.656955936178008</c:v>
                </c:pt>
                <c:pt idx="960">
                  <c:v>8.9762762546767192</c:v>
                </c:pt>
                <c:pt idx="961">
                  <c:v>8.9160061374939517</c:v>
                </c:pt>
                <c:pt idx="962">
                  <c:v>9.0317901427692107</c:v>
                </c:pt>
                <c:pt idx="963">
                  <c:v>9.1522633721345414</c:v>
                </c:pt>
                <c:pt idx="964">
                  <c:v>8.7692241786287752</c:v>
                </c:pt>
                <c:pt idx="965">
                  <c:v>8.5316134125853011</c:v>
                </c:pt>
                <c:pt idx="966">
                  <c:v>8.0881849239009966</c:v>
                </c:pt>
                <c:pt idx="967">
                  <c:v>8.0138357260994439</c:v>
                </c:pt>
                <c:pt idx="968">
                  <c:v>7.4507826198374971</c:v>
                </c:pt>
                <c:pt idx="969">
                  <c:v>7.5416690879413579</c:v>
                </c:pt>
                <c:pt idx="970">
                  <c:v>7.0618258917981791</c:v>
                </c:pt>
                <c:pt idx="971">
                  <c:v>7.0166559643339212</c:v>
                </c:pt>
                <c:pt idx="972">
                  <c:v>6.6965511873621324</c:v>
                </c:pt>
                <c:pt idx="973">
                  <c:v>6.9849659989466772</c:v>
                </c:pt>
                <c:pt idx="974">
                  <c:v>7.1313711697141571</c:v>
                </c:pt>
                <c:pt idx="975">
                  <c:v>6.4786125929154537</c:v>
                </c:pt>
                <c:pt idx="976">
                  <c:v>6.5225208944895314</c:v>
                </c:pt>
                <c:pt idx="977">
                  <c:v>6.0707096238116094</c:v>
                </c:pt>
                <c:pt idx="978">
                  <c:v>6.026654049259065</c:v>
                </c:pt>
                <c:pt idx="979">
                  <c:v>6.5720309832535975</c:v>
                </c:pt>
                <c:pt idx="980">
                  <c:v>7.2231552068479914</c:v>
                </c:pt>
                <c:pt idx="981">
                  <c:v>7.6823366320300863</c:v>
                </c:pt>
                <c:pt idx="982">
                  <c:v>9.169590045451173</c:v>
                </c:pt>
                <c:pt idx="983">
                  <c:v>8.4678876041397757</c:v>
                </c:pt>
                <c:pt idx="984">
                  <c:v>8.4526498028939159</c:v>
                </c:pt>
                <c:pt idx="985">
                  <c:v>8.7885588898220135</c:v>
                </c:pt>
                <c:pt idx="986">
                  <c:v>8.3517293947137432</c:v>
                </c:pt>
                <c:pt idx="987">
                  <c:v>8.8078444555680164</c:v>
                </c:pt>
                <c:pt idx="988">
                  <c:v>8.4205425128428431</c:v>
                </c:pt>
                <c:pt idx="989">
                  <c:v>8.2254490878380011</c:v>
                </c:pt>
                <c:pt idx="990">
                  <c:v>8.4091335269795877</c:v>
                </c:pt>
                <c:pt idx="991">
                  <c:v>8.6942751152421067</c:v>
                </c:pt>
                <c:pt idx="992">
                  <c:v>8.5978119677190818</c:v>
                </c:pt>
                <c:pt idx="993">
                  <c:v>8.6226707366282938</c:v>
                </c:pt>
                <c:pt idx="994">
                  <c:v>8.9544670373229849</c:v>
                </c:pt>
                <c:pt idx="995">
                  <c:v>10.168902508557096</c:v>
                </c:pt>
                <c:pt idx="996">
                  <c:v>10.102971717183294</c:v>
                </c:pt>
                <c:pt idx="997">
                  <c:v>9.0606229316113343</c:v>
                </c:pt>
                <c:pt idx="998">
                  <c:v>10.747810179806606</c:v>
                </c:pt>
                <c:pt idx="999">
                  <c:v>9.9898654008266021</c:v>
                </c:pt>
                <c:pt idx="1000">
                  <c:v>10.331607624052282</c:v>
                </c:pt>
                <c:pt idx="1001">
                  <c:v>11.306070954125886</c:v>
                </c:pt>
                <c:pt idx="1002">
                  <c:v>12.082555707566399</c:v>
                </c:pt>
                <c:pt idx="1003">
                  <c:v>11.165521817889498</c:v>
                </c:pt>
                <c:pt idx="1004">
                  <c:v>10.695128214180244</c:v>
                </c:pt>
                <c:pt idx="1005">
                  <c:v>10.426255418759467</c:v>
                </c:pt>
                <c:pt idx="1006">
                  <c:v>9.3234976029148697</c:v>
                </c:pt>
                <c:pt idx="1007">
                  <c:v>9.5574828425461362</c:v>
                </c:pt>
                <c:pt idx="1008">
                  <c:v>9.8340727107637349</c:v>
                </c:pt>
                <c:pt idx="1009">
                  <c:v>10.454374338682044</c:v>
                </c:pt>
                <c:pt idx="1010">
                  <c:v>10.337530615323431</c:v>
                </c:pt>
                <c:pt idx="1011">
                  <c:v>10.417126428640472</c:v>
                </c:pt>
                <c:pt idx="1012">
                  <c:v>11.041682643512758</c:v>
                </c:pt>
                <c:pt idx="1013">
                  <c:v>12.120728475339376</c:v>
                </c:pt>
                <c:pt idx="1014">
                  <c:v>11.764865618115181</c:v>
                </c:pt>
                <c:pt idx="1015">
                  <c:v>12.109363615285503</c:v>
                </c:pt>
                <c:pt idx="1016">
                  <c:v>12.789142421452937</c:v>
                </c:pt>
                <c:pt idx="1017">
                  <c:v>13.605519227385457</c:v>
                </c:pt>
                <c:pt idx="1018">
                  <c:v>13.242609905200652</c:v>
                </c:pt>
                <c:pt idx="1019">
                  <c:v>13.780784334645261</c:v>
                </c:pt>
                <c:pt idx="1020">
                  <c:v>14.368603177726044</c:v>
                </c:pt>
                <c:pt idx="1021">
                  <c:v>14.368603177726044</c:v>
                </c:pt>
                <c:pt idx="1022">
                  <c:v>14.368603177726044</c:v>
                </c:pt>
                <c:pt idx="1023">
                  <c:v>14.195471920499443</c:v>
                </c:pt>
                <c:pt idx="1024">
                  <c:v>14.796248910347771</c:v>
                </c:pt>
                <c:pt idx="1025">
                  <c:v>14.909783180061424</c:v>
                </c:pt>
                <c:pt idx="1026">
                  <c:v>14.624759033482434</c:v>
                </c:pt>
                <c:pt idx="1027">
                  <c:v>14.831063812403727</c:v>
                </c:pt>
                <c:pt idx="1028">
                  <c:v>13.852136003404439</c:v>
                </c:pt>
                <c:pt idx="1029">
                  <c:v>13.395170507139653</c:v>
                </c:pt>
                <c:pt idx="1030">
                  <c:v>13.189962884412267</c:v>
                </c:pt>
                <c:pt idx="1031">
                  <c:v>13.754542880692782</c:v>
                </c:pt>
                <c:pt idx="1032">
                  <c:v>14.052990679174769</c:v>
                </c:pt>
                <c:pt idx="1033">
                  <c:v>13.582538895075771</c:v>
                </c:pt>
                <c:pt idx="1034">
                  <c:v>14.181526910833355</c:v>
                </c:pt>
                <c:pt idx="1035">
                  <c:v>14.087531150644935</c:v>
                </c:pt>
                <c:pt idx="1036">
                  <c:v>13.782214650165884</c:v>
                </c:pt>
                <c:pt idx="1037">
                  <c:v>13.559327061302611</c:v>
                </c:pt>
                <c:pt idx="1038">
                  <c:v>13.293354495149458</c:v>
                </c:pt>
                <c:pt idx="1039">
                  <c:v>12.903431557448528</c:v>
                </c:pt>
                <c:pt idx="1040">
                  <c:v>12.707050268355943</c:v>
                </c:pt>
                <c:pt idx="1041">
                  <c:v>12.757762689021462</c:v>
                </c:pt>
                <c:pt idx="1042">
                  <c:v>12.410657316265997</c:v>
                </c:pt>
                <c:pt idx="1043">
                  <c:v>12.306365704765312</c:v>
                </c:pt>
                <c:pt idx="1044">
                  <c:v>12.306365704765312</c:v>
                </c:pt>
                <c:pt idx="1045">
                  <c:v>11.941026249460037</c:v>
                </c:pt>
                <c:pt idx="1046">
                  <c:v>11.22872720842571</c:v>
                </c:pt>
                <c:pt idx="1047">
                  <c:v>11.295419443285482</c:v>
                </c:pt>
                <c:pt idx="1048">
                  <c:v>10.458324744875341</c:v>
                </c:pt>
                <c:pt idx="1049">
                  <c:v>10.522957222376249</c:v>
                </c:pt>
                <c:pt idx="1050">
                  <c:v>10.522957222376249</c:v>
                </c:pt>
                <c:pt idx="1051">
                  <c:v>11.267531267170483</c:v>
                </c:pt>
                <c:pt idx="1052">
                  <c:v>11.727417257789341</c:v>
                </c:pt>
                <c:pt idx="1053">
                  <c:v>11.521931393119587</c:v>
                </c:pt>
                <c:pt idx="1054">
                  <c:v>11.273089597298224</c:v>
                </c:pt>
                <c:pt idx="1055">
                  <c:v>11.323730464894879</c:v>
                </c:pt>
                <c:pt idx="1056">
                  <c:v>10.574329965411295</c:v>
                </c:pt>
                <c:pt idx="1057">
                  <c:v>10.574329965411295</c:v>
                </c:pt>
                <c:pt idx="1058">
                  <c:v>11.063645207206463</c:v>
                </c:pt>
                <c:pt idx="1059">
                  <c:v>10.559869208475533</c:v>
                </c:pt>
                <c:pt idx="1060">
                  <c:v>11.753214843645054</c:v>
                </c:pt>
                <c:pt idx="1061">
                  <c:v>11.928422288806928</c:v>
                </c:pt>
                <c:pt idx="1062">
                  <c:v>11.65072718862902</c:v>
                </c:pt>
                <c:pt idx="1063">
                  <c:v>11.307940248794552</c:v>
                </c:pt>
                <c:pt idx="1064">
                  <c:v>10.929824401023609</c:v>
                </c:pt>
                <c:pt idx="1065">
                  <c:v>10.270830342826741</c:v>
                </c:pt>
                <c:pt idx="1066">
                  <c:v>10.486814582272956</c:v>
                </c:pt>
                <c:pt idx="1067">
                  <c:v>10.377473635723533</c:v>
                </c:pt>
                <c:pt idx="1068">
                  <c:v>9.9707946977008248</c:v>
                </c:pt>
                <c:pt idx="1069">
                  <c:v>10.491008593072934</c:v>
                </c:pt>
                <c:pt idx="1070">
                  <c:v>11.183723854619871</c:v>
                </c:pt>
                <c:pt idx="1071">
                  <c:v>10.803827207057196</c:v>
                </c:pt>
                <c:pt idx="1072">
                  <c:v>11.175016376093538</c:v>
                </c:pt>
                <c:pt idx="1073">
                  <c:v>11.646822157280241</c:v>
                </c:pt>
                <c:pt idx="1074">
                  <c:v>12.563989312579679</c:v>
                </c:pt>
                <c:pt idx="1075">
                  <c:v>12.200533802447779</c:v>
                </c:pt>
                <c:pt idx="1076">
                  <c:v>11.780673031320589</c:v>
                </c:pt>
                <c:pt idx="1077">
                  <c:v>12.140297572669908</c:v>
                </c:pt>
                <c:pt idx="1078">
                  <c:v>12.105548456225591</c:v>
                </c:pt>
                <c:pt idx="1079">
                  <c:v>12.271402012208569</c:v>
                </c:pt>
                <c:pt idx="1080">
                  <c:v>12.713024654546615</c:v>
                </c:pt>
                <c:pt idx="1081">
                  <c:v>13.039983475415596</c:v>
                </c:pt>
                <c:pt idx="1082">
                  <c:v>13.030583255091784</c:v>
                </c:pt>
                <c:pt idx="1083">
                  <c:v>13.018612007687238</c:v>
                </c:pt>
                <c:pt idx="1084">
                  <c:v>12.810569189025301</c:v>
                </c:pt>
                <c:pt idx="1085">
                  <c:v>13.253844109774917</c:v>
                </c:pt>
                <c:pt idx="1086">
                  <c:v>13.368639165580049</c:v>
                </c:pt>
                <c:pt idx="1087">
                  <c:v>13.162309814539384</c:v>
                </c:pt>
                <c:pt idx="1088">
                  <c:v>13.570815264458673</c:v>
                </c:pt>
                <c:pt idx="1089">
                  <c:v>14.2597239144593</c:v>
                </c:pt>
                <c:pt idx="1090">
                  <c:v>13.617468931619499</c:v>
                </c:pt>
                <c:pt idx="1091">
                  <c:v>14.272870001146089</c:v>
                </c:pt>
                <c:pt idx="1092">
                  <c:v>13.681939790002559</c:v>
                </c:pt>
                <c:pt idx="1093">
                  <c:v>13.44571728825531</c:v>
                </c:pt>
                <c:pt idx="1094">
                  <c:v>13.665122751864914</c:v>
                </c:pt>
                <c:pt idx="1095">
                  <c:v>13.333464837588565</c:v>
                </c:pt>
                <c:pt idx="1096">
                  <c:v>13.297923996657403</c:v>
                </c:pt>
                <c:pt idx="1097">
                  <c:v>13.000986838514763</c:v>
                </c:pt>
                <c:pt idx="1098">
                  <c:v>12.830767434224953</c:v>
                </c:pt>
                <c:pt idx="1099">
                  <c:v>12.686007027237252</c:v>
                </c:pt>
                <c:pt idx="1100">
                  <c:v>12.247083887663223</c:v>
                </c:pt>
                <c:pt idx="1101">
                  <c:v>12.040254873843821</c:v>
                </c:pt>
                <c:pt idx="1102">
                  <c:v>11.649162749628829</c:v>
                </c:pt>
                <c:pt idx="1103">
                  <c:v>11.569518018978897</c:v>
                </c:pt>
                <c:pt idx="1104">
                  <c:v>11.429334489961775</c:v>
                </c:pt>
                <c:pt idx="1105">
                  <c:v>11.702512612645393</c:v>
                </c:pt>
                <c:pt idx="1106">
                  <c:v>11.665206692706732</c:v>
                </c:pt>
                <c:pt idx="1107">
                  <c:v>12.167545013060248</c:v>
                </c:pt>
                <c:pt idx="1108">
                  <c:v>12.270679853044754</c:v>
                </c:pt>
                <c:pt idx="1109">
                  <c:v>12.072200348315818</c:v>
                </c:pt>
                <c:pt idx="1110">
                  <c:v>11.291472097526224</c:v>
                </c:pt>
                <c:pt idx="1111">
                  <c:v>11.274526270172601</c:v>
                </c:pt>
                <c:pt idx="1112">
                  <c:v>11.481523295114215</c:v>
                </c:pt>
                <c:pt idx="1113">
                  <c:v>11.855050647489122</c:v>
                </c:pt>
                <c:pt idx="1114">
                  <c:v>11.837872238727869</c:v>
                </c:pt>
                <c:pt idx="1115">
                  <c:v>11.005466586540791</c:v>
                </c:pt>
                <c:pt idx="1116">
                  <c:v>10.492913980675127</c:v>
                </c:pt>
                <c:pt idx="1117">
                  <c:v>10.091217577815769</c:v>
                </c:pt>
                <c:pt idx="1118">
                  <c:v>10.153445756214523</c:v>
                </c:pt>
                <c:pt idx="1119">
                  <c:v>9.577725325223895</c:v>
                </c:pt>
                <c:pt idx="1120">
                  <c:v>9.577725325223895</c:v>
                </c:pt>
                <c:pt idx="1121">
                  <c:v>9.2063650165564752</c:v>
                </c:pt>
                <c:pt idx="1122">
                  <c:v>10.432961145326999</c:v>
                </c:pt>
                <c:pt idx="1123">
                  <c:v>11.084955109159608</c:v>
                </c:pt>
                <c:pt idx="1124">
                  <c:v>11.249178103999725</c:v>
                </c:pt>
                <c:pt idx="1125">
                  <c:v>10.232257957036921</c:v>
                </c:pt>
                <c:pt idx="1126">
                  <c:v>9.7796903611011601</c:v>
                </c:pt>
                <c:pt idx="1127">
                  <c:v>10.254289515441087</c:v>
                </c:pt>
                <c:pt idx="1128">
                  <c:v>10.892992078767634</c:v>
                </c:pt>
                <c:pt idx="1129">
                  <c:v>10.364359048558185</c:v>
                </c:pt>
                <c:pt idx="1130">
                  <c:v>10.395619924456298</c:v>
                </c:pt>
                <c:pt idx="1131">
                  <c:v>10.588831637466001</c:v>
                </c:pt>
                <c:pt idx="1132">
                  <c:v>10.307495180346166</c:v>
                </c:pt>
                <c:pt idx="1133">
                  <c:v>10.225256315399264</c:v>
                </c:pt>
                <c:pt idx="1134">
                  <c:v>10.095092604735555</c:v>
                </c:pt>
                <c:pt idx="1135">
                  <c:v>9.5631788203011467</c:v>
                </c:pt>
                <c:pt idx="1136">
                  <c:v>9.3283503826695551</c:v>
                </c:pt>
                <c:pt idx="1137">
                  <c:v>9.1088590365244215</c:v>
                </c:pt>
                <c:pt idx="1138">
                  <c:v>8.516181480930527</c:v>
                </c:pt>
                <c:pt idx="1139">
                  <c:v>8.3046843585995873</c:v>
                </c:pt>
                <c:pt idx="1140">
                  <c:v>8.3770204728185149</c:v>
                </c:pt>
                <c:pt idx="1141">
                  <c:v>8.6267599079385491</c:v>
                </c:pt>
                <c:pt idx="1142">
                  <c:v>8.5474061346016299</c:v>
                </c:pt>
                <c:pt idx="1143">
                  <c:v>8.9287232636263241</c:v>
                </c:pt>
                <c:pt idx="1144">
                  <c:v>8.4776283704863147</c:v>
                </c:pt>
                <c:pt idx="1145">
                  <c:v>8.1433929882898042</c:v>
                </c:pt>
                <c:pt idx="1146">
                  <c:v>8.8269859973360951</c:v>
                </c:pt>
                <c:pt idx="1147">
                  <c:v>8.9337214618409746</c:v>
                </c:pt>
                <c:pt idx="1148">
                  <c:v>8.5383123059072261</c:v>
                </c:pt>
                <c:pt idx="1149">
                  <c:v>8.3163297730597208</c:v>
                </c:pt>
                <c:pt idx="1150">
                  <c:v>8.4593597587762019</c:v>
                </c:pt>
                <c:pt idx="1151">
                  <c:v>8.8021492304605715</c:v>
                </c:pt>
                <c:pt idx="1152">
                  <c:v>9.4063009429893896</c:v>
                </c:pt>
                <c:pt idx="1153">
                  <c:v>8.5081583998822339</c:v>
                </c:pt>
                <c:pt idx="1154">
                  <c:v>7.8806473406303894</c:v>
                </c:pt>
                <c:pt idx="1155">
                  <c:v>8.0077650799628088</c:v>
                </c:pt>
                <c:pt idx="1156">
                  <c:v>7.5123047912285017</c:v>
                </c:pt>
                <c:pt idx="1157">
                  <c:v>7.391715842274067</c:v>
                </c:pt>
                <c:pt idx="1158">
                  <c:v>7.7389638025506144</c:v>
                </c:pt>
                <c:pt idx="1159">
                  <c:v>7.4979725212028825</c:v>
                </c:pt>
                <c:pt idx="1160">
                  <c:v>6.5419479483755367</c:v>
                </c:pt>
                <c:pt idx="1161">
                  <c:v>6.7035331086019312</c:v>
                </c:pt>
                <c:pt idx="1162">
                  <c:v>6.4408134342786241</c:v>
                </c:pt>
                <c:pt idx="1163">
                  <c:v>5.8512344376278804</c:v>
                </c:pt>
                <c:pt idx="1164">
                  <c:v>5.6252359617529351</c:v>
                </c:pt>
                <c:pt idx="1165">
                  <c:v>6.9250984270481979</c:v>
                </c:pt>
                <c:pt idx="1166">
                  <c:v>7.2365727103984625</c:v>
                </c:pt>
                <c:pt idx="1167">
                  <c:v>7.3563878522638504</c:v>
                </c:pt>
                <c:pt idx="1168">
                  <c:v>7.0682045998316596</c:v>
                </c:pt>
                <c:pt idx="1169">
                  <c:v>8.026634058772828</c:v>
                </c:pt>
                <c:pt idx="1170">
                  <c:v>7.6357693977762153</c:v>
                </c:pt>
                <c:pt idx="1171">
                  <c:v>7.979366975702419</c:v>
                </c:pt>
                <c:pt idx="1172">
                  <c:v>8.7252854409108522</c:v>
                </c:pt>
                <c:pt idx="1173">
                  <c:v>8.4985763948515967</c:v>
                </c:pt>
                <c:pt idx="1174">
                  <c:v>8.6763003704016342</c:v>
                </c:pt>
                <c:pt idx="1175">
                  <c:v>8.5994244665807855</c:v>
                </c:pt>
                <c:pt idx="1176">
                  <c:v>8.5994244665807855</c:v>
                </c:pt>
                <c:pt idx="1177">
                  <c:v>8.7165060686835716</c:v>
                </c:pt>
                <c:pt idx="1178">
                  <c:v>9.2137316103695355</c:v>
                </c:pt>
                <c:pt idx="1179">
                  <c:v>8.703741906543712</c:v>
                </c:pt>
                <c:pt idx="1180">
                  <c:v>8.8792916699590592</c:v>
                </c:pt>
                <c:pt idx="1181">
                  <c:v>8.8109566489688689</c:v>
                </c:pt>
                <c:pt idx="1182">
                  <c:v>8.3390628941055525</c:v>
                </c:pt>
                <c:pt idx="1183">
                  <c:v>8.6415969502467931</c:v>
                </c:pt>
                <c:pt idx="1184">
                  <c:v>8.8004069979416784</c:v>
                </c:pt>
                <c:pt idx="1185">
                  <c:v>8.8251816906302452</c:v>
                </c:pt>
                <c:pt idx="1186">
                  <c:v>8.9392002472194463</c:v>
                </c:pt>
                <c:pt idx="1187">
                  <c:v>8.5396328481018884</c:v>
                </c:pt>
                <c:pt idx="1188">
                  <c:v>8.7826747958955309</c:v>
                </c:pt>
                <c:pt idx="1189">
                  <c:v>8.6295036170382105</c:v>
                </c:pt>
                <c:pt idx="1190">
                  <c:v>8.3187644971254144</c:v>
                </c:pt>
                <c:pt idx="1191">
                  <c:v>7.966918627879835</c:v>
                </c:pt>
                <c:pt idx="1192">
                  <c:v>8.0226429217848079</c:v>
                </c:pt>
                <c:pt idx="1193">
                  <c:v>7.657397024633525</c:v>
                </c:pt>
                <c:pt idx="1194">
                  <c:v>7.5133611007612444</c:v>
                </c:pt>
                <c:pt idx="1195">
                  <c:v>7.1502523094867456</c:v>
                </c:pt>
                <c:pt idx="1196">
                  <c:v>6.9097662042095465</c:v>
                </c:pt>
                <c:pt idx="1197">
                  <c:v>6.7735043876963061</c:v>
                </c:pt>
                <c:pt idx="1198">
                  <c:v>7.6809923202356458</c:v>
                </c:pt>
                <c:pt idx="1199">
                  <c:v>7.8330840281828387</c:v>
                </c:pt>
                <c:pt idx="1200">
                  <c:v>8.8386301839206567</c:v>
                </c:pt>
                <c:pt idx="1201">
                  <c:v>8.1418356631200766</c:v>
                </c:pt>
                <c:pt idx="1202">
                  <c:v>7.8927148802411295</c:v>
                </c:pt>
                <c:pt idx="1203">
                  <c:v>8.0369880936735001</c:v>
                </c:pt>
                <c:pt idx="1204">
                  <c:v>8.4356274198071048</c:v>
                </c:pt>
                <c:pt idx="1205">
                  <c:v>8.7265788435886122</c:v>
                </c:pt>
                <c:pt idx="1206">
                  <c:v>8.7004610258111654</c:v>
                </c:pt>
                <c:pt idx="1207">
                  <c:v>8.0773148191821917</c:v>
                </c:pt>
                <c:pt idx="1208">
                  <c:v>8.666046047731129</c:v>
                </c:pt>
                <c:pt idx="1209">
                  <c:v>8.454160556475216</c:v>
                </c:pt>
                <c:pt idx="1210">
                  <c:v>8.7609981486025958</c:v>
                </c:pt>
                <c:pt idx="1211">
                  <c:v>8.539699260766497</c:v>
                </c:pt>
                <c:pt idx="1212">
                  <c:v>8.4095428696342367</c:v>
                </c:pt>
                <c:pt idx="1213">
                  <c:v>8.4095428696342367</c:v>
                </c:pt>
                <c:pt idx="1214">
                  <c:v>8.4095428696342367</c:v>
                </c:pt>
                <c:pt idx="1215">
                  <c:v>8.4095428696342367</c:v>
                </c:pt>
                <c:pt idx="1216">
                  <c:v>8.4902531412093651</c:v>
                </c:pt>
                <c:pt idx="1217">
                  <c:v>8.580872622982838</c:v>
                </c:pt>
                <c:pt idx="1218">
                  <c:v>8.8472753541252303</c:v>
                </c:pt>
                <c:pt idx="1219">
                  <c:v>8.8472753541252303</c:v>
                </c:pt>
                <c:pt idx="1220">
                  <c:v>9.0065635923253353</c:v>
                </c:pt>
                <c:pt idx="1221">
                  <c:v>9.5350028454330698</c:v>
                </c:pt>
                <c:pt idx="1222">
                  <c:v>9.2567835065769373</c:v>
                </c:pt>
                <c:pt idx="1223">
                  <c:v>8.1213468540906035</c:v>
                </c:pt>
                <c:pt idx="1224">
                  <c:v>7.9747654163295749</c:v>
                </c:pt>
                <c:pt idx="1225">
                  <c:v>8.1984427051520186</c:v>
                </c:pt>
                <c:pt idx="1226">
                  <c:v>8.1631196300492945</c:v>
                </c:pt>
                <c:pt idx="1227">
                  <c:v>7.4866249926594151</c:v>
                </c:pt>
                <c:pt idx="1228">
                  <c:v>7.8165694816930795</c:v>
                </c:pt>
                <c:pt idx="1229">
                  <c:v>6.7697599048422603</c:v>
                </c:pt>
                <c:pt idx="1230">
                  <c:v>6.2161406716734575</c:v>
                </c:pt>
                <c:pt idx="1231">
                  <c:v>6.0026088021487851</c:v>
                </c:pt>
                <c:pt idx="1232">
                  <c:v>6.5936372100469782</c:v>
                </c:pt>
                <c:pt idx="1233">
                  <c:v>7.6950851912629616</c:v>
                </c:pt>
                <c:pt idx="1234">
                  <c:v>8.3968027366495051</c:v>
                </c:pt>
                <c:pt idx="1235">
                  <c:v>8.6041452341312095</c:v>
                </c:pt>
                <c:pt idx="1236">
                  <c:v>9.1261926119948669</c:v>
                </c:pt>
                <c:pt idx="1237">
                  <c:v>8.7967463176007641</c:v>
                </c:pt>
                <c:pt idx="1238">
                  <c:v>8.0882149060601876</c:v>
                </c:pt>
                <c:pt idx="1239">
                  <c:v>8.102392892534823</c:v>
                </c:pt>
                <c:pt idx="1240">
                  <c:v>7.855095737804703</c:v>
                </c:pt>
                <c:pt idx="1241">
                  <c:v>7.9826223569542663</c:v>
                </c:pt>
                <c:pt idx="1242">
                  <c:v>9.1581317984996531</c:v>
                </c:pt>
                <c:pt idx="1243">
                  <c:v>8.458188048535078</c:v>
                </c:pt>
                <c:pt idx="1244">
                  <c:v>8.2750394578113173</c:v>
                </c:pt>
                <c:pt idx="1245">
                  <c:v>7.5561297810760379</c:v>
                </c:pt>
                <c:pt idx="1246">
                  <c:v>7.5960600467357438</c:v>
                </c:pt>
                <c:pt idx="1247">
                  <c:v>7.5344412294948597</c:v>
                </c:pt>
                <c:pt idx="1248">
                  <c:v>7.2151255175968743</c:v>
                </c:pt>
                <c:pt idx="1249">
                  <c:v>6.9701225635970161</c:v>
                </c:pt>
                <c:pt idx="1250">
                  <c:v>7.4222135631921446</c:v>
                </c:pt>
                <c:pt idx="1251">
                  <c:v>7.5877617327325879</c:v>
                </c:pt>
                <c:pt idx="1252">
                  <c:v>7.60525134277853</c:v>
                </c:pt>
                <c:pt idx="1253">
                  <c:v>7.7866375400467405</c:v>
                </c:pt>
                <c:pt idx="1254">
                  <c:v>7.8981430260072045</c:v>
                </c:pt>
                <c:pt idx="1255">
                  <c:v>8.3445178586547968</c:v>
                </c:pt>
                <c:pt idx="1256">
                  <c:v>8.1256460387594984</c:v>
                </c:pt>
                <c:pt idx="1257">
                  <c:v>8.4765922474238664</c:v>
                </c:pt>
                <c:pt idx="1258">
                  <c:v>8.8258414342460298</c:v>
                </c:pt>
                <c:pt idx="1259">
                  <c:v>8.7832575227333223</c:v>
                </c:pt>
                <c:pt idx="1260">
                  <c:v>8.4219463498796756</c:v>
                </c:pt>
                <c:pt idx="1261">
                  <c:v>7.9971948167118398</c:v>
                </c:pt>
                <c:pt idx="1262">
                  <c:v>8.692608766780495</c:v>
                </c:pt>
                <c:pt idx="1263">
                  <c:v>8.7194090094232592</c:v>
                </c:pt>
                <c:pt idx="1264">
                  <c:v>8.5419991331471294</c:v>
                </c:pt>
                <c:pt idx="1265">
                  <c:v>7.8721555914652299</c:v>
                </c:pt>
                <c:pt idx="1266">
                  <c:v>8.5490427807892502</c:v>
                </c:pt>
                <c:pt idx="1267">
                  <c:v>8.6601702682543475</c:v>
                </c:pt>
                <c:pt idx="1268">
                  <c:v>8.8643278083406187</c:v>
                </c:pt>
                <c:pt idx="1269">
                  <c:v>8.711114219005168</c:v>
                </c:pt>
                <c:pt idx="1270">
                  <c:v>9.2722150022378855</c:v>
                </c:pt>
                <c:pt idx="1271">
                  <c:v>9.7198756714857666</c:v>
                </c:pt>
                <c:pt idx="1272">
                  <c:v>9.0933602153347977</c:v>
                </c:pt>
                <c:pt idx="1273">
                  <c:v>8.7225827350925442</c:v>
                </c:pt>
                <c:pt idx="1274">
                  <c:v>9.1185340832236932</c:v>
                </c:pt>
                <c:pt idx="1275">
                  <c:v>9.1165480979595657</c:v>
                </c:pt>
                <c:pt idx="1276">
                  <c:v>9.272138569777411</c:v>
                </c:pt>
                <c:pt idx="1277">
                  <c:v>9.3605301971208519</c:v>
                </c:pt>
                <c:pt idx="1278">
                  <c:v>9.0999517798652505</c:v>
                </c:pt>
                <c:pt idx="1279">
                  <c:v>9.1200053660498668</c:v>
                </c:pt>
                <c:pt idx="1280">
                  <c:v>8.8446398412414453</c:v>
                </c:pt>
                <c:pt idx="1281">
                  <c:v>9.0186297196136422</c:v>
                </c:pt>
                <c:pt idx="1282">
                  <c:v>8.3698555130088153</c:v>
                </c:pt>
                <c:pt idx="1283">
                  <c:v>7.3910211208737451</c:v>
                </c:pt>
                <c:pt idx="1284">
                  <c:v>6.9159791758271183</c:v>
                </c:pt>
                <c:pt idx="1285">
                  <c:v>6.6094087667678707</c:v>
                </c:pt>
                <c:pt idx="1286">
                  <c:v>6.6521692879591399</c:v>
                </c:pt>
                <c:pt idx="1287">
                  <c:v>7.0145510945224316</c:v>
                </c:pt>
                <c:pt idx="1288">
                  <c:v>6.4241100670441256</c:v>
                </c:pt>
                <c:pt idx="1289">
                  <c:v>6.5877821871641231</c:v>
                </c:pt>
                <c:pt idx="1290">
                  <c:v>6.8742528240419176</c:v>
                </c:pt>
                <c:pt idx="1291">
                  <c:v>6.8516060087616779</c:v>
                </c:pt>
                <c:pt idx="1292">
                  <c:v>7.2480035242417955</c:v>
                </c:pt>
                <c:pt idx="1293">
                  <c:v>7.9234472605782571</c:v>
                </c:pt>
                <c:pt idx="1294">
                  <c:v>7.772868570017323</c:v>
                </c:pt>
                <c:pt idx="1295">
                  <c:v>7.6938577853610752</c:v>
                </c:pt>
                <c:pt idx="1296">
                  <c:v>7.6938577853610752</c:v>
                </c:pt>
                <c:pt idx="1297">
                  <c:v>7.6938577853610752</c:v>
                </c:pt>
                <c:pt idx="1298">
                  <c:v>7.6556151229580394</c:v>
                </c:pt>
                <c:pt idx="1299">
                  <c:v>7.8050959020424102</c:v>
                </c:pt>
                <c:pt idx="1300">
                  <c:v>7.5025053328257911</c:v>
                </c:pt>
                <c:pt idx="1301">
                  <c:v>8.0986886035935015</c:v>
                </c:pt>
                <c:pt idx="1302">
                  <c:v>7.7571804162872979</c:v>
                </c:pt>
                <c:pt idx="1303">
                  <c:v>7.3063498955455657</c:v>
                </c:pt>
                <c:pt idx="1304">
                  <c:v>7.3431760081462869</c:v>
                </c:pt>
                <c:pt idx="1305">
                  <c:v>7.3431760081462869</c:v>
                </c:pt>
                <c:pt idx="1306">
                  <c:v>7.1791702728373821</c:v>
                </c:pt>
                <c:pt idx="1307">
                  <c:v>7.4273579835529517</c:v>
                </c:pt>
                <c:pt idx="1308">
                  <c:v>7.5019674214350971</c:v>
                </c:pt>
                <c:pt idx="1309">
                  <c:v>7.5849638101386745</c:v>
                </c:pt>
                <c:pt idx="1310">
                  <c:v>6.7854309102879711</c:v>
                </c:pt>
                <c:pt idx="1311">
                  <c:v>7.4172487944140073</c:v>
                </c:pt>
                <c:pt idx="1312">
                  <c:v>7.0307973044907328</c:v>
                </c:pt>
                <c:pt idx="1313">
                  <c:v>6.9940022559984811</c:v>
                </c:pt>
                <c:pt idx="1314">
                  <c:v>6.9828306206476896</c:v>
                </c:pt>
                <c:pt idx="1315">
                  <c:v>7.4152237095466091</c:v>
                </c:pt>
                <c:pt idx="1316">
                  <c:v>7.4087248611181735</c:v>
                </c:pt>
                <c:pt idx="1317">
                  <c:v>8.2053079457646731</c:v>
                </c:pt>
                <c:pt idx="1318">
                  <c:v>8.1778911776703751</c:v>
                </c:pt>
                <c:pt idx="1319">
                  <c:v>8.0220105817625154</c:v>
                </c:pt>
                <c:pt idx="1320">
                  <c:v>7.9519951009311001</c:v>
                </c:pt>
                <c:pt idx="1321">
                  <c:v>7.694805475100253</c:v>
                </c:pt>
                <c:pt idx="1322">
                  <c:v>7.4347626297498266</c:v>
                </c:pt>
                <c:pt idx="1323">
                  <c:v>7.5114710414631531</c:v>
                </c:pt>
                <c:pt idx="1324">
                  <c:v>7.5812883642509235</c:v>
                </c:pt>
                <c:pt idx="1325">
                  <c:v>7.5812883642509235</c:v>
                </c:pt>
                <c:pt idx="1326">
                  <c:v>7.9514904019346204</c:v>
                </c:pt>
                <c:pt idx="1327">
                  <c:v>8.0764599268643451</c:v>
                </c:pt>
                <c:pt idx="1328">
                  <c:v>7.9669641950800099</c:v>
                </c:pt>
                <c:pt idx="1329">
                  <c:v>8.0974854010744366</c:v>
                </c:pt>
                <c:pt idx="1330">
                  <c:v>7.8349372429997572</c:v>
                </c:pt>
                <c:pt idx="1331">
                  <c:v>7.2897418427226057</c:v>
                </c:pt>
                <c:pt idx="1332">
                  <c:v>7.2897418427226057</c:v>
                </c:pt>
                <c:pt idx="1333">
                  <c:v>7.3396335518520743</c:v>
                </c:pt>
                <c:pt idx="1334">
                  <c:v>7.628922106446737</c:v>
                </c:pt>
                <c:pt idx="1335">
                  <c:v>7.7857775214546052</c:v>
                </c:pt>
                <c:pt idx="1336">
                  <c:v>8.0334789385405827</c:v>
                </c:pt>
                <c:pt idx="1337">
                  <c:v>8.1687848132557406</c:v>
                </c:pt>
                <c:pt idx="1338">
                  <c:v>8.4885834666687003</c:v>
                </c:pt>
                <c:pt idx="1339">
                  <c:v>8.3294161608147022</c:v>
                </c:pt>
                <c:pt idx="1340">
                  <c:v>8.5050377969817532</c:v>
                </c:pt>
                <c:pt idx="1341">
                  <c:v>9.6394485888039583</c:v>
                </c:pt>
                <c:pt idx="1342">
                  <c:v>9.6394485888039583</c:v>
                </c:pt>
                <c:pt idx="1343">
                  <c:v>9.4826326444163556</c:v>
                </c:pt>
                <c:pt idx="1344">
                  <c:v>9.6694663763281881</c:v>
                </c:pt>
                <c:pt idx="1345">
                  <c:v>10.178402729895453</c:v>
                </c:pt>
                <c:pt idx="1346">
                  <c:v>10.210720016072401</c:v>
                </c:pt>
                <c:pt idx="1347">
                  <c:v>10.541654154631374</c:v>
                </c:pt>
                <c:pt idx="1348">
                  <c:v>10.042233040108215</c:v>
                </c:pt>
                <c:pt idx="1349">
                  <c:v>9.9440199567545733</c:v>
                </c:pt>
                <c:pt idx="1350">
                  <c:v>10.124119103893548</c:v>
                </c:pt>
                <c:pt idx="1351">
                  <c:v>10.6929105844807</c:v>
                </c:pt>
                <c:pt idx="1352">
                  <c:v>10.882892039633532</c:v>
                </c:pt>
                <c:pt idx="1353">
                  <c:v>11.455874424238544</c:v>
                </c:pt>
                <c:pt idx="1354">
                  <c:v>11.13606760814065</c:v>
                </c:pt>
                <c:pt idx="1355">
                  <c:v>11.391406974223372</c:v>
                </c:pt>
                <c:pt idx="1356">
                  <c:v>11.583739450582868</c:v>
                </c:pt>
                <c:pt idx="1357">
                  <c:v>11.30653457425106</c:v>
                </c:pt>
                <c:pt idx="1358">
                  <c:v>10.812195602093851</c:v>
                </c:pt>
                <c:pt idx="1359">
                  <c:v>10.011635829259262</c:v>
                </c:pt>
                <c:pt idx="1360">
                  <c:v>10.523155306521545</c:v>
                </c:pt>
                <c:pt idx="1361">
                  <c:v>10.250655092759615</c:v>
                </c:pt>
                <c:pt idx="1362">
                  <c:v>10.334358426095008</c:v>
                </c:pt>
                <c:pt idx="1363">
                  <c:v>9.8663751143820377</c:v>
                </c:pt>
                <c:pt idx="1364">
                  <c:v>10.003671756831494</c:v>
                </c:pt>
                <c:pt idx="1365">
                  <c:v>9.9423268879456543</c:v>
                </c:pt>
                <c:pt idx="1366">
                  <c:v>9.388749052106192</c:v>
                </c:pt>
                <c:pt idx="1367">
                  <c:v>9.7127461515517552</c:v>
                </c:pt>
                <c:pt idx="1368">
                  <c:v>9.8035109968504628</c:v>
                </c:pt>
                <c:pt idx="1369">
                  <c:v>9.7064008542358238</c:v>
                </c:pt>
                <c:pt idx="1370">
                  <c:v>10.397452047802858</c:v>
                </c:pt>
                <c:pt idx="1371">
                  <c:v>10.46117330206809</c:v>
                </c:pt>
                <c:pt idx="1372">
                  <c:v>10.20636754903046</c:v>
                </c:pt>
                <c:pt idx="1373">
                  <c:v>10.725133394441968</c:v>
                </c:pt>
                <c:pt idx="1374">
                  <c:v>10.867235297778677</c:v>
                </c:pt>
                <c:pt idx="1375">
                  <c:v>11.241096301659326</c:v>
                </c:pt>
                <c:pt idx="1376">
                  <c:v>10.766914908863811</c:v>
                </c:pt>
                <c:pt idx="1377">
                  <c:v>10.847575822205101</c:v>
                </c:pt>
                <c:pt idx="1378">
                  <c:v>10.706985688236102</c:v>
                </c:pt>
                <c:pt idx="1379">
                  <c:v>10.632081896512204</c:v>
                </c:pt>
                <c:pt idx="1380">
                  <c:v>10.983006648277609</c:v>
                </c:pt>
                <c:pt idx="1381">
                  <c:v>10.983006648277609</c:v>
                </c:pt>
                <c:pt idx="1382">
                  <c:v>10.97166894454125</c:v>
                </c:pt>
                <c:pt idx="1383">
                  <c:v>11.305980707080437</c:v>
                </c:pt>
                <c:pt idx="1384">
                  <c:v>10.858704177706386</c:v>
                </c:pt>
                <c:pt idx="1385">
                  <c:v>10.753175675926229</c:v>
                </c:pt>
                <c:pt idx="1386">
                  <c:v>10.750411589963477</c:v>
                </c:pt>
                <c:pt idx="1387">
                  <c:v>10.874334560626778</c:v>
                </c:pt>
                <c:pt idx="1388">
                  <c:v>10.602150528515836</c:v>
                </c:pt>
                <c:pt idx="1389">
                  <c:v>10.342094104441486</c:v>
                </c:pt>
                <c:pt idx="1390">
                  <c:v>10.60172457392855</c:v>
                </c:pt>
                <c:pt idx="1391">
                  <c:v>10.470065539303079</c:v>
                </c:pt>
                <c:pt idx="1392">
                  <c:v>10.827710880473546</c:v>
                </c:pt>
                <c:pt idx="1393">
                  <c:v>10.75593128851034</c:v>
                </c:pt>
                <c:pt idx="1394">
                  <c:v>10.387676415607842</c:v>
                </c:pt>
                <c:pt idx="1395">
                  <c:v>9.7209132321466996</c:v>
                </c:pt>
                <c:pt idx="1396">
                  <c:v>9.9245604255588944</c:v>
                </c:pt>
                <c:pt idx="1397">
                  <c:v>10.103342751823504</c:v>
                </c:pt>
                <c:pt idx="1398">
                  <c:v>10.460028230500541</c:v>
                </c:pt>
                <c:pt idx="1399">
                  <c:v>10.351371330827874</c:v>
                </c:pt>
                <c:pt idx="1400">
                  <c:v>10.371180330002915</c:v>
                </c:pt>
                <c:pt idx="1401">
                  <c:v>10.386944370961004</c:v>
                </c:pt>
                <c:pt idx="1402">
                  <c:v>10.739784968124951</c:v>
                </c:pt>
                <c:pt idx="1403">
                  <c:v>10.727237358257014</c:v>
                </c:pt>
                <c:pt idx="1404">
                  <c:v>10.399863798251658</c:v>
                </c:pt>
                <c:pt idx="1405">
                  <c:v>10.597622570156858</c:v>
                </c:pt>
                <c:pt idx="1406">
                  <c:v>10.349896592448943</c:v>
                </c:pt>
                <c:pt idx="1407">
                  <c:v>11.168708898735957</c:v>
                </c:pt>
                <c:pt idx="1408">
                  <c:v>11.004473433268771</c:v>
                </c:pt>
                <c:pt idx="1409">
                  <c:v>10.500827708208135</c:v>
                </c:pt>
                <c:pt idx="1410">
                  <c:v>10.280600935311554</c:v>
                </c:pt>
                <c:pt idx="1411">
                  <c:v>10.182932683422308</c:v>
                </c:pt>
                <c:pt idx="1412">
                  <c:v>10.828541975159084</c:v>
                </c:pt>
                <c:pt idx="1413">
                  <c:v>10.752559492808842</c:v>
                </c:pt>
                <c:pt idx="1414">
                  <c:v>11.11216470252711</c:v>
                </c:pt>
                <c:pt idx="1415">
                  <c:v>11.57582929825216</c:v>
                </c:pt>
                <c:pt idx="1416">
                  <c:v>11.085563390516199</c:v>
                </c:pt>
                <c:pt idx="1417">
                  <c:v>10.868397457098808</c:v>
                </c:pt>
                <c:pt idx="1418">
                  <c:v>10.782201375524664</c:v>
                </c:pt>
                <c:pt idx="1419">
                  <c:v>11.075922418655381</c:v>
                </c:pt>
                <c:pt idx="1420">
                  <c:v>11.318832423620165</c:v>
                </c:pt>
                <c:pt idx="1421">
                  <c:v>11.73913871585259</c:v>
                </c:pt>
                <c:pt idx="1422">
                  <c:v>11.080312333089381</c:v>
                </c:pt>
                <c:pt idx="1423">
                  <c:v>11.009530266578849</c:v>
                </c:pt>
                <c:pt idx="1424">
                  <c:v>11.996678230439414</c:v>
                </c:pt>
                <c:pt idx="1425">
                  <c:v>12.232971520069384</c:v>
                </c:pt>
                <c:pt idx="1426">
                  <c:v>12.325994483925143</c:v>
                </c:pt>
                <c:pt idx="1427">
                  <c:v>11.841437907391111</c:v>
                </c:pt>
                <c:pt idx="1428">
                  <c:v>11.395139240748392</c:v>
                </c:pt>
                <c:pt idx="1429">
                  <c:v>11.246800374880195</c:v>
                </c:pt>
                <c:pt idx="1430">
                  <c:v>11.030240940273018</c:v>
                </c:pt>
                <c:pt idx="1431">
                  <c:v>10.679745153312723</c:v>
                </c:pt>
                <c:pt idx="1432">
                  <c:v>11.341958883904454</c:v>
                </c:pt>
                <c:pt idx="1433">
                  <c:v>11.257760034279471</c:v>
                </c:pt>
                <c:pt idx="1434">
                  <c:v>11.93925419525641</c:v>
                </c:pt>
                <c:pt idx="1435">
                  <c:v>12.0926777572829</c:v>
                </c:pt>
                <c:pt idx="1436">
                  <c:v>11.791217055567245</c:v>
                </c:pt>
                <c:pt idx="1437">
                  <c:v>12.117386128563084</c:v>
                </c:pt>
                <c:pt idx="1438">
                  <c:v>12.736321887901568</c:v>
                </c:pt>
                <c:pt idx="1439">
                  <c:v>12.749973531382409</c:v>
                </c:pt>
                <c:pt idx="1440">
                  <c:v>13.071067231599386</c:v>
                </c:pt>
                <c:pt idx="1441">
                  <c:v>12.942248719215797</c:v>
                </c:pt>
                <c:pt idx="1442">
                  <c:v>13.281377384685356</c:v>
                </c:pt>
                <c:pt idx="1443">
                  <c:v>13.726966742605981</c:v>
                </c:pt>
                <c:pt idx="1444">
                  <c:v>13.61228543797219</c:v>
                </c:pt>
                <c:pt idx="1445">
                  <c:v>14.062137748583041</c:v>
                </c:pt>
                <c:pt idx="1446">
                  <c:v>13.968607260133638</c:v>
                </c:pt>
                <c:pt idx="1447">
                  <c:v>14.046560738479371</c:v>
                </c:pt>
                <c:pt idx="1448">
                  <c:v>14.11053474611694</c:v>
                </c:pt>
                <c:pt idx="1449">
                  <c:v>13.987281515884348</c:v>
                </c:pt>
                <c:pt idx="1450">
                  <c:v>14.363515651427718</c:v>
                </c:pt>
                <c:pt idx="1451">
                  <c:v>13.527299812738647</c:v>
                </c:pt>
                <c:pt idx="1452">
                  <c:v>13.994659433929542</c:v>
                </c:pt>
                <c:pt idx="1453">
                  <c:v>14.100670739936731</c:v>
                </c:pt>
                <c:pt idx="1454">
                  <c:v>14.328170809492548</c:v>
                </c:pt>
                <c:pt idx="1455">
                  <c:v>14.611479409729412</c:v>
                </c:pt>
                <c:pt idx="1456">
                  <c:v>15.083385588692153</c:v>
                </c:pt>
                <c:pt idx="1457">
                  <c:v>15.589728593099323</c:v>
                </c:pt>
                <c:pt idx="1458">
                  <c:v>15.222677718748798</c:v>
                </c:pt>
                <c:pt idx="1459">
                  <c:v>15.225120188926013</c:v>
                </c:pt>
                <c:pt idx="1460">
                  <c:v>16.247012220093694</c:v>
                </c:pt>
                <c:pt idx="1461">
                  <c:v>15.759267851667687</c:v>
                </c:pt>
                <c:pt idx="1462">
                  <c:v>16.119287278398133</c:v>
                </c:pt>
                <c:pt idx="1463">
                  <c:v>15.849000429961677</c:v>
                </c:pt>
                <c:pt idx="1464">
                  <c:v>16.363072340516368</c:v>
                </c:pt>
                <c:pt idx="1465">
                  <c:v>16.644558552692047</c:v>
                </c:pt>
                <c:pt idx="1466">
                  <c:v>16.641344560441155</c:v>
                </c:pt>
                <c:pt idx="1467">
                  <c:v>17.295006854851096</c:v>
                </c:pt>
                <c:pt idx="1468">
                  <c:v>17.467393714500275</c:v>
                </c:pt>
                <c:pt idx="1469">
                  <c:v>17.016021248290741</c:v>
                </c:pt>
                <c:pt idx="1470">
                  <c:v>17.369045521569575</c:v>
                </c:pt>
                <c:pt idx="1471">
                  <c:v>17.631746319930528</c:v>
                </c:pt>
                <c:pt idx="1472">
                  <c:v>18.158110895235581</c:v>
                </c:pt>
                <c:pt idx="1473">
                  <c:v>17.952396528149734</c:v>
                </c:pt>
                <c:pt idx="1474">
                  <c:v>17.952396528149734</c:v>
                </c:pt>
                <c:pt idx="1475">
                  <c:v>17.952396528149734</c:v>
                </c:pt>
                <c:pt idx="1476">
                  <c:v>17.952396528149734</c:v>
                </c:pt>
                <c:pt idx="1477">
                  <c:v>18.233344157331999</c:v>
                </c:pt>
                <c:pt idx="1478">
                  <c:v>18.430225754680777</c:v>
                </c:pt>
                <c:pt idx="1479">
                  <c:v>18.558975433332364</c:v>
                </c:pt>
                <c:pt idx="1480">
                  <c:v>18.558975433332364</c:v>
                </c:pt>
                <c:pt idx="1481">
                  <c:v>18.12451375926392</c:v>
                </c:pt>
                <c:pt idx="1482">
                  <c:v>19.238769773078531</c:v>
                </c:pt>
                <c:pt idx="1483">
                  <c:v>19.011941867097249</c:v>
                </c:pt>
                <c:pt idx="1484">
                  <c:v>19.352138939999662</c:v>
                </c:pt>
                <c:pt idx="1485">
                  <c:v>19.660193225959773</c:v>
                </c:pt>
                <c:pt idx="1486">
                  <c:v>20.635666373887176</c:v>
                </c:pt>
                <c:pt idx="1487">
                  <c:v>21.177532935964479</c:v>
                </c:pt>
                <c:pt idx="1488">
                  <c:v>21.001169914187386</c:v>
                </c:pt>
                <c:pt idx="1489">
                  <c:v>21.764413962867536</c:v>
                </c:pt>
                <c:pt idx="1490">
                  <c:v>23.554866163966807</c:v>
                </c:pt>
                <c:pt idx="1491">
                  <c:v>24.578129818366534</c:v>
                </c:pt>
                <c:pt idx="1492">
                  <c:v>24.657069079355807</c:v>
                </c:pt>
                <c:pt idx="1493">
                  <c:v>24.167080366873989</c:v>
                </c:pt>
                <c:pt idx="1494">
                  <c:v>23.697378818095018</c:v>
                </c:pt>
                <c:pt idx="1495">
                  <c:v>23.834285100247854</c:v>
                </c:pt>
                <c:pt idx="1496">
                  <c:v>25.175860960911479</c:v>
                </c:pt>
                <c:pt idx="1497">
                  <c:v>25.116217875330079</c:v>
                </c:pt>
                <c:pt idx="1498">
                  <c:v>24.800603686041626</c:v>
                </c:pt>
                <c:pt idx="1499">
                  <c:v>25.24341802293938</c:v>
                </c:pt>
                <c:pt idx="1500">
                  <c:v>25.391052465666519</c:v>
                </c:pt>
                <c:pt idx="1501">
                  <c:v>25.092977008834225</c:v>
                </c:pt>
                <c:pt idx="1502">
                  <c:v>24.345172030357162</c:v>
                </c:pt>
                <c:pt idx="1503">
                  <c:v>23.319652224178867</c:v>
                </c:pt>
                <c:pt idx="1504">
                  <c:v>23.635035724484538</c:v>
                </c:pt>
                <c:pt idx="1505">
                  <c:v>24.856249723377545</c:v>
                </c:pt>
                <c:pt idx="1506">
                  <c:v>24.442191697089442</c:v>
                </c:pt>
                <c:pt idx="1507">
                  <c:v>23.868294118967015</c:v>
                </c:pt>
                <c:pt idx="1508">
                  <c:v>24.888799436002017</c:v>
                </c:pt>
                <c:pt idx="1509">
                  <c:v>25.490457217248775</c:v>
                </c:pt>
                <c:pt idx="1510">
                  <c:v>24.942440527689996</c:v>
                </c:pt>
                <c:pt idx="1511">
                  <c:v>23.786943713693432</c:v>
                </c:pt>
                <c:pt idx="1512">
                  <c:v>23.380804682466845</c:v>
                </c:pt>
                <c:pt idx="1513">
                  <c:v>23.259837444710172</c:v>
                </c:pt>
                <c:pt idx="1514">
                  <c:v>23.126280042714427</c:v>
                </c:pt>
                <c:pt idx="1515">
                  <c:v>24.118578837106554</c:v>
                </c:pt>
                <c:pt idx="1516">
                  <c:v>23.915043467940734</c:v>
                </c:pt>
                <c:pt idx="1517">
                  <c:v>24.841240109731359</c:v>
                </c:pt>
                <c:pt idx="1518">
                  <c:v>24.629313559965453</c:v>
                </c:pt>
                <c:pt idx="1519">
                  <c:v>24.525846955636837</c:v>
                </c:pt>
                <c:pt idx="1520">
                  <c:v>24.775388903117744</c:v>
                </c:pt>
                <c:pt idx="1521">
                  <c:v>25.162831728158579</c:v>
                </c:pt>
                <c:pt idx="1522">
                  <c:v>25.288393272320121</c:v>
                </c:pt>
                <c:pt idx="1523">
                  <c:v>25.468135807710723</c:v>
                </c:pt>
                <c:pt idx="1524">
                  <c:v>25.922042641203291</c:v>
                </c:pt>
                <c:pt idx="1525">
                  <c:v>26.266560117536756</c:v>
                </c:pt>
                <c:pt idx="1526">
                  <c:v>26.482397290463183</c:v>
                </c:pt>
                <c:pt idx="1527">
                  <c:v>26.378118217867325</c:v>
                </c:pt>
                <c:pt idx="1528">
                  <c:v>27.143896994322091</c:v>
                </c:pt>
                <c:pt idx="1529">
                  <c:v>27.998473916958744</c:v>
                </c:pt>
                <c:pt idx="1530">
                  <c:v>28.416807512690696</c:v>
                </c:pt>
                <c:pt idx="1531">
                  <c:v>29.16918457370852</c:v>
                </c:pt>
                <c:pt idx="1532">
                  <c:v>29.501437611699771</c:v>
                </c:pt>
                <c:pt idx="1533">
                  <c:v>28.989941895258966</c:v>
                </c:pt>
                <c:pt idx="1534">
                  <c:v>29.442225601252119</c:v>
                </c:pt>
                <c:pt idx="1535">
                  <c:v>29.205909581351222</c:v>
                </c:pt>
                <c:pt idx="1536">
                  <c:v>28.306309280614954</c:v>
                </c:pt>
                <c:pt idx="1537">
                  <c:v>28.139987369772626</c:v>
                </c:pt>
                <c:pt idx="1538">
                  <c:v>28.168427393767672</c:v>
                </c:pt>
                <c:pt idx="1539">
                  <c:v>27.232238014833086</c:v>
                </c:pt>
                <c:pt idx="1540">
                  <c:v>27.115569738331601</c:v>
                </c:pt>
                <c:pt idx="1541">
                  <c:v>27.503404999314711</c:v>
                </c:pt>
                <c:pt idx="1542">
                  <c:v>27.564762398364422</c:v>
                </c:pt>
                <c:pt idx="1543">
                  <c:v>27.76678944853623</c:v>
                </c:pt>
                <c:pt idx="1544">
                  <c:v>27.662312313499257</c:v>
                </c:pt>
                <c:pt idx="1545">
                  <c:v>27.727038907999884</c:v>
                </c:pt>
                <c:pt idx="1546">
                  <c:v>27.727038907999884</c:v>
                </c:pt>
                <c:pt idx="1547">
                  <c:v>27.727038907999884</c:v>
                </c:pt>
                <c:pt idx="1548">
                  <c:v>28.053125581636237</c:v>
                </c:pt>
                <c:pt idx="1549">
                  <c:v>28.427175966009713</c:v>
                </c:pt>
                <c:pt idx="1550">
                  <c:v>28.598691631429887</c:v>
                </c:pt>
                <c:pt idx="1551">
                  <c:v>29.295876226558221</c:v>
                </c:pt>
                <c:pt idx="1552">
                  <c:v>29.172464439576601</c:v>
                </c:pt>
                <c:pt idx="1553">
                  <c:v>29.24260221442114</c:v>
                </c:pt>
                <c:pt idx="1554">
                  <c:v>28.948266116123051</c:v>
                </c:pt>
                <c:pt idx="1555">
                  <c:v>29.220900616090063</c:v>
                </c:pt>
                <c:pt idx="1556">
                  <c:v>29.082480966154435</c:v>
                </c:pt>
                <c:pt idx="1557">
                  <c:v>29.183540420876739</c:v>
                </c:pt>
                <c:pt idx="1558">
                  <c:v>30.497373838682165</c:v>
                </c:pt>
                <c:pt idx="1559">
                  <c:v>30.509382697467856</c:v>
                </c:pt>
                <c:pt idx="1560">
                  <c:v>29.754591195606537</c:v>
                </c:pt>
                <c:pt idx="1561">
                  <c:v>29.377222576931558</c:v>
                </c:pt>
                <c:pt idx="1562">
                  <c:v>29.459402182469859</c:v>
                </c:pt>
                <c:pt idx="1563">
                  <c:v>28.631636639243936</c:v>
                </c:pt>
                <c:pt idx="1564">
                  <c:v>27.738011503220037</c:v>
                </c:pt>
                <c:pt idx="1565">
                  <c:v>27.879011107288505</c:v>
                </c:pt>
                <c:pt idx="1566">
                  <c:v>27.879011107288505</c:v>
                </c:pt>
                <c:pt idx="1567">
                  <c:v>27.686611322720353</c:v>
                </c:pt>
                <c:pt idx="1568">
                  <c:v>26.918215491295285</c:v>
                </c:pt>
                <c:pt idx="1569">
                  <c:v>27.037238255184491</c:v>
                </c:pt>
                <c:pt idx="1570">
                  <c:v>27.545469511530371</c:v>
                </c:pt>
                <c:pt idx="1571">
                  <c:v>28.577122442805404</c:v>
                </c:pt>
                <c:pt idx="1572">
                  <c:v>29.16311434878503</c:v>
                </c:pt>
                <c:pt idx="1573">
                  <c:v>28.90273374321788</c:v>
                </c:pt>
                <c:pt idx="1574">
                  <c:v>28.618034031499519</c:v>
                </c:pt>
                <c:pt idx="1575">
                  <c:v>28.618034031499519</c:v>
                </c:pt>
                <c:pt idx="1576">
                  <c:v>29.381723857713837</c:v>
                </c:pt>
                <c:pt idx="1577">
                  <c:v>30.053182548476514</c:v>
                </c:pt>
                <c:pt idx="1578">
                  <c:v>30.922396489471652</c:v>
                </c:pt>
                <c:pt idx="1579">
                  <c:v>30.452134165563962</c:v>
                </c:pt>
                <c:pt idx="1580">
                  <c:v>30.591838774244394</c:v>
                </c:pt>
                <c:pt idx="1581">
                  <c:v>30.119702560515634</c:v>
                </c:pt>
                <c:pt idx="1582">
                  <c:v>30.119702560515634</c:v>
                </c:pt>
                <c:pt idx="1583">
                  <c:v>30.977957259716504</c:v>
                </c:pt>
                <c:pt idx="1584">
                  <c:v>30.997881832973349</c:v>
                </c:pt>
                <c:pt idx="1585">
                  <c:v>30.92463191207321</c:v>
                </c:pt>
                <c:pt idx="1586">
                  <c:v>30.487040289529887</c:v>
                </c:pt>
                <c:pt idx="1587">
                  <c:v>30.834890470301957</c:v>
                </c:pt>
                <c:pt idx="1588">
                  <c:v>29.717417236994351</c:v>
                </c:pt>
                <c:pt idx="1589">
                  <c:v>29.743361780824756</c:v>
                </c:pt>
                <c:pt idx="1590">
                  <c:v>29.701673640233139</c:v>
                </c:pt>
                <c:pt idx="1591">
                  <c:v>29.394229443021857</c:v>
                </c:pt>
                <c:pt idx="1592">
                  <c:v>29.443651009547352</c:v>
                </c:pt>
                <c:pt idx="1593">
                  <c:v>29.569513295668116</c:v>
                </c:pt>
                <c:pt idx="1594">
                  <c:v>29.477125354327484</c:v>
                </c:pt>
                <c:pt idx="1595">
                  <c:v>29.743705919473172</c:v>
                </c:pt>
                <c:pt idx="1596">
                  <c:v>29.813241722649991</c:v>
                </c:pt>
                <c:pt idx="1597">
                  <c:v>29.821375975357171</c:v>
                </c:pt>
                <c:pt idx="1598">
                  <c:v>30.384043646581517</c:v>
                </c:pt>
                <c:pt idx="1599">
                  <c:v>30.261100464783198</c:v>
                </c:pt>
                <c:pt idx="1600">
                  <c:v>30.429897028283079</c:v>
                </c:pt>
                <c:pt idx="1601">
                  <c:v>30.566724548105384</c:v>
                </c:pt>
                <c:pt idx="1602">
                  <c:v>30.00924853593088</c:v>
                </c:pt>
                <c:pt idx="1603">
                  <c:v>30.00924853593088</c:v>
                </c:pt>
                <c:pt idx="1604">
                  <c:v>29.910514764554364</c:v>
                </c:pt>
                <c:pt idx="1605">
                  <c:v>30.051389450886631</c:v>
                </c:pt>
                <c:pt idx="1606">
                  <c:v>30.062449135318417</c:v>
                </c:pt>
                <c:pt idx="1607">
                  <c:v>30.883098402559028</c:v>
                </c:pt>
                <c:pt idx="1608">
                  <c:v>30.405462974543042</c:v>
                </c:pt>
                <c:pt idx="1609">
                  <c:v>30.882902660207236</c:v>
                </c:pt>
                <c:pt idx="1610">
                  <c:v>30.390886725691018</c:v>
                </c:pt>
                <c:pt idx="1611">
                  <c:v>30.305211275820909</c:v>
                </c:pt>
                <c:pt idx="1612">
                  <c:v>31.24083945506797</c:v>
                </c:pt>
                <c:pt idx="1613">
                  <c:v>31.855015729900856</c:v>
                </c:pt>
                <c:pt idx="1614">
                  <c:v>31.397092937495017</c:v>
                </c:pt>
                <c:pt idx="1615">
                  <c:v>31.835232202991591</c:v>
                </c:pt>
                <c:pt idx="1616">
                  <c:v>32.376036858196414</c:v>
                </c:pt>
                <c:pt idx="1617">
                  <c:v>33.097620798934315</c:v>
                </c:pt>
                <c:pt idx="1618">
                  <c:v>33.318384486165371</c:v>
                </c:pt>
                <c:pt idx="1619">
                  <c:v>33.799180765618019</c:v>
                </c:pt>
                <c:pt idx="1620">
                  <c:v>34.010549730707709</c:v>
                </c:pt>
                <c:pt idx="1621">
                  <c:v>34.407505341659004</c:v>
                </c:pt>
                <c:pt idx="1622">
                  <c:v>34.41767324899692</c:v>
                </c:pt>
                <c:pt idx="1623">
                  <c:v>34.082531092956827</c:v>
                </c:pt>
                <c:pt idx="1624">
                  <c:v>34.327212311002228</c:v>
                </c:pt>
                <c:pt idx="1625">
                  <c:v>33.893073707663717</c:v>
                </c:pt>
                <c:pt idx="1626">
                  <c:v>34.530512371917325</c:v>
                </c:pt>
                <c:pt idx="1627">
                  <c:v>33.99345413472858</c:v>
                </c:pt>
                <c:pt idx="1628">
                  <c:v>33.792064251717647</c:v>
                </c:pt>
                <c:pt idx="1629">
                  <c:v>34.008772930702179</c:v>
                </c:pt>
                <c:pt idx="1630">
                  <c:v>34.151175480617496</c:v>
                </c:pt>
                <c:pt idx="1631">
                  <c:v>34.609628695687491</c:v>
                </c:pt>
                <c:pt idx="1632">
                  <c:v>35.598153132644569</c:v>
                </c:pt>
                <c:pt idx="1633">
                  <c:v>36.201152058318598</c:v>
                </c:pt>
                <c:pt idx="1634">
                  <c:v>35.591835992559083</c:v>
                </c:pt>
                <c:pt idx="1635">
                  <c:v>35.073994077632108</c:v>
                </c:pt>
                <c:pt idx="1636">
                  <c:v>34.053184791401065</c:v>
                </c:pt>
                <c:pt idx="1637">
                  <c:v>34.44260545043889</c:v>
                </c:pt>
                <c:pt idx="1638">
                  <c:v>34.071138632868241</c:v>
                </c:pt>
                <c:pt idx="1639">
                  <c:v>33.476517981330858</c:v>
                </c:pt>
                <c:pt idx="1640">
                  <c:v>34.026186769587099</c:v>
                </c:pt>
                <c:pt idx="1641">
                  <c:v>34.468186632459208</c:v>
                </c:pt>
                <c:pt idx="1642">
                  <c:v>34.266283093647132</c:v>
                </c:pt>
                <c:pt idx="1643">
                  <c:v>34.91219289359509</c:v>
                </c:pt>
                <c:pt idx="1644">
                  <c:v>34.711392918643838</c:v>
                </c:pt>
                <c:pt idx="1645">
                  <c:v>34.482438525536594</c:v>
                </c:pt>
                <c:pt idx="1646">
                  <c:v>34.175124132132197</c:v>
                </c:pt>
                <c:pt idx="1647">
                  <c:v>34.313522463480695</c:v>
                </c:pt>
                <c:pt idx="1648">
                  <c:v>34.337098437658227</c:v>
                </c:pt>
                <c:pt idx="1649">
                  <c:v>34.372840194139229</c:v>
                </c:pt>
                <c:pt idx="1650">
                  <c:v>34.003407847224764</c:v>
                </c:pt>
                <c:pt idx="1651">
                  <c:v>34.249621823788431</c:v>
                </c:pt>
                <c:pt idx="1652">
                  <c:v>34.294932200826054</c:v>
                </c:pt>
                <c:pt idx="1653">
                  <c:v>34.479861347158078</c:v>
                </c:pt>
                <c:pt idx="1654">
                  <c:v>34.450722224149388</c:v>
                </c:pt>
                <c:pt idx="1655">
                  <c:v>34.89738814744382</c:v>
                </c:pt>
                <c:pt idx="1656">
                  <c:v>34.855762732110492</c:v>
                </c:pt>
                <c:pt idx="1657">
                  <c:v>35.097186400280606</c:v>
                </c:pt>
                <c:pt idx="1658">
                  <c:v>34.814849417060287</c:v>
                </c:pt>
                <c:pt idx="1659">
                  <c:v>35.188580870446685</c:v>
                </c:pt>
                <c:pt idx="1660">
                  <c:v>35.455543405845276</c:v>
                </c:pt>
                <c:pt idx="1661">
                  <c:v>34.85028639038805</c:v>
                </c:pt>
                <c:pt idx="1662">
                  <c:v>35.199304496762096</c:v>
                </c:pt>
                <c:pt idx="1663">
                  <c:v>34.836964669909946</c:v>
                </c:pt>
                <c:pt idx="1664">
                  <c:v>35.350304889364509</c:v>
                </c:pt>
                <c:pt idx="1665">
                  <c:v>35.7240142619398</c:v>
                </c:pt>
                <c:pt idx="1666">
                  <c:v>36.382702077136827</c:v>
                </c:pt>
                <c:pt idx="1667">
                  <c:v>37.251373333156295</c:v>
                </c:pt>
                <c:pt idx="1668">
                  <c:v>37.130122552604007</c:v>
                </c:pt>
                <c:pt idx="1669">
                  <c:v>37.721408308916352</c:v>
                </c:pt>
                <c:pt idx="1670">
                  <c:v>37.560133694228256</c:v>
                </c:pt>
                <c:pt idx="1671">
                  <c:v>38.461501519777528</c:v>
                </c:pt>
                <c:pt idx="1672">
                  <c:v>39.060334798353495</c:v>
                </c:pt>
                <c:pt idx="1673">
                  <c:v>37.572345276164469</c:v>
                </c:pt>
                <c:pt idx="1674">
                  <c:v>38.132158458337159</c:v>
                </c:pt>
                <c:pt idx="1675">
                  <c:v>37.716307511606885</c:v>
                </c:pt>
                <c:pt idx="1676">
                  <c:v>36.990551509229732</c:v>
                </c:pt>
                <c:pt idx="1677">
                  <c:v>36.792143296033601</c:v>
                </c:pt>
                <c:pt idx="1678">
                  <c:v>36.194775620737403</c:v>
                </c:pt>
                <c:pt idx="1679">
                  <c:v>34.562054061144295</c:v>
                </c:pt>
                <c:pt idx="1680">
                  <c:v>34.813600308832406</c:v>
                </c:pt>
                <c:pt idx="1681">
                  <c:v>34.018072304358299</c:v>
                </c:pt>
                <c:pt idx="1682">
                  <c:v>33.985483938187855</c:v>
                </c:pt>
                <c:pt idx="1683">
                  <c:v>34.623258748206212</c:v>
                </c:pt>
                <c:pt idx="1684">
                  <c:v>34.371185762733518</c:v>
                </c:pt>
                <c:pt idx="1685">
                  <c:v>35.200727425423509</c:v>
                </c:pt>
                <c:pt idx="1686">
                  <c:v>35.25845303496726</c:v>
                </c:pt>
                <c:pt idx="1687">
                  <c:v>36.143717479214189</c:v>
                </c:pt>
                <c:pt idx="1688">
                  <c:v>36.34316064594222</c:v>
                </c:pt>
                <c:pt idx="1689">
                  <c:v>36.713943559218677</c:v>
                </c:pt>
                <c:pt idx="1690">
                  <c:v>36.012357456771895</c:v>
                </c:pt>
                <c:pt idx="1691">
                  <c:v>36.977390699661811</c:v>
                </c:pt>
                <c:pt idx="1692">
                  <c:v>36.849023634172312</c:v>
                </c:pt>
                <c:pt idx="1693">
                  <c:v>37.141379037835975</c:v>
                </c:pt>
                <c:pt idx="1694">
                  <c:v>37.766937416151251</c:v>
                </c:pt>
                <c:pt idx="1695">
                  <c:v>38.747570906660258</c:v>
                </c:pt>
                <c:pt idx="1696">
                  <c:v>38.734630611017451</c:v>
                </c:pt>
                <c:pt idx="1697">
                  <c:v>38.37629890363965</c:v>
                </c:pt>
                <c:pt idx="1698">
                  <c:v>38.27878283336571</c:v>
                </c:pt>
                <c:pt idx="1699">
                  <c:v>38.39266875782431</c:v>
                </c:pt>
                <c:pt idx="1700">
                  <c:v>39.060765895268389</c:v>
                </c:pt>
                <c:pt idx="1701">
                  <c:v>38.530269230134195</c:v>
                </c:pt>
                <c:pt idx="1702">
                  <c:v>38.27790520710721</c:v>
                </c:pt>
                <c:pt idx="1703">
                  <c:v>38.885087896655079</c:v>
                </c:pt>
                <c:pt idx="1704">
                  <c:v>40.510306720536505</c:v>
                </c:pt>
                <c:pt idx="1705">
                  <c:v>41.079095206869965</c:v>
                </c:pt>
                <c:pt idx="1706">
                  <c:v>40.650841975211421</c:v>
                </c:pt>
                <c:pt idx="1707">
                  <c:v>41.488949825258004</c:v>
                </c:pt>
                <c:pt idx="1708">
                  <c:v>42.735502831475287</c:v>
                </c:pt>
                <c:pt idx="1709">
                  <c:v>41.914747853231404</c:v>
                </c:pt>
                <c:pt idx="1710">
                  <c:v>43.008505445427119</c:v>
                </c:pt>
                <c:pt idx="1711">
                  <c:v>43.477134289816746</c:v>
                </c:pt>
                <c:pt idx="1712">
                  <c:v>43.712824196685887</c:v>
                </c:pt>
                <c:pt idx="1713">
                  <c:v>42.827787607441053</c:v>
                </c:pt>
                <c:pt idx="1714">
                  <c:v>44.099649312152934</c:v>
                </c:pt>
                <c:pt idx="1715">
                  <c:v>44.146629293581555</c:v>
                </c:pt>
                <c:pt idx="1716">
                  <c:v>44.388442458890069</c:v>
                </c:pt>
                <c:pt idx="1717">
                  <c:v>44.606236601678887</c:v>
                </c:pt>
                <c:pt idx="1718">
                  <c:v>44.40271808327833</c:v>
                </c:pt>
                <c:pt idx="1719">
                  <c:v>45.259357715925404</c:v>
                </c:pt>
                <c:pt idx="1720">
                  <c:v>43.942167268025372</c:v>
                </c:pt>
                <c:pt idx="1721">
                  <c:v>44.320162714127179</c:v>
                </c:pt>
                <c:pt idx="1722">
                  <c:v>45.813915978657207</c:v>
                </c:pt>
                <c:pt idx="1723">
                  <c:v>45.639228109079966</c:v>
                </c:pt>
                <c:pt idx="1724">
                  <c:v>44.341498085100568</c:v>
                </c:pt>
                <c:pt idx="1725">
                  <c:v>44.206406437873909</c:v>
                </c:pt>
                <c:pt idx="1726">
                  <c:v>44.601051341398744</c:v>
                </c:pt>
                <c:pt idx="1727">
                  <c:v>44.561912020916481</c:v>
                </c:pt>
                <c:pt idx="1728">
                  <c:v>45.198037325391283</c:v>
                </c:pt>
                <c:pt idx="1729">
                  <c:v>45.180847214264929</c:v>
                </c:pt>
                <c:pt idx="1730">
                  <c:v>45.526034886697374</c:v>
                </c:pt>
                <c:pt idx="1731">
                  <c:v>44.90038798161666</c:v>
                </c:pt>
                <c:pt idx="1732">
                  <c:v>44.508960391862558</c:v>
                </c:pt>
                <c:pt idx="1733">
                  <c:v>43.798280497166871</c:v>
                </c:pt>
                <c:pt idx="1734">
                  <c:v>44.312049878386887</c:v>
                </c:pt>
                <c:pt idx="1735">
                  <c:v>44.312049878386887</c:v>
                </c:pt>
                <c:pt idx="1736">
                  <c:v>44.312049878386887</c:v>
                </c:pt>
                <c:pt idx="1737">
                  <c:v>44.248316888697332</c:v>
                </c:pt>
                <c:pt idx="1738">
                  <c:v>45.51065703454222</c:v>
                </c:pt>
                <c:pt idx="1739">
                  <c:v>45.838709732813356</c:v>
                </c:pt>
                <c:pt idx="1740">
                  <c:v>45.476390212142974</c:v>
                </c:pt>
                <c:pt idx="1741">
                  <c:v>45.476390212142974</c:v>
                </c:pt>
                <c:pt idx="1742">
                  <c:v>44.218113663586223</c:v>
                </c:pt>
                <c:pt idx="1743">
                  <c:v>44.573102275365983</c:v>
                </c:pt>
                <c:pt idx="1744">
                  <c:v>44.8427119188228</c:v>
                </c:pt>
                <c:pt idx="1745">
                  <c:v>44.364376794067141</c:v>
                </c:pt>
                <c:pt idx="1746">
                  <c:v>44.596444474409026</c:v>
                </c:pt>
                <c:pt idx="1747">
                  <c:v>44.440011994548058</c:v>
                </c:pt>
                <c:pt idx="1748">
                  <c:v>45.475659272981005</c:v>
                </c:pt>
                <c:pt idx="1749">
                  <c:v>45.474280282208696</c:v>
                </c:pt>
                <c:pt idx="1750">
                  <c:v>43.812261640330888</c:v>
                </c:pt>
                <c:pt idx="1751">
                  <c:v>43.817929749082452</c:v>
                </c:pt>
                <c:pt idx="1752">
                  <c:v>43.982333627836823</c:v>
                </c:pt>
                <c:pt idx="1753">
                  <c:v>44.646016326912672</c:v>
                </c:pt>
                <c:pt idx="1754">
                  <c:v>44.328229684079048</c:v>
                </c:pt>
                <c:pt idx="1755">
                  <c:v>44.193126797730059</c:v>
                </c:pt>
                <c:pt idx="1756">
                  <c:v>45.430310318701771</c:v>
                </c:pt>
                <c:pt idx="1757">
                  <c:v>46.676960357500775</c:v>
                </c:pt>
                <c:pt idx="1758">
                  <c:v>45.750121373748897</c:v>
                </c:pt>
                <c:pt idx="1759">
                  <c:v>46.570007776149737</c:v>
                </c:pt>
                <c:pt idx="1760">
                  <c:v>45.715213110430653</c:v>
                </c:pt>
                <c:pt idx="1761">
                  <c:v>47.132023490066956</c:v>
                </c:pt>
                <c:pt idx="1762">
                  <c:v>47.743150897670063</c:v>
                </c:pt>
                <c:pt idx="1763">
                  <c:v>48.551394864945138</c:v>
                </c:pt>
                <c:pt idx="1764">
                  <c:v>47.914602130910964</c:v>
                </c:pt>
                <c:pt idx="1765">
                  <c:v>45.575646548670278</c:v>
                </c:pt>
                <c:pt idx="1766">
                  <c:v>44.331593737685836</c:v>
                </c:pt>
                <c:pt idx="1767">
                  <c:v>43.456261820995223</c:v>
                </c:pt>
                <c:pt idx="1768">
                  <c:v>45.127028011517922</c:v>
                </c:pt>
                <c:pt idx="1769">
                  <c:v>44.684246129133214</c:v>
                </c:pt>
                <c:pt idx="1770">
                  <c:v>44.484927019501754</c:v>
                </c:pt>
                <c:pt idx="1771">
                  <c:v>43.786492960816219</c:v>
                </c:pt>
                <c:pt idx="1772">
                  <c:v>45.07034470042592</c:v>
                </c:pt>
                <c:pt idx="1773">
                  <c:v>45.105477697484645</c:v>
                </c:pt>
                <c:pt idx="1774">
                  <c:v>44.892064473367327</c:v>
                </c:pt>
                <c:pt idx="1775">
                  <c:v>46.471071266981852</c:v>
                </c:pt>
                <c:pt idx="1776">
                  <c:v>46.896882247993744</c:v>
                </c:pt>
                <c:pt idx="1777">
                  <c:v>46.451448251338547</c:v>
                </c:pt>
                <c:pt idx="1778">
                  <c:v>47.050138388814673</c:v>
                </c:pt>
                <c:pt idx="1779">
                  <c:v>47.325915667891849</c:v>
                </c:pt>
                <c:pt idx="1780">
                  <c:v>47.726090981600464</c:v>
                </c:pt>
                <c:pt idx="1781">
                  <c:v>47.049116770172816</c:v>
                </c:pt>
                <c:pt idx="1782">
                  <c:v>47.037892184201525</c:v>
                </c:pt>
                <c:pt idx="1783">
                  <c:v>47.811335327485153</c:v>
                </c:pt>
                <c:pt idx="1784">
                  <c:v>45.861755723465961</c:v>
                </c:pt>
                <c:pt idx="1785">
                  <c:v>44.520833074476315</c:v>
                </c:pt>
                <c:pt idx="1786">
                  <c:v>44.111686636873912</c:v>
                </c:pt>
                <c:pt idx="1787">
                  <c:v>43.928217699255725</c:v>
                </c:pt>
                <c:pt idx="1788">
                  <c:v>44.416181305045058</c:v>
                </c:pt>
                <c:pt idx="1789">
                  <c:v>45.087451653502683</c:v>
                </c:pt>
                <c:pt idx="1790">
                  <c:v>44.775585147354406</c:v>
                </c:pt>
                <c:pt idx="1791">
                  <c:v>44.751806386679363</c:v>
                </c:pt>
                <c:pt idx="1792">
                  <c:v>45.199428065359285</c:v>
                </c:pt>
                <c:pt idx="1793">
                  <c:v>45.969170365969489</c:v>
                </c:pt>
                <c:pt idx="1794">
                  <c:v>46.024492737415471</c:v>
                </c:pt>
                <c:pt idx="1795">
                  <c:v>45.195303564453866</c:v>
                </c:pt>
                <c:pt idx="1796">
                  <c:v>45.186753462279967</c:v>
                </c:pt>
                <c:pt idx="1797">
                  <c:v>45.394554276860674</c:v>
                </c:pt>
                <c:pt idx="1798">
                  <c:v>45.644930383256082</c:v>
                </c:pt>
                <c:pt idx="1799">
                  <c:v>46.84392121588067</c:v>
                </c:pt>
                <c:pt idx="1800">
                  <c:v>47.1842889314552</c:v>
                </c:pt>
                <c:pt idx="1801">
                  <c:v>47.1842889314552</c:v>
                </c:pt>
                <c:pt idx="1802">
                  <c:v>47.1842889314552</c:v>
                </c:pt>
                <c:pt idx="1803">
                  <c:v>48.43025718993303</c:v>
                </c:pt>
                <c:pt idx="1804">
                  <c:v>48.664664759769323</c:v>
                </c:pt>
                <c:pt idx="1805">
                  <c:v>48.547289676527811</c:v>
                </c:pt>
                <c:pt idx="1806">
                  <c:v>48.897638347545438</c:v>
                </c:pt>
                <c:pt idx="1807">
                  <c:v>49.705585606974807</c:v>
                </c:pt>
                <c:pt idx="1808">
                  <c:v>49.908429961908809</c:v>
                </c:pt>
                <c:pt idx="1809">
                  <c:v>50.098434221587439</c:v>
                </c:pt>
                <c:pt idx="1810">
                  <c:v>50.263872337069898</c:v>
                </c:pt>
                <c:pt idx="1811">
                  <c:v>49.014554521438981</c:v>
                </c:pt>
                <c:pt idx="1812">
                  <c:v>48.725372160056679</c:v>
                </c:pt>
                <c:pt idx="1813">
                  <c:v>48.626304956635011</c:v>
                </c:pt>
                <c:pt idx="1814">
                  <c:v>47.395263617140728</c:v>
                </c:pt>
                <c:pt idx="1815">
                  <c:v>47.259679595364474</c:v>
                </c:pt>
                <c:pt idx="1816">
                  <c:v>46.976541161200004</c:v>
                </c:pt>
                <c:pt idx="1817">
                  <c:v>47.231746000871198</c:v>
                </c:pt>
                <c:pt idx="1818">
                  <c:v>47.758336171162199</c:v>
                </c:pt>
                <c:pt idx="1819">
                  <c:v>46.472575159123465</c:v>
                </c:pt>
                <c:pt idx="1820">
                  <c:v>45.027475169151955</c:v>
                </c:pt>
                <c:pt idx="1821">
                  <c:v>44.567792881413794</c:v>
                </c:pt>
                <c:pt idx="1822">
                  <c:v>45.649373346891139</c:v>
                </c:pt>
                <c:pt idx="1823">
                  <c:v>44.615181768299294</c:v>
                </c:pt>
                <c:pt idx="1824">
                  <c:v>44.416900767261552</c:v>
                </c:pt>
                <c:pt idx="1825">
                  <c:v>44.06736875719227</c:v>
                </c:pt>
                <c:pt idx="1826">
                  <c:v>44.122386312145551</c:v>
                </c:pt>
                <c:pt idx="1827">
                  <c:v>44.221614925353919</c:v>
                </c:pt>
                <c:pt idx="1828">
                  <c:v>45.711022099965703</c:v>
                </c:pt>
                <c:pt idx="1829">
                  <c:v>46.175284971656907</c:v>
                </c:pt>
                <c:pt idx="1830">
                  <c:v>46.175284971656907</c:v>
                </c:pt>
                <c:pt idx="1831">
                  <c:v>46.07732797606846</c:v>
                </c:pt>
                <c:pt idx="1832">
                  <c:v>47.771967702745485</c:v>
                </c:pt>
                <c:pt idx="1833">
                  <c:v>47.423101684029604</c:v>
                </c:pt>
                <c:pt idx="1834">
                  <c:v>47.157042025099258</c:v>
                </c:pt>
                <c:pt idx="1835">
                  <c:v>47.211193566576696</c:v>
                </c:pt>
                <c:pt idx="1836">
                  <c:v>46.977864406062309</c:v>
                </c:pt>
                <c:pt idx="1837">
                  <c:v>46.977864406062309</c:v>
                </c:pt>
                <c:pt idx="1838">
                  <c:v>46.720330938999012</c:v>
                </c:pt>
                <c:pt idx="1839">
                  <c:v>46.520750502705027</c:v>
                </c:pt>
                <c:pt idx="1840">
                  <c:v>46.343438270863743</c:v>
                </c:pt>
                <c:pt idx="1841">
                  <c:v>46.664459643723347</c:v>
                </c:pt>
                <c:pt idx="1842">
                  <c:v>46.798452916275153</c:v>
                </c:pt>
                <c:pt idx="1843">
                  <c:v>47.352131950768637</c:v>
                </c:pt>
                <c:pt idx="1844">
                  <c:v>46.452995156990227</c:v>
                </c:pt>
                <c:pt idx="1845">
                  <c:v>46.718740998517518</c:v>
                </c:pt>
                <c:pt idx="1846">
                  <c:v>47.063113676760224</c:v>
                </c:pt>
                <c:pt idx="1847">
                  <c:v>47.285518297215617</c:v>
                </c:pt>
                <c:pt idx="1848">
                  <c:v>47.487837245896998</c:v>
                </c:pt>
                <c:pt idx="1849">
                  <c:v>47.77903062276323</c:v>
                </c:pt>
                <c:pt idx="1850">
                  <c:v>48.073939898442859</c:v>
                </c:pt>
                <c:pt idx="1851">
                  <c:v>47.977108343034246</c:v>
                </c:pt>
                <c:pt idx="1852">
                  <c:v>47.496700975651606</c:v>
                </c:pt>
                <c:pt idx="1853">
                  <c:v>47.58121846251359</c:v>
                </c:pt>
                <c:pt idx="1854">
                  <c:v>47.061109188582947</c:v>
                </c:pt>
                <c:pt idx="1855">
                  <c:v>47.292978283576588</c:v>
                </c:pt>
                <c:pt idx="1856">
                  <c:v>46.47540897725662</c:v>
                </c:pt>
                <c:pt idx="1857">
                  <c:v>45.808246541688902</c:v>
                </c:pt>
                <c:pt idx="1858">
                  <c:v>45.663002094006259</c:v>
                </c:pt>
                <c:pt idx="1859">
                  <c:v>45.681617094425093</c:v>
                </c:pt>
                <c:pt idx="1860">
                  <c:v>45.268659616091412</c:v>
                </c:pt>
                <c:pt idx="1861">
                  <c:v>44.406185008111237</c:v>
                </c:pt>
                <c:pt idx="1862">
                  <c:v>45.614890161717938</c:v>
                </c:pt>
                <c:pt idx="1863">
                  <c:v>45.63929407611144</c:v>
                </c:pt>
                <c:pt idx="1864">
                  <c:v>45.716152570235579</c:v>
                </c:pt>
                <c:pt idx="1865">
                  <c:v>45.716152570235579</c:v>
                </c:pt>
                <c:pt idx="1866">
                  <c:v>45.369375170417015</c:v>
                </c:pt>
                <c:pt idx="1867">
                  <c:v>44.558388766298151</c:v>
                </c:pt>
                <c:pt idx="1868">
                  <c:v>45.416293143920541</c:v>
                </c:pt>
                <c:pt idx="1869">
                  <c:v>46.111706260346523</c:v>
                </c:pt>
                <c:pt idx="1870">
                  <c:v>46.592142969562445</c:v>
                </c:pt>
                <c:pt idx="1871">
                  <c:v>46.993522929516303</c:v>
                </c:pt>
                <c:pt idx="1872">
                  <c:v>46.839028537851362</c:v>
                </c:pt>
                <c:pt idx="1873">
                  <c:v>47.149713123757891</c:v>
                </c:pt>
                <c:pt idx="1874">
                  <c:v>47.245042135904697</c:v>
                </c:pt>
                <c:pt idx="1875">
                  <c:v>47.818847672008815</c:v>
                </c:pt>
                <c:pt idx="1876">
                  <c:v>47.656457171092939</c:v>
                </c:pt>
                <c:pt idx="1877">
                  <c:v>48.100445238544381</c:v>
                </c:pt>
                <c:pt idx="1878">
                  <c:v>47.221448873206469</c:v>
                </c:pt>
                <c:pt idx="1879">
                  <c:v>47.736716438188864</c:v>
                </c:pt>
                <c:pt idx="1880">
                  <c:v>47.342814707871099</c:v>
                </c:pt>
                <c:pt idx="1881">
                  <c:v>47.000528510761882</c:v>
                </c:pt>
                <c:pt idx="1882">
                  <c:v>46.924957488656815</c:v>
                </c:pt>
                <c:pt idx="1883">
                  <c:v>46.730692478038463</c:v>
                </c:pt>
                <c:pt idx="1884">
                  <c:v>47.465668864374493</c:v>
                </c:pt>
                <c:pt idx="1885">
                  <c:v>47.102392385017509</c:v>
                </c:pt>
                <c:pt idx="1886">
                  <c:v>47.42585662950907</c:v>
                </c:pt>
                <c:pt idx="1887">
                  <c:v>48.443552717634304</c:v>
                </c:pt>
                <c:pt idx="1888">
                  <c:v>48.584096777219003</c:v>
                </c:pt>
                <c:pt idx="1889">
                  <c:v>48.892782625036574</c:v>
                </c:pt>
                <c:pt idx="1890">
                  <c:v>50.066846436727815</c:v>
                </c:pt>
                <c:pt idx="1891">
                  <c:v>49.583237325987199</c:v>
                </c:pt>
                <c:pt idx="1892">
                  <c:v>50.12493054248273</c:v>
                </c:pt>
                <c:pt idx="1893">
                  <c:v>50.46267638261628</c:v>
                </c:pt>
                <c:pt idx="1894">
                  <c:v>49.756162021963945</c:v>
                </c:pt>
                <c:pt idx="1895">
                  <c:v>49.444917833850923</c:v>
                </c:pt>
                <c:pt idx="1896">
                  <c:v>49.209793135462832</c:v>
                </c:pt>
                <c:pt idx="1897">
                  <c:v>48.565764335734627</c:v>
                </c:pt>
                <c:pt idx="1898">
                  <c:v>49.11156694839724</c:v>
                </c:pt>
                <c:pt idx="1899">
                  <c:v>49.044641439942353</c:v>
                </c:pt>
                <c:pt idx="1900">
                  <c:v>49.541478524862725</c:v>
                </c:pt>
                <c:pt idx="1901">
                  <c:v>49.435279863164453</c:v>
                </c:pt>
                <c:pt idx="1902">
                  <c:v>49.435279863164453</c:v>
                </c:pt>
                <c:pt idx="1903">
                  <c:v>49.38417871671578</c:v>
                </c:pt>
                <c:pt idx="1904">
                  <c:v>49.238558802588983</c:v>
                </c:pt>
                <c:pt idx="1905">
                  <c:v>49.495445490686279</c:v>
                </c:pt>
                <c:pt idx="1906">
                  <c:v>49.758389875892334</c:v>
                </c:pt>
                <c:pt idx="1907">
                  <c:v>49.855983811757511</c:v>
                </c:pt>
                <c:pt idx="1908">
                  <c:v>49.807202311634995</c:v>
                </c:pt>
                <c:pt idx="1909">
                  <c:v>49.818942538498163</c:v>
                </c:pt>
                <c:pt idx="1910">
                  <c:v>49.730772864466445</c:v>
                </c:pt>
                <c:pt idx="1911">
                  <c:v>49.838640285257867</c:v>
                </c:pt>
                <c:pt idx="1912">
                  <c:v>49.800957903987182</c:v>
                </c:pt>
                <c:pt idx="1913">
                  <c:v>49.738672358701905</c:v>
                </c:pt>
                <c:pt idx="1914">
                  <c:v>49.122512010928801</c:v>
                </c:pt>
                <c:pt idx="1915">
                  <c:v>49.388969853917473</c:v>
                </c:pt>
                <c:pt idx="1916">
                  <c:v>50.132806091360237</c:v>
                </c:pt>
                <c:pt idx="1917">
                  <c:v>49.997582682414617</c:v>
                </c:pt>
                <c:pt idx="1918">
                  <c:v>50.317366125155189</c:v>
                </c:pt>
                <c:pt idx="1919">
                  <c:v>50.435174849651816</c:v>
                </c:pt>
                <c:pt idx="1920">
                  <c:v>49.460750213246143</c:v>
                </c:pt>
                <c:pt idx="1921">
                  <c:v>48.424504996357683</c:v>
                </c:pt>
                <c:pt idx="1922">
                  <c:v>48.479843924420379</c:v>
                </c:pt>
                <c:pt idx="1923">
                  <c:v>49.424782573324848</c:v>
                </c:pt>
                <c:pt idx="1924">
                  <c:v>49.7745746866849</c:v>
                </c:pt>
                <c:pt idx="1925">
                  <c:v>50.152884356155113</c:v>
                </c:pt>
                <c:pt idx="1926">
                  <c:v>50.458917745048012</c:v>
                </c:pt>
                <c:pt idx="1927">
                  <c:v>50.755298598595658</c:v>
                </c:pt>
                <c:pt idx="1928">
                  <c:v>50.802076148534525</c:v>
                </c:pt>
                <c:pt idx="1929">
                  <c:v>50.32139759886681</c:v>
                </c:pt>
                <c:pt idx="1930">
                  <c:v>51.046353276003913</c:v>
                </c:pt>
                <c:pt idx="1931">
                  <c:v>50.787667788387068</c:v>
                </c:pt>
                <c:pt idx="1932">
                  <c:v>50.436729325285683</c:v>
                </c:pt>
                <c:pt idx="1933">
                  <c:v>51.258673109036778</c:v>
                </c:pt>
                <c:pt idx="1934">
                  <c:v>51.846131532253651</c:v>
                </c:pt>
                <c:pt idx="1935">
                  <c:v>50.344177203678527</c:v>
                </c:pt>
                <c:pt idx="1936">
                  <c:v>50.721681352791876</c:v>
                </c:pt>
                <c:pt idx="1937">
                  <c:v>51.033870956568649</c:v>
                </c:pt>
                <c:pt idx="1938">
                  <c:v>51.466080652889502</c:v>
                </c:pt>
                <c:pt idx="1939">
                  <c:v>49.651318994750255</c:v>
                </c:pt>
                <c:pt idx="1940">
                  <c:v>49.296000059080598</c:v>
                </c:pt>
                <c:pt idx="1941">
                  <c:v>47.894135987524436</c:v>
                </c:pt>
                <c:pt idx="1942">
                  <c:v>48.19249538303194</c:v>
                </c:pt>
                <c:pt idx="1943">
                  <c:v>48.223376344448297</c:v>
                </c:pt>
                <c:pt idx="1944">
                  <c:v>47.854082410357705</c:v>
                </c:pt>
                <c:pt idx="1945">
                  <c:v>48.21767844422871</c:v>
                </c:pt>
                <c:pt idx="1946">
                  <c:v>48.586768995617859</c:v>
                </c:pt>
                <c:pt idx="1947">
                  <c:v>48.24527513155067</c:v>
                </c:pt>
                <c:pt idx="1948">
                  <c:v>48.707096683125968</c:v>
                </c:pt>
                <c:pt idx="1949">
                  <c:v>48.301610947758007</c:v>
                </c:pt>
                <c:pt idx="1950">
                  <c:v>47.674346590142193</c:v>
                </c:pt>
                <c:pt idx="1951">
                  <c:v>47.900889766613147</c:v>
                </c:pt>
                <c:pt idx="1952">
                  <c:v>47.759495362512126</c:v>
                </c:pt>
                <c:pt idx="1953">
                  <c:v>46.87667285221471</c:v>
                </c:pt>
                <c:pt idx="1954">
                  <c:v>46.625493805388487</c:v>
                </c:pt>
                <c:pt idx="1955">
                  <c:v>45.904787542855019</c:v>
                </c:pt>
                <c:pt idx="1956">
                  <c:v>46.306814952878199</c:v>
                </c:pt>
                <c:pt idx="1957">
                  <c:v>47.324166672242995</c:v>
                </c:pt>
                <c:pt idx="1958">
                  <c:v>47.324166672242995</c:v>
                </c:pt>
                <c:pt idx="1959">
                  <c:v>46.78662120900205</c:v>
                </c:pt>
                <c:pt idx="1960">
                  <c:v>46.376674995193781</c:v>
                </c:pt>
                <c:pt idx="1961">
                  <c:v>46.254103517734706</c:v>
                </c:pt>
                <c:pt idx="1962">
                  <c:v>46.048403693274793</c:v>
                </c:pt>
                <c:pt idx="1963">
                  <c:v>46.311901040254838</c:v>
                </c:pt>
                <c:pt idx="1964">
                  <c:v>46.623511952204495</c:v>
                </c:pt>
                <c:pt idx="1965">
                  <c:v>44.666661227147074</c:v>
                </c:pt>
                <c:pt idx="1966">
                  <c:v>44.528742921007876</c:v>
                </c:pt>
                <c:pt idx="1967">
                  <c:v>43.553716444962333</c:v>
                </c:pt>
                <c:pt idx="1968">
                  <c:v>43.728079639743243</c:v>
                </c:pt>
                <c:pt idx="1969">
                  <c:v>44.386785875385414</c:v>
                </c:pt>
                <c:pt idx="1970">
                  <c:v>44.600178657781299</c:v>
                </c:pt>
                <c:pt idx="1971">
                  <c:v>45.185052986317487</c:v>
                </c:pt>
                <c:pt idx="1972">
                  <c:v>45.334562555492738</c:v>
                </c:pt>
                <c:pt idx="1973">
                  <c:v>44.797968733156864</c:v>
                </c:pt>
                <c:pt idx="1974">
                  <c:v>44.676513676577827</c:v>
                </c:pt>
                <c:pt idx="1975">
                  <c:v>45.082260498895977</c:v>
                </c:pt>
                <c:pt idx="1976">
                  <c:v>45.448353864681309</c:v>
                </c:pt>
                <c:pt idx="1977">
                  <c:v>45.39709759234367</c:v>
                </c:pt>
                <c:pt idx="1978">
                  <c:v>45.978295979017588</c:v>
                </c:pt>
                <c:pt idx="1979">
                  <c:v>45.179758411027393</c:v>
                </c:pt>
                <c:pt idx="1980">
                  <c:v>43.347560566518524</c:v>
                </c:pt>
                <c:pt idx="1981">
                  <c:v>43.509772925847301</c:v>
                </c:pt>
                <c:pt idx="1982">
                  <c:v>43.449907884795834</c:v>
                </c:pt>
                <c:pt idx="1983">
                  <c:v>42.434376959140138</c:v>
                </c:pt>
                <c:pt idx="1984">
                  <c:v>41.748606417108562</c:v>
                </c:pt>
                <c:pt idx="1985">
                  <c:v>41.756815287259485</c:v>
                </c:pt>
                <c:pt idx="1986">
                  <c:v>42.614933614883626</c:v>
                </c:pt>
                <c:pt idx="1987">
                  <c:v>42.28265755567989</c:v>
                </c:pt>
                <c:pt idx="1988">
                  <c:v>42.743296237312109</c:v>
                </c:pt>
                <c:pt idx="1989">
                  <c:v>42.701520757255366</c:v>
                </c:pt>
                <c:pt idx="1990">
                  <c:v>42.50915115328462</c:v>
                </c:pt>
                <c:pt idx="1991">
                  <c:v>42.247972828172777</c:v>
                </c:pt>
                <c:pt idx="1992">
                  <c:v>43.196898314092437</c:v>
                </c:pt>
                <c:pt idx="1993">
                  <c:v>43.155494956797412</c:v>
                </c:pt>
                <c:pt idx="1994">
                  <c:v>43.229067097689949</c:v>
                </c:pt>
                <c:pt idx="1995">
                  <c:v>43.296443245572902</c:v>
                </c:pt>
                <c:pt idx="1996">
                  <c:v>43.741656806386032</c:v>
                </c:pt>
                <c:pt idx="1997">
                  <c:v>43.741656806386032</c:v>
                </c:pt>
                <c:pt idx="1998">
                  <c:v>43.973459453672206</c:v>
                </c:pt>
                <c:pt idx="1999">
                  <c:v>43.889466342605942</c:v>
                </c:pt>
                <c:pt idx="2000">
                  <c:v>44.199927263833445</c:v>
                </c:pt>
                <c:pt idx="2001">
                  <c:v>44.125669797736975</c:v>
                </c:pt>
                <c:pt idx="2002">
                  <c:v>44.716907666429563</c:v>
                </c:pt>
                <c:pt idx="2003">
                  <c:v>43.696256086955913</c:v>
                </c:pt>
                <c:pt idx="2004">
                  <c:v>43.636981357627974</c:v>
                </c:pt>
                <c:pt idx="2005">
                  <c:v>43.978712428588295</c:v>
                </c:pt>
                <c:pt idx="2006">
                  <c:v>43.825660939761377</c:v>
                </c:pt>
                <c:pt idx="2007">
                  <c:v>44.6242672408369</c:v>
                </c:pt>
                <c:pt idx="2008">
                  <c:v>43.88348546005156</c:v>
                </c:pt>
                <c:pt idx="2009">
                  <c:v>43.888449543179689</c:v>
                </c:pt>
                <c:pt idx="2010">
                  <c:v>43.401968411481448</c:v>
                </c:pt>
                <c:pt idx="2011">
                  <c:v>43.566315279605647</c:v>
                </c:pt>
                <c:pt idx="2012">
                  <c:v>43.716119492159009</c:v>
                </c:pt>
                <c:pt idx="2013">
                  <c:v>43.145960618974897</c:v>
                </c:pt>
                <c:pt idx="2014">
                  <c:v>42.96967055524911</c:v>
                </c:pt>
                <c:pt idx="2015">
                  <c:v>43.386425203068171</c:v>
                </c:pt>
                <c:pt idx="2016">
                  <c:v>42.969403494013363</c:v>
                </c:pt>
                <c:pt idx="2017">
                  <c:v>42.955534051926321</c:v>
                </c:pt>
                <c:pt idx="2018">
                  <c:v>42.0492554149086</c:v>
                </c:pt>
                <c:pt idx="2019">
                  <c:v>41.864628350746415</c:v>
                </c:pt>
                <c:pt idx="2020">
                  <c:v>42.023690754268756</c:v>
                </c:pt>
                <c:pt idx="2021">
                  <c:v>42.259614541286112</c:v>
                </c:pt>
                <c:pt idx="2022">
                  <c:v>42.573539557315655</c:v>
                </c:pt>
                <c:pt idx="2023">
                  <c:v>42.495416404388834</c:v>
                </c:pt>
                <c:pt idx="2024">
                  <c:v>42.695156026606099</c:v>
                </c:pt>
                <c:pt idx="2025">
                  <c:v>43.324199820652012</c:v>
                </c:pt>
                <c:pt idx="2026">
                  <c:v>43.094364734669</c:v>
                </c:pt>
                <c:pt idx="2027">
                  <c:v>43.094612051940203</c:v>
                </c:pt>
                <c:pt idx="2028">
                  <c:v>43.942976403824218</c:v>
                </c:pt>
                <c:pt idx="2029">
                  <c:v>44.999073358651742</c:v>
                </c:pt>
                <c:pt idx="2030">
                  <c:v>45.023740331062072</c:v>
                </c:pt>
                <c:pt idx="2031">
                  <c:v>44.922147478124629</c:v>
                </c:pt>
                <c:pt idx="2032">
                  <c:v>45.078274574155301</c:v>
                </c:pt>
                <c:pt idx="2033">
                  <c:v>44.779304543226488</c:v>
                </c:pt>
                <c:pt idx="2034">
                  <c:v>44.65049189444818</c:v>
                </c:pt>
                <c:pt idx="2035">
                  <c:v>45.265294516342578</c:v>
                </c:pt>
                <c:pt idx="2036">
                  <c:v>46.259985905941505</c:v>
                </c:pt>
                <c:pt idx="2037">
                  <c:v>46.04605590197383</c:v>
                </c:pt>
                <c:pt idx="2038">
                  <c:v>46.237951072669119</c:v>
                </c:pt>
                <c:pt idx="2039">
                  <c:v>47.082040199419112</c:v>
                </c:pt>
                <c:pt idx="2040">
                  <c:v>47.191699723005456</c:v>
                </c:pt>
                <c:pt idx="2041">
                  <c:v>47.666897483522632</c:v>
                </c:pt>
                <c:pt idx="2042">
                  <c:v>47.642352987967257</c:v>
                </c:pt>
                <c:pt idx="2043">
                  <c:v>47.864552186113372</c:v>
                </c:pt>
                <c:pt idx="2044">
                  <c:v>47.419748417414496</c:v>
                </c:pt>
                <c:pt idx="2045">
                  <c:v>47.735355583318409</c:v>
                </c:pt>
                <c:pt idx="2046">
                  <c:v>46.53903314460274</c:v>
                </c:pt>
                <c:pt idx="2047">
                  <c:v>46.58864096446888</c:v>
                </c:pt>
                <c:pt idx="2048">
                  <c:v>46.740302457348577</c:v>
                </c:pt>
                <c:pt idx="2049">
                  <c:v>46.62184446441654</c:v>
                </c:pt>
                <c:pt idx="2050">
                  <c:v>46.753359306684501</c:v>
                </c:pt>
                <c:pt idx="2051">
                  <c:v>46.044644099967314</c:v>
                </c:pt>
                <c:pt idx="2052">
                  <c:v>46.08225021716882</c:v>
                </c:pt>
                <c:pt idx="2053">
                  <c:v>46.883699385152738</c:v>
                </c:pt>
                <c:pt idx="2054">
                  <c:v>46.437593869971181</c:v>
                </c:pt>
                <c:pt idx="2055">
                  <c:v>46.162350532150356</c:v>
                </c:pt>
                <c:pt idx="2056">
                  <c:v>46.592480487107082</c:v>
                </c:pt>
                <c:pt idx="2057">
                  <c:v>46.883031450532627</c:v>
                </c:pt>
                <c:pt idx="2058">
                  <c:v>46.496938142788508</c:v>
                </c:pt>
                <c:pt idx="2059">
                  <c:v>46.748621885709753</c:v>
                </c:pt>
                <c:pt idx="2060">
                  <c:v>47.207100174451142</c:v>
                </c:pt>
                <c:pt idx="2061">
                  <c:v>47.357964244748757</c:v>
                </c:pt>
                <c:pt idx="2062">
                  <c:v>47.692516120057405</c:v>
                </c:pt>
                <c:pt idx="2063">
                  <c:v>47.163699712259245</c:v>
                </c:pt>
                <c:pt idx="2064">
                  <c:v>46.656961868475918</c:v>
                </c:pt>
                <c:pt idx="2065">
                  <c:v>46.865624681076326</c:v>
                </c:pt>
                <c:pt idx="2066">
                  <c:v>47.219801985048065</c:v>
                </c:pt>
                <c:pt idx="2067">
                  <c:v>47.573686330040232</c:v>
                </c:pt>
                <c:pt idx="2068">
                  <c:v>47.701175903038944</c:v>
                </c:pt>
                <c:pt idx="2069">
                  <c:v>47.497528433113615</c:v>
                </c:pt>
                <c:pt idx="2070">
                  <c:v>47.232004573343517</c:v>
                </c:pt>
                <c:pt idx="2071">
                  <c:v>47.165151644261528</c:v>
                </c:pt>
                <c:pt idx="2072">
                  <c:v>47.239492994478667</c:v>
                </c:pt>
                <c:pt idx="2073">
                  <c:v>47.568057257664378</c:v>
                </c:pt>
                <c:pt idx="2074">
                  <c:v>48.304483899661307</c:v>
                </c:pt>
                <c:pt idx="2075">
                  <c:v>49.01630209485694</c:v>
                </c:pt>
                <c:pt idx="2076">
                  <c:v>49.01630209485694</c:v>
                </c:pt>
                <c:pt idx="2077">
                  <c:v>49.01630209485694</c:v>
                </c:pt>
                <c:pt idx="2078">
                  <c:v>49.0215276510325</c:v>
                </c:pt>
                <c:pt idx="2079">
                  <c:v>48.803457814315607</c:v>
                </c:pt>
                <c:pt idx="2080">
                  <c:v>48.909856217762979</c:v>
                </c:pt>
                <c:pt idx="2081">
                  <c:v>48.731492343923151</c:v>
                </c:pt>
                <c:pt idx="2082">
                  <c:v>48.011758406989628</c:v>
                </c:pt>
                <c:pt idx="2083">
                  <c:v>47.626244087723109</c:v>
                </c:pt>
                <c:pt idx="2084">
                  <c:v>47.772233747546636</c:v>
                </c:pt>
                <c:pt idx="2085">
                  <c:v>49.153728245031829</c:v>
                </c:pt>
                <c:pt idx="2086">
                  <c:v>49.289851683097936</c:v>
                </c:pt>
                <c:pt idx="2087">
                  <c:v>49.289851683097936</c:v>
                </c:pt>
                <c:pt idx="2088">
                  <c:v>49.93479635295887</c:v>
                </c:pt>
                <c:pt idx="2089">
                  <c:v>50.341133191313219</c:v>
                </c:pt>
                <c:pt idx="2090">
                  <c:v>51.136148631452841</c:v>
                </c:pt>
                <c:pt idx="2091">
                  <c:v>50.687632478307705</c:v>
                </c:pt>
                <c:pt idx="2092">
                  <c:v>51.11338875788951</c:v>
                </c:pt>
                <c:pt idx="2093">
                  <c:v>50.926892732811609</c:v>
                </c:pt>
                <c:pt idx="2094">
                  <c:v>50.359637730613883</c:v>
                </c:pt>
                <c:pt idx="2095">
                  <c:v>49.956080387035826</c:v>
                </c:pt>
                <c:pt idx="2096">
                  <c:v>50.419438857263316</c:v>
                </c:pt>
                <c:pt idx="2097">
                  <c:v>49.464906501490191</c:v>
                </c:pt>
                <c:pt idx="2098">
                  <c:v>49.967857574555978</c:v>
                </c:pt>
                <c:pt idx="2099">
                  <c:v>50.138568062389311</c:v>
                </c:pt>
                <c:pt idx="2100">
                  <c:v>50.034357768440458</c:v>
                </c:pt>
                <c:pt idx="2101">
                  <c:v>50.061694816217539</c:v>
                </c:pt>
                <c:pt idx="2102">
                  <c:v>49.820260765410666</c:v>
                </c:pt>
                <c:pt idx="2103">
                  <c:v>49.924100564993807</c:v>
                </c:pt>
                <c:pt idx="2104">
                  <c:v>50.094128203845656</c:v>
                </c:pt>
                <c:pt idx="2105">
                  <c:v>50.094128203845656</c:v>
                </c:pt>
                <c:pt idx="2106">
                  <c:v>51.250517257930341</c:v>
                </c:pt>
                <c:pt idx="2107">
                  <c:v>51.234651345701849</c:v>
                </c:pt>
                <c:pt idx="2108">
                  <c:v>52.417385067774148</c:v>
                </c:pt>
                <c:pt idx="2109">
                  <c:v>53.186929587070154</c:v>
                </c:pt>
                <c:pt idx="2110">
                  <c:v>53.486781906585605</c:v>
                </c:pt>
                <c:pt idx="2111">
                  <c:v>53.74383182685574</c:v>
                </c:pt>
                <c:pt idx="2112">
                  <c:v>53.74383182685574</c:v>
                </c:pt>
                <c:pt idx="2113">
                  <c:v>53.300493484552476</c:v>
                </c:pt>
                <c:pt idx="2114">
                  <c:v>52.94811018523086</c:v>
                </c:pt>
                <c:pt idx="2115">
                  <c:v>52.274344420614682</c:v>
                </c:pt>
                <c:pt idx="2116">
                  <c:v>52.081995073657794</c:v>
                </c:pt>
                <c:pt idx="2117">
                  <c:v>51.647019244770235</c:v>
                </c:pt>
                <c:pt idx="2118">
                  <c:v>51.66219517269883</c:v>
                </c:pt>
                <c:pt idx="2119">
                  <c:v>52.979864990937983</c:v>
                </c:pt>
                <c:pt idx="2120">
                  <c:v>52.796174483991507</c:v>
                </c:pt>
                <c:pt idx="2121">
                  <c:v>53.611956288677533</c:v>
                </c:pt>
                <c:pt idx="2122">
                  <c:v>53.618503913231365</c:v>
                </c:pt>
                <c:pt idx="2123">
                  <c:v>54.538936811680145</c:v>
                </c:pt>
                <c:pt idx="2124">
                  <c:v>54.458942509524888</c:v>
                </c:pt>
                <c:pt idx="2125">
                  <c:v>53.620949422449172</c:v>
                </c:pt>
                <c:pt idx="2126">
                  <c:v>53.620949422449172</c:v>
                </c:pt>
                <c:pt idx="2127">
                  <c:v>53.761854475039087</c:v>
                </c:pt>
                <c:pt idx="2128">
                  <c:v>52.043522323174528</c:v>
                </c:pt>
                <c:pt idx="2129">
                  <c:v>51.162426869778443</c:v>
                </c:pt>
                <c:pt idx="2130">
                  <c:v>49.596894389770938</c:v>
                </c:pt>
                <c:pt idx="2131">
                  <c:v>50.408689869581565</c:v>
                </c:pt>
                <c:pt idx="2132">
                  <c:v>49.091041502561609</c:v>
                </c:pt>
                <c:pt idx="2133">
                  <c:v>48.832497867646708</c:v>
                </c:pt>
                <c:pt idx="2134">
                  <c:v>49.165047148489066</c:v>
                </c:pt>
                <c:pt idx="2135">
                  <c:v>47.898236857287998</c:v>
                </c:pt>
                <c:pt idx="2136">
                  <c:v>47.899843888027931</c:v>
                </c:pt>
                <c:pt idx="2137">
                  <c:v>48.097338518359237</c:v>
                </c:pt>
                <c:pt idx="2138">
                  <c:v>47.476600882916927</c:v>
                </c:pt>
                <c:pt idx="2139">
                  <c:v>47.827609815385301</c:v>
                </c:pt>
                <c:pt idx="2140">
                  <c:v>47.947378596303821</c:v>
                </c:pt>
                <c:pt idx="2141">
                  <c:v>48.244909216858275</c:v>
                </c:pt>
                <c:pt idx="2142">
                  <c:v>48.699424658223194</c:v>
                </c:pt>
                <c:pt idx="2143">
                  <c:v>48.741247777465333</c:v>
                </c:pt>
                <c:pt idx="2144">
                  <c:v>49.252686944801439</c:v>
                </c:pt>
                <c:pt idx="2145">
                  <c:v>48.576308354496803</c:v>
                </c:pt>
                <c:pt idx="2146">
                  <c:v>48.299410058010608</c:v>
                </c:pt>
                <c:pt idx="2147">
                  <c:v>47.941258883694161</c:v>
                </c:pt>
                <c:pt idx="2148">
                  <c:v>47.5631112985605</c:v>
                </c:pt>
                <c:pt idx="2149">
                  <c:v>47.895422789072455</c:v>
                </c:pt>
                <c:pt idx="2150">
                  <c:v>48.218521939342679</c:v>
                </c:pt>
                <c:pt idx="2151">
                  <c:v>47.928599814875241</c:v>
                </c:pt>
                <c:pt idx="2152">
                  <c:v>48.478701577149224</c:v>
                </c:pt>
                <c:pt idx="2153">
                  <c:v>47.904305909894902</c:v>
                </c:pt>
                <c:pt idx="2154">
                  <c:v>47.825617289962508</c:v>
                </c:pt>
                <c:pt idx="2155">
                  <c:v>47.721743267045838</c:v>
                </c:pt>
                <c:pt idx="2156">
                  <c:v>47.703783715086956</c:v>
                </c:pt>
                <c:pt idx="2157">
                  <c:v>47.346845099812128</c:v>
                </c:pt>
                <c:pt idx="2158">
                  <c:v>47.2076241813389</c:v>
                </c:pt>
                <c:pt idx="2159">
                  <c:v>47.995226969755407</c:v>
                </c:pt>
                <c:pt idx="2160">
                  <c:v>47.871916186706471</c:v>
                </c:pt>
                <c:pt idx="2161">
                  <c:v>48.53515256653148</c:v>
                </c:pt>
                <c:pt idx="2162">
                  <c:v>48.656753759370815</c:v>
                </c:pt>
                <c:pt idx="2163">
                  <c:v>48.656753759370815</c:v>
                </c:pt>
                <c:pt idx="2164">
                  <c:v>48.892412108810845</c:v>
                </c:pt>
                <c:pt idx="2165">
                  <c:v>49.518119683486702</c:v>
                </c:pt>
                <c:pt idx="2166">
                  <c:v>48.799177658558619</c:v>
                </c:pt>
                <c:pt idx="2167">
                  <c:v>49.129080149763922</c:v>
                </c:pt>
                <c:pt idx="2168">
                  <c:v>49.466181975737697</c:v>
                </c:pt>
                <c:pt idx="2169">
                  <c:v>48.985931430402132</c:v>
                </c:pt>
                <c:pt idx="2170">
                  <c:v>48.769714332357523</c:v>
                </c:pt>
                <c:pt idx="2171">
                  <c:v>48.487251941039574</c:v>
                </c:pt>
                <c:pt idx="2172">
                  <c:v>48.52219153178774</c:v>
                </c:pt>
                <c:pt idx="2173">
                  <c:v>48.061639104518093</c:v>
                </c:pt>
                <c:pt idx="2174">
                  <c:v>48.487761043854448</c:v>
                </c:pt>
                <c:pt idx="2175">
                  <c:v>48.87023941397095</c:v>
                </c:pt>
                <c:pt idx="2176">
                  <c:v>48.902133474117562</c:v>
                </c:pt>
                <c:pt idx="2177">
                  <c:v>48.837692875568138</c:v>
                </c:pt>
                <c:pt idx="2178">
                  <c:v>49.150548202024481</c:v>
                </c:pt>
                <c:pt idx="2179">
                  <c:v>48.615264116716531</c:v>
                </c:pt>
                <c:pt idx="2180">
                  <c:v>48.684555634777041</c:v>
                </c:pt>
                <c:pt idx="2181">
                  <c:v>48.777339602198765</c:v>
                </c:pt>
                <c:pt idx="2182">
                  <c:v>48.982221280558548</c:v>
                </c:pt>
                <c:pt idx="2183">
                  <c:v>48.359686160594208</c:v>
                </c:pt>
                <c:pt idx="2184">
                  <c:v>48.105291737571889</c:v>
                </c:pt>
                <c:pt idx="2185">
                  <c:v>47.856625165554931</c:v>
                </c:pt>
                <c:pt idx="2186">
                  <c:v>47.805499710706101</c:v>
                </c:pt>
                <c:pt idx="2187">
                  <c:v>48.122273268962459</c:v>
                </c:pt>
                <c:pt idx="2188">
                  <c:v>47.826111817681976</c:v>
                </c:pt>
                <c:pt idx="2189">
                  <c:v>47.594672093574445</c:v>
                </c:pt>
                <c:pt idx="2190">
                  <c:v>46.681457903889765</c:v>
                </c:pt>
                <c:pt idx="2191">
                  <c:v>46.556669062642214</c:v>
                </c:pt>
                <c:pt idx="2192">
                  <c:v>47.099234107718559</c:v>
                </c:pt>
                <c:pt idx="2193">
                  <c:v>46.661294815468835</c:v>
                </c:pt>
                <c:pt idx="2194">
                  <c:v>45.716382719467219</c:v>
                </c:pt>
                <c:pt idx="2195">
                  <c:v>45.73013304133508</c:v>
                </c:pt>
                <c:pt idx="2196">
                  <c:v>45.620363462835257</c:v>
                </c:pt>
                <c:pt idx="2197">
                  <c:v>46.092006939699246</c:v>
                </c:pt>
                <c:pt idx="2198">
                  <c:v>45.814626099607608</c:v>
                </c:pt>
                <c:pt idx="2199">
                  <c:v>46.007712653487999</c:v>
                </c:pt>
                <c:pt idx="2200">
                  <c:v>46.007522091129687</c:v>
                </c:pt>
                <c:pt idx="2201">
                  <c:v>45.873123983892299</c:v>
                </c:pt>
                <c:pt idx="2202">
                  <c:v>46.538516727116814</c:v>
                </c:pt>
                <c:pt idx="2203">
                  <c:v>46.743276832373198</c:v>
                </c:pt>
                <c:pt idx="2204">
                  <c:v>46.962289259185667</c:v>
                </c:pt>
                <c:pt idx="2205">
                  <c:v>47.40470387179991</c:v>
                </c:pt>
                <c:pt idx="2206">
                  <c:v>47.073616801585274</c:v>
                </c:pt>
                <c:pt idx="2207">
                  <c:v>46.561683847106764</c:v>
                </c:pt>
                <c:pt idx="2208">
                  <c:v>46.455528453393072</c:v>
                </c:pt>
                <c:pt idx="2209">
                  <c:v>46.74872728176868</c:v>
                </c:pt>
                <c:pt idx="2210">
                  <c:v>46.156936840996565</c:v>
                </c:pt>
                <c:pt idx="2211">
                  <c:v>45.455633874225271</c:v>
                </c:pt>
                <c:pt idx="2212">
                  <c:v>45.617690880377893</c:v>
                </c:pt>
                <c:pt idx="2213">
                  <c:v>44.429305230726584</c:v>
                </c:pt>
                <c:pt idx="2214">
                  <c:v>44.337302540181497</c:v>
                </c:pt>
                <c:pt idx="2215">
                  <c:v>45.607828691129697</c:v>
                </c:pt>
                <c:pt idx="2216">
                  <c:v>46.268600292371133</c:v>
                </c:pt>
                <c:pt idx="2217">
                  <c:v>46.160341351846171</c:v>
                </c:pt>
                <c:pt idx="2218">
                  <c:v>46.271473827092422</c:v>
                </c:pt>
                <c:pt idx="2219">
                  <c:v>46.271473827092422</c:v>
                </c:pt>
                <c:pt idx="2220">
                  <c:v>45.04695391409814</c:v>
                </c:pt>
                <c:pt idx="2221">
                  <c:v>45.828160411733364</c:v>
                </c:pt>
                <c:pt idx="2222">
                  <c:v>46.202713148961863</c:v>
                </c:pt>
                <c:pt idx="2223">
                  <c:v>45.97367676227762</c:v>
                </c:pt>
                <c:pt idx="2224">
                  <c:v>46.237771126557789</c:v>
                </c:pt>
                <c:pt idx="2225">
                  <c:v>46.388434822352906</c:v>
                </c:pt>
                <c:pt idx="2226">
                  <c:v>46.126763396838328</c:v>
                </c:pt>
                <c:pt idx="2227">
                  <c:v>45.767298691797947</c:v>
                </c:pt>
                <c:pt idx="2228">
                  <c:v>46.155543465209661</c:v>
                </c:pt>
                <c:pt idx="2229">
                  <c:v>45.68968044153678</c:v>
                </c:pt>
                <c:pt idx="2230">
                  <c:v>45.936915662401418</c:v>
                </c:pt>
                <c:pt idx="2231">
                  <c:v>45.513167104439049</c:v>
                </c:pt>
                <c:pt idx="2232">
                  <c:v>45.737244859341388</c:v>
                </c:pt>
                <c:pt idx="2233">
                  <c:v>45.890053091532252</c:v>
                </c:pt>
                <c:pt idx="2234">
                  <c:v>45.94837451057262</c:v>
                </c:pt>
                <c:pt idx="2235">
                  <c:v>46.268502343559589</c:v>
                </c:pt>
                <c:pt idx="2236">
                  <c:v>46.19008372183302</c:v>
                </c:pt>
                <c:pt idx="2237">
                  <c:v>46.305170418647464</c:v>
                </c:pt>
                <c:pt idx="2238">
                  <c:v>47.015257595188729</c:v>
                </c:pt>
                <c:pt idx="2239">
                  <c:v>46.523975220301878</c:v>
                </c:pt>
                <c:pt idx="2240">
                  <c:v>46.999418939619034</c:v>
                </c:pt>
                <c:pt idx="2241">
                  <c:v>46.739376185029869</c:v>
                </c:pt>
                <c:pt idx="2242">
                  <c:v>47.172021513890769</c:v>
                </c:pt>
                <c:pt idx="2243">
                  <c:v>47.119458029047621</c:v>
                </c:pt>
                <c:pt idx="2244">
                  <c:v>47.898990992472164</c:v>
                </c:pt>
                <c:pt idx="2245">
                  <c:v>47.907197411938057</c:v>
                </c:pt>
                <c:pt idx="2246">
                  <c:v>47.538489535436355</c:v>
                </c:pt>
                <c:pt idx="2247">
                  <c:v>46.845944460621439</c:v>
                </c:pt>
                <c:pt idx="2248">
                  <c:v>47.246067862813675</c:v>
                </c:pt>
                <c:pt idx="2249">
                  <c:v>46.966412392440475</c:v>
                </c:pt>
                <c:pt idx="2250">
                  <c:v>46.919729937772132</c:v>
                </c:pt>
                <c:pt idx="2251">
                  <c:v>47.182269953855581</c:v>
                </c:pt>
                <c:pt idx="2252">
                  <c:v>47.395962073234159</c:v>
                </c:pt>
                <c:pt idx="2253">
                  <c:v>47.264591577780493</c:v>
                </c:pt>
                <c:pt idx="2254">
                  <c:v>46.760346404697373</c:v>
                </c:pt>
                <c:pt idx="2255">
                  <c:v>46.042156573769347</c:v>
                </c:pt>
                <c:pt idx="2256">
                  <c:v>46.475645741519116</c:v>
                </c:pt>
                <c:pt idx="2257">
                  <c:v>46.475645741519116</c:v>
                </c:pt>
                <c:pt idx="2258">
                  <c:v>46.475645741519116</c:v>
                </c:pt>
                <c:pt idx="2259">
                  <c:v>46.427960005834223</c:v>
                </c:pt>
                <c:pt idx="2260">
                  <c:v>46.440177319166452</c:v>
                </c:pt>
                <c:pt idx="2261">
                  <c:v>46.21746377916952</c:v>
                </c:pt>
                <c:pt idx="2262">
                  <c:v>46.21746377916952</c:v>
                </c:pt>
                <c:pt idx="2263">
                  <c:v>45.760639977094655</c:v>
                </c:pt>
                <c:pt idx="2264">
                  <c:v>45.730775717469356</c:v>
                </c:pt>
                <c:pt idx="2265">
                  <c:v>45.814034098131287</c:v>
                </c:pt>
                <c:pt idx="2266">
                  <c:v>47.045178386908873</c:v>
                </c:pt>
                <c:pt idx="2267">
                  <c:v>46.738896654729785</c:v>
                </c:pt>
                <c:pt idx="2268">
                  <c:v>46.913805631383525</c:v>
                </c:pt>
                <c:pt idx="2269">
                  <c:v>45.375463301633914</c:v>
                </c:pt>
                <c:pt idx="2270">
                  <c:v>44.769854389545912</c:v>
                </c:pt>
                <c:pt idx="2271">
                  <c:v>45.39376548397064</c:v>
                </c:pt>
                <c:pt idx="2272">
                  <c:v>45.351684027625481</c:v>
                </c:pt>
                <c:pt idx="2273">
                  <c:v>46.188112395766154</c:v>
                </c:pt>
                <c:pt idx="2274">
                  <c:v>46.45651921667698</c:v>
                </c:pt>
                <c:pt idx="2275">
                  <c:v>45.893541780803588</c:v>
                </c:pt>
                <c:pt idx="2276">
                  <c:v>46.538506726989624</c:v>
                </c:pt>
                <c:pt idx="2277">
                  <c:v>45.58842437459495</c:v>
                </c:pt>
                <c:pt idx="2278">
                  <c:v>46.250895379001634</c:v>
                </c:pt>
                <c:pt idx="2279">
                  <c:v>45.566637917864398</c:v>
                </c:pt>
                <c:pt idx="2280">
                  <c:v>44.759146476217467</c:v>
                </c:pt>
                <c:pt idx="2281">
                  <c:v>45.884578988400506</c:v>
                </c:pt>
                <c:pt idx="2282">
                  <c:v>45.543721688599561</c:v>
                </c:pt>
                <c:pt idx="2283">
                  <c:v>45.942620926159378</c:v>
                </c:pt>
                <c:pt idx="2284">
                  <c:v>46.38615127360859</c:v>
                </c:pt>
              </c:numCache>
            </c:numRef>
          </c:val>
          <c:extLst xmlns:c16r2="http://schemas.microsoft.com/office/drawing/2015/06/chart">
            <c:ext xmlns:c16="http://schemas.microsoft.com/office/drawing/2014/chart" uri="{C3380CC4-5D6E-409C-BE32-E72D297353CC}">
              <c16:uniqueId val="{00000000-7127-4EE7-81B7-88A877082DDF}"/>
            </c:ext>
          </c:extLst>
        </c:ser>
        <c:dLbls>
          <c:showLegendKey val="0"/>
          <c:showVal val="0"/>
          <c:showCatName val="0"/>
          <c:showSerName val="0"/>
          <c:showPercent val="0"/>
          <c:showBubbleSize val="0"/>
        </c:dLbls>
        <c:axId val="336759424"/>
        <c:axId val="336757888"/>
      </c:areaChart>
      <c:lineChart>
        <c:grouping val="standard"/>
        <c:varyColors val="0"/>
        <c:ser>
          <c:idx val="0"/>
          <c:order val="0"/>
          <c:tx>
            <c:v>Gross performance</c:v>
          </c:tx>
          <c:spPr>
            <a:ln w="28575">
              <a:solidFill>
                <a:srgbClr val="001C4B"/>
              </a:solidFill>
              <a:prstDash val="solid"/>
            </a:ln>
          </c:spPr>
          <c:marker>
            <c:symbol val="none"/>
          </c:marker>
          <c:cat>
            <c:numRef>
              <c:f>'Amundi Fds Europe MinVar BRUT'!$C$5:$C$2289</c:f>
              <c:numCache>
                <c:formatCode>m/d/yyyy</c:formatCode>
                <c:ptCount val="2285"/>
                <c:pt idx="0">
                  <c:v>39933</c:v>
                </c:pt>
                <c:pt idx="1">
                  <c:v>39934</c:v>
                </c:pt>
                <c:pt idx="2">
                  <c:v>39937</c:v>
                </c:pt>
                <c:pt idx="3">
                  <c:v>39938</c:v>
                </c:pt>
                <c:pt idx="4">
                  <c:v>39939</c:v>
                </c:pt>
                <c:pt idx="5">
                  <c:v>39940</c:v>
                </c:pt>
                <c:pt idx="6">
                  <c:v>39941</c:v>
                </c:pt>
                <c:pt idx="7">
                  <c:v>39944</c:v>
                </c:pt>
                <c:pt idx="8">
                  <c:v>39945</c:v>
                </c:pt>
                <c:pt idx="9">
                  <c:v>39946</c:v>
                </c:pt>
                <c:pt idx="10">
                  <c:v>39947</c:v>
                </c:pt>
                <c:pt idx="11">
                  <c:v>39948</c:v>
                </c:pt>
                <c:pt idx="12">
                  <c:v>39951</c:v>
                </c:pt>
                <c:pt idx="13">
                  <c:v>39952</c:v>
                </c:pt>
                <c:pt idx="14">
                  <c:v>39953</c:v>
                </c:pt>
                <c:pt idx="15">
                  <c:v>39954</c:v>
                </c:pt>
                <c:pt idx="16">
                  <c:v>39955</c:v>
                </c:pt>
                <c:pt idx="17">
                  <c:v>39958</c:v>
                </c:pt>
                <c:pt idx="18">
                  <c:v>39959</c:v>
                </c:pt>
                <c:pt idx="19">
                  <c:v>39960</c:v>
                </c:pt>
                <c:pt idx="20">
                  <c:v>39961</c:v>
                </c:pt>
                <c:pt idx="21">
                  <c:v>39962</c:v>
                </c:pt>
                <c:pt idx="22">
                  <c:v>39965</c:v>
                </c:pt>
                <c:pt idx="23">
                  <c:v>39966</c:v>
                </c:pt>
                <c:pt idx="24">
                  <c:v>39967</c:v>
                </c:pt>
                <c:pt idx="25">
                  <c:v>39968</c:v>
                </c:pt>
                <c:pt idx="26">
                  <c:v>39969</c:v>
                </c:pt>
                <c:pt idx="27">
                  <c:v>39972</c:v>
                </c:pt>
                <c:pt idx="28">
                  <c:v>39973</c:v>
                </c:pt>
                <c:pt idx="29">
                  <c:v>39974</c:v>
                </c:pt>
                <c:pt idx="30">
                  <c:v>39975</c:v>
                </c:pt>
                <c:pt idx="31">
                  <c:v>39976</c:v>
                </c:pt>
                <c:pt idx="32">
                  <c:v>39979</c:v>
                </c:pt>
                <c:pt idx="33">
                  <c:v>39980</c:v>
                </c:pt>
                <c:pt idx="34">
                  <c:v>39981</c:v>
                </c:pt>
                <c:pt idx="35">
                  <c:v>39982</c:v>
                </c:pt>
                <c:pt idx="36">
                  <c:v>39983</c:v>
                </c:pt>
                <c:pt idx="37">
                  <c:v>39986</c:v>
                </c:pt>
                <c:pt idx="38">
                  <c:v>39987</c:v>
                </c:pt>
                <c:pt idx="39">
                  <c:v>39988</c:v>
                </c:pt>
                <c:pt idx="40">
                  <c:v>39989</c:v>
                </c:pt>
                <c:pt idx="41">
                  <c:v>39990</c:v>
                </c:pt>
                <c:pt idx="42">
                  <c:v>39993</c:v>
                </c:pt>
                <c:pt idx="43">
                  <c:v>39994</c:v>
                </c:pt>
                <c:pt idx="44">
                  <c:v>39995</c:v>
                </c:pt>
                <c:pt idx="45">
                  <c:v>39996</c:v>
                </c:pt>
                <c:pt idx="46">
                  <c:v>39997</c:v>
                </c:pt>
                <c:pt idx="47">
                  <c:v>40000</c:v>
                </c:pt>
                <c:pt idx="48">
                  <c:v>40001</c:v>
                </c:pt>
                <c:pt idx="49">
                  <c:v>40002</c:v>
                </c:pt>
                <c:pt idx="50">
                  <c:v>40003</c:v>
                </c:pt>
                <c:pt idx="51">
                  <c:v>40004</c:v>
                </c:pt>
                <c:pt idx="52">
                  <c:v>40007</c:v>
                </c:pt>
                <c:pt idx="53">
                  <c:v>40008</c:v>
                </c:pt>
                <c:pt idx="54">
                  <c:v>40009</c:v>
                </c:pt>
                <c:pt idx="55">
                  <c:v>40010</c:v>
                </c:pt>
                <c:pt idx="56">
                  <c:v>40011</c:v>
                </c:pt>
                <c:pt idx="57">
                  <c:v>40014</c:v>
                </c:pt>
                <c:pt idx="58">
                  <c:v>40015</c:v>
                </c:pt>
                <c:pt idx="59">
                  <c:v>40016</c:v>
                </c:pt>
                <c:pt idx="60">
                  <c:v>40017</c:v>
                </c:pt>
                <c:pt idx="61">
                  <c:v>40018</c:v>
                </c:pt>
                <c:pt idx="62">
                  <c:v>40021</c:v>
                </c:pt>
                <c:pt idx="63">
                  <c:v>40022</c:v>
                </c:pt>
                <c:pt idx="64">
                  <c:v>40023</c:v>
                </c:pt>
                <c:pt idx="65">
                  <c:v>40024</c:v>
                </c:pt>
                <c:pt idx="66">
                  <c:v>40025</c:v>
                </c:pt>
                <c:pt idx="67">
                  <c:v>40028</c:v>
                </c:pt>
                <c:pt idx="68">
                  <c:v>40029</c:v>
                </c:pt>
                <c:pt idx="69">
                  <c:v>40030</c:v>
                </c:pt>
                <c:pt idx="70">
                  <c:v>40031</c:v>
                </c:pt>
                <c:pt idx="71">
                  <c:v>40032</c:v>
                </c:pt>
                <c:pt idx="72">
                  <c:v>40035</c:v>
                </c:pt>
                <c:pt idx="73">
                  <c:v>40036</c:v>
                </c:pt>
                <c:pt idx="74">
                  <c:v>40037</c:v>
                </c:pt>
                <c:pt idx="75">
                  <c:v>40038</c:v>
                </c:pt>
                <c:pt idx="76">
                  <c:v>40039</c:v>
                </c:pt>
                <c:pt idx="77">
                  <c:v>40042</c:v>
                </c:pt>
                <c:pt idx="78">
                  <c:v>40043</c:v>
                </c:pt>
                <c:pt idx="79">
                  <c:v>40044</c:v>
                </c:pt>
                <c:pt idx="80">
                  <c:v>40045</c:v>
                </c:pt>
                <c:pt idx="81">
                  <c:v>40046</c:v>
                </c:pt>
                <c:pt idx="82">
                  <c:v>40049</c:v>
                </c:pt>
                <c:pt idx="83">
                  <c:v>40050</c:v>
                </c:pt>
                <c:pt idx="84">
                  <c:v>40051</c:v>
                </c:pt>
                <c:pt idx="85">
                  <c:v>40052</c:v>
                </c:pt>
                <c:pt idx="86">
                  <c:v>40053</c:v>
                </c:pt>
                <c:pt idx="87">
                  <c:v>40056</c:v>
                </c:pt>
                <c:pt idx="88">
                  <c:v>40057</c:v>
                </c:pt>
                <c:pt idx="89">
                  <c:v>40058</c:v>
                </c:pt>
                <c:pt idx="90">
                  <c:v>40059</c:v>
                </c:pt>
                <c:pt idx="91">
                  <c:v>40060</c:v>
                </c:pt>
                <c:pt idx="92">
                  <c:v>40063</c:v>
                </c:pt>
                <c:pt idx="93">
                  <c:v>40064</c:v>
                </c:pt>
                <c:pt idx="94">
                  <c:v>40065</c:v>
                </c:pt>
                <c:pt idx="95">
                  <c:v>40066</c:v>
                </c:pt>
                <c:pt idx="96">
                  <c:v>40067</c:v>
                </c:pt>
                <c:pt idx="97">
                  <c:v>40070</c:v>
                </c:pt>
                <c:pt idx="98">
                  <c:v>40071</c:v>
                </c:pt>
                <c:pt idx="99">
                  <c:v>40072</c:v>
                </c:pt>
                <c:pt idx="100">
                  <c:v>40073</c:v>
                </c:pt>
                <c:pt idx="101">
                  <c:v>40074</c:v>
                </c:pt>
                <c:pt idx="102">
                  <c:v>40077</c:v>
                </c:pt>
                <c:pt idx="103">
                  <c:v>40078</c:v>
                </c:pt>
                <c:pt idx="104">
                  <c:v>40079</c:v>
                </c:pt>
                <c:pt idx="105">
                  <c:v>40080</c:v>
                </c:pt>
                <c:pt idx="106">
                  <c:v>40081</c:v>
                </c:pt>
                <c:pt idx="107">
                  <c:v>40084</c:v>
                </c:pt>
                <c:pt idx="108">
                  <c:v>40085</c:v>
                </c:pt>
                <c:pt idx="109">
                  <c:v>40086</c:v>
                </c:pt>
                <c:pt idx="110">
                  <c:v>40087</c:v>
                </c:pt>
                <c:pt idx="111">
                  <c:v>40088</c:v>
                </c:pt>
                <c:pt idx="112">
                  <c:v>40091</c:v>
                </c:pt>
                <c:pt idx="113">
                  <c:v>40092</c:v>
                </c:pt>
                <c:pt idx="114">
                  <c:v>40093</c:v>
                </c:pt>
                <c:pt idx="115">
                  <c:v>40094</c:v>
                </c:pt>
                <c:pt idx="116">
                  <c:v>40095</c:v>
                </c:pt>
                <c:pt idx="117">
                  <c:v>40098</c:v>
                </c:pt>
                <c:pt idx="118">
                  <c:v>40099</c:v>
                </c:pt>
                <c:pt idx="119">
                  <c:v>40100</c:v>
                </c:pt>
                <c:pt idx="120">
                  <c:v>40101</c:v>
                </c:pt>
                <c:pt idx="121">
                  <c:v>40102</c:v>
                </c:pt>
                <c:pt idx="122">
                  <c:v>40105</c:v>
                </c:pt>
                <c:pt idx="123">
                  <c:v>40106</c:v>
                </c:pt>
                <c:pt idx="124">
                  <c:v>40107</c:v>
                </c:pt>
                <c:pt idx="125">
                  <c:v>40108</c:v>
                </c:pt>
                <c:pt idx="126">
                  <c:v>40109</c:v>
                </c:pt>
                <c:pt idx="127">
                  <c:v>40112</c:v>
                </c:pt>
                <c:pt idx="128">
                  <c:v>40113</c:v>
                </c:pt>
                <c:pt idx="129">
                  <c:v>40114</c:v>
                </c:pt>
                <c:pt idx="130">
                  <c:v>40115</c:v>
                </c:pt>
                <c:pt idx="131">
                  <c:v>40116</c:v>
                </c:pt>
                <c:pt idx="132">
                  <c:v>40119</c:v>
                </c:pt>
                <c:pt idx="133">
                  <c:v>40120</c:v>
                </c:pt>
                <c:pt idx="134">
                  <c:v>40121</c:v>
                </c:pt>
                <c:pt idx="135">
                  <c:v>40122</c:v>
                </c:pt>
                <c:pt idx="136">
                  <c:v>40123</c:v>
                </c:pt>
                <c:pt idx="137">
                  <c:v>40126</c:v>
                </c:pt>
                <c:pt idx="138">
                  <c:v>40127</c:v>
                </c:pt>
                <c:pt idx="139">
                  <c:v>40128</c:v>
                </c:pt>
                <c:pt idx="140">
                  <c:v>40129</c:v>
                </c:pt>
                <c:pt idx="141">
                  <c:v>40130</c:v>
                </c:pt>
                <c:pt idx="142">
                  <c:v>40133</c:v>
                </c:pt>
                <c:pt idx="143">
                  <c:v>40134</c:v>
                </c:pt>
                <c:pt idx="144">
                  <c:v>40135</c:v>
                </c:pt>
                <c:pt idx="145">
                  <c:v>40136</c:v>
                </c:pt>
                <c:pt idx="146">
                  <c:v>40137</c:v>
                </c:pt>
                <c:pt idx="147">
                  <c:v>40140</c:v>
                </c:pt>
                <c:pt idx="148">
                  <c:v>40141</c:v>
                </c:pt>
                <c:pt idx="149">
                  <c:v>40142</c:v>
                </c:pt>
                <c:pt idx="150">
                  <c:v>40143</c:v>
                </c:pt>
                <c:pt idx="151">
                  <c:v>40144</c:v>
                </c:pt>
                <c:pt idx="152">
                  <c:v>40147</c:v>
                </c:pt>
                <c:pt idx="153">
                  <c:v>40148</c:v>
                </c:pt>
                <c:pt idx="154">
                  <c:v>40149</c:v>
                </c:pt>
                <c:pt idx="155">
                  <c:v>40150</c:v>
                </c:pt>
                <c:pt idx="156">
                  <c:v>40151</c:v>
                </c:pt>
                <c:pt idx="157">
                  <c:v>40154</c:v>
                </c:pt>
                <c:pt idx="158">
                  <c:v>40155</c:v>
                </c:pt>
                <c:pt idx="159">
                  <c:v>40156</c:v>
                </c:pt>
                <c:pt idx="160">
                  <c:v>40157</c:v>
                </c:pt>
                <c:pt idx="161">
                  <c:v>40158</c:v>
                </c:pt>
                <c:pt idx="162">
                  <c:v>40161</c:v>
                </c:pt>
                <c:pt idx="163">
                  <c:v>40162</c:v>
                </c:pt>
                <c:pt idx="164">
                  <c:v>40163</c:v>
                </c:pt>
                <c:pt idx="165">
                  <c:v>40164</c:v>
                </c:pt>
                <c:pt idx="166">
                  <c:v>40165</c:v>
                </c:pt>
                <c:pt idx="167">
                  <c:v>40168</c:v>
                </c:pt>
                <c:pt idx="168">
                  <c:v>40169</c:v>
                </c:pt>
                <c:pt idx="169">
                  <c:v>40170</c:v>
                </c:pt>
                <c:pt idx="170">
                  <c:v>40171</c:v>
                </c:pt>
                <c:pt idx="171">
                  <c:v>40172</c:v>
                </c:pt>
                <c:pt idx="172">
                  <c:v>40175</c:v>
                </c:pt>
                <c:pt idx="173">
                  <c:v>40176</c:v>
                </c:pt>
                <c:pt idx="174">
                  <c:v>40177</c:v>
                </c:pt>
                <c:pt idx="175">
                  <c:v>40178</c:v>
                </c:pt>
                <c:pt idx="176">
                  <c:v>40179</c:v>
                </c:pt>
                <c:pt idx="177">
                  <c:v>40182</c:v>
                </c:pt>
                <c:pt idx="178">
                  <c:v>40183</c:v>
                </c:pt>
                <c:pt idx="179">
                  <c:v>40184</c:v>
                </c:pt>
                <c:pt idx="180">
                  <c:v>40185</c:v>
                </c:pt>
                <c:pt idx="181">
                  <c:v>40186</c:v>
                </c:pt>
                <c:pt idx="182">
                  <c:v>40189</c:v>
                </c:pt>
                <c:pt idx="183">
                  <c:v>40190</c:v>
                </c:pt>
                <c:pt idx="184">
                  <c:v>40191</c:v>
                </c:pt>
                <c:pt idx="185">
                  <c:v>40192</c:v>
                </c:pt>
                <c:pt idx="186">
                  <c:v>40193</c:v>
                </c:pt>
                <c:pt idx="187">
                  <c:v>40196</c:v>
                </c:pt>
                <c:pt idx="188">
                  <c:v>40197</c:v>
                </c:pt>
                <c:pt idx="189">
                  <c:v>40198</c:v>
                </c:pt>
                <c:pt idx="190">
                  <c:v>40199</c:v>
                </c:pt>
                <c:pt idx="191">
                  <c:v>40200</c:v>
                </c:pt>
                <c:pt idx="192">
                  <c:v>40203</c:v>
                </c:pt>
                <c:pt idx="193">
                  <c:v>40204</c:v>
                </c:pt>
                <c:pt idx="194">
                  <c:v>40205</c:v>
                </c:pt>
                <c:pt idx="195">
                  <c:v>40206</c:v>
                </c:pt>
                <c:pt idx="196">
                  <c:v>40207</c:v>
                </c:pt>
                <c:pt idx="197">
                  <c:v>40210</c:v>
                </c:pt>
                <c:pt idx="198">
                  <c:v>40211</c:v>
                </c:pt>
                <c:pt idx="199">
                  <c:v>40212</c:v>
                </c:pt>
                <c:pt idx="200">
                  <c:v>40213</c:v>
                </c:pt>
                <c:pt idx="201">
                  <c:v>40214</c:v>
                </c:pt>
                <c:pt idx="202">
                  <c:v>40217</c:v>
                </c:pt>
                <c:pt idx="203">
                  <c:v>40218</c:v>
                </c:pt>
                <c:pt idx="204">
                  <c:v>40219</c:v>
                </c:pt>
                <c:pt idx="205">
                  <c:v>40220</c:v>
                </c:pt>
                <c:pt idx="206">
                  <c:v>40221</c:v>
                </c:pt>
                <c:pt idx="207">
                  <c:v>40224</c:v>
                </c:pt>
                <c:pt idx="208">
                  <c:v>40225</c:v>
                </c:pt>
                <c:pt idx="209">
                  <c:v>40226</c:v>
                </c:pt>
                <c:pt idx="210">
                  <c:v>40227</c:v>
                </c:pt>
                <c:pt idx="211">
                  <c:v>40228</c:v>
                </c:pt>
                <c:pt idx="212">
                  <c:v>40231</c:v>
                </c:pt>
                <c:pt idx="213">
                  <c:v>40232</c:v>
                </c:pt>
                <c:pt idx="214">
                  <c:v>40233</c:v>
                </c:pt>
                <c:pt idx="215">
                  <c:v>40234</c:v>
                </c:pt>
                <c:pt idx="216">
                  <c:v>40235</c:v>
                </c:pt>
                <c:pt idx="217">
                  <c:v>40238</c:v>
                </c:pt>
                <c:pt idx="218">
                  <c:v>40239</c:v>
                </c:pt>
                <c:pt idx="219">
                  <c:v>40240</c:v>
                </c:pt>
                <c:pt idx="220">
                  <c:v>40241</c:v>
                </c:pt>
                <c:pt idx="221">
                  <c:v>40242</c:v>
                </c:pt>
                <c:pt idx="222">
                  <c:v>40245</c:v>
                </c:pt>
                <c:pt idx="223">
                  <c:v>40246</c:v>
                </c:pt>
                <c:pt idx="224">
                  <c:v>40247</c:v>
                </c:pt>
                <c:pt idx="225">
                  <c:v>40248</c:v>
                </c:pt>
                <c:pt idx="226">
                  <c:v>40249</c:v>
                </c:pt>
                <c:pt idx="227">
                  <c:v>40252</c:v>
                </c:pt>
                <c:pt idx="228">
                  <c:v>40253</c:v>
                </c:pt>
                <c:pt idx="229">
                  <c:v>40254</c:v>
                </c:pt>
                <c:pt idx="230">
                  <c:v>40255</c:v>
                </c:pt>
                <c:pt idx="231">
                  <c:v>40256</c:v>
                </c:pt>
                <c:pt idx="232">
                  <c:v>40259</c:v>
                </c:pt>
                <c:pt idx="233">
                  <c:v>40260</c:v>
                </c:pt>
                <c:pt idx="234">
                  <c:v>40261</c:v>
                </c:pt>
                <c:pt idx="235">
                  <c:v>40262</c:v>
                </c:pt>
                <c:pt idx="236">
                  <c:v>40263</c:v>
                </c:pt>
                <c:pt idx="237">
                  <c:v>40266</c:v>
                </c:pt>
                <c:pt idx="238">
                  <c:v>40267</c:v>
                </c:pt>
                <c:pt idx="239">
                  <c:v>40268</c:v>
                </c:pt>
                <c:pt idx="240">
                  <c:v>40269</c:v>
                </c:pt>
                <c:pt idx="241">
                  <c:v>40270</c:v>
                </c:pt>
                <c:pt idx="242">
                  <c:v>40273</c:v>
                </c:pt>
                <c:pt idx="243">
                  <c:v>40274</c:v>
                </c:pt>
                <c:pt idx="244">
                  <c:v>40275</c:v>
                </c:pt>
                <c:pt idx="245">
                  <c:v>40276</c:v>
                </c:pt>
                <c:pt idx="246">
                  <c:v>40277</c:v>
                </c:pt>
                <c:pt idx="247">
                  <c:v>40280</c:v>
                </c:pt>
                <c:pt idx="248">
                  <c:v>40281</c:v>
                </c:pt>
                <c:pt idx="249">
                  <c:v>40282</c:v>
                </c:pt>
                <c:pt idx="250">
                  <c:v>40283</c:v>
                </c:pt>
                <c:pt idx="251">
                  <c:v>40284</c:v>
                </c:pt>
                <c:pt idx="252">
                  <c:v>40287</c:v>
                </c:pt>
                <c:pt idx="253">
                  <c:v>40288</c:v>
                </c:pt>
                <c:pt idx="254">
                  <c:v>40289</c:v>
                </c:pt>
                <c:pt idx="255">
                  <c:v>40290</c:v>
                </c:pt>
                <c:pt idx="256">
                  <c:v>40291</c:v>
                </c:pt>
                <c:pt idx="257">
                  <c:v>40294</c:v>
                </c:pt>
                <c:pt idx="258">
                  <c:v>40295</c:v>
                </c:pt>
                <c:pt idx="259">
                  <c:v>40296</c:v>
                </c:pt>
                <c:pt idx="260">
                  <c:v>40297</c:v>
                </c:pt>
                <c:pt idx="261">
                  <c:v>40298</c:v>
                </c:pt>
                <c:pt idx="262">
                  <c:v>40301</c:v>
                </c:pt>
                <c:pt idx="263">
                  <c:v>40302</c:v>
                </c:pt>
                <c:pt idx="264">
                  <c:v>40303</c:v>
                </c:pt>
                <c:pt idx="265">
                  <c:v>40304</c:v>
                </c:pt>
                <c:pt idx="266">
                  <c:v>40305</c:v>
                </c:pt>
                <c:pt idx="267">
                  <c:v>40308</c:v>
                </c:pt>
                <c:pt idx="268">
                  <c:v>40309</c:v>
                </c:pt>
                <c:pt idx="269">
                  <c:v>40310</c:v>
                </c:pt>
                <c:pt idx="270">
                  <c:v>40311</c:v>
                </c:pt>
                <c:pt idx="271">
                  <c:v>40312</c:v>
                </c:pt>
                <c:pt idx="272">
                  <c:v>40315</c:v>
                </c:pt>
                <c:pt idx="273">
                  <c:v>40316</c:v>
                </c:pt>
                <c:pt idx="274">
                  <c:v>40317</c:v>
                </c:pt>
                <c:pt idx="275">
                  <c:v>40318</c:v>
                </c:pt>
                <c:pt idx="276">
                  <c:v>40319</c:v>
                </c:pt>
                <c:pt idx="277">
                  <c:v>40322</c:v>
                </c:pt>
                <c:pt idx="278">
                  <c:v>40323</c:v>
                </c:pt>
                <c:pt idx="279">
                  <c:v>40324</c:v>
                </c:pt>
                <c:pt idx="280">
                  <c:v>40325</c:v>
                </c:pt>
                <c:pt idx="281">
                  <c:v>40326</c:v>
                </c:pt>
                <c:pt idx="282">
                  <c:v>40329</c:v>
                </c:pt>
                <c:pt idx="283">
                  <c:v>40330</c:v>
                </c:pt>
                <c:pt idx="284">
                  <c:v>40331</c:v>
                </c:pt>
                <c:pt idx="285">
                  <c:v>40332</c:v>
                </c:pt>
                <c:pt idx="286">
                  <c:v>40333</c:v>
                </c:pt>
                <c:pt idx="287">
                  <c:v>40336</c:v>
                </c:pt>
                <c:pt idx="288">
                  <c:v>40337</c:v>
                </c:pt>
                <c:pt idx="289">
                  <c:v>40338</c:v>
                </c:pt>
                <c:pt idx="290">
                  <c:v>40339</c:v>
                </c:pt>
                <c:pt idx="291">
                  <c:v>40340</c:v>
                </c:pt>
                <c:pt idx="292">
                  <c:v>40343</c:v>
                </c:pt>
                <c:pt idx="293">
                  <c:v>40344</c:v>
                </c:pt>
                <c:pt idx="294">
                  <c:v>40345</c:v>
                </c:pt>
                <c:pt idx="295">
                  <c:v>40346</c:v>
                </c:pt>
                <c:pt idx="296">
                  <c:v>40347</c:v>
                </c:pt>
                <c:pt idx="297">
                  <c:v>40350</c:v>
                </c:pt>
                <c:pt idx="298">
                  <c:v>40351</c:v>
                </c:pt>
                <c:pt idx="299">
                  <c:v>40352</c:v>
                </c:pt>
                <c:pt idx="300">
                  <c:v>40353</c:v>
                </c:pt>
                <c:pt idx="301">
                  <c:v>40354</c:v>
                </c:pt>
                <c:pt idx="302">
                  <c:v>40357</c:v>
                </c:pt>
                <c:pt idx="303">
                  <c:v>40358</c:v>
                </c:pt>
                <c:pt idx="304">
                  <c:v>40359</c:v>
                </c:pt>
                <c:pt idx="305">
                  <c:v>40360</c:v>
                </c:pt>
                <c:pt idx="306">
                  <c:v>40361</c:v>
                </c:pt>
                <c:pt idx="307">
                  <c:v>40364</c:v>
                </c:pt>
                <c:pt idx="308">
                  <c:v>40365</c:v>
                </c:pt>
                <c:pt idx="309">
                  <c:v>40366</c:v>
                </c:pt>
                <c:pt idx="310">
                  <c:v>40367</c:v>
                </c:pt>
                <c:pt idx="311">
                  <c:v>40368</c:v>
                </c:pt>
                <c:pt idx="312">
                  <c:v>40371</c:v>
                </c:pt>
                <c:pt idx="313">
                  <c:v>40372</c:v>
                </c:pt>
                <c:pt idx="314">
                  <c:v>40373</c:v>
                </c:pt>
                <c:pt idx="315">
                  <c:v>40374</c:v>
                </c:pt>
                <c:pt idx="316">
                  <c:v>40375</c:v>
                </c:pt>
                <c:pt idx="317">
                  <c:v>40378</c:v>
                </c:pt>
                <c:pt idx="318">
                  <c:v>40379</c:v>
                </c:pt>
                <c:pt idx="319">
                  <c:v>40380</c:v>
                </c:pt>
                <c:pt idx="320">
                  <c:v>40381</c:v>
                </c:pt>
                <c:pt idx="321">
                  <c:v>40382</c:v>
                </c:pt>
                <c:pt idx="322">
                  <c:v>40385</c:v>
                </c:pt>
                <c:pt idx="323">
                  <c:v>40386</c:v>
                </c:pt>
                <c:pt idx="324">
                  <c:v>40387</c:v>
                </c:pt>
                <c:pt idx="325">
                  <c:v>40388</c:v>
                </c:pt>
                <c:pt idx="326">
                  <c:v>40389</c:v>
                </c:pt>
                <c:pt idx="327">
                  <c:v>40392</c:v>
                </c:pt>
                <c:pt idx="328">
                  <c:v>40393</c:v>
                </c:pt>
                <c:pt idx="329">
                  <c:v>40394</c:v>
                </c:pt>
                <c:pt idx="330">
                  <c:v>40395</c:v>
                </c:pt>
                <c:pt idx="331">
                  <c:v>40396</c:v>
                </c:pt>
                <c:pt idx="332">
                  <c:v>40399</c:v>
                </c:pt>
                <c:pt idx="333">
                  <c:v>40400</c:v>
                </c:pt>
                <c:pt idx="334">
                  <c:v>40401</c:v>
                </c:pt>
                <c:pt idx="335">
                  <c:v>40402</c:v>
                </c:pt>
                <c:pt idx="336">
                  <c:v>40403</c:v>
                </c:pt>
                <c:pt idx="337">
                  <c:v>40406</c:v>
                </c:pt>
                <c:pt idx="338">
                  <c:v>40407</c:v>
                </c:pt>
                <c:pt idx="339">
                  <c:v>40408</c:v>
                </c:pt>
                <c:pt idx="340">
                  <c:v>40409</c:v>
                </c:pt>
                <c:pt idx="341">
                  <c:v>40410</c:v>
                </c:pt>
                <c:pt idx="342">
                  <c:v>40413</c:v>
                </c:pt>
                <c:pt idx="343">
                  <c:v>40414</c:v>
                </c:pt>
                <c:pt idx="344">
                  <c:v>40415</c:v>
                </c:pt>
                <c:pt idx="345">
                  <c:v>40416</c:v>
                </c:pt>
                <c:pt idx="346">
                  <c:v>40417</c:v>
                </c:pt>
                <c:pt idx="347">
                  <c:v>40420</c:v>
                </c:pt>
                <c:pt idx="348">
                  <c:v>40421</c:v>
                </c:pt>
                <c:pt idx="349">
                  <c:v>40422</c:v>
                </c:pt>
                <c:pt idx="350">
                  <c:v>40423</c:v>
                </c:pt>
                <c:pt idx="351">
                  <c:v>40424</c:v>
                </c:pt>
                <c:pt idx="352">
                  <c:v>40427</c:v>
                </c:pt>
                <c:pt idx="353">
                  <c:v>40428</c:v>
                </c:pt>
                <c:pt idx="354">
                  <c:v>40429</c:v>
                </c:pt>
                <c:pt idx="355">
                  <c:v>40430</c:v>
                </c:pt>
                <c:pt idx="356">
                  <c:v>40431</c:v>
                </c:pt>
                <c:pt idx="357">
                  <c:v>40434</c:v>
                </c:pt>
                <c:pt idx="358">
                  <c:v>40435</c:v>
                </c:pt>
                <c:pt idx="359">
                  <c:v>40436</c:v>
                </c:pt>
                <c:pt idx="360">
                  <c:v>40437</c:v>
                </c:pt>
                <c:pt idx="361">
                  <c:v>40438</c:v>
                </c:pt>
                <c:pt idx="362">
                  <c:v>40441</c:v>
                </c:pt>
                <c:pt idx="363">
                  <c:v>40442</c:v>
                </c:pt>
                <c:pt idx="364">
                  <c:v>40443</c:v>
                </c:pt>
                <c:pt idx="365">
                  <c:v>40444</c:v>
                </c:pt>
                <c:pt idx="366">
                  <c:v>40445</c:v>
                </c:pt>
                <c:pt idx="367">
                  <c:v>40448</c:v>
                </c:pt>
                <c:pt idx="368">
                  <c:v>40449</c:v>
                </c:pt>
                <c:pt idx="369">
                  <c:v>40450</c:v>
                </c:pt>
                <c:pt idx="370">
                  <c:v>40451</c:v>
                </c:pt>
                <c:pt idx="371">
                  <c:v>40452</c:v>
                </c:pt>
                <c:pt idx="372">
                  <c:v>40455</c:v>
                </c:pt>
                <c:pt idx="373">
                  <c:v>40456</c:v>
                </c:pt>
                <c:pt idx="374">
                  <c:v>40457</c:v>
                </c:pt>
                <c:pt idx="375">
                  <c:v>40458</c:v>
                </c:pt>
                <c:pt idx="376">
                  <c:v>40459</c:v>
                </c:pt>
                <c:pt idx="377">
                  <c:v>40462</c:v>
                </c:pt>
                <c:pt idx="378">
                  <c:v>40463</c:v>
                </c:pt>
                <c:pt idx="379">
                  <c:v>40464</c:v>
                </c:pt>
                <c:pt idx="380">
                  <c:v>40465</c:v>
                </c:pt>
                <c:pt idx="381">
                  <c:v>40466</c:v>
                </c:pt>
                <c:pt idx="382">
                  <c:v>40469</c:v>
                </c:pt>
                <c:pt idx="383">
                  <c:v>40470</c:v>
                </c:pt>
                <c:pt idx="384">
                  <c:v>40471</c:v>
                </c:pt>
                <c:pt idx="385">
                  <c:v>40472</c:v>
                </c:pt>
                <c:pt idx="386">
                  <c:v>40473</c:v>
                </c:pt>
                <c:pt idx="387">
                  <c:v>40476</c:v>
                </c:pt>
                <c:pt idx="388">
                  <c:v>40477</c:v>
                </c:pt>
                <c:pt idx="389">
                  <c:v>40478</c:v>
                </c:pt>
                <c:pt idx="390">
                  <c:v>40479</c:v>
                </c:pt>
                <c:pt idx="391">
                  <c:v>40480</c:v>
                </c:pt>
                <c:pt idx="392">
                  <c:v>40483</c:v>
                </c:pt>
                <c:pt idx="393">
                  <c:v>40484</c:v>
                </c:pt>
                <c:pt idx="394">
                  <c:v>40485</c:v>
                </c:pt>
                <c:pt idx="395">
                  <c:v>40486</c:v>
                </c:pt>
                <c:pt idx="396">
                  <c:v>40487</c:v>
                </c:pt>
                <c:pt idx="397">
                  <c:v>40490</c:v>
                </c:pt>
                <c:pt idx="398">
                  <c:v>40491</c:v>
                </c:pt>
                <c:pt idx="399">
                  <c:v>40492</c:v>
                </c:pt>
                <c:pt idx="400">
                  <c:v>40493</c:v>
                </c:pt>
                <c:pt idx="401">
                  <c:v>40494</c:v>
                </c:pt>
                <c:pt idx="402">
                  <c:v>40497</c:v>
                </c:pt>
                <c:pt idx="403">
                  <c:v>40498</c:v>
                </c:pt>
                <c:pt idx="404">
                  <c:v>40499</c:v>
                </c:pt>
                <c:pt idx="405">
                  <c:v>40500</c:v>
                </c:pt>
                <c:pt idx="406">
                  <c:v>40501</c:v>
                </c:pt>
                <c:pt idx="407">
                  <c:v>40504</c:v>
                </c:pt>
                <c:pt idx="408">
                  <c:v>40505</c:v>
                </c:pt>
                <c:pt idx="409">
                  <c:v>40506</c:v>
                </c:pt>
                <c:pt idx="410">
                  <c:v>40507</c:v>
                </c:pt>
                <c:pt idx="411">
                  <c:v>40508</c:v>
                </c:pt>
                <c:pt idx="412">
                  <c:v>40511</c:v>
                </c:pt>
                <c:pt idx="413">
                  <c:v>40512</c:v>
                </c:pt>
                <c:pt idx="414">
                  <c:v>40513</c:v>
                </c:pt>
                <c:pt idx="415">
                  <c:v>40514</c:v>
                </c:pt>
                <c:pt idx="416">
                  <c:v>40515</c:v>
                </c:pt>
                <c:pt idx="417">
                  <c:v>40518</c:v>
                </c:pt>
                <c:pt idx="418">
                  <c:v>40519</c:v>
                </c:pt>
                <c:pt idx="419">
                  <c:v>40520</c:v>
                </c:pt>
                <c:pt idx="420">
                  <c:v>40521</c:v>
                </c:pt>
                <c:pt idx="421">
                  <c:v>40522</c:v>
                </c:pt>
                <c:pt idx="422">
                  <c:v>40525</c:v>
                </c:pt>
                <c:pt idx="423">
                  <c:v>40526</c:v>
                </c:pt>
                <c:pt idx="424">
                  <c:v>40527</c:v>
                </c:pt>
                <c:pt idx="425">
                  <c:v>40528</c:v>
                </c:pt>
                <c:pt idx="426">
                  <c:v>40529</c:v>
                </c:pt>
                <c:pt idx="427">
                  <c:v>40532</c:v>
                </c:pt>
                <c:pt idx="428">
                  <c:v>40533</c:v>
                </c:pt>
                <c:pt idx="429">
                  <c:v>40534</c:v>
                </c:pt>
                <c:pt idx="430">
                  <c:v>40535</c:v>
                </c:pt>
                <c:pt idx="431">
                  <c:v>40536</c:v>
                </c:pt>
                <c:pt idx="432">
                  <c:v>40539</c:v>
                </c:pt>
                <c:pt idx="433">
                  <c:v>40540</c:v>
                </c:pt>
                <c:pt idx="434">
                  <c:v>40541</c:v>
                </c:pt>
                <c:pt idx="435">
                  <c:v>40542</c:v>
                </c:pt>
                <c:pt idx="436">
                  <c:v>40543</c:v>
                </c:pt>
                <c:pt idx="437">
                  <c:v>40546</c:v>
                </c:pt>
                <c:pt idx="438">
                  <c:v>40547</c:v>
                </c:pt>
                <c:pt idx="439">
                  <c:v>40548</c:v>
                </c:pt>
                <c:pt idx="440">
                  <c:v>40549</c:v>
                </c:pt>
                <c:pt idx="441">
                  <c:v>40550</c:v>
                </c:pt>
                <c:pt idx="442">
                  <c:v>40553</c:v>
                </c:pt>
                <c:pt idx="443">
                  <c:v>40554</c:v>
                </c:pt>
                <c:pt idx="444">
                  <c:v>40555</c:v>
                </c:pt>
                <c:pt idx="445">
                  <c:v>40556</c:v>
                </c:pt>
                <c:pt idx="446">
                  <c:v>40557</c:v>
                </c:pt>
                <c:pt idx="447">
                  <c:v>40560</c:v>
                </c:pt>
                <c:pt idx="448">
                  <c:v>40561</c:v>
                </c:pt>
                <c:pt idx="449">
                  <c:v>40562</c:v>
                </c:pt>
                <c:pt idx="450">
                  <c:v>40563</c:v>
                </c:pt>
                <c:pt idx="451">
                  <c:v>40564</c:v>
                </c:pt>
                <c:pt idx="452">
                  <c:v>40567</c:v>
                </c:pt>
                <c:pt idx="453">
                  <c:v>40568</c:v>
                </c:pt>
                <c:pt idx="454">
                  <c:v>40569</c:v>
                </c:pt>
                <c:pt idx="455">
                  <c:v>40570</c:v>
                </c:pt>
                <c:pt idx="456">
                  <c:v>40571</c:v>
                </c:pt>
                <c:pt idx="457">
                  <c:v>40574</c:v>
                </c:pt>
                <c:pt idx="458">
                  <c:v>40575</c:v>
                </c:pt>
                <c:pt idx="459">
                  <c:v>40576</c:v>
                </c:pt>
                <c:pt idx="460">
                  <c:v>40577</c:v>
                </c:pt>
                <c:pt idx="461">
                  <c:v>40578</c:v>
                </c:pt>
                <c:pt idx="462">
                  <c:v>40581</c:v>
                </c:pt>
                <c:pt idx="463">
                  <c:v>40582</c:v>
                </c:pt>
                <c:pt idx="464">
                  <c:v>40583</c:v>
                </c:pt>
                <c:pt idx="465">
                  <c:v>40584</c:v>
                </c:pt>
                <c:pt idx="466">
                  <c:v>40585</c:v>
                </c:pt>
                <c:pt idx="467">
                  <c:v>40588</c:v>
                </c:pt>
                <c:pt idx="468">
                  <c:v>40589</c:v>
                </c:pt>
                <c:pt idx="469">
                  <c:v>40590</c:v>
                </c:pt>
                <c:pt idx="470">
                  <c:v>40591</c:v>
                </c:pt>
                <c:pt idx="471">
                  <c:v>40592</c:v>
                </c:pt>
                <c:pt idx="472">
                  <c:v>40595</c:v>
                </c:pt>
                <c:pt idx="473">
                  <c:v>40596</c:v>
                </c:pt>
                <c:pt idx="474">
                  <c:v>40597</c:v>
                </c:pt>
                <c:pt idx="475">
                  <c:v>40598</c:v>
                </c:pt>
                <c:pt idx="476">
                  <c:v>40599</c:v>
                </c:pt>
                <c:pt idx="477">
                  <c:v>40602</c:v>
                </c:pt>
                <c:pt idx="478">
                  <c:v>40603</c:v>
                </c:pt>
                <c:pt idx="479">
                  <c:v>40604</c:v>
                </c:pt>
                <c:pt idx="480">
                  <c:v>40605</c:v>
                </c:pt>
                <c:pt idx="481">
                  <c:v>40606</c:v>
                </c:pt>
                <c:pt idx="482">
                  <c:v>40609</c:v>
                </c:pt>
                <c:pt idx="483">
                  <c:v>40610</c:v>
                </c:pt>
                <c:pt idx="484">
                  <c:v>40611</c:v>
                </c:pt>
                <c:pt idx="485">
                  <c:v>40612</c:v>
                </c:pt>
                <c:pt idx="486">
                  <c:v>40613</c:v>
                </c:pt>
                <c:pt idx="487">
                  <c:v>40616</c:v>
                </c:pt>
                <c:pt idx="488">
                  <c:v>40617</c:v>
                </c:pt>
                <c:pt idx="489">
                  <c:v>40618</c:v>
                </c:pt>
                <c:pt idx="490">
                  <c:v>40619</c:v>
                </c:pt>
                <c:pt idx="491">
                  <c:v>40620</c:v>
                </c:pt>
                <c:pt idx="492">
                  <c:v>40623</c:v>
                </c:pt>
                <c:pt idx="493">
                  <c:v>40624</c:v>
                </c:pt>
                <c:pt idx="494">
                  <c:v>40625</c:v>
                </c:pt>
                <c:pt idx="495">
                  <c:v>40626</c:v>
                </c:pt>
                <c:pt idx="496">
                  <c:v>40627</c:v>
                </c:pt>
                <c:pt idx="497">
                  <c:v>40630</c:v>
                </c:pt>
                <c:pt idx="498">
                  <c:v>40631</c:v>
                </c:pt>
                <c:pt idx="499">
                  <c:v>40632</c:v>
                </c:pt>
                <c:pt idx="500">
                  <c:v>40633</c:v>
                </c:pt>
                <c:pt idx="501">
                  <c:v>40634</c:v>
                </c:pt>
                <c:pt idx="502">
                  <c:v>40637</c:v>
                </c:pt>
                <c:pt idx="503">
                  <c:v>40638</c:v>
                </c:pt>
                <c:pt idx="504">
                  <c:v>40639</c:v>
                </c:pt>
                <c:pt idx="505">
                  <c:v>40640</c:v>
                </c:pt>
                <c:pt idx="506">
                  <c:v>40641</c:v>
                </c:pt>
                <c:pt idx="507">
                  <c:v>40644</c:v>
                </c:pt>
                <c:pt idx="508">
                  <c:v>40645</c:v>
                </c:pt>
                <c:pt idx="509">
                  <c:v>40646</c:v>
                </c:pt>
                <c:pt idx="510">
                  <c:v>40647</c:v>
                </c:pt>
                <c:pt idx="511">
                  <c:v>40648</c:v>
                </c:pt>
                <c:pt idx="512">
                  <c:v>40651</c:v>
                </c:pt>
                <c:pt idx="513">
                  <c:v>40652</c:v>
                </c:pt>
                <c:pt idx="514">
                  <c:v>40653</c:v>
                </c:pt>
                <c:pt idx="515">
                  <c:v>40654</c:v>
                </c:pt>
                <c:pt idx="516">
                  <c:v>40655</c:v>
                </c:pt>
                <c:pt idx="517">
                  <c:v>40658</c:v>
                </c:pt>
                <c:pt idx="518">
                  <c:v>40659</c:v>
                </c:pt>
                <c:pt idx="519">
                  <c:v>40660</c:v>
                </c:pt>
                <c:pt idx="520">
                  <c:v>40661</c:v>
                </c:pt>
                <c:pt idx="521">
                  <c:v>40662</c:v>
                </c:pt>
                <c:pt idx="522">
                  <c:v>40665</c:v>
                </c:pt>
                <c:pt idx="523">
                  <c:v>40666</c:v>
                </c:pt>
                <c:pt idx="524">
                  <c:v>40667</c:v>
                </c:pt>
                <c:pt idx="525">
                  <c:v>40668</c:v>
                </c:pt>
                <c:pt idx="526">
                  <c:v>40669</c:v>
                </c:pt>
                <c:pt idx="527">
                  <c:v>40672</c:v>
                </c:pt>
                <c:pt idx="528">
                  <c:v>40673</c:v>
                </c:pt>
                <c:pt idx="529">
                  <c:v>40674</c:v>
                </c:pt>
                <c:pt idx="530">
                  <c:v>40675</c:v>
                </c:pt>
                <c:pt idx="531">
                  <c:v>40676</c:v>
                </c:pt>
                <c:pt idx="532">
                  <c:v>40679</c:v>
                </c:pt>
                <c:pt idx="533">
                  <c:v>40680</c:v>
                </c:pt>
                <c:pt idx="534">
                  <c:v>40681</c:v>
                </c:pt>
                <c:pt idx="535">
                  <c:v>40682</c:v>
                </c:pt>
                <c:pt idx="536">
                  <c:v>40683</c:v>
                </c:pt>
                <c:pt idx="537">
                  <c:v>40686</c:v>
                </c:pt>
                <c:pt idx="538">
                  <c:v>40687</c:v>
                </c:pt>
                <c:pt idx="539">
                  <c:v>40688</c:v>
                </c:pt>
                <c:pt idx="540">
                  <c:v>40689</c:v>
                </c:pt>
                <c:pt idx="541">
                  <c:v>40690</c:v>
                </c:pt>
                <c:pt idx="542">
                  <c:v>40693</c:v>
                </c:pt>
                <c:pt idx="543">
                  <c:v>40694</c:v>
                </c:pt>
                <c:pt idx="544">
                  <c:v>40695</c:v>
                </c:pt>
                <c:pt idx="545">
                  <c:v>40696</c:v>
                </c:pt>
                <c:pt idx="546">
                  <c:v>40697</c:v>
                </c:pt>
                <c:pt idx="547">
                  <c:v>40700</c:v>
                </c:pt>
                <c:pt idx="548">
                  <c:v>40701</c:v>
                </c:pt>
                <c:pt idx="549">
                  <c:v>40702</c:v>
                </c:pt>
                <c:pt idx="550">
                  <c:v>40703</c:v>
                </c:pt>
                <c:pt idx="551">
                  <c:v>40704</c:v>
                </c:pt>
                <c:pt idx="552">
                  <c:v>40707</c:v>
                </c:pt>
                <c:pt idx="553">
                  <c:v>40708</c:v>
                </c:pt>
                <c:pt idx="554">
                  <c:v>40709</c:v>
                </c:pt>
                <c:pt idx="555">
                  <c:v>40710</c:v>
                </c:pt>
                <c:pt idx="556">
                  <c:v>40711</c:v>
                </c:pt>
                <c:pt idx="557">
                  <c:v>40714</c:v>
                </c:pt>
                <c:pt idx="558">
                  <c:v>40715</c:v>
                </c:pt>
                <c:pt idx="559">
                  <c:v>40716</c:v>
                </c:pt>
                <c:pt idx="560">
                  <c:v>40717</c:v>
                </c:pt>
                <c:pt idx="561">
                  <c:v>40718</c:v>
                </c:pt>
                <c:pt idx="562">
                  <c:v>40721</c:v>
                </c:pt>
                <c:pt idx="563">
                  <c:v>40722</c:v>
                </c:pt>
                <c:pt idx="564">
                  <c:v>40723</c:v>
                </c:pt>
                <c:pt idx="565">
                  <c:v>40724</c:v>
                </c:pt>
                <c:pt idx="566">
                  <c:v>40725</c:v>
                </c:pt>
                <c:pt idx="567">
                  <c:v>40728</c:v>
                </c:pt>
                <c:pt idx="568">
                  <c:v>40729</c:v>
                </c:pt>
                <c:pt idx="569">
                  <c:v>40730</c:v>
                </c:pt>
                <c:pt idx="570">
                  <c:v>40731</c:v>
                </c:pt>
                <c:pt idx="571">
                  <c:v>40732</c:v>
                </c:pt>
                <c:pt idx="572">
                  <c:v>40735</c:v>
                </c:pt>
                <c:pt idx="573">
                  <c:v>40736</c:v>
                </c:pt>
                <c:pt idx="574">
                  <c:v>40737</c:v>
                </c:pt>
                <c:pt idx="575">
                  <c:v>40738</c:v>
                </c:pt>
                <c:pt idx="576">
                  <c:v>40739</c:v>
                </c:pt>
                <c:pt idx="577">
                  <c:v>40742</c:v>
                </c:pt>
                <c:pt idx="578">
                  <c:v>40743</c:v>
                </c:pt>
                <c:pt idx="579">
                  <c:v>40744</c:v>
                </c:pt>
                <c:pt idx="580">
                  <c:v>40745</c:v>
                </c:pt>
                <c:pt idx="581">
                  <c:v>40746</c:v>
                </c:pt>
                <c:pt idx="582">
                  <c:v>40749</c:v>
                </c:pt>
                <c:pt idx="583">
                  <c:v>40750</c:v>
                </c:pt>
                <c:pt idx="584">
                  <c:v>40751</c:v>
                </c:pt>
                <c:pt idx="585">
                  <c:v>40752</c:v>
                </c:pt>
                <c:pt idx="586">
                  <c:v>40753</c:v>
                </c:pt>
                <c:pt idx="587">
                  <c:v>40756</c:v>
                </c:pt>
                <c:pt idx="588">
                  <c:v>40757</c:v>
                </c:pt>
                <c:pt idx="589">
                  <c:v>40758</c:v>
                </c:pt>
                <c:pt idx="590">
                  <c:v>40759</c:v>
                </c:pt>
                <c:pt idx="591">
                  <c:v>40760</c:v>
                </c:pt>
                <c:pt idx="592">
                  <c:v>40763</c:v>
                </c:pt>
                <c:pt idx="593">
                  <c:v>40764</c:v>
                </c:pt>
                <c:pt idx="594">
                  <c:v>40765</c:v>
                </c:pt>
                <c:pt idx="595">
                  <c:v>40766</c:v>
                </c:pt>
                <c:pt idx="596">
                  <c:v>40767</c:v>
                </c:pt>
                <c:pt idx="597">
                  <c:v>40770</c:v>
                </c:pt>
                <c:pt idx="598">
                  <c:v>40771</c:v>
                </c:pt>
                <c:pt idx="599">
                  <c:v>40772</c:v>
                </c:pt>
                <c:pt idx="600">
                  <c:v>40773</c:v>
                </c:pt>
                <c:pt idx="601">
                  <c:v>40774</c:v>
                </c:pt>
                <c:pt idx="602">
                  <c:v>40777</c:v>
                </c:pt>
                <c:pt idx="603">
                  <c:v>40778</c:v>
                </c:pt>
                <c:pt idx="604">
                  <c:v>40779</c:v>
                </c:pt>
                <c:pt idx="605">
                  <c:v>40780</c:v>
                </c:pt>
                <c:pt idx="606">
                  <c:v>40781</c:v>
                </c:pt>
                <c:pt idx="607">
                  <c:v>40784</c:v>
                </c:pt>
                <c:pt idx="608">
                  <c:v>40785</c:v>
                </c:pt>
                <c:pt idx="609">
                  <c:v>40786</c:v>
                </c:pt>
                <c:pt idx="610">
                  <c:v>40787</c:v>
                </c:pt>
                <c:pt idx="611">
                  <c:v>40788</c:v>
                </c:pt>
                <c:pt idx="612">
                  <c:v>40791</c:v>
                </c:pt>
                <c:pt idx="613">
                  <c:v>40792</c:v>
                </c:pt>
                <c:pt idx="614">
                  <c:v>40793</c:v>
                </c:pt>
                <c:pt idx="615">
                  <c:v>40794</c:v>
                </c:pt>
                <c:pt idx="616">
                  <c:v>40795</c:v>
                </c:pt>
                <c:pt idx="617">
                  <c:v>40798</c:v>
                </c:pt>
                <c:pt idx="618">
                  <c:v>40799</c:v>
                </c:pt>
                <c:pt idx="619">
                  <c:v>40800</c:v>
                </c:pt>
                <c:pt idx="620">
                  <c:v>40801</c:v>
                </c:pt>
                <c:pt idx="621">
                  <c:v>40802</c:v>
                </c:pt>
                <c:pt idx="622">
                  <c:v>40805</c:v>
                </c:pt>
                <c:pt idx="623">
                  <c:v>40806</c:v>
                </c:pt>
                <c:pt idx="624">
                  <c:v>40807</c:v>
                </c:pt>
                <c:pt idx="625">
                  <c:v>40808</c:v>
                </c:pt>
                <c:pt idx="626">
                  <c:v>40809</c:v>
                </c:pt>
                <c:pt idx="627">
                  <c:v>40812</c:v>
                </c:pt>
                <c:pt idx="628">
                  <c:v>40813</c:v>
                </c:pt>
                <c:pt idx="629">
                  <c:v>40814</c:v>
                </c:pt>
                <c:pt idx="630">
                  <c:v>40815</c:v>
                </c:pt>
                <c:pt idx="631">
                  <c:v>40816</c:v>
                </c:pt>
                <c:pt idx="632">
                  <c:v>40819</c:v>
                </c:pt>
                <c:pt idx="633">
                  <c:v>40820</c:v>
                </c:pt>
                <c:pt idx="634">
                  <c:v>40821</c:v>
                </c:pt>
                <c:pt idx="635">
                  <c:v>40822</c:v>
                </c:pt>
                <c:pt idx="636">
                  <c:v>40823</c:v>
                </c:pt>
                <c:pt idx="637">
                  <c:v>40826</c:v>
                </c:pt>
                <c:pt idx="638">
                  <c:v>40827</c:v>
                </c:pt>
                <c:pt idx="639">
                  <c:v>40828</c:v>
                </c:pt>
                <c:pt idx="640">
                  <c:v>40829</c:v>
                </c:pt>
                <c:pt idx="641">
                  <c:v>40830</c:v>
                </c:pt>
                <c:pt idx="642">
                  <c:v>40833</c:v>
                </c:pt>
                <c:pt idx="643">
                  <c:v>40834</c:v>
                </c:pt>
                <c:pt idx="644">
                  <c:v>40835</c:v>
                </c:pt>
                <c:pt idx="645">
                  <c:v>40836</c:v>
                </c:pt>
                <c:pt idx="646">
                  <c:v>40837</c:v>
                </c:pt>
                <c:pt idx="647">
                  <c:v>40840</c:v>
                </c:pt>
                <c:pt idx="648">
                  <c:v>40841</c:v>
                </c:pt>
                <c:pt idx="649">
                  <c:v>40842</c:v>
                </c:pt>
                <c:pt idx="650">
                  <c:v>40843</c:v>
                </c:pt>
                <c:pt idx="651">
                  <c:v>40844</c:v>
                </c:pt>
                <c:pt idx="652">
                  <c:v>40847</c:v>
                </c:pt>
                <c:pt idx="653">
                  <c:v>40848</c:v>
                </c:pt>
                <c:pt idx="654">
                  <c:v>40849</c:v>
                </c:pt>
                <c:pt idx="655">
                  <c:v>40850</c:v>
                </c:pt>
                <c:pt idx="656">
                  <c:v>40851</c:v>
                </c:pt>
                <c:pt idx="657">
                  <c:v>40854</c:v>
                </c:pt>
                <c:pt idx="658">
                  <c:v>40855</c:v>
                </c:pt>
                <c:pt idx="659">
                  <c:v>40856</c:v>
                </c:pt>
                <c:pt idx="660">
                  <c:v>40857</c:v>
                </c:pt>
                <c:pt idx="661">
                  <c:v>40858</c:v>
                </c:pt>
                <c:pt idx="662">
                  <c:v>40861</c:v>
                </c:pt>
                <c:pt idx="663">
                  <c:v>40862</c:v>
                </c:pt>
                <c:pt idx="664">
                  <c:v>40863</c:v>
                </c:pt>
                <c:pt idx="665">
                  <c:v>40864</c:v>
                </c:pt>
                <c:pt idx="666">
                  <c:v>40865</c:v>
                </c:pt>
                <c:pt idx="667">
                  <c:v>40868</c:v>
                </c:pt>
                <c:pt idx="668">
                  <c:v>40869</c:v>
                </c:pt>
                <c:pt idx="669">
                  <c:v>40870</c:v>
                </c:pt>
                <c:pt idx="670">
                  <c:v>40871</c:v>
                </c:pt>
                <c:pt idx="671">
                  <c:v>40872</c:v>
                </c:pt>
                <c:pt idx="672">
                  <c:v>40875</c:v>
                </c:pt>
                <c:pt idx="673">
                  <c:v>40876</c:v>
                </c:pt>
                <c:pt idx="674">
                  <c:v>40877</c:v>
                </c:pt>
                <c:pt idx="675">
                  <c:v>40878</c:v>
                </c:pt>
                <c:pt idx="676">
                  <c:v>40879</c:v>
                </c:pt>
                <c:pt idx="677">
                  <c:v>40882</c:v>
                </c:pt>
                <c:pt idx="678">
                  <c:v>40883</c:v>
                </c:pt>
                <c:pt idx="679">
                  <c:v>40884</c:v>
                </c:pt>
                <c:pt idx="680">
                  <c:v>40885</c:v>
                </c:pt>
                <c:pt idx="681">
                  <c:v>40886</c:v>
                </c:pt>
                <c:pt idx="682">
                  <c:v>40889</c:v>
                </c:pt>
                <c:pt idx="683">
                  <c:v>40890</c:v>
                </c:pt>
                <c:pt idx="684">
                  <c:v>40891</c:v>
                </c:pt>
                <c:pt idx="685">
                  <c:v>40892</c:v>
                </c:pt>
                <c:pt idx="686">
                  <c:v>40893</c:v>
                </c:pt>
                <c:pt idx="687">
                  <c:v>40896</c:v>
                </c:pt>
                <c:pt idx="688">
                  <c:v>40897</c:v>
                </c:pt>
                <c:pt idx="689">
                  <c:v>40898</c:v>
                </c:pt>
                <c:pt idx="690">
                  <c:v>40899</c:v>
                </c:pt>
                <c:pt idx="691">
                  <c:v>40900</c:v>
                </c:pt>
                <c:pt idx="692">
                  <c:v>40903</c:v>
                </c:pt>
                <c:pt idx="693">
                  <c:v>40904</c:v>
                </c:pt>
                <c:pt idx="694">
                  <c:v>40905</c:v>
                </c:pt>
                <c:pt idx="695">
                  <c:v>40906</c:v>
                </c:pt>
                <c:pt idx="696">
                  <c:v>40907</c:v>
                </c:pt>
                <c:pt idx="697">
                  <c:v>40910</c:v>
                </c:pt>
                <c:pt idx="698">
                  <c:v>40911</c:v>
                </c:pt>
                <c:pt idx="699">
                  <c:v>40912</c:v>
                </c:pt>
                <c:pt idx="700">
                  <c:v>40913</c:v>
                </c:pt>
                <c:pt idx="701">
                  <c:v>40914</c:v>
                </c:pt>
                <c:pt idx="702">
                  <c:v>40917</c:v>
                </c:pt>
                <c:pt idx="703">
                  <c:v>40918</c:v>
                </c:pt>
                <c:pt idx="704">
                  <c:v>40919</c:v>
                </c:pt>
                <c:pt idx="705">
                  <c:v>40920</c:v>
                </c:pt>
                <c:pt idx="706">
                  <c:v>40921</c:v>
                </c:pt>
                <c:pt idx="707">
                  <c:v>40924</c:v>
                </c:pt>
                <c:pt idx="708">
                  <c:v>40925</c:v>
                </c:pt>
                <c:pt idx="709">
                  <c:v>40926</c:v>
                </c:pt>
                <c:pt idx="710">
                  <c:v>40927</c:v>
                </c:pt>
                <c:pt idx="711">
                  <c:v>40928</c:v>
                </c:pt>
                <c:pt idx="712">
                  <c:v>40931</c:v>
                </c:pt>
                <c:pt idx="713">
                  <c:v>40932</c:v>
                </c:pt>
                <c:pt idx="714">
                  <c:v>40933</c:v>
                </c:pt>
                <c:pt idx="715">
                  <c:v>40934</c:v>
                </c:pt>
                <c:pt idx="716">
                  <c:v>40935</c:v>
                </c:pt>
                <c:pt idx="717">
                  <c:v>40938</c:v>
                </c:pt>
                <c:pt idx="718">
                  <c:v>40939</c:v>
                </c:pt>
                <c:pt idx="719">
                  <c:v>40940</c:v>
                </c:pt>
                <c:pt idx="720">
                  <c:v>40941</c:v>
                </c:pt>
                <c:pt idx="721">
                  <c:v>40942</c:v>
                </c:pt>
                <c:pt idx="722">
                  <c:v>40945</c:v>
                </c:pt>
                <c:pt idx="723">
                  <c:v>40946</c:v>
                </c:pt>
                <c:pt idx="724">
                  <c:v>40947</c:v>
                </c:pt>
                <c:pt idx="725">
                  <c:v>40948</c:v>
                </c:pt>
                <c:pt idx="726">
                  <c:v>40949</c:v>
                </c:pt>
                <c:pt idx="727">
                  <c:v>40952</c:v>
                </c:pt>
                <c:pt idx="728">
                  <c:v>40953</c:v>
                </c:pt>
                <c:pt idx="729">
                  <c:v>40954</c:v>
                </c:pt>
                <c:pt idx="730">
                  <c:v>40955</c:v>
                </c:pt>
                <c:pt idx="731">
                  <c:v>40956</c:v>
                </c:pt>
                <c:pt idx="732">
                  <c:v>40959</c:v>
                </c:pt>
                <c:pt idx="733">
                  <c:v>40960</c:v>
                </c:pt>
                <c:pt idx="734">
                  <c:v>40961</c:v>
                </c:pt>
                <c:pt idx="735">
                  <c:v>40962</c:v>
                </c:pt>
                <c:pt idx="736">
                  <c:v>40963</c:v>
                </c:pt>
                <c:pt idx="737">
                  <c:v>40966</c:v>
                </c:pt>
                <c:pt idx="738">
                  <c:v>40967</c:v>
                </c:pt>
                <c:pt idx="739">
                  <c:v>40968</c:v>
                </c:pt>
                <c:pt idx="740">
                  <c:v>40969</c:v>
                </c:pt>
                <c:pt idx="741">
                  <c:v>40970</c:v>
                </c:pt>
                <c:pt idx="742">
                  <c:v>40973</c:v>
                </c:pt>
                <c:pt idx="743">
                  <c:v>40974</c:v>
                </c:pt>
                <c:pt idx="744">
                  <c:v>40975</c:v>
                </c:pt>
                <c:pt idx="745">
                  <c:v>40976</c:v>
                </c:pt>
                <c:pt idx="746">
                  <c:v>40977</c:v>
                </c:pt>
                <c:pt idx="747">
                  <c:v>40980</c:v>
                </c:pt>
                <c:pt idx="748">
                  <c:v>40981</c:v>
                </c:pt>
                <c:pt idx="749">
                  <c:v>40982</c:v>
                </c:pt>
                <c:pt idx="750">
                  <c:v>40983</c:v>
                </c:pt>
                <c:pt idx="751">
                  <c:v>40984</c:v>
                </c:pt>
                <c:pt idx="752">
                  <c:v>40987</c:v>
                </c:pt>
                <c:pt idx="753">
                  <c:v>40988</c:v>
                </c:pt>
                <c:pt idx="754">
                  <c:v>40989</c:v>
                </c:pt>
                <c:pt idx="755">
                  <c:v>40990</c:v>
                </c:pt>
                <c:pt idx="756">
                  <c:v>40991</c:v>
                </c:pt>
                <c:pt idx="757">
                  <c:v>40994</c:v>
                </c:pt>
                <c:pt idx="758">
                  <c:v>40995</c:v>
                </c:pt>
                <c:pt idx="759">
                  <c:v>40996</c:v>
                </c:pt>
                <c:pt idx="760">
                  <c:v>40997</c:v>
                </c:pt>
                <c:pt idx="761">
                  <c:v>40998</c:v>
                </c:pt>
                <c:pt idx="762">
                  <c:v>41001</c:v>
                </c:pt>
                <c:pt idx="763">
                  <c:v>41002</c:v>
                </c:pt>
                <c:pt idx="764">
                  <c:v>41003</c:v>
                </c:pt>
                <c:pt idx="765">
                  <c:v>41004</c:v>
                </c:pt>
                <c:pt idx="766">
                  <c:v>41005</c:v>
                </c:pt>
                <c:pt idx="767">
                  <c:v>41008</c:v>
                </c:pt>
                <c:pt idx="768">
                  <c:v>41009</c:v>
                </c:pt>
                <c:pt idx="769">
                  <c:v>41010</c:v>
                </c:pt>
                <c:pt idx="770">
                  <c:v>41011</c:v>
                </c:pt>
                <c:pt idx="771">
                  <c:v>41012</c:v>
                </c:pt>
                <c:pt idx="772">
                  <c:v>41015</c:v>
                </c:pt>
                <c:pt idx="773">
                  <c:v>41016</c:v>
                </c:pt>
                <c:pt idx="774">
                  <c:v>41017</c:v>
                </c:pt>
                <c:pt idx="775">
                  <c:v>41018</c:v>
                </c:pt>
                <c:pt idx="776">
                  <c:v>41019</c:v>
                </c:pt>
                <c:pt idx="777">
                  <c:v>41022</c:v>
                </c:pt>
                <c:pt idx="778">
                  <c:v>41023</c:v>
                </c:pt>
                <c:pt idx="779">
                  <c:v>41024</c:v>
                </c:pt>
                <c:pt idx="780">
                  <c:v>41025</c:v>
                </c:pt>
                <c:pt idx="781">
                  <c:v>41026</c:v>
                </c:pt>
                <c:pt idx="782">
                  <c:v>41029</c:v>
                </c:pt>
                <c:pt idx="783">
                  <c:v>41030</c:v>
                </c:pt>
                <c:pt idx="784">
                  <c:v>41031</c:v>
                </c:pt>
                <c:pt idx="785">
                  <c:v>41032</c:v>
                </c:pt>
                <c:pt idx="786">
                  <c:v>41033</c:v>
                </c:pt>
                <c:pt idx="787">
                  <c:v>41036</c:v>
                </c:pt>
                <c:pt idx="788">
                  <c:v>41037</c:v>
                </c:pt>
                <c:pt idx="789">
                  <c:v>41038</c:v>
                </c:pt>
                <c:pt idx="790">
                  <c:v>41039</c:v>
                </c:pt>
                <c:pt idx="791">
                  <c:v>41040</c:v>
                </c:pt>
                <c:pt idx="792">
                  <c:v>41043</c:v>
                </c:pt>
                <c:pt idx="793">
                  <c:v>41044</c:v>
                </c:pt>
                <c:pt idx="794">
                  <c:v>41045</c:v>
                </c:pt>
                <c:pt idx="795">
                  <c:v>41046</c:v>
                </c:pt>
                <c:pt idx="796">
                  <c:v>41047</c:v>
                </c:pt>
                <c:pt idx="797">
                  <c:v>41050</c:v>
                </c:pt>
                <c:pt idx="798">
                  <c:v>41051</c:v>
                </c:pt>
                <c:pt idx="799">
                  <c:v>41052</c:v>
                </c:pt>
                <c:pt idx="800">
                  <c:v>41053</c:v>
                </c:pt>
                <c:pt idx="801">
                  <c:v>41054</c:v>
                </c:pt>
                <c:pt idx="802">
                  <c:v>41057</c:v>
                </c:pt>
                <c:pt idx="803">
                  <c:v>41058</c:v>
                </c:pt>
                <c:pt idx="804">
                  <c:v>41059</c:v>
                </c:pt>
                <c:pt idx="805">
                  <c:v>41060</c:v>
                </c:pt>
                <c:pt idx="806">
                  <c:v>41061</c:v>
                </c:pt>
                <c:pt idx="807">
                  <c:v>41064</c:v>
                </c:pt>
                <c:pt idx="808">
                  <c:v>41065</c:v>
                </c:pt>
                <c:pt idx="809">
                  <c:v>41066</c:v>
                </c:pt>
                <c:pt idx="810">
                  <c:v>41067</c:v>
                </c:pt>
                <c:pt idx="811">
                  <c:v>41068</c:v>
                </c:pt>
                <c:pt idx="812">
                  <c:v>41071</c:v>
                </c:pt>
                <c:pt idx="813">
                  <c:v>41072</c:v>
                </c:pt>
                <c:pt idx="814">
                  <c:v>41073</c:v>
                </c:pt>
                <c:pt idx="815">
                  <c:v>41074</c:v>
                </c:pt>
                <c:pt idx="816">
                  <c:v>41075</c:v>
                </c:pt>
                <c:pt idx="817">
                  <c:v>41078</c:v>
                </c:pt>
                <c:pt idx="818">
                  <c:v>41079</c:v>
                </c:pt>
                <c:pt idx="819">
                  <c:v>41080</c:v>
                </c:pt>
                <c:pt idx="820">
                  <c:v>41081</c:v>
                </c:pt>
                <c:pt idx="821">
                  <c:v>41082</c:v>
                </c:pt>
                <c:pt idx="822">
                  <c:v>41085</c:v>
                </c:pt>
                <c:pt idx="823">
                  <c:v>41086</c:v>
                </c:pt>
                <c:pt idx="824">
                  <c:v>41087</c:v>
                </c:pt>
                <c:pt idx="825">
                  <c:v>41088</c:v>
                </c:pt>
                <c:pt idx="826">
                  <c:v>41089</c:v>
                </c:pt>
                <c:pt idx="827">
                  <c:v>41092</c:v>
                </c:pt>
                <c:pt idx="828">
                  <c:v>41093</c:v>
                </c:pt>
                <c:pt idx="829">
                  <c:v>41094</c:v>
                </c:pt>
                <c:pt idx="830">
                  <c:v>41095</c:v>
                </c:pt>
                <c:pt idx="831">
                  <c:v>41096</c:v>
                </c:pt>
                <c:pt idx="832">
                  <c:v>41099</c:v>
                </c:pt>
                <c:pt idx="833">
                  <c:v>41100</c:v>
                </c:pt>
                <c:pt idx="834">
                  <c:v>41101</c:v>
                </c:pt>
                <c:pt idx="835">
                  <c:v>41102</c:v>
                </c:pt>
                <c:pt idx="836">
                  <c:v>41103</c:v>
                </c:pt>
                <c:pt idx="837">
                  <c:v>41106</c:v>
                </c:pt>
                <c:pt idx="838">
                  <c:v>41107</c:v>
                </c:pt>
                <c:pt idx="839">
                  <c:v>41108</c:v>
                </c:pt>
                <c:pt idx="840">
                  <c:v>41109</c:v>
                </c:pt>
                <c:pt idx="841">
                  <c:v>41110</c:v>
                </c:pt>
                <c:pt idx="842">
                  <c:v>41113</c:v>
                </c:pt>
                <c:pt idx="843">
                  <c:v>41114</c:v>
                </c:pt>
                <c:pt idx="844">
                  <c:v>41115</c:v>
                </c:pt>
                <c:pt idx="845">
                  <c:v>41116</c:v>
                </c:pt>
                <c:pt idx="846">
                  <c:v>41117</c:v>
                </c:pt>
                <c:pt idx="847">
                  <c:v>41120</c:v>
                </c:pt>
                <c:pt idx="848">
                  <c:v>41121</c:v>
                </c:pt>
                <c:pt idx="849">
                  <c:v>41122</c:v>
                </c:pt>
                <c:pt idx="850">
                  <c:v>41123</c:v>
                </c:pt>
                <c:pt idx="851">
                  <c:v>41124</c:v>
                </c:pt>
                <c:pt idx="852">
                  <c:v>41127</c:v>
                </c:pt>
                <c:pt idx="853">
                  <c:v>41128</c:v>
                </c:pt>
                <c:pt idx="854">
                  <c:v>41129</c:v>
                </c:pt>
                <c:pt idx="855">
                  <c:v>41130</c:v>
                </c:pt>
                <c:pt idx="856">
                  <c:v>41131</c:v>
                </c:pt>
                <c:pt idx="857">
                  <c:v>41134</c:v>
                </c:pt>
                <c:pt idx="858">
                  <c:v>41135</c:v>
                </c:pt>
                <c:pt idx="859">
                  <c:v>41136</c:v>
                </c:pt>
                <c:pt idx="860">
                  <c:v>41137</c:v>
                </c:pt>
                <c:pt idx="861">
                  <c:v>41138</c:v>
                </c:pt>
                <c:pt idx="862">
                  <c:v>41141</c:v>
                </c:pt>
                <c:pt idx="863">
                  <c:v>41142</c:v>
                </c:pt>
                <c:pt idx="864">
                  <c:v>41143</c:v>
                </c:pt>
                <c:pt idx="865">
                  <c:v>41144</c:v>
                </c:pt>
                <c:pt idx="866">
                  <c:v>41145</c:v>
                </c:pt>
                <c:pt idx="867">
                  <c:v>41148</c:v>
                </c:pt>
                <c:pt idx="868">
                  <c:v>41149</c:v>
                </c:pt>
                <c:pt idx="869">
                  <c:v>41150</c:v>
                </c:pt>
                <c:pt idx="870">
                  <c:v>41151</c:v>
                </c:pt>
                <c:pt idx="871">
                  <c:v>41152</c:v>
                </c:pt>
                <c:pt idx="872">
                  <c:v>41155</c:v>
                </c:pt>
                <c:pt idx="873">
                  <c:v>41156</c:v>
                </c:pt>
                <c:pt idx="874">
                  <c:v>41157</c:v>
                </c:pt>
                <c:pt idx="875">
                  <c:v>41158</c:v>
                </c:pt>
                <c:pt idx="876">
                  <c:v>41159</c:v>
                </c:pt>
                <c:pt idx="877">
                  <c:v>41162</c:v>
                </c:pt>
                <c:pt idx="878">
                  <c:v>41163</c:v>
                </c:pt>
                <c:pt idx="879">
                  <c:v>41164</c:v>
                </c:pt>
                <c:pt idx="880">
                  <c:v>41165</c:v>
                </c:pt>
                <c:pt idx="881">
                  <c:v>41166</c:v>
                </c:pt>
                <c:pt idx="882">
                  <c:v>41169</c:v>
                </c:pt>
                <c:pt idx="883">
                  <c:v>41170</c:v>
                </c:pt>
                <c:pt idx="884">
                  <c:v>41171</c:v>
                </c:pt>
                <c:pt idx="885">
                  <c:v>41172</c:v>
                </c:pt>
                <c:pt idx="886">
                  <c:v>41173</c:v>
                </c:pt>
                <c:pt idx="887">
                  <c:v>41176</c:v>
                </c:pt>
                <c:pt idx="888">
                  <c:v>41177</c:v>
                </c:pt>
                <c:pt idx="889">
                  <c:v>41178</c:v>
                </c:pt>
                <c:pt idx="890">
                  <c:v>41179</c:v>
                </c:pt>
                <c:pt idx="891">
                  <c:v>41180</c:v>
                </c:pt>
                <c:pt idx="892">
                  <c:v>41183</c:v>
                </c:pt>
                <c:pt idx="893">
                  <c:v>41184</c:v>
                </c:pt>
                <c:pt idx="894">
                  <c:v>41185</c:v>
                </c:pt>
                <c:pt idx="895">
                  <c:v>41186</c:v>
                </c:pt>
                <c:pt idx="896">
                  <c:v>41187</c:v>
                </c:pt>
                <c:pt idx="897">
                  <c:v>41190</c:v>
                </c:pt>
                <c:pt idx="898">
                  <c:v>41191</c:v>
                </c:pt>
                <c:pt idx="899">
                  <c:v>41192</c:v>
                </c:pt>
                <c:pt idx="900">
                  <c:v>41193</c:v>
                </c:pt>
                <c:pt idx="901">
                  <c:v>41194</c:v>
                </c:pt>
                <c:pt idx="902">
                  <c:v>41197</c:v>
                </c:pt>
                <c:pt idx="903">
                  <c:v>41198</c:v>
                </c:pt>
                <c:pt idx="904">
                  <c:v>41199</c:v>
                </c:pt>
                <c:pt idx="905">
                  <c:v>41200</c:v>
                </c:pt>
                <c:pt idx="906">
                  <c:v>41201</c:v>
                </c:pt>
                <c:pt idx="907">
                  <c:v>41204</c:v>
                </c:pt>
                <c:pt idx="908">
                  <c:v>41205</c:v>
                </c:pt>
                <c:pt idx="909">
                  <c:v>41206</c:v>
                </c:pt>
                <c:pt idx="910">
                  <c:v>41207</c:v>
                </c:pt>
                <c:pt idx="911">
                  <c:v>41208</c:v>
                </c:pt>
                <c:pt idx="912">
                  <c:v>41211</c:v>
                </c:pt>
                <c:pt idx="913">
                  <c:v>41212</c:v>
                </c:pt>
                <c:pt idx="914">
                  <c:v>41213</c:v>
                </c:pt>
                <c:pt idx="915">
                  <c:v>41214</c:v>
                </c:pt>
                <c:pt idx="916">
                  <c:v>41215</c:v>
                </c:pt>
                <c:pt idx="917">
                  <c:v>41218</c:v>
                </c:pt>
                <c:pt idx="918">
                  <c:v>41219</c:v>
                </c:pt>
                <c:pt idx="919">
                  <c:v>41220</c:v>
                </c:pt>
                <c:pt idx="920">
                  <c:v>41221</c:v>
                </c:pt>
                <c:pt idx="921">
                  <c:v>41222</c:v>
                </c:pt>
                <c:pt idx="922">
                  <c:v>41225</c:v>
                </c:pt>
                <c:pt idx="923">
                  <c:v>41226</c:v>
                </c:pt>
                <c:pt idx="924">
                  <c:v>41227</c:v>
                </c:pt>
                <c:pt idx="925">
                  <c:v>41228</c:v>
                </c:pt>
                <c:pt idx="926">
                  <c:v>41229</c:v>
                </c:pt>
                <c:pt idx="927">
                  <c:v>41232</c:v>
                </c:pt>
                <c:pt idx="928">
                  <c:v>41233</c:v>
                </c:pt>
                <c:pt idx="929">
                  <c:v>41234</c:v>
                </c:pt>
                <c:pt idx="930">
                  <c:v>41235</c:v>
                </c:pt>
                <c:pt idx="931">
                  <c:v>41236</c:v>
                </c:pt>
                <c:pt idx="932">
                  <c:v>41239</c:v>
                </c:pt>
                <c:pt idx="933">
                  <c:v>41240</c:v>
                </c:pt>
                <c:pt idx="934">
                  <c:v>41241</c:v>
                </c:pt>
                <c:pt idx="935">
                  <c:v>41242</c:v>
                </c:pt>
                <c:pt idx="936">
                  <c:v>41243</c:v>
                </c:pt>
                <c:pt idx="937">
                  <c:v>41246</c:v>
                </c:pt>
                <c:pt idx="938">
                  <c:v>41247</c:v>
                </c:pt>
                <c:pt idx="939">
                  <c:v>41248</c:v>
                </c:pt>
                <c:pt idx="940">
                  <c:v>41249</c:v>
                </c:pt>
                <c:pt idx="941">
                  <c:v>41250</c:v>
                </c:pt>
                <c:pt idx="942">
                  <c:v>41253</c:v>
                </c:pt>
                <c:pt idx="943">
                  <c:v>41254</c:v>
                </c:pt>
                <c:pt idx="944">
                  <c:v>41255</c:v>
                </c:pt>
                <c:pt idx="945">
                  <c:v>41256</c:v>
                </c:pt>
                <c:pt idx="946">
                  <c:v>41257</c:v>
                </c:pt>
                <c:pt idx="947">
                  <c:v>41260</c:v>
                </c:pt>
                <c:pt idx="948">
                  <c:v>41261</c:v>
                </c:pt>
                <c:pt idx="949">
                  <c:v>41262</c:v>
                </c:pt>
                <c:pt idx="950">
                  <c:v>41263</c:v>
                </c:pt>
                <c:pt idx="951">
                  <c:v>41264</c:v>
                </c:pt>
                <c:pt idx="952">
                  <c:v>41267</c:v>
                </c:pt>
                <c:pt idx="953">
                  <c:v>41268</c:v>
                </c:pt>
                <c:pt idx="954">
                  <c:v>41269</c:v>
                </c:pt>
                <c:pt idx="955">
                  <c:v>41270</c:v>
                </c:pt>
                <c:pt idx="956">
                  <c:v>41271</c:v>
                </c:pt>
                <c:pt idx="957">
                  <c:v>41274</c:v>
                </c:pt>
                <c:pt idx="958">
                  <c:v>41275</c:v>
                </c:pt>
                <c:pt idx="959">
                  <c:v>41276</c:v>
                </c:pt>
                <c:pt idx="960">
                  <c:v>41277</c:v>
                </c:pt>
                <c:pt idx="961">
                  <c:v>41278</c:v>
                </c:pt>
                <c:pt idx="962">
                  <c:v>41281</c:v>
                </c:pt>
                <c:pt idx="963">
                  <c:v>41282</c:v>
                </c:pt>
                <c:pt idx="964">
                  <c:v>41283</c:v>
                </c:pt>
                <c:pt idx="965">
                  <c:v>41284</c:v>
                </c:pt>
                <c:pt idx="966">
                  <c:v>41285</c:v>
                </c:pt>
                <c:pt idx="967">
                  <c:v>41288</c:v>
                </c:pt>
                <c:pt idx="968">
                  <c:v>41289</c:v>
                </c:pt>
                <c:pt idx="969">
                  <c:v>41290</c:v>
                </c:pt>
                <c:pt idx="970">
                  <c:v>41291</c:v>
                </c:pt>
                <c:pt idx="971">
                  <c:v>41292</c:v>
                </c:pt>
                <c:pt idx="972">
                  <c:v>41295</c:v>
                </c:pt>
                <c:pt idx="973">
                  <c:v>41296</c:v>
                </c:pt>
                <c:pt idx="974">
                  <c:v>41297</c:v>
                </c:pt>
                <c:pt idx="975">
                  <c:v>41298</c:v>
                </c:pt>
                <c:pt idx="976">
                  <c:v>41299</c:v>
                </c:pt>
                <c:pt idx="977">
                  <c:v>41302</c:v>
                </c:pt>
                <c:pt idx="978">
                  <c:v>41303</c:v>
                </c:pt>
                <c:pt idx="979">
                  <c:v>41304</c:v>
                </c:pt>
                <c:pt idx="980">
                  <c:v>41305</c:v>
                </c:pt>
                <c:pt idx="981">
                  <c:v>41306</c:v>
                </c:pt>
                <c:pt idx="982">
                  <c:v>41309</c:v>
                </c:pt>
                <c:pt idx="983">
                  <c:v>41310</c:v>
                </c:pt>
                <c:pt idx="984">
                  <c:v>41311</c:v>
                </c:pt>
                <c:pt idx="985">
                  <c:v>41312</c:v>
                </c:pt>
                <c:pt idx="986">
                  <c:v>41313</c:v>
                </c:pt>
                <c:pt idx="987">
                  <c:v>41316</c:v>
                </c:pt>
                <c:pt idx="988">
                  <c:v>41317</c:v>
                </c:pt>
                <c:pt idx="989">
                  <c:v>41318</c:v>
                </c:pt>
                <c:pt idx="990">
                  <c:v>41319</c:v>
                </c:pt>
                <c:pt idx="991">
                  <c:v>41320</c:v>
                </c:pt>
                <c:pt idx="992">
                  <c:v>41323</c:v>
                </c:pt>
                <c:pt idx="993">
                  <c:v>41324</c:v>
                </c:pt>
                <c:pt idx="994">
                  <c:v>41325</c:v>
                </c:pt>
                <c:pt idx="995">
                  <c:v>41326</c:v>
                </c:pt>
                <c:pt idx="996">
                  <c:v>41327</c:v>
                </c:pt>
                <c:pt idx="997">
                  <c:v>41330</c:v>
                </c:pt>
                <c:pt idx="998">
                  <c:v>41331</c:v>
                </c:pt>
                <c:pt idx="999">
                  <c:v>41332</c:v>
                </c:pt>
                <c:pt idx="1000">
                  <c:v>41333</c:v>
                </c:pt>
                <c:pt idx="1001">
                  <c:v>41334</c:v>
                </c:pt>
                <c:pt idx="1002">
                  <c:v>41337</c:v>
                </c:pt>
                <c:pt idx="1003">
                  <c:v>41338</c:v>
                </c:pt>
                <c:pt idx="1004">
                  <c:v>41339</c:v>
                </c:pt>
                <c:pt idx="1005">
                  <c:v>41340</c:v>
                </c:pt>
                <c:pt idx="1006">
                  <c:v>41341</c:v>
                </c:pt>
                <c:pt idx="1007">
                  <c:v>41344</c:v>
                </c:pt>
                <c:pt idx="1008">
                  <c:v>41345</c:v>
                </c:pt>
                <c:pt idx="1009">
                  <c:v>41346</c:v>
                </c:pt>
                <c:pt idx="1010">
                  <c:v>41347</c:v>
                </c:pt>
                <c:pt idx="1011">
                  <c:v>41348</c:v>
                </c:pt>
                <c:pt idx="1012">
                  <c:v>41351</c:v>
                </c:pt>
                <c:pt idx="1013">
                  <c:v>41352</c:v>
                </c:pt>
                <c:pt idx="1014">
                  <c:v>41353</c:v>
                </c:pt>
                <c:pt idx="1015">
                  <c:v>41354</c:v>
                </c:pt>
                <c:pt idx="1016">
                  <c:v>41355</c:v>
                </c:pt>
                <c:pt idx="1017">
                  <c:v>41358</c:v>
                </c:pt>
                <c:pt idx="1018">
                  <c:v>41359</c:v>
                </c:pt>
                <c:pt idx="1019">
                  <c:v>41360</c:v>
                </c:pt>
                <c:pt idx="1020">
                  <c:v>41361</c:v>
                </c:pt>
                <c:pt idx="1021">
                  <c:v>41362</c:v>
                </c:pt>
                <c:pt idx="1022">
                  <c:v>41365</c:v>
                </c:pt>
                <c:pt idx="1023">
                  <c:v>41366</c:v>
                </c:pt>
                <c:pt idx="1024">
                  <c:v>41367</c:v>
                </c:pt>
                <c:pt idx="1025">
                  <c:v>41368</c:v>
                </c:pt>
                <c:pt idx="1026">
                  <c:v>41369</c:v>
                </c:pt>
                <c:pt idx="1027">
                  <c:v>41372</c:v>
                </c:pt>
                <c:pt idx="1028">
                  <c:v>41373</c:v>
                </c:pt>
                <c:pt idx="1029">
                  <c:v>41374</c:v>
                </c:pt>
                <c:pt idx="1030">
                  <c:v>41375</c:v>
                </c:pt>
                <c:pt idx="1031">
                  <c:v>41376</c:v>
                </c:pt>
                <c:pt idx="1032">
                  <c:v>41379</c:v>
                </c:pt>
                <c:pt idx="1033">
                  <c:v>41380</c:v>
                </c:pt>
                <c:pt idx="1034">
                  <c:v>41381</c:v>
                </c:pt>
                <c:pt idx="1035">
                  <c:v>41382</c:v>
                </c:pt>
                <c:pt idx="1036">
                  <c:v>41383</c:v>
                </c:pt>
                <c:pt idx="1037">
                  <c:v>41386</c:v>
                </c:pt>
                <c:pt idx="1038">
                  <c:v>41387</c:v>
                </c:pt>
                <c:pt idx="1039">
                  <c:v>41388</c:v>
                </c:pt>
                <c:pt idx="1040">
                  <c:v>41389</c:v>
                </c:pt>
                <c:pt idx="1041">
                  <c:v>41390</c:v>
                </c:pt>
                <c:pt idx="1042">
                  <c:v>41393</c:v>
                </c:pt>
                <c:pt idx="1043">
                  <c:v>41394</c:v>
                </c:pt>
                <c:pt idx="1044">
                  <c:v>41395</c:v>
                </c:pt>
                <c:pt idx="1045">
                  <c:v>41396</c:v>
                </c:pt>
                <c:pt idx="1046">
                  <c:v>41397</c:v>
                </c:pt>
                <c:pt idx="1047">
                  <c:v>41400</c:v>
                </c:pt>
                <c:pt idx="1048">
                  <c:v>41401</c:v>
                </c:pt>
                <c:pt idx="1049">
                  <c:v>41402</c:v>
                </c:pt>
                <c:pt idx="1050">
                  <c:v>41403</c:v>
                </c:pt>
                <c:pt idx="1051">
                  <c:v>41404</c:v>
                </c:pt>
                <c:pt idx="1052">
                  <c:v>41407</c:v>
                </c:pt>
                <c:pt idx="1053">
                  <c:v>41408</c:v>
                </c:pt>
                <c:pt idx="1054">
                  <c:v>41409</c:v>
                </c:pt>
                <c:pt idx="1055">
                  <c:v>41410</c:v>
                </c:pt>
                <c:pt idx="1056">
                  <c:v>41411</c:v>
                </c:pt>
                <c:pt idx="1057">
                  <c:v>41414</c:v>
                </c:pt>
                <c:pt idx="1058">
                  <c:v>41415</c:v>
                </c:pt>
                <c:pt idx="1059">
                  <c:v>41416</c:v>
                </c:pt>
                <c:pt idx="1060">
                  <c:v>41417</c:v>
                </c:pt>
                <c:pt idx="1061">
                  <c:v>41418</c:v>
                </c:pt>
                <c:pt idx="1062">
                  <c:v>41421</c:v>
                </c:pt>
                <c:pt idx="1063">
                  <c:v>41422</c:v>
                </c:pt>
                <c:pt idx="1064">
                  <c:v>41423</c:v>
                </c:pt>
                <c:pt idx="1065">
                  <c:v>41424</c:v>
                </c:pt>
                <c:pt idx="1066">
                  <c:v>41425</c:v>
                </c:pt>
                <c:pt idx="1067">
                  <c:v>41428</c:v>
                </c:pt>
                <c:pt idx="1068">
                  <c:v>41429</c:v>
                </c:pt>
                <c:pt idx="1069">
                  <c:v>41430</c:v>
                </c:pt>
                <c:pt idx="1070">
                  <c:v>41431</c:v>
                </c:pt>
                <c:pt idx="1071">
                  <c:v>41432</c:v>
                </c:pt>
                <c:pt idx="1072">
                  <c:v>41435</c:v>
                </c:pt>
                <c:pt idx="1073">
                  <c:v>41436</c:v>
                </c:pt>
                <c:pt idx="1074">
                  <c:v>41437</c:v>
                </c:pt>
                <c:pt idx="1075">
                  <c:v>41438</c:v>
                </c:pt>
                <c:pt idx="1076">
                  <c:v>41439</c:v>
                </c:pt>
                <c:pt idx="1077">
                  <c:v>41442</c:v>
                </c:pt>
                <c:pt idx="1078">
                  <c:v>41443</c:v>
                </c:pt>
                <c:pt idx="1079">
                  <c:v>41444</c:v>
                </c:pt>
                <c:pt idx="1080">
                  <c:v>41445</c:v>
                </c:pt>
                <c:pt idx="1081">
                  <c:v>41446</c:v>
                </c:pt>
                <c:pt idx="1082">
                  <c:v>41449</c:v>
                </c:pt>
                <c:pt idx="1083">
                  <c:v>41450</c:v>
                </c:pt>
                <c:pt idx="1084">
                  <c:v>41451</c:v>
                </c:pt>
                <c:pt idx="1085">
                  <c:v>41452</c:v>
                </c:pt>
                <c:pt idx="1086">
                  <c:v>41453</c:v>
                </c:pt>
                <c:pt idx="1087">
                  <c:v>41456</c:v>
                </c:pt>
                <c:pt idx="1088">
                  <c:v>41457</c:v>
                </c:pt>
                <c:pt idx="1089">
                  <c:v>41458</c:v>
                </c:pt>
                <c:pt idx="1090">
                  <c:v>41459</c:v>
                </c:pt>
                <c:pt idx="1091">
                  <c:v>41460</c:v>
                </c:pt>
                <c:pt idx="1092">
                  <c:v>41463</c:v>
                </c:pt>
                <c:pt idx="1093">
                  <c:v>41464</c:v>
                </c:pt>
                <c:pt idx="1094">
                  <c:v>41465</c:v>
                </c:pt>
                <c:pt idx="1095">
                  <c:v>41466</c:v>
                </c:pt>
                <c:pt idx="1096">
                  <c:v>41467</c:v>
                </c:pt>
                <c:pt idx="1097">
                  <c:v>41470</c:v>
                </c:pt>
                <c:pt idx="1098">
                  <c:v>41471</c:v>
                </c:pt>
                <c:pt idx="1099">
                  <c:v>41472</c:v>
                </c:pt>
                <c:pt idx="1100">
                  <c:v>41473</c:v>
                </c:pt>
                <c:pt idx="1101">
                  <c:v>41474</c:v>
                </c:pt>
                <c:pt idx="1102">
                  <c:v>41477</c:v>
                </c:pt>
                <c:pt idx="1103">
                  <c:v>41478</c:v>
                </c:pt>
                <c:pt idx="1104">
                  <c:v>41479</c:v>
                </c:pt>
                <c:pt idx="1105">
                  <c:v>41480</c:v>
                </c:pt>
                <c:pt idx="1106">
                  <c:v>41481</c:v>
                </c:pt>
                <c:pt idx="1107">
                  <c:v>41484</c:v>
                </c:pt>
                <c:pt idx="1108">
                  <c:v>41485</c:v>
                </c:pt>
                <c:pt idx="1109">
                  <c:v>41486</c:v>
                </c:pt>
                <c:pt idx="1110">
                  <c:v>41487</c:v>
                </c:pt>
                <c:pt idx="1111">
                  <c:v>41488</c:v>
                </c:pt>
                <c:pt idx="1112">
                  <c:v>41491</c:v>
                </c:pt>
                <c:pt idx="1113">
                  <c:v>41492</c:v>
                </c:pt>
                <c:pt idx="1114">
                  <c:v>41493</c:v>
                </c:pt>
                <c:pt idx="1115">
                  <c:v>41494</c:v>
                </c:pt>
                <c:pt idx="1116">
                  <c:v>41495</c:v>
                </c:pt>
                <c:pt idx="1117">
                  <c:v>41498</c:v>
                </c:pt>
                <c:pt idx="1118">
                  <c:v>41499</c:v>
                </c:pt>
                <c:pt idx="1119">
                  <c:v>41500</c:v>
                </c:pt>
                <c:pt idx="1120">
                  <c:v>41501</c:v>
                </c:pt>
                <c:pt idx="1121">
                  <c:v>41502</c:v>
                </c:pt>
                <c:pt idx="1122">
                  <c:v>41505</c:v>
                </c:pt>
                <c:pt idx="1123">
                  <c:v>41506</c:v>
                </c:pt>
                <c:pt idx="1124">
                  <c:v>41507</c:v>
                </c:pt>
                <c:pt idx="1125">
                  <c:v>41508</c:v>
                </c:pt>
                <c:pt idx="1126">
                  <c:v>41509</c:v>
                </c:pt>
                <c:pt idx="1127">
                  <c:v>41512</c:v>
                </c:pt>
                <c:pt idx="1128">
                  <c:v>41513</c:v>
                </c:pt>
                <c:pt idx="1129">
                  <c:v>41514</c:v>
                </c:pt>
                <c:pt idx="1130">
                  <c:v>41515</c:v>
                </c:pt>
                <c:pt idx="1131">
                  <c:v>41516</c:v>
                </c:pt>
                <c:pt idx="1132">
                  <c:v>41519</c:v>
                </c:pt>
                <c:pt idx="1133">
                  <c:v>41520</c:v>
                </c:pt>
                <c:pt idx="1134">
                  <c:v>41521</c:v>
                </c:pt>
                <c:pt idx="1135">
                  <c:v>41522</c:v>
                </c:pt>
                <c:pt idx="1136">
                  <c:v>41523</c:v>
                </c:pt>
                <c:pt idx="1137">
                  <c:v>41526</c:v>
                </c:pt>
                <c:pt idx="1138">
                  <c:v>41527</c:v>
                </c:pt>
                <c:pt idx="1139">
                  <c:v>41528</c:v>
                </c:pt>
                <c:pt idx="1140">
                  <c:v>41529</c:v>
                </c:pt>
                <c:pt idx="1141">
                  <c:v>41530</c:v>
                </c:pt>
                <c:pt idx="1142">
                  <c:v>41533</c:v>
                </c:pt>
                <c:pt idx="1143">
                  <c:v>41534</c:v>
                </c:pt>
                <c:pt idx="1144">
                  <c:v>41535</c:v>
                </c:pt>
                <c:pt idx="1145">
                  <c:v>41536</c:v>
                </c:pt>
                <c:pt idx="1146">
                  <c:v>41537</c:v>
                </c:pt>
                <c:pt idx="1147">
                  <c:v>41540</c:v>
                </c:pt>
                <c:pt idx="1148">
                  <c:v>41541</c:v>
                </c:pt>
                <c:pt idx="1149">
                  <c:v>41542</c:v>
                </c:pt>
                <c:pt idx="1150">
                  <c:v>41543</c:v>
                </c:pt>
                <c:pt idx="1151">
                  <c:v>41544</c:v>
                </c:pt>
                <c:pt idx="1152">
                  <c:v>41547</c:v>
                </c:pt>
                <c:pt idx="1153">
                  <c:v>41548</c:v>
                </c:pt>
                <c:pt idx="1154">
                  <c:v>41549</c:v>
                </c:pt>
                <c:pt idx="1155">
                  <c:v>41550</c:v>
                </c:pt>
                <c:pt idx="1156">
                  <c:v>41551</c:v>
                </c:pt>
                <c:pt idx="1157">
                  <c:v>41554</c:v>
                </c:pt>
                <c:pt idx="1158">
                  <c:v>41555</c:v>
                </c:pt>
                <c:pt idx="1159">
                  <c:v>41556</c:v>
                </c:pt>
                <c:pt idx="1160">
                  <c:v>41557</c:v>
                </c:pt>
                <c:pt idx="1161">
                  <c:v>41558</c:v>
                </c:pt>
                <c:pt idx="1162">
                  <c:v>41561</c:v>
                </c:pt>
                <c:pt idx="1163">
                  <c:v>41562</c:v>
                </c:pt>
                <c:pt idx="1164">
                  <c:v>41563</c:v>
                </c:pt>
                <c:pt idx="1165">
                  <c:v>41564</c:v>
                </c:pt>
                <c:pt idx="1166">
                  <c:v>41565</c:v>
                </c:pt>
                <c:pt idx="1167">
                  <c:v>41568</c:v>
                </c:pt>
                <c:pt idx="1168">
                  <c:v>41569</c:v>
                </c:pt>
                <c:pt idx="1169">
                  <c:v>41570</c:v>
                </c:pt>
                <c:pt idx="1170">
                  <c:v>41571</c:v>
                </c:pt>
                <c:pt idx="1171">
                  <c:v>41572</c:v>
                </c:pt>
                <c:pt idx="1172">
                  <c:v>41575</c:v>
                </c:pt>
                <c:pt idx="1173">
                  <c:v>41576</c:v>
                </c:pt>
                <c:pt idx="1174">
                  <c:v>41577</c:v>
                </c:pt>
                <c:pt idx="1175">
                  <c:v>41578</c:v>
                </c:pt>
                <c:pt idx="1176">
                  <c:v>41579</c:v>
                </c:pt>
                <c:pt idx="1177">
                  <c:v>41582</c:v>
                </c:pt>
                <c:pt idx="1178">
                  <c:v>41583</c:v>
                </c:pt>
                <c:pt idx="1179">
                  <c:v>41584</c:v>
                </c:pt>
                <c:pt idx="1180">
                  <c:v>41585</c:v>
                </c:pt>
                <c:pt idx="1181">
                  <c:v>41586</c:v>
                </c:pt>
                <c:pt idx="1182">
                  <c:v>41589</c:v>
                </c:pt>
                <c:pt idx="1183">
                  <c:v>41590</c:v>
                </c:pt>
                <c:pt idx="1184">
                  <c:v>41591</c:v>
                </c:pt>
                <c:pt idx="1185">
                  <c:v>41592</c:v>
                </c:pt>
                <c:pt idx="1186">
                  <c:v>41593</c:v>
                </c:pt>
                <c:pt idx="1187">
                  <c:v>41596</c:v>
                </c:pt>
                <c:pt idx="1188">
                  <c:v>41597</c:v>
                </c:pt>
                <c:pt idx="1189">
                  <c:v>41598</c:v>
                </c:pt>
                <c:pt idx="1190">
                  <c:v>41599</c:v>
                </c:pt>
                <c:pt idx="1191">
                  <c:v>41600</c:v>
                </c:pt>
                <c:pt idx="1192">
                  <c:v>41603</c:v>
                </c:pt>
                <c:pt idx="1193">
                  <c:v>41604</c:v>
                </c:pt>
                <c:pt idx="1194">
                  <c:v>41605</c:v>
                </c:pt>
                <c:pt idx="1195">
                  <c:v>41606</c:v>
                </c:pt>
                <c:pt idx="1196">
                  <c:v>41607</c:v>
                </c:pt>
                <c:pt idx="1197">
                  <c:v>41610</c:v>
                </c:pt>
                <c:pt idx="1198">
                  <c:v>41611</c:v>
                </c:pt>
                <c:pt idx="1199">
                  <c:v>41612</c:v>
                </c:pt>
                <c:pt idx="1200">
                  <c:v>41613</c:v>
                </c:pt>
                <c:pt idx="1201">
                  <c:v>41614</c:v>
                </c:pt>
                <c:pt idx="1202">
                  <c:v>41617</c:v>
                </c:pt>
                <c:pt idx="1203">
                  <c:v>41618</c:v>
                </c:pt>
                <c:pt idx="1204">
                  <c:v>41619</c:v>
                </c:pt>
                <c:pt idx="1205">
                  <c:v>41620</c:v>
                </c:pt>
                <c:pt idx="1206">
                  <c:v>41621</c:v>
                </c:pt>
                <c:pt idx="1207">
                  <c:v>41624</c:v>
                </c:pt>
                <c:pt idx="1208">
                  <c:v>41625</c:v>
                </c:pt>
                <c:pt idx="1209">
                  <c:v>41626</c:v>
                </c:pt>
                <c:pt idx="1210">
                  <c:v>41627</c:v>
                </c:pt>
                <c:pt idx="1211">
                  <c:v>41628</c:v>
                </c:pt>
                <c:pt idx="1212">
                  <c:v>41631</c:v>
                </c:pt>
                <c:pt idx="1213">
                  <c:v>41632</c:v>
                </c:pt>
                <c:pt idx="1214">
                  <c:v>41633</c:v>
                </c:pt>
                <c:pt idx="1215">
                  <c:v>41634</c:v>
                </c:pt>
                <c:pt idx="1216">
                  <c:v>41635</c:v>
                </c:pt>
                <c:pt idx="1217">
                  <c:v>41638</c:v>
                </c:pt>
                <c:pt idx="1218">
                  <c:v>41639</c:v>
                </c:pt>
                <c:pt idx="1219">
                  <c:v>41640</c:v>
                </c:pt>
                <c:pt idx="1220">
                  <c:v>41641</c:v>
                </c:pt>
                <c:pt idx="1221">
                  <c:v>41642</c:v>
                </c:pt>
                <c:pt idx="1222">
                  <c:v>41645</c:v>
                </c:pt>
                <c:pt idx="1223">
                  <c:v>41646</c:v>
                </c:pt>
                <c:pt idx="1224">
                  <c:v>41647</c:v>
                </c:pt>
                <c:pt idx="1225">
                  <c:v>41648</c:v>
                </c:pt>
                <c:pt idx="1226">
                  <c:v>41649</c:v>
                </c:pt>
                <c:pt idx="1227">
                  <c:v>41652</c:v>
                </c:pt>
                <c:pt idx="1228">
                  <c:v>41653</c:v>
                </c:pt>
                <c:pt idx="1229">
                  <c:v>41654</c:v>
                </c:pt>
                <c:pt idx="1230">
                  <c:v>41655</c:v>
                </c:pt>
                <c:pt idx="1231">
                  <c:v>41656</c:v>
                </c:pt>
                <c:pt idx="1232">
                  <c:v>41659</c:v>
                </c:pt>
                <c:pt idx="1233">
                  <c:v>41660</c:v>
                </c:pt>
                <c:pt idx="1234">
                  <c:v>41661</c:v>
                </c:pt>
                <c:pt idx="1235">
                  <c:v>41662</c:v>
                </c:pt>
                <c:pt idx="1236">
                  <c:v>41663</c:v>
                </c:pt>
                <c:pt idx="1237">
                  <c:v>41666</c:v>
                </c:pt>
                <c:pt idx="1238">
                  <c:v>41667</c:v>
                </c:pt>
                <c:pt idx="1239">
                  <c:v>41668</c:v>
                </c:pt>
                <c:pt idx="1240">
                  <c:v>41669</c:v>
                </c:pt>
                <c:pt idx="1241">
                  <c:v>41670</c:v>
                </c:pt>
                <c:pt idx="1242">
                  <c:v>41673</c:v>
                </c:pt>
                <c:pt idx="1243">
                  <c:v>41674</c:v>
                </c:pt>
                <c:pt idx="1244">
                  <c:v>41675</c:v>
                </c:pt>
                <c:pt idx="1245">
                  <c:v>41676</c:v>
                </c:pt>
                <c:pt idx="1246">
                  <c:v>41677</c:v>
                </c:pt>
                <c:pt idx="1247">
                  <c:v>41680</c:v>
                </c:pt>
                <c:pt idx="1248">
                  <c:v>41681</c:v>
                </c:pt>
                <c:pt idx="1249">
                  <c:v>41682</c:v>
                </c:pt>
                <c:pt idx="1250">
                  <c:v>41683</c:v>
                </c:pt>
                <c:pt idx="1251">
                  <c:v>41684</c:v>
                </c:pt>
                <c:pt idx="1252">
                  <c:v>41687</c:v>
                </c:pt>
                <c:pt idx="1253">
                  <c:v>41688</c:v>
                </c:pt>
                <c:pt idx="1254">
                  <c:v>41689</c:v>
                </c:pt>
                <c:pt idx="1255">
                  <c:v>41690</c:v>
                </c:pt>
                <c:pt idx="1256">
                  <c:v>41691</c:v>
                </c:pt>
                <c:pt idx="1257">
                  <c:v>41694</c:v>
                </c:pt>
                <c:pt idx="1258">
                  <c:v>41695</c:v>
                </c:pt>
                <c:pt idx="1259">
                  <c:v>41696</c:v>
                </c:pt>
                <c:pt idx="1260">
                  <c:v>41697</c:v>
                </c:pt>
                <c:pt idx="1261">
                  <c:v>41698</c:v>
                </c:pt>
                <c:pt idx="1262">
                  <c:v>41701</c:v>
                </c:pt>
                <c:pt idx="1263">
                  <c:v>41702</c:v>
                </c:pt>
                <c:pt idx="1264">
                  <c:v>41703</c:v>
                </c:pt>
                <c:pt idx="1265">
                  <c:v>41704</c:v>
                </c:pt>
                <c:pt idx="1266">
                  <c:v>41705</c:v>
                </c:pt>
                <c:pt idx="1267">
                  <c:v>41708</c:v>
                </c:pt>
                <c:pt idx="1268">
                  <c:v>41709</c:v>
                </c:pt>
                <c:pt idx="1269">
                  <c:v>41710</c:v>
                </c:pt>
                <c:pt idx="1270">
                  <c:v>41711</c:v>
                </c:pt>
                <c:pt idx="1271">
                  <c:v>41712</c:v>
                </c:pt>
                <c:pt idx="1272">
                  <c:v>41715</c:v>
                </c:pt>
                <c:pt idx="1273">
                  <c:v>41716</c:v>
                </c:pt>
                <c:pt idx="1274">
                  <c:v>41717</c:v>
                </c:pt>
                <c:pt idx="1275">
                  <c:v>41718</c:v>
                </c:pt>
                <c:pt idx="1276">
                  <c:v>41719</c:v>
                </c:pt>
                <c:pt idx="1277">
                  <c:v>41722</c:v>
                </c:pt>
                <c:pt idx="1278">
                  <c:v>41723</c:v>
                </c:pt>
                <c:pt idx="1279">
                  <c:v>41724</c:v>
                </c:pt>
                <c:pt idx="1280">
                  <c:v>41725</c:v>
                </c:pt>
                <c:pt idx="1281">
                  <c:v>41726</c:v>
                </c:pt>
                <c:pt idx="1282">
                  <c:v>41729</c:v>
                </c:pt>
                <c:pt idx="1283">
                  <c:v>41730</c:v>
                </c:pt>
                <c:pt idx="1284">
                  <c:v>41731</c:v>
                </c:pt>
                <c:pt idx="1285">
                  <c:v>41732</c:v>
                </c:pt>
                <c:pt idx="1286">
                  <c:v>41733</c:v>
                </c:pt>
                <c:pt idx="1287">
                  <c:v>41736</c:v>
                </c:pt>
                <c:pt idx="1288">
                  <c:v>41737</c:v>
                </c:pt>
                <c:pt idx="1289">
                  <c:v>41738</c:v>
                </c:pt>
                <c:pt idx="1290">
                  <c:v>41739</c:v>
                </c:pt>
                <c:pt idx="1291">
                  <c:v>41740</c:v>
                </c:pt>
                <c:pt idx="1292">
                  <c:v>41743</c:v>
                </c:pt>
                <c:pt idx="1293">
                  <c:v>41744</c:v>
                </c:pt>
                <c:pt idx="1294">
                  <c:v>41745</c:v>
                </c:pt>
                <c:pt idx="1295">
                  <c:v>41746</c:v>
                </c:pt>
                <c:pt idx="1296">
                  <c:v>41747</c:v>
                </c:pt>
                <c:pt idx="1297">
                  <c:v>41750</c:v>
                </c:pt>
                <c:pt idx="1298">
                  <c:v>41751</c:v>
                </c:pt>
                <c:pt idx="1299">
                  <c:v>41752</c:v>
                </c:pt>
                <c:pt idx="1300">
                  <c:v>41753</c:v>
                </c:pt>
                <c:pt idx="1301">
                  <c:v>41754</c:v>
                </c:pt>
                <c:pt idx="1302">
                  <c:v>41757</c:v>
                </c:pt>
                <c:pt idx="1303">
                  <c:v>41758</c:v>
                </c:pt>
                <c:pt idx="1304">
                  <c:v>41759</c:v>
                </c:pt>
                <c:pt idx="1305">
                  <c:v>41760</c:v>
                </c:pt>
                <c:pt idx="1306">
                  <c:v>41761</c:v>
                </c:pt>
                <c:pt idx="1307">
                  <c:v>41764</c:v>
                </c:pt>
                <c:pt idx="1308">
                  <c:v>41765</c:v>
                </c:pt>
                <c:pt idx="1309">
                  <c:v>41766</c:v>
                </c:pt>
                <c:pt idx="1310">
                  <c:v>41767</c:v>
                </c:pt>
                <c:pt idx="1311">
                  <c:v>41768</c:v>
                </c:pt>
                <c:pt idx="1312">
                  <c:v>41771</c:v>
                </c:pt>
                <c:pt idx="1313">
                  <c:v>41772</c:v>
                </c:pt>
                <c:pt idx="1314">
                  <c:v>41773</c:v>
                </c:pt>
                <c:pt idx="1315">
                  <c:v>41774</c:v>
                </c:pt>
                <c:pt idx="1316">
                  <c:v>41775</c:v>
                </c:pt>
                <c:pt idx="1317">
                  <c:v>41778</c:v>
                </c:pt>
                <c:pt idx="1318">
                  <c:v>41779</c:v>
                </c:pt>
                <c:pt idx="1319">
                  <c:v>41780</c:v>
                </c:pt>
                <c:pt idx="1320">
                  <c:v>41781</c:v>
                </c:pt>
                <c:pt idx="1321">
                  <c:v>41782</c:v>
                </c:pt>
                <c:pt idx="1322">
                  <c:v>41785</c:v>
                </c:pt>
                <c:pt idx="1323">
                  <c:v>41786</c:v>
                </c:pt>
                <c:pt idx="1324">
                  <c:v>41787</c:v>
                </c:pt>
                <c:pt idx="1325">
                  <c:v>41788</c:v>
                </c:pt>
                <c:pt idx="1326">
                  <c:v>41789</c:v>
                </c:pt>
                <c:pt idx="1327">
                  <c:v>41792</c:v>
                </c:pt>
                <c:pt idx="1328">
                  <c:v>41793</c:v>
                </c:pt>
                <c:pt idx="1329">
                  <c:v>41794</c:v>
                </c:pt>
                <c:pt idx="1330">
                  <c:v>41795</c:v>
                </c:pt>
                <c:pt idx="1331">
                  <c:v>41796</c:v>
                </c:pt>
                <c:pt idx="1332">
                  <c:v>41799</c:v>
                </c:pt>
                <c:pt idx="1333">
                  <c:v>41800</c:v>
                </c:pt>
                <c:pt idx="1334">
                  <c:v>41801</c:v>
                </c:pt>
                <c:pt idx="1335">
                  <c:v>41802</c:v>
                </c:pt>
                <c:pt idx="1336">
                  <c:v>41803</c:v>
                </c:pt>
                <c:pt idx="1337">
                  <c:v>41806</c:v>
                </c:pt>
                <c:pt idx="1338">
                  <c:v>41807</c:v>
                </c:pt>
                <c:pt idx="1339">
                  <c:v>41808</c:v>
                </c:pt>
                <c:pt idx="1340">
                  <c:v>41809</c:v>
                </c:pt>
                <c:pt idx="1341">
                  <c:v>41810</c:v>
                </c:pt>
                <c:pt idx="1342">
                  <c:v>41813</c:v>
                </c:pt>
                <c:pt idx="1343">
                  <c:v>41814</c:v>
                </c:pt>
                <c:pt idx="1344">
                  <c:v>41815</c:v>
                </c:pt>
                <c:pt idx="1345">
                  <c:v>41816</c:v>
                </c:pt>
                <c:pt idx="1346">
                  <c:v>41817</c:v>
                </c:pt>
                <c:pt idx="1347">
                  <c:v>41820</c:v>
                </c:pt>
                <c:pt idx="1348">
                  <c:v>41821</c:v>
                </c:pt>
                <c:pt idx="1349">
                  <c:v>41822</c:v>
                </c:pt>
                <c:pt idx="1350">
                  <c:v>41823</c:v>
                </c:pt>
                <c:pt idx="1351">
                  <c:v>41824</c:v>
                </c:pt>
                <c:pt idx="1352">
                  <c:v>41827</c:v>
                </c:pt>
                <c:pt idx="1353">
                  <c:v>41828</c:v>
                </c:pt>
                <c:pt idx="1354">
                  <c:v>41829</c:v>
                </c:pt>
                <c:pt idx="1355">
                  <c:v>41830</c:v>
                </c:pt>
                <c:pt idx="1356">
                  <c:v>41831</c:v>
                </c:pt>
                <c:pt idx="1357">
                  <c:v>41834</c:v>
                </c:pt>
                <c:pt idx="1358">
                  <c:v>41835</c:v>
                </c:pt>
                <c:pt idx="1359">
                  <c:v>41836</c:v>
                </c:pt>
                <c:pt idx="1360">
                  <c:v>41837</c:v>
                </c:pt>
                <c:pt idx="1361">
                  <c:v>41838</c:v>
                </c:pt>
                <c:pt idx="1362">
                  <c:v>41841</c:v>
                </c:pt>
                <c:pt idx="1363">
                  <c:v>41842</c:v>
                </c:pt>
                <c:pt idx="1364">
                  <c:v>41843</c:v>
                </c:pt>
                <c:pt idx="1365">
                  <c:v>41844</c:v>
                </c:pt>
                <c:pt idx="1366">
                  <c:v>41845</c:v>
                </c:pt>
                <c:pt idx="1367">
                  <c:v>41848</c:v>
                </c:pt>
                <c:pt idx="1368">
                  <c:v>41849</c:v>
                </c:pt>
                <c:pt idx="1369">
                  <c:v>41850</c:v>
                </c:pt>
                <c:pt idx="1370">
                  <c:v>41851</c:v>
                </c:pt>
                <c:pt idx="1371">
                  <c:v>41852</c:v>
                </c:pt>
                <c:pt idx="1372">
                  <c:v>41855</c:v>
                </c:pt>
                <c:pt idx="1373">
                  <c:v>41856</c:v>
                </c:pt>
                <c:pt idx="1374">
                  <c:v>41857</c:v>
                </c:pt>
                <c:pt idx="1375">
                  <c:v>41858</c:v>
                </c:pt>
                <c:pt idx="1376">
                  <c:v>41859</c:v>
                </c:pt>
                <c:pt idx="1377">
                  <c:v>41862</c:v>
                </c:pt>
                <c:pt idx="1378">
                  <c:v>41863</c:v>
                </c:pt>
                <c:pt idx="1379">
                  <c:v>41864</c:v>
                </c:pt>
                <c:pt idx="1380">
                  <c:v>41865</c:v>
                </c:pt>
                <c:pt idx="1381">
                  <c:v>41866</c:v>
                </c:pt>
                <c:pt idx="1382">
                  <c:v>41869</c:v>
                </c:pt>
                <c:pt idx="1383">
                  <c:v>41870</c:v>
                </c:pt>
                <c:pt idx="1384">
                  <c:v>41871</c:v>
                </c:pt>
                <c:pt idx="1385">
                  <c:v>41872</c:v>
                </c:pt>
                <c:pt idx="1386">
                  <c:v>41873</c:v>
                </c:pt>
                <c:pt idx="1387">
                  <c:v>41876</c:v>
                </c:pt>
                <c:pt idx="1388">
                  <c:v>41877</c:v>
                </c:pt>
                <c:pt idx="1389">
                  <c:v>41878</c:v>
                </c:pt>
                <c:pt idx="1390">
                  <c:v>41879</c:v>
                </c:pt>
                <c:pt idx="1391">
                  <c:v>41880</c:v>
                </c:pt>
                <c:pt idx="1392">
                  <c:v>41883</c:v>
                </c:pt>
                <c:pt idx="1393">
                  <c:v>41884</c:v>
                </c:pt>
                <c:pt idx="1394">
                  <c:v>41885</c:v>
                </c:pt>
                <c:pt idx="1395">
                  <c:v>41886</c:v>
                </c:pt>
                <c:pt idx="1396">
                  <c:v>41887</c:v>
                </c:pt>
                <c:pt idx="1397">
                  <c:v>41890</c:v>
                </c:pt>
                <c:pt idx="1398">
                  <c:v>41891</c:v>
                </c:pt>
                <c:pt idx="1399">
                  <c:v>41892</c:v>
                </c:pt>
                <c:pt idx="1400">
                  <c:v>41893</c:v>
                </c:pt>
                <c:pt idx="1401">
                  <c:v>41894</c:v>
                </c:pt>
                <c:pt idx="1402">
                  <c:v>41897</c:v>
                </c:pt>
                <c:pt idx="1403">
                  <c:v>41898</c:v>
                </c:pt>
                <c:pt idx="1404">
                  <c:v>41899</c:v>
                </c:pt>
                <c:pt idx="1405">
                  <c:v>41900</c:v>
                </c:pt>
                <c:pt idx="1406">
                  <c:v>41901</c:v>
                </c:pt>
                <c:pt idx="1407">
                  <c:v>41904</c:v>
                </c:pt>
                <c:pt idx="1408">
                  <c:v>41905</c:v>
                </c:pt>
                <c:pt idx="1409">
                  <c:v>41906</c:v>
                </c:pt>
                <c:pt idx="1410">
                  <c:v>41907</c:v>
                </c:pt>
                <c:pt idx="1411">
                  <c:v>41908</c:v>
                </c:pt>
                <c:pt idx="1412">
                  <c:v>41911</c:v>
                </c:pt>
                <c:pt idx="1413">
                  <c:v>41912</c:v>
                </c:pt>
                <c:pt idx="1414">
                  <c:v>41913</c:v>
                </c:pt>
                <c:pt idx="1415">
                  <c:v>41914</c:v>
                </c:pt>
                <c:pt idx="1416">
                  <c:v>41915</c:v>
                </c:pt>
                <c:pt idx="1417">
                  <c:v>41918</c:v>
                </c:pt>
                <c:pt idx="1418">
                  <c:v>41919</c:v>
                </c:pt>
                <c:pt idx="1419">
                  <c:v>41920</c:v>
                </c:pt>
                <c:pt idx="1420">
                  <c:v>41921</c:v>
                </c:pt>
                <c:pt idx="1421">
                  <c:v>41922</c:v>
                </c:pt>
                <c:pt idx="1422">
                  <c:v>41925</c:v>
                </c:pt>
                <c:pt idx="1423">
                  <c:v>41926</c:v>
                </c:pt>
                <c:pt idx="1424">
                  <c:v>41927</c:v>
                </c:pt>
                <c:pt idx="1425">
                  <c:v>41928</c:v>
                </c:pt>
                <c:pt idx="1426">
                  <c:v>41929</c:v>
                </c:pt>
                <c:pt idx="1427">
                  <c:v>41932</c:v>
                </c:pt>
                <c:pt idx="1428">
                  <c:v>41933</c:v>
                </c:pt>
                <c:pt idx="1429">
                  <c:v>41934</c:v>
                </c:pt>
                <c:pt idx="1430">
                  <c:v>41935</c:v>
                </c:pt>
                <c:pt idx="1431">
                  <c:v>41936</c:v>
                </c:pt>
                <c:pt idx="1432">
                  <c:v>41939</c:v>
                </c:pt>
                <c:pt idx="1433">
                  <c:v>41940</c:v>
                </c:pt>
                <c:pt idx="1434">
                  <c:v>41941</c:v>
                </c:pt>
                <c:pt idx="1435">
                  <c:v>41942</c:v>
                </c:pt>
                <c:pt idx="1436">
                  <c:v>41943</c:v>
                </c:pt>
                <c:pt idx="1437">
                  <c:v>41946</c:v>
                </c:pt>
                <c:pt idx="1438">
                  <c:v>41947</c:v>
                </c:pt>
                <c:pt idx="1439">
                  <c:v>41948</c:v>
                </c:pt>
                <c:pt idx="1440">
                  <c:v>41949</c:v>
                </c:pt>
                <c:pt idx="1441">
                  <c:v>41950</c:v>
                </c:pt>
                <c:pt idx="1442">
                  <c:v>41953</c:v>
                </c:pt>
                <c:pt idx="1443">
                  <c:v>41954</c:v>
                </c:pt>
                <c:pt idx="1444">
                  <c:v>41955</c:v>
                </c:pt>
                <c:pt idx="1445">
                  <c:v>41956</c:v>
                </c:pt>
                <c:pt idx="1446">
                  <c:v>41957</c:v>
                </c:pt>
                <c:pt idx="1447">
                  <c:v>41960</c:v>
                </c:pt>
                <c:pt idx="1448">
                  <c:v>41961</c:v>
                </c:pt>
                <c:pt idx="1449">
                  <c:v>41962</c:v>
                </c:pt>
                <c:pt idx="1450">
                  <c:v>41963</c:v>
                </c:pt>
                <c:pt idx="1451">
                  <c:v>41964</c:v>
                </c:pt>
                <c:pt idx="1452">
                  <c:v>41967</c:v>
                </c:pt>
                <c:pt idx="1453">
                  <c:v>41968</c:v>
                </c:pt>
                <c:pt idx="1454">
                  <c:v>41969</c:v>
                </c:pt>
                <c:pt idx="1455">
                  <c:v>41970</c:v>
                </c:pt>
                <c:pt idx="1456">
                  <c:v>41971</c:v>
                </c:pt>
                <c:pt idx="1457">
                  <c:v>41974</c:v>
                </c:pt>
                <c:pt idx="1458">
                  <c:v>41975</c:v>
                </c:pt>
                <c:pt idx="1459">
                  <c:v>41976</c:v>
                </c:pt>
                <c:pt idx="1460">
                  <c:v>41977</c:v>
                </c:pt>
                <c:pt idx="1461">
                  <c:v>41978</c:v>
                </c:pt>
                <c:pt idx="1462">
                  <c:v>41981</c:v>
                </c:pt>
                <c:pt idx="1463">
                  <c:v>41982</c:v>
                </c:pt>
                <c:pt idx="1464">
                  <c:v>41983</c:v>
                </c:pt>
                <c:pt idx="1465">
                  <c:v>41984</c:v>
                </c:pt>
                <c:pt idx="1466">
                  <c:v>41985</c:v>
                </c:pt>
                <c:pt idx="1467">
                  <c:v>41988</c:v>
                </c:pt>
                <c:pt idx="1468">
                  <c:v>41989</c:v>
                </c:pt>
                <c:pt idx="1469">
                  <c:v>41990</c:v>
                </c:pt>
                <c:pt idx="1470">
                  <c:v>41991</c:v>
                </c:pt>
                <c:pt idx="1471">
                  <c:v>41992</c:v>
                </c:pt>
                <c:pt idx="1472">
                  <c:v>41995</c:v>
                </c:pt>
                <c:pt idx="1473">
                  <c:v>41996</c:v>
                </c:pt>
                <c:pt idx="1474">
                  <c:v>41997</c:v>
                </c:pt>
                <c:pt idx="1475">
                  <c:v>41998</c:v>
                </c:pt>
                <c:pt idx="1476">
                  <c:v>41999</c:v>
                </c:pt>
                <c:pt idx="1477">
                  <c:v>42002</c:v>
                </c:pt>
                <c:pt idx="1478">
                  <c:v>42003</c:v>
                </c:pt>
                <c:pt idx="1479">
                  <c:v>42004</c:v>
                </c:pt>
                <c:pt idx="1480">
                  <c:v>42005</c:v>
                </c:pt>
                <c:pt idx="1481">
                  <c:v>42006</c:v>
                </c:pt>
                <c:pt idx="1482">
                  <c:v>42009</c:v>
                </c:pt>
                <c:pt idx="1483">
                  <c:v>42010</c:v>
                </c:pt>
                <c:pt idx="1484">
                  <c:v>42011</c:v>
                </c:pt>
                <c:pt idx="1485">
                  <c:v>42012</c:v>
                </c:pt>
                <c:pt idx="1486">
                  <c:v>42013</c:v>
                </c:pt>
                <c:pt idx="1487">
                  <c:v>42016</c:v>
                </c:pt>
                <c:pt idx="1488">
                  <c:v>42017</c:v>
                </c:pt>
                <c:pt idx="1489">
                  <c:v>42018</c:v>
                </c:pt>
                <c:pt idx="1490">
                  <c:v>42019</c:v>
                </c:pt>
                <c:pt idx="1491">
                  <c:v>42020</c:v>
                </c:pt>
                <c:pt idx="1492">
                  <c:v>42023</c:v>
                </c:pt>
                <c:pt idx="1493">
                  <c:v>42024</c:v>
                </c:pt>
                <c:pt idx="1494">
                  <c:v>42025</c:v>
                </c:pt>
                <c:pt idx="1495">
                  <c:v>42026</c:v>
                </c:pt>
                <c:pt idx="1496">
                  <c:v>42027</c:v>
                </c:pt>
                <c:pt idx="1497">
                  <c:v>42030</c:v>
                </c:pt>
                <c:pt idx="1498">
                  <c:v>42031</c:v>
                </c:pt>
                <c:pt idx="1499">
                  <c:v>42032</c:v>
                </c:pt>
                <c:pt idx="1500">
                  <c:v>42033</c:v>
                </c:pt>
                <c:pt idx="1501">
                  <c:v>42034</c:v>
                </c:pt>
                <c:pt idx="1502">
                  <c:v>42037</c:v>
                </c:pt>
                <c:pt idx="1503">
                  <c:v>42038</c:v>
                </c:pt>
                <c:pt idx="1504">
                  <c:v>42039</c:v>
                </c:pt>
                <c:pt idx="1505">
                  <c:v>42040</c:v>
                </c:pt>
                <c:pt idx="1506">
                  <c:v>42041</c:v>
                </c:pt>
                <c:pt idx="1507">
                  <c:v>42044</c:v>
                </c:pt>
                <c:pt idx="1508">
                  <c:v>42045</c:v>
                </c:pt>
                <c:pt idx="1509">
                  <c:v>42046</c:v>
                </c:pt>
                <c:pt idx="1510">
                  <c:v>42047</c:v>
                </c:pt>
                <c:pt idx="1511">
                  <c:v>42048</c:v>
                </c:pt>
                <c:pt idx="1512">
                  <c:v>42051</c:v>
                </c:pt>
                <c:pt idx="1513">
                  <c:v>42052</c:v>
                </c:pt>
                <c:pt idx="1514">
                  <c:v>42053</c:v>
                </c:pt>
                <c:pt idx="1515">
                  <c:v>42054</c:v>
                </c:pt>
                <c:pt idx="1516">
                  <c:v>42055</c:v>
                </c:pt>
                <c:pt idx="1517">
                  <c:v>42058</c:v>
                </c:pt>
                <c:pt idx="1518">
                  <c:v>42059</c:v>
                </c:pt>
                <c:pt idx="1519">
                  <c:v>42060</c:v>
                </c:pt>
                <c:pt idx="1520">
                  <c:v>42061</c:v>
                </c:pt>
                <c:pt idx="1521">
                  <c:v>42062</c:v>
                </c:pt>
                <c:pt idx="1522">
                  <c:v>42065</c:v>
                </c:pt>
                <c:pt idx="1523">
                  <c:v>42066</c:v>
                </c:pt>
                <c:pt idx="1524">
                  <c:v>42067</c:v>
                </c:pt>
                <c:pt idx="1525">
                  <c:v>42068</c:v>
                </c:pt>
                <c:pt idx="1526">
                  <c:v>42069</c:v>
                </c:pt>
                <c:pt idx="1527">
                  <c:v>42072</c:v>
                </c:pt>
                <c:pt idx="1528">
                  <c:v>42073</c:v>
                </c:pt>
                <c:pt idx="1529">
                  <c:v>42074</c:v>
                </c:pt>
                <c:pt idx="1530">
                  <c:v>42075</c:v>
                </c:pt>
                <c:pt idx="1531">
                  <c:v>42076</c:v>
                </c:pt>
                <c:pt idx="1532">
                  <c:v>42079</c:v>
                </c:pt>
                <c:pt idx="1533">
                  <c:v>42080</c:v>
                </c:pt>
                <c:pt idx="1534">
                  <c:v>42081</c:v>
                </c:pt>
                <c:pt idx="1535">
                  <c:v>42082</c:v>
                </c:pt>
                <c:pt idx="1536">
                  <c:v>42083</c:v>
                </c:pt>
                <c:pt idx="1537">
                  <c:v>42086</c:v>
                </c:pt>
                <c:pt idx="1538">
                  <c:v>42087</c:v>
                </c:pt>
                <c:pt idx="1539">
                  <c:v>42088</c:v>
                </c:pt>
                <c:pt idx="1540">
                  <c:v>42089</c:v>
                </c:pt>
                <c:pt idx="1541">
                  <c:v>42090</c:v>
                </c:pt>
                <c:pt idx="1542">
                  <c:v>42093</c:v>
                </c:pt>
                <c:pt idx="1543">
                  <c:v>42094</c:v>
                </c:pt>
                <c:pt idx="1544">
                  <c:v>42095</c:v>
                </c:pt>
                <c:pt idx="1545">
                  <c:v>42096</c:v>
                </c:pt>
                <c:pt idx="1546">
                  <c:v>42097</c:v>
                </c:pt>
                <c:pt idx="1547">
                  <c:v>42100</c:v>
                </c:pt>
                <c:pt idx="1548">
                  <c:v>42101</c:v>
                </c:pt>
                <c:pt idx="1549">
                  <c:v>42102</c:v>
                </c:pt>
                <c:pt idx="1550">
                  <c:v>42103</c:v>
                </c:pt>
                <c:pt idx="1551">
                  <c:v>42104</c:v>
                </c:pt>
                <c:pt idx="1552">
                  <c:v>42107</c:v>
                </c:pt>
                <c:pt idx="1553">
                  <c:v>42108</c:v>
                </c:pt>
                <c:pt idx="1554">
                  <c:v>42109</c:v>
                </c:pt>
                <c:pt idx="1555">
                  <c:v>42110</c:v>
                </c:pt>
                <c:pt idx="1556">
                  <c:v>42111</c:v>
                </c:pt>
                <c:pt idx="1557">
                  <c:v>42114</c:v>
                </c:pt>
                <c:pt idx="1558">
                  <c:v>42115</c:v>
                </c:pt>
                <c:pt idx="1559">
                  <c:v>42116</c:v>
                </c:pt>
                <c:pt idx="1560">
                  <c:v>42117</c:v>
                </c:pt>
                <c:pt idx="1561">
                  <c:v>42118</c:v>
                </c:pt>
                <c:pt idx="1562">
                  <c:v>42121</c:v>
                </c:pt>
                <c:pt idx="1563">
                  <c:v>42122</c:v>
                </c:pt>
                <c:pt idx="1564">
                  <c:v>42123</c:v>
                </c:pt>
                <c:pt idx="1565">
                  <c:v>42124</c:v>
                </c:pt>
                <c:pt idx="1566">
                  <c:v>42125</c:v>
                </c:pt>
                <c:pt idx="1567">
                  <c:v>42128</c:v>
                </c:pt>
                <c:pt idx="1568">
                  <c:v>42129</c:v>
                </c:pt>
                <c:pt idx="1569">
                  <c:v>42130</c:v>
                </c:pt>
                <c:pt idx="1570">
                  <c:v>42131</c:v>
                </c:pt>
                <c:pt idx="1571">
                  <c:v>42132</c:v>
                </c:pt>
                <c:pt idx="1572">
                  <c:v>42135</c:v>
                </c:pt>
                <c:pt idx="1573">
                  <c:v>42136</c:v>
                </c:pt>
                <c:pt idx="1574">
                  <c:v>42137</c:v>
                </c:pt>
                <c:pt idx="1575">
                  <c:v>42138</c:v>
                </c:pt>
                <c:pt idx="1576">
                  <c:v>42139</c:v>
                </c:pt>
                <c:pt idx="1577">
                  <c:v>42142</c:v>
                </c:pt>
                <c:pt idx="1578">
                  <c:v>42143</c:v>
                </c:pt>
                <c:pt idx="1579">
                  <c:v>42144</c:v>
                </c:pt>
                <c:pt idx="1580">
                  <c:v>42145</c:v>
                </c:pt>
                <c:pt idx="1581">
                  <c:v>42146</c:v>
                </c:pt>
                <c:pt idx="1582">
                  <c:v>42149</c:v>
                </c:pt>
                <c:pt idx="1583">
                  <c:v>42150</c:v>
                </c:pt>
                <c:pt idx="1584">
                  <c:v>42151</c:v>
                </c:pt>
                <c:pt idx="1585">
                  <c:v>42152</c:v>
                </c:pt>
                <c:pt idx="1586">
                  <c:v>42153</c:v>
                </c:pt>
                <c:pt idx="1587">
                  <c:v>42156</c:v>
                </c:pt>
                <c:pt idx="1588">
                  <c:v>42157</c:v>
                </c:pt>
                <c:pt idx="1589">
                  <c:v>42158</c:v>
                </c:pt>
                <c:pt idx="1590">
                  <c:v>42159</c:v>
                </c:pt>
                <c:pt idx="1591">
                  <c:v>42160</c:v>
                </c:pt>
                <c:pt idx="1592">
                  <c:v>42163</c:v>
                </c:pt>
                <c:pt idx="1593">
                  <c:v>42164</c:v>
                </c:pt>
                <c:pt idx="1594">
                  <c:v>42165</c:v>
                </c:pt>
                <c:pt idx="1595">
                  <c:v>42166</c:v>
                </c:pt>
                <c:pt idx="1596">
                  <c:v>42167</c:v>
                </c:pt>
                <c:pt idx="1597">
                  <c:v>42170</c:v>
                </c:pt>
                <c:pt idx="1598">
                  <c:v>42171</c:v>
                </c:pt>
                <c:pt idx="1599">
                  <c:v>42172</c:v>
                </c:pt>
                <c:pt idx="1600">
                  <c:v>42173</c:v>
                </c:pt>
                <c:pt idx="1601">
                  <c:v>42174</c:v>
                </c:pt>
                <c:pt idx="1602">
                  <c:v>42177</c:v>
                </c:pt>
                <c:pt idx="1603">
                  <c:v>42178</c:v>
                </c:pt>
                <c:pt idx="1604">
                  <c:v>42179</c:v>
                </c:pt>
                <c:pt idx="1605">
                  <c:v>42180</c:v>
                </c:pt>
                <c:pt idx="1606">
                  <c:v>42181</c:v>
                </c:pt>
                <c:pt idx="1607">
                  <c:v>42184</c:v>
                </c:pt>
                <c:pt idx="1608">
                  <c:v>42185</c:v>
                </c:pt>
                <c:pt idx="1609">
                  <c:v>42186</c:v>
                </c:pt>
                <c:pt idx="1610">
                  <c:v>42187</c:v>
                </c:pt>
                <c:pt idx="1611">
                  <c:v>42188</c:v>
                </c:pt>
                <c:pt idx="1612">
                  <c:v>42191</c:v>
                </c:pt>
                <c:pt idx="1613">
                  <c:v>42192</c:v>
                </c:pt>
                <c:pt idx="1614">
                  <c:v>42193</c:v>
                </c:pt>
                <c:pt idx="1615">
                  <c:v>42194</c:v>
                </c:pt>
                <c:pt idx="1616">
                  <c:v>42195</c:v>
                </c:pt>
                <c:pt idx="1617">
                  <c:v>42198</c:v>
                </c:pt>
                <c:pt idx="1618">
                  <c:v>42199</c:v>
                </c:pt>
                <c:pt idx="1619">
                  <c:v>42200</c:v>
                </c:pt>
                <c:pt idx="1620">
                  <c:v>42201</c:v>
                </c:pt>
                <c:pt idx="1621">
                  <c:v>42202</c:v>
                </c:pt>
                <c:pt idx="1622">
                  <c:v>42205</c:v>
                </c:pt>
                <c:pt idx="1623">
                  <c:v>42206</c:v>
                </c:pt>
                <c:pt idx="1624">
                  <c:v>42207</c:v>
                </c:pt>
                <c:pt idx="1625">
                  <c:v>42208</c:v>
                </c:pt>
                <c:pt idx="1626">
                  <c:v>42209</c:v>
                </c:pt>
                <c:pt idx="1627">
                  <c:v>42212</c:v>
                </c:pt>
                <c:pt idx="1628">
                  <c:v>42213</c:v>
                </c:pt>
                <c:pt idx="1629">
                  <c:v>42214</c:v>
                </c:pt>
                <c:pt idx="1630">
                  <c:v>42215</c:v>
                </c:pt>
                <c:pt idx="1631">
                  <c:v>42216</c:v>
                </c:pt>
                <c:pt idx="1632">
                  <c:v>42219</c:v>
                </c:pt>
                <c:pt idx="1633">
                  <c:v>42220</c:v>
                </c:pt>
                <c:pt idx="1634">
                  <c:v>42221</c:v>
                </c:pt>
                <c:pt idx="1635">
                  <c:v>42222</c:v>
                </c:pt>
                <c:pt idx="1636">
                  <c:v>42223</c:v>
                </c:pt>
                <c:pt idx="1637">
                  <c:v>42226</c:v>
                </c:pt>
                <c:pt idx="1638">
                  <c:v>42227</c:v>
                </c:pt>
                <c:pt idx="1639">
                  <c:v>42228</c:v>
                </c:pt>
                <c:pt idx="1640">
                  <c:v>42229</c:v>
                </c:pt>
                <c:pt idx="1641">
                  <c:v>42230</c:v>
                </c:pt>
                <c:pt idx="1642">
                  <c:v>42233</c:v>
                </c:pt>
                <c:pt idx="1643">
                  <c:v>42234</c:v>
                </c:pt>
                <c:pt idx="1644">
                  <c:v>42235</c:v>
                </c:pt>
                <c:pt idx="1645">
                  <c:v>42236</c:v>
                </c:pt>
                <c:pt idx="1646">
                  <c:v>42237</c:v>
                </c:pt>
                <c:pt idx="1647">
                  <c:v>42240</c:v>
                </c:pt>
                <c:pt idx="1648">
                  <c:v>42241</c:v>
                </c:pt>
                <c:pt idx="1649">
                  <c:v>42242</c:v>
                </c:pt>
                <c:pt idx="1650">
                  <c:v>42243</c:v>
                </c:pt>
                <c:pt idx="1651">
                  <c:v>42244</c:v>
                </c:pt>
                <c:pt idx="1652">
                  <c:v>42247</c:v>
                </c:pt>
                <c:pt idx="1653">
                  <c:v>42248</c:v>
                </c:pt>
                <c:pt idx="1654">
                  <c:v>42249</c:v>
                </c:pt>
                <c:pt idx="1655">
                  <c:v>42250</c:v>
                </c:pt>
                <c:pt idx="1656">
                  <c:v>42251</c:v>
                </c:pt>
                <c:pt idx="1657">
                  <c:v>42254</c:v>
                </c:pt>
                <c:pt idx="1658">
                  <c:v>42255</c:v>
                </c:pt>
                <c:pt idx="1659">
                  <c:v>42256</c:v>
                </c:pt>
                <c:pt idx="1660">
                  <c:v>42257</c:v>
                </c:pt>
                <c:pt idx="1661">
                  <c:v>42258</c:v>
                </c:pt>
                <c:pt idx="1662">
                  <c:v>42261</c:v>
                </c:pt>
                <c:pt idx="1663">
                  <c:v>42262</c:v>
                </c:pt>
                <c:pt idx="1664">
                  <c:v>42263</c:v>
                </c:pt>
                <c:pt idx="1665">
                  <c:v>42264</c:v>
                </c:pt>
                <c:pt idx="1666">
                  <c:v>42265</c:v>
                </c:pt>
                <c:pt idx="1667">
                  <c:v>42268</c:v>
                </c:pt>
                <c:pt idx="1668">
                  <c:v>42269</c:v>
                </c:pt>
                <c:pt idx="1669">
                  <c:v>42270</c:v>
                </c:pt>
                <c:pt idx="1670">
                  <c:v>42271</c:v>
                </c:pt>
                <c:pt idx="1671">
                  <c:v>42272</c:v>
                </c:pt>
                <c:pt idx="1672">
                  <c:v>42275</c:v>
                </c:pt>
                <c:pt idx="1673">
                  <c:v>42276</c:v>
                </c:pt>
                <c:pt idx="1674">
                  <c:v>42277</c:v>
                </c:pt>
                <c:pt idx="1675">
                  <c:v>42278</c:v>
                </c:pt>
                <c:pt idx="1676">
                  <c:v>42279</c:v>
                </c:pt>
                <c:pt idx="1677">
                  <c:v>42282</c:v>
                </c:pt>
                <c:pt idx="1678">
                  <c:v>42283</c:v>
                </c:pt>
                <c:pt idx="1679">
                  <c:v>42284</c:v>
                </c:pt>
                <c:pt idx="1680">
                  <c:v>42285</c:v>
                </c:pt>
                <c:pt idx="1681">
                  <c:v>42286</c:v>
                </c:pt>
                <c:pt idx="1682">
                  <c:v>42289</c:v>
                </c:pt>
                <c:pt idx="1683">
                  <c:v>42290</c:v>
                </c:pt>
                <c:pt idx="1684">
                  <c:v>42291</c:v>
                </c:pt>
                <c:pt idx="1685">
                  <c:v>42292</c:v>
                </c:pt>
                <c:pt idx="1686">
                  <c:v>42293</c:v>
                </c:pt>
                <c:pt idx="1687">
                  <c:v>42296</c:v>
                </c:pt>
                <c:pt idx="1688">
                  <c:v>42297</c:v>
                </c:pt>
                <c:pt idx="1689">
                  <c:v>42298</c:v>
                </c:pt>
                <c:pt idx="1690">
                  <c:v>42299</c:v>
                </c:pt>
                <c:pt idx="1691">
                  <c:v>42300</c:v>
                </c:pt>
                <c:pt idx="1692">
                  <c:v>42303</c:v>
                </c:pt>
                <c:pt idx="1693">
                  <c:v>42304</c:v>
                </c:pt>
                <c:pt idx="1694">
                  <c:v>42305</c:v>
                </c:pt>
                <c:pt idx="1695">
                  <c:v>42306</c:v>
                </c:pt>
                <c:pt idx="1696">
                  <c:v>42307</c:v>
                </c:pt>
                <c:pt idx="1697">
                  <c:v>42310</c:v>
                </c:pt>
                <c:pt idx="1698">
                  <c:v>42311</c:v>
                </c:pt>
                <c:pt idx="1699">
                  <c:v>42312</c:v>
                </c:pt>
                <c:pt idx="1700">
                  <c:v>42313</c:v>
                </c:pt>
                <c:pt idx="1701">
                  <c:v>42314</c:v>
                </c:pt>
                <c:pt idx="1702">
                  <c:v>42317</c:v>
                </c:pt>
                <c:pt idx="1703">
                  <c:v>42318</c:v>
                </c:pt>
                <c:pt idx="1704">
                  <c:v>42319</c:v>
                </c:pt>
                <c:pt idx="1705">
                  <c:v>42320</c:v>
                </c:pt>
                <c:pt idx="1706">
                  <c:v>42321</c:v>
                </c:pt>
                <c:pt idx="1707">
                  <c:v>42324</c:v>
                </c:pt>
                <c:pt idx="1708">
                  <c:v>42325</c:v>
                </c:pt>
                <c:pt idx="1709">
                  <c:v>42326</c:v>
                </c:pt>
                <c:pt idx="1710">
                  <c:v>42327</c:v>
                </c:pt>
                <c:pt idx="1711">
                  <c:v>42328</c:v>
                </c:pt>
                <c:pt idx="1712">
                  <c:v>42331</c:v>
                </c:pt>
                <c:pt idx="1713">
                  <c:v>42332</c:v>
                </c:pt>
                <c:pt idx="1714">
                  <c:v>42333</c:v>
                </c:pt>
                <c:pt idx="1715">
                  <c:v>42334</c:v>
                </c:pt>
                <c:pt idx="1716">
                  <c:v>42335</c:v>
                </c:pt>
                <c:pt idx="1717">
                  <c:v>42338</c:v>
                </c:pt>
                <c:pt idx="1718">
                  <c:v>42339</c:v>
                </c:pt>
                <c:pt idx="1719">
                  <c:v>42340</c:v>
                </c:pt>
                <c:pt idx="1720">
                  <c:v>42341</c:v>
                </c:pt>
                <c:pt idx="1721">
                  <c:v>42342</c:v>
                </c:pt>
                <c:pt idx="1722">
                  <c:v>42345</c:v>
                </c:pt>
                <c:pt idx="1723">
                  <c:v>42346</c:v>
                </c:pt>
                <c:pt idx="1724">
                  <c:v>42347</c:v>
                </c:pt>
                <c:pt idx="1725">
                  <c:v>42348</c:v>
                </c:pt>
                <c:pt idx="1726">
                  <c:v>42349</c:v>
                </c:pt>
                <c:pt idx="1727">
                  <c:v>42352</c:v>
                </c:pt>
                <c:pt idx="1728">
                  <c:v>42353</c:v>
                </c:pt>
                <c:pt idx="1729">
                  <c:v>42354</c:v>
                </c:pt>
                <c:pt idx="1730">
                  <c:v>42355</c:v>
                </c:pt>
                <c:pt idx="1731">
                  <c:v>42356</c:v>
                </c:pt>
                <c:pt idx="1732">
                  <c:v>42359</c:v>
                </c:pt>
                <c:pt idx="1733">
                  <c:v>42360</c:v>
                </c:pt>
                <c:pt idx="1734">
                  <c:v>42361</c:v>
                </c:pt>
                <c:pt idx="1735">
                  <c:v>42362</c:v>
                </c:pt>
                <c:pt idx="1736">
                  <c:v>42363</c:v>
                </c:pt>
                <c:pt idx="1737">
                  <c:v>42366</c:v>
                </c:pt>
                <c:pt idx="1738">
                  <c:v>42367</c:v>
                </c:pt>
                <c:pt idx="1739">
                  <c:v>42368</c:v>
                </c:pt>
                <c:pt idx="1740">
                  <c:v>42369</c:v>
                </c:pt>
                <c:pt idx="1741">
                  <c:v>42370</c:v>
                </c:pt>
                <c:pt idx="1742">
                  <c:v>42373</c:v>
                </c:pt>
                <c:pt idx="1743">
                  <c:v>42374</c:v>
                </c:pt>
                <c:pt idx="1744">
                  <c:v>42375</c:v>
                </c:pt>
                <c:pt idx="1745">
                  <c:v>42376</c:v>
                </c:pt>
                <c:pt idx="1746">
                  <c:v>42377</c:v>
                </c:pt>
                <c:pt idx="1747">
                  <c:v>42380</c:v>
                </c:pt>
                <c:pt idx="1748">
                  <c:v>42381</c:v>
                </c:pt>
                <c:pt idx="1749">
                  <c:v>42382</c:v>
                </c:pt>
                <c:pt idx="1750">
                  <c:v>42383</c:v>
                </c:pt>
                <c:pt idx="1751">
                  <c:v>42384</c:v>
                </c:pt>
                <c:pt idx="1752">
                  <c:v>42387</c:v>
                </c:pt>
                <c:pt idx="1753">
                  <c:v>42388</c:v>
                </c:pt>
                <c:pt idx="1754">
                  <c:v>42389</c:v>
                </c:pt>
                <c:pt idx="1755">
                  <c:v>42390</c:v>
                </c:pt>
                <c:pt idx="1756">
                  <c:v>42391</c:v>
                </c:pt>
                <c:pt idx="1757">
                  <c:v>42394</c:v>
                </c:pt>
                <c:pt idx="1758">
                  <c:v>42395</c:v>
                </c:pt>
                <c:pt idx="1759">
                  <c:v>42396</c:v>
                </c:pt>
                <c:pt idx="1760">
                  <c:v>42397</c:v>
                </c:pt>
                <c:pt idx="1761">
                  <c:v>42398</c:v>
                </c:pt>
                <c:pt idx="1762">
                  <c:v>42401</c:v>
                </c:pt>
                <c:pt idx="1763">
                  <c:v>42402</c:v>
                </c:pt>
                <c:pt idx="1764">
                  <c:v>42403</c:v>
                </c:pt>
                <c:pt idx="1765">
                  <c:v>42404</c:v>
                </c:pt>
                <c:pt idx="1766">
                  <c:v>42405</c:v>
                </c:pt>
                <c:pt idx="1767">
                  <c:v>42408</c:v>
                </c:pt>
                <c:pt idx="1768">
                  <c:v>42409</c:v>
                </c:pt>
                <c:pt idx="1769">
                  <c:v>42410</c:v>
                </c:pt>
                <c:pt idx="1770">
                  <c:v>42411</c:v>
                </c:pt>
                <c:pt idx="1771">
                  <c:v>42412</c:v>
                </c:pt>
                <c:pt idx="1772">
                  <c:v>42415</c:v>
                </c:pt>
                <c:pt idx="1773">
                  <c:v>42416</c:v>
                </c:pt>
                <c:pt idx="1774">
                  <c:v>42417</c:v>
                </c:pt>
                <c:pt idx="1775">
                  <c:v>42418</c:v>
                </c:pt>
                <c:pt idx="1776">
                  <c:v>42419</c:v>
                </c:pt>
                <c:pt idx="1777">
                  <c:v>42422</c:v>
                </c:pt>
                <c:pt idx="1778">
                  <c:v>42423</c:v>
                </c:pt>
                <c:pt idx="1779">
                  <c:v>42424</c:v>
                </c:pt>
                <c:pt idx="1780">
                  <c:v>42425</c:v>
                </c:pt>
                <c:pt idx="1781">
                  <c:v>42426</c:v>
                </c:pt>
                <c:pt idx="1782">
                  <c:v>42429</c:v>
                </c:pt>
                <c:pt idx="1783">
                  <c:v>42430</c:v>
                </c:pt>
                <c:pt idx="1784">
                  <c:v>42431</c:v>
                </c:pt>
                <c:pt idx="1785">
                  <c:v>42432</c:v>
                </c:pt>
                <c:pt idx="1786">
                  <c:v>42433</c:v>
                </c:pt>
                <c:pt idx="1787">
                  <c:v>42436</c:v>
                </c:pt>
                <c:pt idx="1788">
                  <c:v>42437</c:v>
                </c:pt>
                <c:pt idx="1789">
                  <c:v>42438</c:v>
                </c:pt>
                <c:pt idx="1790">
                  <c:v>42439</c:v>
                </c:pt>
                <c:pt idx="1791">
                  <c:v>42440</c:v>
                </c:pt>
                <c:pt idx="1792">
                  <c:v>42443</c:v>
                </c:pt>
                <c:pt idx="1793">
                  <c:v>42444</c:v>
                </c:pt>
                <c:pt idx="1794">
                  <c:v>42445</c:v>
                </c:pt>
                <c:pt idx="1795">
                  <c:v>42446</c:v>
                </c:pt>
                <c:pt idx="1796">
                  <c:v>42447</c:v>
                </c:pt>
                <c:pt idx="1797">
                  <c:v>42450</c:v>
                </c:pt>
                <c:pt idx="1798">
                  <c:v>42451</c:v>
                </c:pt>
                <c:pt idx="1799">
                  <c:v>42452</c:v>
                </c:pt>
                <c:pt idx="1800">
                  <c:v>42453</c:v>
                </c:pt>
                <c:pt idx="1801">
                  <c:v>42454</c:v>
                </c:pt>
                <c:pt idx="1802">
                  <c:v>42457</c:v>
                </c:pt>
                <c:pt idx="1803">
                  <c:v>42458</c:v>
                </c:pt>
                <c:pt idx="1804">
                  <c:v>42459</c:v>
                </c:pt>
                <c:pt idx="1805">
                  <c:v>42460</c:v>
                </c:pt>
                <c:pt idx="1806">
                  <c:v>42461</c:v>
                </c:pt>
                <c:pt idx="1807">
                  <c:v>42464</c:v>
                </c:pt>
                <c:pt idx="1808">
                  <c:v>42465</c:v>
                </c:pt>
                <c:pt idx="1809">
                  <c:v>42466</c:v>
                </c:pt>
                <c:pt idx="1810">
                  <c:v>42467</c:v>
                </c:pt>
                <c:pt idx="1811">
                  <c:v>42468</c:v>
                </c:pt>
                <c:pt idx="1812">
                  <c:v>42471</c:v>
                </c:pt>
                <c:pt idx="1813">
                  <c:v>42472</c:v>
                </c:pt>
                <c:pt idx="1814">
                  <c:v>42473</c:v>
                </c:pt>
                <c:pt idx="1815">
                  <c:v>42474</c:v>
                </c:pt>
                <c:pt idx="1816">
                  <c:v>42475</c:v>
                </c:pt>
                <c:pt idx="1817">
                  <c:v>42478</c:v>
                </c:pt>
                <c:pt idx="1818">
                  <c:v>42479</c:v>
                </c:pt>
                <c:pt idx="1819">
                  <c:v>42480</c:v>
                </c:pt>
                <c:pt idx="1820">
                  <c:v>42481</c:v>
                </c:pt>
                <c:pt idx="1821">
                  <c:v>42482</c:v>
                </c:pt>
                <c:pt idx="1822">
                  <c:v>42485</c:v>
                </c:pt>
                <c:pt idx="1823">
                  <c:v>42486</c:v>
                </c:pt>
                <c:pt idx="1824">
                  <c:v>42487</c:v>
                </c:pt>
                <c:pt idx="1825">
                  <c:v>42488</c:v>
                </c:pt>
                <c:pt idx="1826">
                  <c:v>42489</c:v>
                </c:pt>
                <c:pt idx="1827">
                  <c:v>42492</c:v>
                </c:pt>
                <c:pt idx="1828">
                  <c:v>42493</c:v>
                </c:pt>
                <c:pt idx="1829">
                  <c:v>42494</c:v>
                </c:pt>
                <c:pt idx="1830">
                  <c:v>42495</c:v>
                </c:pt>
                <c:pt idx="1831">
                  <c:v>42496</c:v>
                </c:pt>
                <c:pt idx="1832">
                  <c:v>42499</c:v>
                </c:pt>
                <c:pt idx="1833">
                  <c:v>42500</c:v>
                </c:pt>
                <c:pt idx="1834">
                  <c:v>42501</c:v>
                </c:pt>
                <c:pt idx="1835">
                  <c:v>42502</c:v>
                </c:pt>
                <c:pt idx="1836">
                  <c:v>42503</c:v>
                </c:pt>
                <c:pt idx="1837">
                  <c:v>42506</c:v>
                </c:pt>
                <c:pt idx="1838">
                  <c:v>42507</c:v>
                </c:pt>
                <c:pt idx="1839">
                  <c:v>42508</c:v>
                </c:pt>
                <c:pt idx="1840">
                  <c:v>42509</c:v>
                </c:pt>
                <c:pt idx="1841">
                  <c:v>42510</c:v>
                </c:pt>
                <c:pt idx="1842">
                  <c:v>42513</c:v>
                </c:pt>
                <c:pt idx="1843">
                  <c:v>42514</c:v>
                </c:pt>
                <c:pt idx="1844">
                  <c:v>42515</c:v>
                </c:pt>
                <c:pt idx="1845">
                  <c:v>42516</c:v>
                </c:pt>
                <c:pt idx="1846">
                  <c:v>42517</c:v>
                </c:pt>
                <c:pt idx="1847">
                  <c:v>42520</c:v>
                </c:pt>
                <c:pt idx="1848">
                  <c:v>42521</c:v>
                </c:pt>
                <c:pt idx="1849">
                  <c:v>42522</c:v>
                </c:pt>
                <c:pt idx="1850">
                  <c:v>42523</c:v>
                </c:pt>
                <c:pt idx="1851">
                  <c:v>42524</c:v>
                </c:pt>
                <c:pt idx="1852">
                  <c:v>42527</c:v>
                </c:pt>
                <c:pt idx="1853">
                  <c:v>42528</c:v>
                </c:pt>
                <c:pt idx="1854">
                  <c:v>42529</c:v>
                </c:pt>
                <c:pt idx="1855">
                  <c:v>42530</c:v>
                </c:pt>
                <c:pt idx="1856">
                  <c:v>42531</c:v>
                </c:pt>
                <c:pt idx="1857">
                  <c:v>42534</c:v>
                </c:pt>
                <c:pt idx="1858">
                  <c:v>42535</c:v>
                </c:pt>
                <c:pt idx="1859">
                  <c:v>42536</c:v>
                </c:pt>
                <c:pt idx="1860">
                  <c:v>42537</c:v>
                </c:pt>
                <c:pt idx="1861">
                  <c:v>42538</c:v>
                </c:pt>
                <c:pt idx="1862">
                  <c:v>42541</c:v>
                </c:pt>
                <c:pt idx="1863">
                  <c:v>42542</c:v>
                </c:pt>
                <c:pt idx="1864">
                  <c:v>42543</c:v>
                </c:pt>
                <c:pt idx="1865">
                  <c:v>42544</c:v>
                </c:pt>
                <c:pt idx="1866">
                  <c:v>42545</c:v>
                </c:pt>
                <c:pt idx="1867">
                  <c:v>42548</c:v>
                </c:pt>
                <c:pt idx="1868">
                  <c:v>42549</c:v>
                </c:pt>
                <c:pt idx="1869">
                  <c:v>42550</c:v>
                </c:pt>
                <c:pt idx="1870">
                  <c:v>42551</c:v>
                </c:pt>
                <c:pt idx="1871">
                  <c:v>42552</c:v>
                </c:pt>
                <c:pt idx="1872">
                  <c:v>42555</c:v>
                </c:pt>
                <c:pt idx="1873">
                  <c:v>42556</c:v>
                </c:pt>
                <c:pt idx="1874">
                  <c:v>42557</c:v>
                </c:pt>
                <c:pt idx="1875">
                  <c:v>42558</c:v>
                </c:pt>
                <c:pt idx="1876">
                  <c:v>42559</c:v>
                </c:pt>
                <c:pt idx="1877">
                  <c:v>42562</c:v>
                </c:pt>
                <c:pt idx="1878">
                  <c:v>42563</c:v>
                </c:pt>
                <c:pt idx="1879">
                  <c:v>42564</c:v>
                </c:pt>
                <c:pt idx="1880">
                  <c:v>42565</c:v>
                </c:pt>
                <c:pt idx="1881">
                  <c:v>42566</c:v>
                </c:pt>
                <c:pt idx="1882">
                  <c:v>42569</c:v>
                </c:pt>
                <c:pt idx="1883">
                  <c:v>42570</c:v>
                </c:pt>
                <c:pt idx="1884">
                  <c:v>42571</c:v>
                </c:pt>
                <c:pt idx="1885">
                  <c:v>42572</c:v>
                </c:pt>
                <c:pt idx="1886">
                  <c:v>42573</c:v>
                </c:pt>
                <c:pt idx="1887">
                  <c:v>42576</c:v>
                </c:pt>
                <c:pt idx="1888">
                  <c:v>42577</c:v>
                </c:pt>
                <c:pt idx="1889">
                  <c:v>42578</c:v>
                </c:pt>
                <c:pt idx="1890">
                  <c:v>42579</c:v>
                </c:pt>
                <c:pt idx="1891">
                  <c:v>42580</c:v>
                </c:pt>
                <c:pt idx="1892">
                  <c:v>42583</c:v>
                </c:pt>
                <c:pt idx="1893">
                  <c:v>42584</c:v>
                </c:pt>
                <c:pt idx="1894">
                  <c:v>42585</c:v>
                </c:pt>
                <c:pt idx="1895">
                  <c:v>42586</c:v>
                </c:pt>
                <c:pt idx="1896">
                  <c:v>42587</c:v>
                </c:pt>
                <c:pt idx="1897">
                  <c:v>42590</c:v>
                </c:pt>
                <c:pt idx="1898">
                  <c:v>42591</c:v>
                </c:pt>
                <c:pt idx="1899">
                  <c:v>42592</c:v>
                </c:pt>
                <c:pt idx="1900">
                  <c:v>42593</c:v>
                </c:pt>
                <c:pt idx="1901">
                  <c:v>42594</c:v>
                </c:pt>
                <c:pt idx="1902">
                  <c:v>42597</c:v>
                </c:pt>
                <c:pt idx="1903">
                  <c:v>42598</c:v>
                </c:pt>
                <c:pt idx="1904">
                  <c:v>42599</c:v>
                </c:pt>
                <c:pt idx="1905">
                  <c:v>42600</c:v>
                </c:pt>
                <c:pt idx="1906">
                  <c:v>42601</c:v>
                </c:pt>
                <c:pt idx="1907">
                  <c:v>42604</c:v>
                </c:pt>
                <c:pt idx="1908">
                  <c:v>42605</c:v>
                </c:pt>
                <c:pt idx="1909">
                  <c:v>42606</c:v>
                </c:pt>
                <c:pt idx="1910">
                  <c:v>42607</c:v>
                </c:pt>
                <c:pt idx="1911">
                  <c:v>42608</c:v>
                </c:pt>
                <c:pt idx="1912">
                  <c:v>42611</c:v>
                </c:pt>
                <c:pt idx="1913">
                  <c:v>42612</c:v>
                </c:pt>
                <c:pt idx="1914">
                  <c:v>42613</c:v>
                </c:pt>
                <c:pt idx="1915">
                  <c:v>42614</c:v>
                </c:pt>
                <c:pt idx="1916">
                  <c:v>42615</c:v>
                </c:pt>
                <c:pt idx="1917">
                  <c:v>42618</c:v>
                </c:pt>
                <c:pt idx="1918">
                  <c:v>42619</c:v>
                </c:pt>
                <c:pt idx="1919">
                  <c:v>42620</c:v>
                </c:pt>
                <c:pt idx="1920">
                  <c:v>42621</c:v>
                </c:pt>
                <c:pt idx="1921">
                  <c:v>42622</c:v>
                </c:pt>
                <c:pt idx="1922">
                  <c:v>42625</c:v>
                </c:pt>
                <c:pt idx="1923">
                  <c:v>42626</c:v>
                </c:pt>
                <c:pt idx="1924">
                  <c:v>42627</c:v>
                </c:pt>
                <c:pt idx="1925">
                  <c:v>42628</c:v>
                </c:pt>
                <c:pt idx="1926">
                  <c:v>42629</c:v>
                </c:pt>
                <c:pt idx="1927">
                  <c:v>42632</c:v>
                </c:pt>
                <c:pt idx="1928">
                  <c:v>42633</c:v>
                </c:pt>
                <c:pt idx="1929">
                  <c:v>42634</c:v>
                </c:pt>
                <c:pt idx="1930">
                  <c:v>42635</c:v>
                </c:pt>
                <c:pt idx="1931">
                  <c:v>42636</c:v>
                </c:pt>
                <c:pt idx="1932">
                  <c:v>42639</c:v>
                </c:pt>
                <c:pt idx="1933">
                  <c:v>42640</c:v>
                </c:pt>
                <c:pt idx="1934">
                  <c:v>42641</c:v>
                </c:pt>
                <c:pt idx="1935">
                  <c:v>42642</c:v>
                </c:pt>
                <c:pt idx="1936">
                  <c:v>42643</c:v>
                </c:pt>
                <c:pt idx="1937">
                  <c:v>42646</c:v>
                </c:pt>
                <c:pt idx="1938">
                  <c:v>42647</c:v>
                </c:pt>
                <c:pt idx="1939">
                  <c:v>42648</c:v>
                </c:pt>
                <c:pt idx="1940">
                  <c:v>42649</c:v>
                </c:pt>
                <c:pt idx="1941">
                  <c:v>42650</c:v>
                </c:pt>
                <c:pt idx="1942">
                  <c:v>42653</c:v>
                </c:pt>
                <c:pt idx="1943">
                  <c:v>42654</c:v>
                </c:pt>
                <c:pt idx="1944">
                  <c:v>42655</c:v>
                </c:pt>
                <c:pt idx="1945">
                  <c:v>42656</c:v>
                </c:pt>
                <c:pt idx="1946">
                  <c:v>42657</c:v>
                </c:pt>
                <c:pt idx="1947">
                  <c:v>42660</c:v>
                </c:pt>
                <c:pt idx="1948">
                  <c:v>42661</c:v>
                </c:pt>
                <c:pt idx="1949">
                  <c:v>42662</c:v>
                </c:pt>
                <c:pt idx="1950">
                  <c:v>42663</c:v>
                </c:pt>
                <c:pt idx="1951">
                  <c:v>42664</c:v>
                </c:pt>
                <c:pt idx="1952">
                  <c:v>42667</c:v>
                </c:pt>
                <c:pt idx="1953">
                  <c:v>42668</c:v>
                </c:pt>
                <c:pt idx="1954">
                  <c:v>42669</c:v>
                </c:pt>
                <c:pt idx="1955">
                  <c:v>42670</c:v>
                </c:pt>
                <c:pt idx="1956">
                  <c:v>42671</c:v>
                </c:pt>
                <c:pt idx="1957">
                  <c:v>42674</c:v>
                </c:pt>
                <c:pt idx="1958">
                  <c:v>42675</c:v>
                </c:pt>
                <c:pt idx="1959">
                  <c:v>42676</c:v>
                </c:pt>
                <c:pt idx="1960">
                  <c:v>42677</c:v>
                </c:pt>
                <c:pt idx="1961">
                  <c:v>42678</c:v>
                </c:pt>
                <c:pt idx="1962">
                  <c:v>42681</c:v>
                </c:pt>
                <c:pt idx="1963">
                  <c:v>42682</c:v>
                </c:pt>
                <c:pt idx="1964">
                  <c:v>42683</c:v>
                </c:pt>
                <c:pt idx="1965">
                  <c:v>42684</c:v>
                </c:pt>
                <c:pt idx="1966">
                  <c:v>42685</c:v>
                </c:pt>
                <c:pt idx="1967">
                  <c:v>42688</c:v>
                </c:pt>
                <c:pt idx="1968">
                  <c:v>42689</c:v>
                </c:pt>
                <c:pt idx="1969">
                  <c:v>42690</c:v>
                </c:pt>
                <c:pt idx="1970">
                  <c:v>42691</c:v>
                </c:pt>
                <c:pt idx="1971">
                  <c:v>42692</c:v>
                </c:pt>
                <c:pt idx="1972">
                  <c:v>42695</c:v>
                </c:pt>
                <c:pt idx="1973">
                  <c:v>42696</c:v>
                </c:pt>
                <c:pt idx="1974">
                  <c:v>42697</c:v>
                </c:pt>
                <c:pt idx="1975">
                  <c:v>42698</c:v>
                </c:pt>
                <c:pt idx="1976">
                  <c:v>42699</c:v>
                </c:pt>
                <c:pt idx="1977">
                  <c:v>42702</c:v>
                </c:pt>
                <c:pt idx="1978">
                  <c:v>42703</c:v>
                </c:pt>
                <c:pt idx="1979">
                  <c:v>42704</c:v>
                </c:pt>
                <c:pt idx="1980">
                  <c:v>42705</c:v>
                </c:pt>
                <c:pt idx="1981">
                  <c:v>42706</c:v>
                </c:pt>
                <c:pt idx="1982">
                  <c:v>42709</c:v>
                </c:pt>
                <c:pt idx="1983">
                  <c:v>42710</c:v>
                </c:pt>
                <c:pt idx="1984">
                  <c:v>42711</c:v>
                </c:pt>
                <c:pt idx="1985">
                  <c:v>42712</c:v>
                </c:pt>
                <c:pt idx="1986">
                  <c:v>42713</c:v>
                </c:pt>
                <c:pt idx="1987">
                  <c:v>42716</c:v>
                </c:pt>
                <c:pt idx="1988">
                  <c:v>42717</c:v>
                </c:pt>
                <c:pt idx="1989">
                  <c:v>42718</c:v>
                </c:pt>
                <c:pt idx="1990">
                  <c:v>42719</c:v>
                </c:pt>
                <c:pt idx="1991">
                  <c:v>42720</c:v>
                </c:pt>
                <c:pt idx="1992">
                  <c:v>42723</c:v>
                </c:pt>
                <c:pt idx="1993">
                  <c:v>42724</c:v>
                </c:pt>
                <c:pt idx="1994">
                  <c:v>42725</c:v>
                </c:pt>
                <c:pt idx="1995">
                  <c:v>42726</c:v>
                </c:pt>
                <c:pt idx="1996">
                  <c:v>42727</c:v>
                </c:pt>
                <c:pt idx="1997">
                  <c:v>42730</c:v>
                </c:pt>
                <c:pt idx="1998">
                  <c:v>42731</c:v>
                </c:pt>
                <c:pt idx="1999">
                  <c:v>42732</c:v>
                </c:pt>
                <c:pt idx="2000">
                  <c:v>42733</c:v>
                </c:pt>
                <c:pt idx="2001">
                  <c:v>42734</c:v>
                </c:pt>
                <c:pt idx="2002">
                  <c:v>42737</c:v>
                </c:pt>
                <c:pt idx="2003">
                  <c:v>42738</c:v>
                </c:pt>
                <c:pt idx="2004">
                  <c:v>42739</c:v>
                </c:pt>
                <c:pt idx="2005">
                  <c:v>42740</c:v>
                </c:pt>
                <c:pt idx="2006">
                  <c:v>42741</c:v>
                </c:pt>
                <c:pt idx="2007">
                  <c:v>42744</c:v>
                </c:pt>
                <c:pt idx="2008">
                  <c:v>42745</c:v>
                </c:pt>
                <c:pt idx="2009">
                  <c:v>42746</c:v>
                </c:pt>
                <c:pt idx="2010">
                  <c:v>42747</c:v>
                </c:pt>
                <c:pt idx="2011">
                  <c:v>42748</c:v>
                </c:pt>
                <c:pt idx="2012">
                  <c:v>42751</c:v>
                </c:pt>
                <c:pt idx="2013">
                  <c:v>42752</c:v>
                </c:pt>
                <c:pt idx="2014">
                  <c:v>42753</c:v>
                </c:pt>
                <c:pt idx="2015">
                  <c:v>42754</c:v>
                </c:pt>
                <c:pt idx="2016">
                  <c:v>42755</c:v>
                </c:pt>
                <c:pt idx="2017">
                  <c:v>42758</c:v>
                </c:pt>
                <c:pt idx="2018">
                  <c:v>42759</c:v>
                </c:pt>
                <c:pt idx="2019">
                  <c:v>42760</c:v>
                </c:pt>
                <c:pt idx="2020">
                  <c:v>42761</c:v>
                </c:pt>
                <c:pt idx="2021">
                  <c:v>42762</c:v>
                </c:pt>
                <c:pt idx="2022">
                  <c:v>42765</c:v>
                </c:pt>
                <c:pt idx="2023">
                  <c:v>42766</c:v>
                </c:pt>
                <c:pt idx="2024">
                  <c:v>42767</c:v>
                </c:pt>
                <c:pt idx="2025">
                  <c:v>42768</c:v>
                </c:pt>
                <c:pt idx="2026">
                  <c:v>42769</c:v>
                </c:pt>
                <c:pt idx="2027">
                  <c:v>42772</c:v>
                </c:pt>
                <c:pt idx="2028">
                  <c:v>42773</c:v>
                </c:pt>
                <c:pt idx="2029">
                  <c:v>42774</c:v>
                </c:pt>
                <c:pt idx="2030">
                  <c:v>42775</c:v>
                </c:pt>
                <c:pt idx="2031">
                  <c:v>42776</c:v>
                </c:pt>
                <c:pt idx="2032">
                  <c:v>42779</c:v>
                </c:pt>
                <c:pt idx="2033">
                  <c:v>42780</c:v>
                </c:pt>
                <c:pt idx="2034">
                  <c:v>42781</c:v>
                </c:pt>
                <c:pt idx="2035">
                  <c:v>42782</c:v>
                </c:pt>
                <c:pt idx="2036">
                  <c:v>42783</c:v>
                </c:pt>
                <c:pt idx="2037">
                  <c:v>42786</c:v>
                </c:pt>
                <c:pt idx="2038">
                  <c:v>42787</c:v>
                </c:pt>
                <c:pt idx="2039">
                  <c:v>42788</c:v>
                </c:pt>
                <c:pt idx="2040">
                  <c:v>42789</c:v>
                </c:pt>
                <c:pt idx="2041">
                  <c:v>42790</c:v>
                </c:pt>
                <c:pt idx="2042">
                  <c:v>42793</c:v>
                </c:pt>
                <c:pt idx="2043">
                  <c:v>42794</c:v>
                </c:pt>
                <c:pt idx="2044">
                  <c:v>42795</c:v>
                </c:pt>
                <c:pt idx="2045">
                  <c:v>42796</c:v>
                </c:pt>
                <c:pt idx="2046">
                  <c:v>42797</c:v>
                </c:pt>
                <c:pt idx="2047">
                  <c:v>42800</c:v>
                </c:pt>
                <c:pt idx="2048">
                  <c:v>42801</c:v>
                </c:pt>
                <c:pt idx="2049">
                  <c:v>42802</c:v>
                </c:pt>
                <c:pt idx="2050">
                  <c:v>42803</c:v>
                </c:pt>
                <c:pt idx="2051">
                  <c:v>42804</c:v>
                </c:pt>
                <c:pt idx="2052">
                  <c:v>42807</c:v>
                </c:pt>
                <c:pt idx="2053">
                  <c:v>42808</c:v>
                </c:pt>
                <c:pt idx="2054">
                  <c:v>42809</c:v>
                </c:pt>
                <c:pt idx="2055">
                  <c:v>42810</c:v>
                </c:pt>
                <c:pt idx="2056">
                  <c:v>42811</c:v>
                </c:pt>
                <c:pt idx="2057">
                  <c:v>42814</c:v>
                </c:pt>
                <c:pt idx="2058">
                  <c:v>42815</c:v>
                </c:pt>
                <c:pt idx="2059">
                  <c:v>42816</c:v>
                </c:pt>
                <c:pt idx="2060">
                  <c:v>42817</c:v>
                </c:pt>
                <c:pt idx="2061">
                  <c:v>42818</c:v>
                </c:pt>
                <c:pt idx="2062">
                  <c:v>42821</c:v>
                </c:pt>
                <c:pt idx="2063">
                  <c:v>42822</c:v>
                </c:pt>
                <c:pt idx="2064">
                  <c:v>42823</c:v>
                </c:pt>
                <c:pt idx="2065">
                  <c:v>42824</c:v>
                </c:pt>
                <c:pt idx="2066">
                  <c:v>42825</c:v>
                </c:pt>
                <c:pt idx="2067">
                  <c:v>42828</c:v>
                </c:pt>
                <c:pt idx="2068">
                  <c:v>42829</c:v>
                </c:pt>
                <c:pt idx="2069">
                  <c:v>42830</c:v>
                </c:pt>
                <c:pt idx="2070">
                  <c:v>42831</c:v>
                </c:pt>
                <c:pt idx="2071">
                  <c:v>42832</c:v>
                </c:pt>
                <c:pt idx="2072">
                  <c:v>42835</c:v>
                </c:pt>
                <c:pt idx="2073">
                  <c:v>42836</c:v>
                </c:pt>
                <c:pt idx="2074">
                  <c:v>42837</c:v>
                </c:pt>
                <c:pt idx="2075">
                  <c:v>42838</c:v>
                </c:pt>
                <c:pt idx="2076">
                  <c:v>42839</c:v>
                </c:pt>
                <c:pt idx="2077">
                  <c:v>42842</c:v>
                </c:pt>
                <c:pt idx="2078">
                  <c:v>42843</c:v>
                </c:pt>
                <c:pt idx="2079">
                  <c:v>42844</c:v>
                </c:pt>
                <c:pt idx="2080">
                  <c:v>42845</c:v>
                </c:pt>
                <c:pt idx="2081">
                  <c:v>42846</c:v>
                </c:pt>
                <c:pt idx="2082">
                  <c:v>42849</c:v>
                </c:pt>
                <c:pt idx="2083">
                  <c:v>42850</c:v>
                </c:pt>
                <c:pt idx="2084">
                  <c:v>42851</c:v>
                </c:pt>
                <c:pt idx="2085">
                  <c:v>42852</c:v>
                </c:pt>
                <c:pt idx="2086">
                  <c:v>42853</c:v>
                </c:pt>
                <c:pt idx="2087">
                  <c:v>42856</c:v>
                </c:pt>
                <c:pt idx="2088">
                  <c:v>42857</c:v>
                </c:pt>
                <c:pt idx="2089">
                  <c:v>42858</c:v>
                </c:pt>
                <c:pt idx="2090">
                  <c:v>42859</c:v>
                </c:pt>
                <c:pt idx="2091">
                  <c:v>42860</c:v>
                </c:pt>
                <c:pt idx="2092">
                  <c:v>42863</c:v>
                </c:pt>
                <c:pt idx="2093">
                  <c:v>42864</c:v>
                </c:pt>
                <c:pt idx="2094">
                  <c:v>42865</c:v>
                </c:pt>
                <c:pt idx="2095">
                  <c:v>42866</c:v>
                </c:pt>
                <c:pt idx="2096">
                  <c:v>42867</c:v>
                </c:pt>
                <c:pt idx="2097">
                  <c:v>42870</c:v>
                </c:pt>
                <c:pt idx="2098">
                  <c:v>42871</c:v>
                </c:pt>
                <c:pt idx="2099">
                  <c:v>42872</c:v>
                </c:pt>
                <c:pt idx="2100">
                  <c:v>42873</c:v>
                </c:pt>
                <c:pt idx="2101">
                  <c:v>42874</c:v>
                </c:pt>
                <c:pt idx="2102">
                  <c:v>42877</c:v>
                </c:pt>
                <c:pt idx="2103">
                  <c:v>42878</c:v>
                </c:pt>
                <c:pt idx="2104">
                  <c:v>42879</c:v>
                </c:pt>
                <c:pt idx="2105">
                  <c:v>42880</c:v>
                </c:pt>
                <c:pt idx="2106">
                  <c:v>42881</c:v>
                </c:pt>
                <c:pt idx="2107">
                  <c:v>42884</c:v>
                </c:pt>
                <c:pt idx="2108">
                  <c:v>42885</c:v>
                </c:pt>
                <c:pt idx="2109">
                  <c:v>42886</c:v>
                </c:pt>
                <c:pt idx="2110">
                  <c:v>42887</c:v>
                </c:pt>
                <c:pt idx="2111">
                  <c:v>42888</c:v>
                </c:pt>
                <c:pt idx="2112">
                  <c:v>42891</c:v>
                </c:pt>
                <c:pt idx="2113">
                  <c:v>42892</c:v>
                </c:pt>
                <c:pt idx="2114">
                  <c:v>42893</c:v>
                </c:pt>
                <c:pt idx="2115">
                  <c:v>42894</c:v>
                </c:pt>
                <c:pt idx="2116">
                  <c:v>42895</c:v>
                </c:pt>
                <c:pt idx="2117">
                  <c:v>42898</c:v>
                </c:pt>
                <c:pt idx="2118">
                  <c:v>42899</c:v>
                </c:pt>
                <c:pt idx="2119">
                  <c:v>42900</c:v>
                </c:pt>
                <c:pt idx="2120">
                  <c:v>42901</c:v>
                </c:pt>
                <c:pt idx="2121">
                  <c:v>42902</c:v>
                </c:pt>
                <c:pt idx="2122">
                  <c:v>42905</c:v>
                </c:pt>
                <c:pt idx="2123">
                  <c:v>42906</c:v>
                </c:pt>
                <c:pt idx="2124">
                  <c:v>42907</c:v>
                </c:pt>
                <c:pt idx="2125">
                  <c:v>42908</c:v>
                </c:pt>
                <c:pt idx="2126">
                  <c:v>42909</c:v>
                </c:pt>
                <c:pt idx="2127">
                  <c:v>42912</c:v>
                </c:pt>
                <c:pt idx="2128">
                  <c:v>42913</c:v>
                </c:pt>
                <c:pt idx="2129">
                  <c:v>42914</c:v>
                </c:pt>
                <c:pt idx="2130">
                  <c:v>42915</c:v>
                </c:pt>
                <c:pt idx="2131">
                  <c:v>42916</c:v>
                </c:pt>
                <c:pt idx="2132">
                  <c:v>42919</c:v>
                </c:pt>
                <c:pt idx="2133">
                  <c:v>42920</c:v>
                </c:pt>
                <c:pt idx="2134">
                  <c:v>42921</c:v>
                </c:pt>
                <c:pt idx="2135">
                  <c:v>42922</c:v>
                </c:pt>
                <c:pt idx="2136">
                  <c:v>42923</c:v>
                </c:pt>
                <c:pt idx="2137">
                  <c:v>42926</c:v>
                </c:pt>
                <c:pt idx="2138">
                  <c:v>42927</c:v>
                </c:pt>
                <c:pt idx="2139">
                  <c:v>42928</c:v>
                </c:pt>
                <c:pt idx="2140">
                  <c:v>42929</c:v>
                </c:pt>
                <c:pt idx="2141">
                  <c:v>42930</c:v>
                </c:pt>
                <c:pt idx="2142">
                  <c:v>42933</c:v>
                </c:pt>
                <c:pt idx="2143">
                  <c:v>42934</c:v>
                </c:pt>
                <c:pt idx="2144">
                  <c:v>42935</c:v>
                </c:pt>
                <c:pt idx="2145">
                  <c:v>42936</c:v>
                </c:pt>
                <c:pt idx="2146">
                  <c:v>42937</c:v>
                </c:pt>
                <c:pt idx="2147">
                  <c:v>42940</c:v>
                </c:pt>
                <c:pt idx="2148">
                  <c:v>42941</c:v>
                </c:pt>
                <c:pt idx="2149">
                  <c:v>42942</c:v>
                </c:pt>
                <c:pt idx="2150">
                  <c:v>42943</c:v>
                </c:pt>
                <c:pt idx="2151">
                  <c:v>42944</c:v>
                </c:pt>
                <c:pt idx="2152">
                  <c:v>42947</c:v>
                </c:pt>
                <c:pt idx="2153">
                  <c:v>42948</c:v>
                </c:pt>
                <c:pt idx="2154">
                  <c:v>42949</c:v>
                </c:pt>
                <c:pt idx="2155">
                  <c:v>42950</c:v>
                </c:pt>
                <c:pt idx="2156">
                  <c:v>42951</c:v>
                </c:pt>
                <c:pt idx="2157">
                  <c:v>42954</c:v>
                </c:pt>
                <c:pt idx="2158">
                  <c:v>42955</c:v>
                </c:pt>
                <c:pt idx="2159">
                  <c:v>42956</c:v>
                </c:pt>
                <c:pt idx="2160">
                  <c:v>42957</c:v>
                </c:pt>
                <c:pt idx="2161">
                  <c:v>42958</c:v>
                </c:pt>
                <c:pt idx="2162">
                  <c:v>42961</c:v>
                </c:pt>
                <c:pt idx="2163">
                  <c:v>42962</c:v>
                </c:pt>
                <c:pt idx="2164">
                  <c:v>42963</c:v>
                </c:pt>
                <c:pt idx="2165">
                  <c:v>42964</c:v>
                </c:pt>
                <c:pt idx="2166">
                  <c:v>42965</c:v>
                </c:pt>
                <c:pt idx="2167">
                  <c:v>42968</c:v>
                </c:pt>
                <c:pt idx="2168">
                  <c:v>42969</c:v>
                </c:pt>
                <c:pt idx="2169">
                  <c:v>42970</c:v>
                </c:pt>
                <c:pt idx="2170">
                  <c:v>42971</c:v>
                </c:pt>
                <c:pt idx="2171">
                  <c:v>42972</c:v>
                </c:pt>
                <c:pt idx="2172">
                  <c:v>42975</c:v>
                </c:pt>
                <c:pt idx="2173">
                  <c:v>42976</c:v>
                </c:pt>
                <c:pt idx="2174">
                  <c:v>42977</c:v>
                </c:pt>
                <c:pt idx="2175">
                  <c:v>42978</c:v>
                </c:pt>
                <c:pt idx="2176">
                  <c:v>42979</c:v>
                </c:pt>
                <c:pt idx="2177">
                  <c:v>42982</c:v>
                </c:pt>
                <c:pt idx="2178">
                  <c:v>42983</c:v>
                </c:pt>
                <c:pt idx="2179">
                  <c:v>42984</c:v>
                </c:pt>
                <c:pt idx="2180">
                  <c:v>42985</c:v>
                </c:pt>
                <c:pt idx="2181">
                  <c:v>42986</c:v>
                </c:pt>
                <c:pt idx="2182">
                  <c:v>42989</c:v>
                </c:pt>
                <c:pt idx="2183">
                  <c:v>42990</c:v>
                </c:pt>
                <c:pt idx="2184">
                  <c:v>42991</c:v>
                </c:pt>
                <c:pt idx="2185">
                  <c:v>42992</c:v>
                </c:pt>
                <c:pt idx="2186">
                  <c:v>42993</c:v>
                </c:pt>
                <c:pt idx="2187">
                  <c:v>42996</c:v>
                </c:pt>
                <c:pt idx="2188">
                  <c:v>42997</c:v>
                </c:pt>
                <c:pt idx="2189">
                  <c:v>42998</c:v>
                </c:pt>
                <c:pt idx="2190">
                  <c:v>42999</c:v>
                </c:pt>
                <c:pt idx="2191">
                  <c:v>43000</c:v>
                </c:pt>
                <c:pt idx="2192">
                  <c:v>43003</c:v>
                </c:pt>
                <c:pt idx="2193">
                  <c:v>43004</c:v>
                </c:pt>
                <c:pt idx="2194">
                  <c:v>43005</c:v>
                </c:pt>
                <c:pt idx="2195">
                  <c:v>43006</c:v>
                </c:pt>
                <c:pt idx="2196">
                  <c:v>43007</c:v>
                </c:pt>
                <c:pt idx="2197">
                  <c:v>43010</c:v>
                </c:pt>
                <c:pt idx="2198">
                  <c:v>43011</c:v>
                </c:pt>
                <c:pt idx="2199">
                  <c:v>43012</c:v>
                </c:pt>
                <c:pt idx="2200">
                  <c:v>43013</c:v>
                </c:pt>
                <c:pt idx="2201">
                  <c:v>43014</c:v>
                </c:pt>
                <c:pt idx="2202">
                  <c:v>43017</c:v>
                </c:pt>
                <c:pt idx="2203">
                  <c:v>43018</c:v>
                </c:pt>
                <c:pt idx="2204">
                  <c:v>43019</c:v>
                </c:pt>
                <c:pt idx="2205">
                  <c:v>43020</c:v>
                </c:pt>
                <c:pt idx="2206">
                  <c:v>43021</c:v>
                </c:pt>
                <c:pt idx="2207">
                  <c:v>43024</c:v>
                </c:pt>
                <c:pt idx="2208">
                  <c:v>43025</c:v>
                </c:pt>
                <c:pt idx="2209">
                  <c:v>43026</c:v>
                </c:pt>
                <c:pt idx="2210">
                  <c:v>43027</c:v>
                </c:pt>
                <c:pt idx="2211">
                  <c:v>43028</c:v>
                </c:pt>
                <c:pt idx="2212">
                  <c:v>43031</c:v>
                </c:pt>
                <c:pt idx="2213">
                  <c:v>43032</c:v>
                </c:pt>
                <c:pt idx="2214">
                  <c:v>43033</c:v>
                </c:pt>
                <c:pt idx="2215">
                  <c:v>43034</c:v>
                </c:pt>
                <c:pt idx="2216">
                  <c:v>43035</c:v>
                </c:pt>
                <c:pt idx="2217">
                  <c:v>43038</c:v>
                </c:pt>
                <c:pt idx="2218">
                  <c:v>43039</c:v>
                </c:pt>
                <c:pt idx="2219">
                  <c:v>43040</c:v>
                </c:pt>
                <c:pt idx="2220">
                  <c:v>43041</c:v>
                </c:pt>
                <c:pt idx="2221">
                  <c:v>43042</c:v>
                </c:pt>
                <c:pt idx="2222">
                  <c:v>43045</c:v>
                </c:pt>
                <c:pt idx="2223">
                  <c:v>43046</c:v>
                </c:pt>
                <c:pt idx="2224">
                  <c:v>43047</c:v>
                </c:pt>
                <c:pt idx="2225">
                  <c:v>43048</c:v>
                </c:pt>
                <c:pt idx="2226">
                  <c:v>43049</c:v>
                </c:pt>
                <c:pt idx="2227">
                  <c:v>43052</c:v>
                </c:pt>
                <c:pt idx="2228">
                  <c:v>43053</c:v>
                </c:pt>
                <c:pt idx="2229">
                  <c:v>43054</c:v>
                </c:pt>
                <c:pt idx="2230">
                  <c:v>43055</c:v>
                </c:pt>
                <c:pt idx="2231">
                  <c:v>43056</c:v>
                </c:pt>
                <c:pt idx="2232">
                  <c:v>43059</c:v>
                </c:pt>
                <c:pt idx="2233">
                  <c:v>43060</c:v>
                </c:pt>
                <c:pt idx="2234">
                  <c:v>43061</c:v>
                </c:pt>
                <c:pt idx="2235">
                  <c:v>43062</c:v>
                </c:pt>
                <c:pt idx="2236">
                  <c:v>43063</c:v>
                </c:pt>
                <c:pt idx="2237">
                  <c:v>43066</c:v>
                </c:pt>
                <c:pt idx="2238">
                  <c:v>43067</c:v>
                </c:pt>
                <c:pt idx="2239">
                  <c:v>43068</c:v>
                </c:pt>
                <c:pt idx="2240">
                  <c:v>43069</c:v>
                </c:pt>
                <c:pt idx="2241">
                  <c:v>43070</c:v>
                </c:pt>
                <c:pt idx="2242">
                  <c:v>43073</c:v>
                </c:pt>
                <c:pt idx="2243">
                  <c:v>43074</c:v>
                </c:pt>
                <c:pt idx="2244">
                  <c:v>43075</c:v>
                </c:pt>
                <c:pt idx="2245">
                  <c:v>43076</c:v>
                </c:pt>
                <c:pt idx="2246">
                  <c:v>43077</c:v>
                </c:pt>
                <c:pt idx="2247">
                  <c:v>43080</c:v>
                </c:pt>
                <c:pt idx="2248">
                  <c:v>43081</c:v>
                </c:pt>
                <c:pt idx="2249">
                  <c:v>43082</c:v>
                </c:pt>
                <c:pt idx="2250">
                  <c:v>43083</c:v>
                </c:pt>
                <c:pt idx="2251">
                  <c:v>43084</c:v>
                </c:pt>
                <c:pt idx="2252">
                  <c:v>43087</c:v>
                </c:pt>
                <c:pt idx="2253">
                  <c:v>43088</c:v>
                </c:pt>
                <c:pt idx="2254">
                  <c:v>43089</c:v>
                </c:pt>
                <c:pt idx="2255">
                  <c:v>43090</c:v>
                </c:pt>
                <c:pt idx="2256">
                  <c:v>43091</c:v>
                </c:pt>
                <c:pt idx="2257">
                  <c:v>43094</c:v>
                </c:pt>
                <c:pt idx="2258">
                  <c:v>43095</c:v>
                </c:pt>
                <c:pt idx="2259">
                  <c:v>43096</c:v>
                </c:pt>
                <c:pt idx="2260">
                  <c:v>43097</c:v>
                </c:pt>
                <c:pt idx="2261">
                  <c:v>43098</c:v>
                </c:pt>
                <c:pt idx="2262">
                  <c:v>43101</c:v>
                </c:pt>
                <c:pt idx="2263">
                  <c:v>43102</c:v>
                </c:pt>
                <c:pt idx="2264">
                  <c:v>43103</c:v>
                </c:pt>
                <c:pt idx="2265">
                  <c:v>43104</c:v>
                </c:pt>
                <c:pt idx="2266">
                  <c:v>43105</c:v>
                </c:pt>
                <c:pt idx="2267">
                  <c:v>43108</c:v>
                </c:pt>
                <c:pt idx="2268">
                  <c:v>43109</c:v>
                </c:pt>
                <c:pt idx="2269">
                  <c:v>43110</c:v>
                </c:pt>
                <c:pt idx="2270">
                  <c:v>43111</c:v>
                </c:pt>
                <c:pt idx="2271">
                  <c:v>43112</c:v>
                </c:pt>
                <c:pt idx="2272">
                  <c:v>43115</c:v>
                </c:pt>
                <c:pt idx="2273">
                  <c:v>43116</c:v>
                </c:pt>
                <c:pt idx="2274">
                  <c:v>43117</c:v>
                </c:pt>
                <c:pt idx="2275">
                  <c:v>43118</c:v>
                </c:pt>
                <c:pt idx="2276">
                  <c:v>43119</c:v>
                </c:pt>
                <c:pt idx="2277">
                  <c:v>43122</c:v>
                </c:pt>
                <c:pt idx="2278">
                  <c:v>43123</c:v>
                </c:pt>
                <c:pt idx="2279">
                  <c:v>43124</c:v>
                </c:pt>
                <c:pt idx="2280">
                  <c:v>43125</c:v>
                </c:pt>
                <c:pt idx="2281">
                  <c:v>43126</c:v>
                </c:pt>
                <c:pt idx="2282">
                  <c:v>43129</c:v>
                </c:pt>
                <c:pt idx="2283">
                  <c:v>43130</c:v>
                </c:pt>
                <c:pt idx="2284">
                  <c:v>43131</c:v>
                </c:pt>
              </c:numCache>
            </c:numRef>
          </c:cat>
          <c:val>
            <c:numRef>
              <c:f>'Amundi Fds Europe MinVar BRUT'!$D$5:$D$2289</c:f>
              <c:numCache>
                <c:formatCode>#,##0.00_);[Red]\(#,##0.00\)</c:formatCode>
                <c:ptCount val="2285"/>
                <c:pt idx="0">
                  <c:v>100</c:v>
                </c:pt>
                <c:pt idx="1">
                  <c:v>100</c:v>
                </c:pt>
                <c:pt idx="2">
                  <c:v>102.03285498972181</c:v>
                </c:pt>
                <c:pt idx="3">
                  <c:v>101.10327530284893</c:v>
                </c:pt>
                <c:pt idx="4">
                  <c:v>101.79796660127209</c:v>
                </c:pt>
                <c:pt idx="5">
                  <c:v>101.30543006724848</c:v>
                </c:pt>
                <c:pt idx="6">
                  <c:v>102.16820358649265</c:v>
                </c:pt>
                <c:pt idx="7">
                  <c:v>101.24164983064973</c:v>
                </c:pt>
                <c:pt idx="8">
                  <c:v>102.3806058020659</c:v>
                </c:pt>
                <c:pt idx="9">
                  <c:v>102.15510849226146</c:v>
                </c:pt>
                <c:pt idx="10">
                  <c:v>102.25458443688224</c:v>
                </c:pt>
                <c:pt idx="11">
                  <c:v>102.28006750381154</c:v>
                </c:pt>
                <c:pt idx="12">
                  <c:v>103.67690218066679</c:v>
                </c:pt>
                <c:pt idx="13">
                  <c:v>103.59940613819865</c:v>
                </c:pt>
                <c:pt idx="14">
                  <c:v>104.339433790332</c:v>
                </c:pt>
                <c:pt idx="15">
                  <c:v>104.339433790332</c:v>
                </c:pt>
                <c:pt idx="16">
                  <c:v>102.17239431714158</c:v>
                </c:pt>
                <c:pt idx="17">
                  <c:v>102.57530073239936</c:v>
                </c:pt>
                <c:pt idx="18">
                  <c:v>103.59457457531458</c:v>
                </c:pt>
                <c:pt idx="19">
                  <c:v>103.87736122756273</c:v>
                </c:pt>
                <c:pt idx="20">
                  <c:v>103.12537870138412</c:v>
                </c:pt>
                <c:pt idx="21">
                  <c:v>102.84572766567122</c:v>
                </c:pt>
                <c:pt idx="22">
                  <c:v>102.84572766567122</c:v>
                </c:pt>
                <c:pt idx="23">
                  <c:v>104.39661699823262</c:v>
                </c:pt>
                <c:pt idx="24">
                  <c:v>103.26718336853706</c:v>
                </c:pt>
                <c:pt idx="25">
                  <c:v>103.22367762974469</c:v>
                </c:pt>
                <c:pt idx="26">
                  <c:v>102.96396823440304</c:v>
                </c:pt>
                <c:pt idx="27">
                  <c:v>102.8484296738083</c:v>
                </c:pt>
                <c:pt idx="28">
                  <c:v>102.94104779647961</c:v>
                </c:pt>
                <c:pt idx="29">
                  <c:v>103.5321966255319</c:v>
                </c:pt>
                <c:pt idx="30">
                  <c:v>104.11136206900298</c:v>
                </c:pt>
                <c:pt idx="31">
                  <c:v>104.22407836943857</c:v>
                </c:pt>
                <c:pt idx="32">
                  <c:v>102.30860017082988</c:v>
                </c:pt>
                <c:pt idx="33">
                  <c:v>102.49504392958002</c:v>
                </c:pt>
                <c:pt idx="34">
                  <c:v>102.37739650722833</c:v>
                </c:pt>
                <c:pt idx="35">
                  <c:v>102.71237158891728</c:v>
                </c:pt>
                <c:pt idx="36">
                  <c:v>103.52804297261532</c:v>
                </c:pt>
                <c:pt idx="37">
                  <c:v>101.67089426838993</c:v>
                </c:pt>
                <c:pt idx="38">
                  <c:v>101.67089426838993</c:v>
                </c:pt>
                <c:pt idx="39">
                  <c:v>102.93274360697407</c:v>
                </c:pt>
                <c:pt idx="40">
                  <c:v>102.07993514564424</c:v>
                </c:pt>
                <c:pt idx="41">
                  <c:v>101.71986588291627</c:v>
                </c:pt>
                <c:pt idx="42">
                  <c:v>102.83809033273201</c:v>
                </c:pt>
                <c:pt idx="43">
                  <c:v>101.96206089667992</c:v>
                </c:pt>
                <c:pt idx="44">
                  <c:v>103.65233023318537</c:v>
                </c:pt>
                <c:pt idx="45">
                  <c:v>101.50236514418015</c:v>
                </c:pt>
                <c:pt idx="46">
                  <c:v>101.45051416413308</c:v>
                </c:pt>
                <c:pt idx="47">
                  <c:v>101.21275483793258</c:v>
                </c:pt>
                <c:pt idx="48">
                  <c:v>100.04317095161875</c:v>
                </c:pt>
                <c:pt idx="49">
                  <c:v>99.750444304039064</c:v>
                </c:pt>
                <c:pt idx="50">
                  <c:v>100.06824429761924</c:v>
                </c:pt>
                <c:pt idx="51">
                  <c:v>99.118738764520813</c:v>
                </c:pt>
                <c:pt idx="52">
                  <c:v>100.29879463369826</c:v>
                </c:pt>
                <c:pt idx="53">
                  <c:v>100.71723994934632</c:v>
                </c:pt>
                <c:pt idx="54">
                  <c:v>102.06634058864152</c:v>
                </c:pt>
                <c:pt idx="55">
                  <c:v>102.86837799255231</c:v>
                </c:pt>
                <c:pt idx="56">
                  <c:v>103.12336532954873</c:v>
                </c:pt>
                <c:pt idx="57">
                  <c:v>104.02169641904659</c:v>
                </c:pt>
                <c:pt idx="58">
                  <c:v>104.5984512506769</c:v>
                </c:pt>
                <c:pt idx="59">
                  <c:v>104.88257793698168</c:v>
                </c:pt>
                <c:pt idx="60">
                  <c:v>105.78812792513301</c:v>
                </c:pt>
                <c:pt idx="61">
                  <c:v>105.33861659567711</c:v>
                </c:pt>
                <c:pt idx="62">
                  <c:v>105.65388563756719</c:v>
                </c:pt>
                <c:pt idx="63">
                  <c:v>105.45592815126075</c:v>
                </c:pt>
                <c:pt idx="64">
                  <c:v>106.26138156971476</c:v>
                </c:pt>
                <c:pt idx="65">
                  <c:v>107.69640869725366</c:v>
                </c:pt>
                <c:pt idx="66">
                  <c:v>107.04782908256732</c:v>
                </c:pt>
                <c:pt idx="67">
                  <c:v>107.48257175438154</c:v>
                </c:pt>
                <c:pt idx="68">
                  <c:v>107.23951711234633</c:v>
                </c:pt>
                <c:pt idx="69">
                  <c:v>106.49015572985047</c:v>
                </c:pt>
                <c:pt idx="70">
                  <c:v>106.41549891002491</c:v>
                </c:pt>
                <c:pt idx="71">
                  <c:v>107.85779043718054</c:v>
                </c:pt>
                <c:pt idx="72">
                  <c:v>107.62688253463983</c:v>
                </c:pt>
                <c:pt idx="73">
                  <c:v>106.91452203627389</c:v>
                </c:pt>
                <c:pt idx="74">
                  <c:v>107.83658173495132</c:v>
                </c:pt>
                <c:pt idx="75">
                  <c:v>107.70579147543565</c:v>
                </c:pt>
                <c:pt idx="76">
                  <c:v>107.05154250738683</c:v>
                </c:pt>
                <c:pt idx="77">
                  <c:v>105.90703395574685</c:v>
                </c:pt>
                <c:pt idx="78">
                  <c:v>106.68581254218155</c:v>
                </c:pt>
                <c:pt idx="79">
                  <c:v>106.86587912933649</c:v>
                </c:pt>
                <c:pt idx="80">
                  <c:v>107.90849725007381</c:v>
                </c:pt>
                <c:pt idx="81">
                  <c:v>109.86488259884895</c:v>
                </c:pt>
                <c:pt idx="82">
                  <c:v>110.18170795322548</c:v>
                </c:pt>
                <c:pt idx="83">
                  <c:v>110.87947697413891</c:v>
                </c:pt>
                <c:pt idx="84">
                  <c:v>110.52101389127711</c:v>
                </c:pt>
                <c:pt idx="85">
                  <c:v>110.10338671139897</c:v>
                </c:pt>
                <c:pt idx="86">
                  <c:v>110.55446681789476</c:v>
                </c:pt>
                <c:pt idx="87">
                  <c:v>110.20269273392435</c:v>
                </c:pt>
                <c:pt idx="88">
                  <c:v>109.23123463710873</c:v>
                </c:pt>
                <c:pt idx="89">
                  <c:v>109.62615462584439</c:v>
                </c:pt>
                <c:pt idx="90">
                  <c:v>108.94053011145486</c:v>
                </c:pt>
                <c:pt idx="91">
                  <c:v>109.77992315460664</c:v>
                </c:pt>
                <c:pt idx="92">
                  <c:v>110.66787198148633</c:v>
                </c:pt>
                <c:pt idx="93">
                  <c:v>111.11405905525203</c:v>
                </c:pt>
                <c:pt idx="94">
                  <c:v>111.92952781386873</c:v>
                </c:pt>
                <c:pt idx="95">
                  <c:v>112.07272780980992</c:v>
                </c:pt>
                <c:pt idx="96">
                  <c:v>112.37247635080136</c:v>
                </c:pt>
                <c:pt idx="97">
                  <c:v>112.616496228622</c:v>
                </c:pt>
                <c:pt idx="98">
                  <c:v>112.63178663231888</c:v>
                </c:pt>
                <c:pt idx="99">
                  <c:v>113.26374691193169</c:v>
                </c:pt>
                <c:pt idx="100">
                  <c:v>113.49629263989604</c:v>
                </c:pt>
                <c:pt idx="101">
                  <c:v>113.31032478470399</c:v>
                </c:pt>
                <c:pt idx="102">
                  <c:v>113.32549628451538</c:v>
                </c:pt>
                <c:pt idx="103">
                  <c:v>113.90741510826726</c:v>
                </c:pt>
                <c:pt idx="104">
                  <c:v>113.75258910079118</c:v>
                </c:pt>
                <c:pt idx="105">
                  <c:v>112.18339560532429</c:v>
                </c:pt>
                <c:pt idx="106">
                  <c:v>112.17812604128274</c:v>
                </c:pt>
                <c:pt idx="107">
                  <c:v>113.91189636353745</c:v>
                </c:pt>
                <c:pt idx="108">
                  <c:v>113.86141828064846</c:v>
                </c:pt>
                <c:pt idx="109">
                  <c:v>113.41653443276813</c:v>
                </c:pt>
                <c:pt idx="110">
                  <c:v>112.46865940416035</c:v>
                </c:pt>
                <c:pt idx="111">
                  <c:v>111.22556719017729</c:v>
                </c:pt>
                <c:pt idx="112">
                  <c:v>111.97398983590536</c:v>
                </c:pt>
                <c:pt idx="113">
                  <c:v>113.1335202166488</c:v>
                </c:pt>
                <c:pt idx="114">
                  <c:v>112.76686920272776</c:v>
                </c:pt>
                <c:pt idx="115">
                  <c:v>113.53185528434781</c:v>
                </c:pt>
                <c:pt idx="116">
                  <c:v>113.1913036089301</c:v>
                </c:pt>
                <c:pt idx="117">
                  <c:v>114.12277816756151</c:v>
                </c:pt>
                <c:pt idx="118">
                  <c:v>113.19772739406389</c:v>
                </c:pt>
                <c:pt idx="119">
                  <c:v>114.51519789228735</c:v>
                </c:pt>
                <c:pt idx="120">
                  <c:v>114.64320486552992</c:v>
                </c:pt>
                <c:pt idx="121">
                  <c:v>114.08464160336753</c:v>
                </c:pt>
                <c:pt idx="122">
                  <c:v>115.35592429609397</c:v>
                </c:pt>
                <c:pt idx="123">
                  <c:v>115.23327710588612</c:v>
                </c:pt>
                <c:pt idx="124">
                  <c:v>115.73946029116475</c:v>
                </c:pt>
                <c:pt idx="125">
                  <c:v>115.07736926559342</c:v>
                </c:pt>
                <c:pt idx="126">
                  <c:v>114.06564965055853</c:v>
                </c:pt>
                <c:pt idx="127">
                  <c:v>113.4082112539939</c:v>
                </c:pt>
                <c:pt idx="128">
                  <c:v>114.57550833426716</c:v>
                </c:pt>
                <c:pt idx="129">
                  <c:v>113.87008334669464</c:v>
                </c:pt>
                <c:pt idx="130">
                  <c:v>113.95434545246523</c:v>
                </c:pt>
                <c:pt idx="131">
                  <c:v>112.04415841463707</c:v>
                </c:pt>
                <c:pt idx="132">
                  <c:v>112.28394472397056</c:v>
                </c:pt>
                <c:pt idx="133">
                  <c:v>111.51004230303923</c:v>
                </c:pt>
                <c:pt idx="134">
                  <c:v>112.55189143323476</c:v>
                </c:pt>
                <c:pt idx="135">
                  <c:v>112.91348249132429</c:v>
                </c:pt>
                <c:pt idx="136">
                  <c:v>112.77162879903382</c:v>
                </c:pt>
                <c:pt idx="137">
                  <c:v>114.51781402699679</c:v>
                </c:pt>
                <c:pt idx="138">
                  <c:v>114.39910148084577</c:v>
                </c:pt>
                <c:pt idx="139">
                  <c:v>114.31455439701845</c:v>
                </c:pt>
                <c:pt idx="140">
                  <c:v>114.46418440869365</c:v>
                </c:pt>
                <c:pt idx="141">
                  <c:v>114.8420134638433</c:v>
                </c:pt>
                <c:pt idx="142">
                  <c:v>115.86403516290376</c:v>
                </c:pt>
                <c:pt idx="143">
                  <c:v>115.8760116062971</c:v>
                </c:pt>
                <c:pt idx="144">
                  <c:v>115.38331694995871</c:v>
                </c:pt>
                <c:pt idx="145">
                  <c:v>113.94758111581203</c:v>
                </c:pt>
                <c:pt idx="146">
                  <c:v>113.45179640774548</c:v>
                </c:pt>
                <c:pt idx="147">
                  <c:v>115.26819902435538</c:v>
                </c:pt>
                <c:pt idx="148">
                  <c:v>114.76736926384665</c:v>
                </c:pt>
                <c:pt idx="149">
                  <c:v>115.61388639135004</c:v>
                </c:pt>
                <c:pt idx="150">
                  <c:v>113.33526694409493</c:v>
                </c:pt>
                <c:pt idx="151">
                  <c:v>113.98369691295129</c:v>
                </c:pt>
                <c:pt idx="152">
                  <c:v>112.8177660743783</c:v>
                </c:pt>
                <c:pt idx="153">
                  <c:v>115.29352510638813</c:v>
                </c:pt>
                <c:pt idx="154">
                  <c:v>115.96018944004169</c:v>
                </c:pt>
                <c:pt idx="155">
                  <c:v>115.93093801079206</c:v>
                </c:pt>
                <c:pt idx="156">
                  <c:v>117.22724153725714</c:v>
                </c:pt>
                <c:pt idx="157">
                  <c:v>116.74328520686169</c:v>
                </c:pt>
                <c:pt idx="158">
                  <c:v>115.53118611379548</c:v>
                </c:pt>
                <c:pt idx="159">
                  <c:v>114.75865815795198</c:v>
                </c:pt>
                <c:pt idx="160">
                  <c:v>115.87309431162087</c:v>
                </c:pt>
                <c:pt idx="161">
                  <c:v>116.74113198861562</c:v>
                </c:pt>
                <c:pt idx="162">
                  <c:v>117.32039722723495</c:v>
                </c:pt>
                <c:pt idx="163">
                  <c:v>117.62919996296002</c:v>
                </c:pt>
                <c:pt idx="164">
                  <c:v>118.47123499544003</c:v>
                </c:pt>
                <c:pt idx="165">
                  <c:v>117.39972042712239</c:v>
                </c:pt>
                <c:pt idx="166">
                  <c:v>117.34634525902679</c:v>
                </c:pt>
                <c:pt idx="167">
                  <c:v>118.47916696366676</c:v>
                </c:pt>
                <c:pt idx="168">
                  <c:v>119.1321821798595</c:v>
                </c:pt>
                <c:pt idx="169">
                  <c:v>119.34449363342341</c:v>
                </c:pt>
                <c:pt idx="170">
                  <c:v>119.34449363342341</c:v>
                </c:pt>
                <c:pt idx="171">
                  <c:v>119.34449363342341</c:v>
                </c:pt>
                <c:pt idx="172">
                  <c:v>119.65344167033098</c:v>
                </c:pt>
                <c:pt idx="173">
                  <c:v>120.04594421220965</c:v>
                </c:pt>
                <c:pt idx="174">
                  <c:v>119.68062560321671</c:v>
                </c:pt>
                <c:pt idx="175">
                  <c:v>119.93022012271757</c:v>
                </c:pt>
                <c:pt idx="176">
                  <c:v>119.93022012271757</c:v>
                </c:pt>
                <c:pt idx="177">
                  <c:v>120.94986058926027</c:v>
                </c:pt>
                <c:pt idx="178">
                  <c:v>119.92424124612423</c:v>
                </c:pt>
                <c:pt idx="179">
                  <c:v>119.88097106357138</c:v>
                </c:pt>
                <c:pt idx="180">
                  <c:v>119.45922284581292</c:v>
                </c:pt>
                <c:pt idx="181">
                  <c:v>119.49244089569677</c:v>
                </c:pt>
                <c:pt idx="182">
                  <c:v>119.57599791768547</c:v>
                </c:pt>
                <c:pt idx="183">
                  <c:v>119.06861717612109</c:v>
                </c:pt>
                <c:pt idx="184">
                  <c:v>119.43606653753203</c:v>
                </c:pt>
                <c:pt idx="185">
                  <c:v>120.14382070146286</c:v>
                </c:pt>
                <c:pt idx="186">
                  <c:v>119.60833668775028</c:v>
                </c:pt>
                <c:pt idx="187">
                  <c:v>120.24066946352603</c:v>
                </c:pt>
                <c:pt idx="188">
                  <c:v>121.32714515369155</c:v>
                </c:pt>
                <c:pt idx="189">
                  <c:v>120.71195294864729</c:v>
                </c:pt>
                <c:pt idx="190">
                  <c:v>119.81679371272085</c:v>
                </c:pt>
                <c:pt idx="191">
                  <c:v>118.79370157921079</c:v>
                </c:pt>
                <c:pt idx="192">
                  <c:v>118.01820733797639</c:v>
                </c:pt>
                <c:pt idx="193">
                  <c:v>118.87218255673464</c:v>
                </c:pt>
                <c:pt idx="194">
                  <c:v>118.62340825041674</c:v>
                </c:pt>
                <c:pt idx="195">
                  <c:v>117.62429990288834</c:v>
                </c:pt>
                <c:pt idx="196">
                  <c:v>118.3886924589135</c:v>
                </c:pt>
                <c:pt idx="197">
                  <c:v>118.33625954614593</c:v>
                </c:pt>
                <c:pt idx="198">
                  <c:v>118.62732299627497</c:v>
                </c:pt>
                <c:pt idx="199">
                  <c:v>118.22036230551622</c:v>
                </c:pt>
                <c:pt idx="200">
                  <c:v>116.45957371485243</c:v>
                </c:pt>
                <c:pt idx="201">
                  <c:v>114.60904400035589</c:v>
                </c:pt>
                <c:pt idx="202">
                  <c:v>115.76214130948253</c:v>
                </c:pt>
                <c:pt idx="203">
                  <c:v>115.22911702789796</c:v>
                </c:pt>
                <c:pt idx="204">
                  <c:v>115.92817861011736</c:v>
                </c:pt>
                <c:pt idx="205">
                  <c:v>116.919444067177</c:v>
                </c:pt>
                <c:pt idx="206">
                  <c:v>117.23976312290571</c:v>
                </c:pt>
                <c:pt idx="207">
                  <c:v>117.49120611433884</c:v>
                </c:pt>
                <c:pt idx="208">
                  <c:v>117.86498056166866</c:v>
                </c:pt>
                <c:pt idx="209">
                  <c:v>119.04892171773294</c:v>
                </c:pt>
                <c:pt idx="210">
                  <c:v>119.83086201919184</c:v>
                </c:pt>
                <c:pt idx="211">
                  <c:v>120.49494127430538</c:v>
                </c:pt>
                <c:pt idx="212">
                  <c:v>120.0475574122984</c:v>
                </c:pt>
                <c:pt idx="213">
                  <c:v>119.39451329239601</c:v>
                </c:pt>
                <c:pt idx="214">
                  <c:v>119.67166040001531</c:v>
                </c:pt>
                <c:pt idx="215">
                  <c:v>118.15585127740735</c:v>
                </c:pt>
                <c:pt idx="216">
                  <c:v>118.91777051321483</c:v>
                </c:pt>
                <c:pt idx="217">
                  <c:v>119.95489163067701</c:v>
                </c:pt>
                <c:pt idx="218">
                  <c:v>120.42665906142558</c:v>
                </c:pt>
                <c:pt idx="219">
                  <c:v>121.02344995240631</c:v>
                </c:pt>
                <c:pt idx="220">
                  <c:v>121.05271949576652</c:v>
                </c:pt>
                <c:pt idx="221">
                  <c:v>122.33708789998946</c:v>
                </c:pt>
                <c:pt idx="222">
                  <c:v>122.34233314410609</c:v>
                </c:pt>
                <c:pt idx="223">
                  <c:v>122.39684451602402</c:v>
                </c:pt>
                <c:pt idx="224">
                  <c:v>122.68022914151521</c:v>
                </c:pt>
                <c:pt idx="225">
                  <c:v>122.60871874047984</c:v>
                </c:pt>
                <c:pt idx="226">
                  <c:v>122.62694252008835</c:v>
                </c:pt>
                <c:pt idx="227">
                  <c:v>122.29917240150432</c:v>
                </c:pt>
                <c:pt idx="228">
                  <c:v>123.13016721012815</c:v>
                </c:pt>
                <c:pt idx="229">
                  <c:v>123.72724751179982</c:v>
                </c:pt>
                <c:pt idx="230">
                  <c:v>124.18519066952467</c:v>
                </c:pt>
                <c:pt idx="231">
                  <c:v>124.04310784902724</c:v>
                </c:pt>
                <c:pt idx="232">
                  <c:v>124.12614039140981</c:v>
                </c:pt>
                <c:pt idx="233">
                  <c:v>124.54078234093527</c:v>
                </c:pt>
                <c:pt idx="234">
                  <c:v>124.41079336464868</c:v>
                </c:pt>
                <c:pt idx="235">
                  <c:v>125.01307092164905</c:v>
                </c:pt>
                <c:pt idx="236">
                  <c:v>124.37673649859488</c:v>
                </c:pt>
                <c:pt idx="237">
                  <c:v>124.55664683148085</c:v>
                </c:pt>
                <c:pt idx="238">
                  <c:v>124.83317183489757</c:v>
                </c:pt>
                <c:pt idx="239">
                  <c:v>124.76961926879066</c:v>
                </c:pt>
                <c:pt idx="240">
                  <c:v>126.0539113586531</c:v>
                </c:pt>
                <c:pt idx="241">
                  <c:v>126.0539113586531</c:v>
                </c:pt>
                <c:pt idx="242">
                  <c:v>126.0539113586531</c:v>
                </c:pt>
                <c:pt idx="243">
                  <c:v>126.582365458184</c:v>
                </c:pt>
                <c:pt idx="244">
                  <c:v>126.39992306199423</c:v>
                </c:pt>
                <c:pt idx="245">
                  <c:v>125.86332962107909</c:v>
                </c:pt>
                <c:pt idx="246">
                  <c:v>126.92593658625529</c:v>
                </c:pt>
                <c:pt idx="247">
                  <c:v>126.64293702857007</c:v>
                </c:pt>
                <c:pt idx="248">
                  <c:v>126.38377762698245</c:v>
                </c:pt>
                <c:pt idx="249">
                  <c:v>126.76437777992284</c:v>
                </c:pt>
                <c:pt idx="250">
                  <c:v>127.24382751360264</c:v>
                </c:pt>
                <c:pt idx="251">
                  <c:v>125.98860583420144</c:v>
                </c:pt>
                <c:pt idx="252">
                  <c:v>125.59748877245787</c:v>
                </c:pt>
                <c:pt idx="253">
                  <c:v>127.13476266471521</c:v>
                </c:pt>
                <c:pt idx="254">
                  <c:v>127.12687404686893</c:v>
                </c:pt>
                <c:pt idx="255">
                  <c:v>126.39933468946218</c:v>
                </c:pt>
                <c:pt idx="256">
                  <c:v>126.76185957703183</c:v>
                </c:pt>
                <c:pt idx="257">
                  <c:v>127.64563948313786</c:v>
                </c:pt>
                <c:pt idx="258">
                  <c:v>124.66491327281857</c:v>
                </c:pt>
                <c:pt idx="259">
                  <c:v>123.30526400047397</c:v>
                </c:pt>
                <c:pt idx="260">
                  <c:v>124.63689297681472</c:v>
                </c:pt>
                <c:pt idx="261">
                  <c:v>124.12619104483191</c:v>
                </c:pt>
                <c:pt idx="262">
                  <c:v>124.37084383924804</c:v>
                </c:pt>
                <c:pt idx="263">
                  <c:v>123.10588399481294</c:v>
                </c:pt>
                <c:pt idx="264">
                  <c:v>122.8686962675194</c:v>
                </c:pt>
                <c:pt idx="265">
                  <c:v>122.52345982306613</c:v>
                </c:pt>
                <c:pt idx="266">
                  <c:v>117.89600861297708</c:v>
                </c:pt>
                <c:pt idx="267">
                  <c:v>122.97106846671157</c:v>
                </c:pt>
                <c:pt idx="268">
                  <c:v>123.1529145352918</c:v>
                </c:pt>
                <c:pt idx="269">
                  <c:v>124.79096351146694</c:v>
                </c:pt>
                <c:pt idx="270">
                  <c:v>124.79096351146694</c:v>
                </c:pt>
                <c:pt idx="271">
                  <c:v>122.57146508669278</c:v>
                </c:pt>
                <c:pt idx="272">
                  <c:v>122.49289330481471</c:v>
                </c:pt>
                <c:pt idx="273">
                  <c:v>123.51002421554857</c:v>
                </c:pt>
                <c:pt idx="274">
                  <c:v>121.22847272243642</c:v>
                </c:pt>
                <c:pt idx="275">
                  <c:v>119.27709171286325</c:v>
                </c:pt>
                <c:pt idx="276">
                  <c:v>117.79933701502017</c:v>
                </c:pt>
                <c:pt idx="277">
                  <c:v>117.79933701502017</c:v>
                </c:pt>
                <c:pt idx="278">
                  <c:v>116.8323811408758</c:v>
                </c:pt>
                <c:pt idx="279">
                  <c:v>118.92645571559588</c:v>
                </c:pt>
                <c:pt idx="280">
                  <c:v>121.54292621079199</c:v>
                </c:pt>
                <c:pt idx="281">
                  <c:v>121.82078822667339</c:v>
                </c:pt>
                <c:pt idx="282">
                  <c:v>122.25127637791844</c:v>
                </c:pt>
                <c:pt idx="283">
                  <c:v>122.99494098226829</c:v>
                </c:pt>
                <c:pt idx="284">
                  <c:v>123.63053502831023</c:v>
                </c:pt>
                <c:pt idx="285">
                  <c:v>125.33615932210932</c:v>
                </c:pt>
                <c:pt idx="286">
                  <c:v>124.22080238772479</c:v>
                </c:pt>
                <c:pt idx="287">
                  <c:v>123.83209100228545</c:v>
                </c:pt>
                <c:pt idx="288">
                  <c:v>123.14876168002758</c:v>
                </c:pt>
                <c:pt idx="289">
                  <c:v>125.07404593466083</c:v>
                </c:pt>
                <c:pt idx="290">
                  <c:v>126.63753297123598</c:v>
                </c:pt>
                <c:pt idx="291">
                  <c:v>126.24356881991407</c:v>
                </c:pt>
                <c:pt idx="292">
                  <c:v>127.25169068627076</c:v>
                </c:pt>
                <c:pt idx="293">
                  <c:v>128.00620105205724</c:v>
                </c:pt>
                <c:pt idx="294">
                  <c:v>128.52896081927801</c:v>
                </c:pt>
                <c:pt idx="295">
                  <c:v>128.4675202829585</c:v>
                </c:pt>
                <c:pt idx="296">
                  <c:v>127.87136408968335</c:v>
                </c:pt>
                <c:pt idx="297">
                  <c:v>128.92024185287681</c:v>
                </c:pt>
                <c:pt idx="298">
                  <c:v>128.64853527896094</c:v>
                </c:pt>
                <c:pt idx="299">
                  <c:v>128.64853527896094</c:v>
                </c:pt>
                <c:pt idx="300">
                  <c:v>126.18932430351732</c:v>
                </c:pt>
                <c:pt idx="301">
                  <c:v>126.11264682710168</c:v>
                </c:pt>
                <c:pt idx="302">
                  <c:v>127.36884330614238</c:v>
                </c:pt>
                <c:pt idx="303">
                  <c:v>124.84435627117487</c:v>
                </c:pt>
                <c:pt idx="304">
                  <c:v>124.47138006233232</c:v>
                </c:pt>
                <c:pt idx="305">
                  <c:v>121.77957781604923</c:v>
                </c:pt>
                <c:pt idx="306">
                  <c:v>121.07069176547569</c:v>
                </c:pt>
                <c:pt idx="307">
                  <c:v>121.03011825242875</c:v>
                </c:pt>
                <c:pt idx="308">
                  <c:v>123.18732624729239</c:v>
                </c:pt>
                <c:pt idx="309">
                  <c:v>123.84068018889467</c:v>
                </c:pt>
                <c:pt idx="310">
                  <c:v>124.60935387211633</c:v>
                </c:pt>
                <c:pt idx="311">
                  <c:v>125.5075144412918</c:v>
                </c:pt>
                <c:pt idx="312">
                  <c:v>125.94586154990799</c:v>
                </c:pt>
                <c:pt idx="313">
                  <c:v>127.88691608158499</c:v>
                </c:pt>
                <c:pt idx="314">
                  <c:v>128.2431416884157</c:v>
                </c:pt>
                <c:pt idx="315">
                  <c:v>127.28683448462417</c:v>
                </c:pt>
                <c:pt idx="316">
                  <c:v>125.09301509029686</c:v>
                </c:pt>
                <c:pt idx="317">
                  <c:v>124.23151086398721</c:v>
                </c:pt>
                <c:pt idx="318">
                  <c:v>124.09504627284869</c:v>
                </c:pt>
                <c:pt idx="319">
                  <c:v>125.34555546026876</c:v>
                </c:pt>
                <c:pt idx="320">
                  <c:v>127.11613284313465</c:v>
                </c:pt>
                <c:pt idx="321">
                  <c:v>127.75267559315515</c:v>
                </c:pt>
                <c:pt idx="322">
                  <c:v>127.66320928406105</c:v>
                </c:pt>
                <c:pt idx="323">
                  <c:v>126.74568775083905</c:v>
                </c:pt>
                <c:pt idx="324">
                  <c:v>126.01126218989145</c:v>
                </c:pt>
                <c:pt idx="325">
                  <c:v>125.60363104854434</c:v>
                </c:pt>
                <c:pt idx="326">
                  <c:v>125.59162782016331</c:v>
                </c:pt>
                <c:pt idx="327">
                  <c:v>128.03473040466764</c:v>
                </c:pt>
                <c:pt idx="328">
                  <c:v>128.04808651233947</c:v>
                </c:pt>
                <c:pt idx="329">
                  <c:v>128.48951620875272</c:v>
                </c:pt>
                <c:pt idx="330">
                  <c:v>128.07075238817472</c:v>
                </c:pt>
                <c:pt idx="331">
                  <c:v>126.84233183222074</c:v>
                </c:pt>
                <c:pt idx="332">
                  <c:v>128.42984872960591</c:v>
                </c:pt>
                <c:pt idx="333">
                  <c:v>127.87034082033746</c:v>
                </c:pt>
                <c:pt idx="334">
                  <c:v>126.5951977512475</c:v>
                </c:pt>
                <c:pt idx="335">
                  <c:v>127.64501215896769</c:v>
                </c:pt>
                <c:pt idx="336">
                  <c:v>128.11499980760595</c:v>
                </c:pt>
                <c:pt idx="337">
                  <c:v>128.10042011843518</c:v>
                </c:pt>
                <c:pt idx="338">
                  <c:v>128.97124558701302</c:v>
                </c:pt>
                <c:pt idx="339">
                  <c:v>128.94109713075352</c:v>
                </c:pt>
                <c:pt idx="340">
                  <c:v>127.46421926633063</c:v>
                </c:pt>
                <c:pt idx="341">
                  <c:v>127.16674923672646</c:v>
                </c:pt>
                <c:pt idx="342">
                  <c:v>127.8426242343929</c:v>
                </c:pt>
                <c:pt idx="343">
                  <c:v>126.60145009218596</c:v>
                </c:pt>
                <c:pt idx="344">
                  <c:v>126.57832385539378</c:v>
                </c:pt>
                <c:pt idx="345">
                  <c:v>127.35108935158124</c:v>
                </c:pt>
                <c:pt idx="346">
                  <c:v>128.16439879726019</c:v>
                </c:pt>
                <c:pt idx="347">
                  <c:v>128.36855518023731</c:v>
                </c:pt>
                <c:pt idx="348">
                  <c:v>128.44653224631045</c:v>
                </c:pt>
                <c:pt idx="349">
                  <c:v>131.1425918033915</c:v>
                </c:pt>
                <c:pt idx="350">
                  <c:v>130.58687297524128</c:v>
                </c:pt>
                <c:pt idx="351">
                  <c:v>131.2697415309176</c:v>
                </c:pt>
                <c:pt idx="352">
                  <c:v>131.5744350846908</c:v>
                </c:pt>
                <c:pt idx="353">
                  <c:v>131.57978673041663</c:v>
                </c:pt>
                <c:pt idx="354">
                  <c:v>133.23109775387726</c:v>
                </c:pt>
                <c:pt idx="355">
                  <c:v>133.79359959742538</c:v>
                </c:pt>
                <c:pt idx="356">
                  <c:v>133.70379030802098</c:v>
                </c:pt>
                <c:pt idx="357">
                  <c:v>133.87398862355082</c:v>
                </c:pt>
                <c:pt idx="358">
                  <c:v>133.88446401505146</c:v>
                </c:pt>
                <c:pt idx="359">
                  <c:v>133.66862464283449</c:v>
                </c:pt>
                <c:pt idx="360">
                  <c:v>132.67812762189246</c:v>
                </c:pt>
                <c:pt idx="361">
                  <c:v>132.72707341797789</c:v>
                </c:pt>
                <c:pt idx="362">
                  <c:v>134.34411918447157</c:v>
                </c:pt>
                <c:pt idx="363">
                  <c:v>133.47003635248947</c:v>
                </c:pt>
                <c:pt idx="364">
                  <c:v>131.70016913552749</c:v>
                </c:pt>
                <c:pt idx="365">
                  <c:v>132.14225985457259</c:v>
                </c:pt>
                <c:pt idx="366">
                  <c:v>132.86405280351383</c:v>
                </c:pt>
                <c:pt idx="367">
                  <c:v>132.26405667643999</c:v>
                </c:pt>
                <c:pt idx="368">
                  <c:v>132.23902382699444</c:v>
                </c:pt>
                <c:pt idx="369">
                  <c:v>132.12075117691461</c:v>
                </c:pt>
                <c:pt idx="370">
                  <c:v>131.55755147820446</c:v>
                </c:pt>
                <c:pt idx="371">
                  <c:v>130.93048748580492</c:v>
                </c:pt>
                <c:pt idx="372">
                  <c:v>130.33835947325275</c:v>
                </c:pt>
                <c:pt idx="373">
                  <c:v>131.27010410633056</c:v>
                </c:pt>
                <c:pt idx="374">
                  <c:v>131.41836973818332</c:v>
                </c:pt>
                <c:pt idx="375">
                  <c:v>131.42777359555501</c:v>
                </c:pt>
                <c:pt idx="376">
                  <c:v>131.57503691712299</c:v>
                </c:pt>
                <c:pt idx="377">
                  <c:v>131.9753079220136</c:v>
                </c:pt>
                <c:pt idx="378">
                  <c:v>132.05670451746528</c:v>
                </c:pt>
                <c:pt idx="379">
                  <c:v>133.10729691440923</c:v>
                </c:pt>
                <c:pt idx="380">
                  <c:v>133.03563861417703</c:v>
                </c:pt>
                <c:pt idx="381">
                  <c:v>133.47456657403239</c:v>
                </c:pt>
                <c:pt idx="382">
                  <c:v>133.62360006896768</c:v>
                </c:pt>
                <c:pt idx="383">
                  <c:v>132.91212572723583</c:v>
                </c:pt>
                <c:pt idx="384">
                  <c:v>132.90433145118899</c:v>
                </c:pt>
                <c:pt idx="385">
                  <c:v>133.97951688166609</c:v>
                </c:pt>
                <c:pt idx="386">
                  <c:v>132.98811835732315</c:v>
                </c:pt>
                <c:pt idx="387">
                  <c:v>133.12902673697479</c:v>
                </c:pt>
                <c:pt idx="388">
                  <c:v>133.44069552076897</c:v>
                </c:pt>
                <c:pt idx="389">
                  <c:v>132.71182932780357</c:v>
                </c:pt>
                <c:pt idx="390">
                  <c:v>133.57827489630625</c:v>
                </c:pt>
                <c:pt idx="391">
                  <c:v>133.86766549322041</c:v>
                </c:pt>
                <c:pt idx="392">
                  <c:v>133.86766549322041</c:v>
                </c:pt>
                <c:pt idx="393">
                  <c:v>134.54218684836562</c:v>
                </c:pt>
                <c:pt idx="394">
                  <c:v>133.95930070921122</c:v>
                </c:pt>
                <c:pt idx="395">
                  <c:v>134.49218466992471</c:v>
                </c:pt>
                <c:pt idx="396">
                  <c:v>135.01698051454915</c:v>
                </c:pt>
                <c:pt idx="397">
                  <c:v>135.23822915380282</c:v>
                </c:pt>
                <c:pt idx="398">
                  <c:v>135.84931870317644</c:v>
                </c:pt>
                <c:pt idx="399">
                  <c:v>135.71680719499628</c:v>
                </c:pt>
                <c:pt idx="400">
                  <c:v>135.41181625171072</c:v>
                </c:pt>
                <c:pt idx="401">
                  <c:v>134.93534728542451</c:v>
                </c:pt>
                <c:pt idx="402">
                  <c:v>135.56798374602957</c:v>
                </c:pt>
                <c:pt idx="403">
                  <c:v>133.42713997665615</c:v>
                </c:pt>
                <c:pt idx="404">
                  <c:v>133.90342118081148</c:v>
                </c:pt>
                <c:pt idx="405">
                  <c:v>135.66858706620911</c:v>
                </c:pt>
                <c:pt idx="406">
                  <c:v>134.99915315558076</c:v>
                </c:pt>
                <c:pt idx="407">
                  <c:v>134.52728818000347</c:v>
                </c:pt>
                <c:pt idx="408">
                  <c:v>133.0366372148352</c:v>
                </c:pt>
                <c:pt idx="409">
                  <c:v>134.35138848379995</c:v>
                </c:pt>
                <c:pt idx="410">
                  <c:v>134.74252707870474</c:v>
                </c:pt>
                <c:pt idx="411">
                  <c:v>134.66066825387236</c:v>
                </c:pt>
                <c:pt idx="412">
                  <c:v>132.76851668645259</c:v>
                </c:pt>
                <c:pt idx="413">
                  <c:v>132.88760115403144</c:v>
                </c:pt>
                <c:pt idx="414">
                  <c:v>134.65017520306461</c:v>
                </c:pt>
                <c:pt idx="415">
                  <c:v>136.11245150106271</c:v>
                </c:pt>
                <c:pt idx="416">
                  <c:v>135.51791154770319</c:v>
                </c:pt>
                <c:pt idx="417">
                  <c:v>135.7211848042781</c:v>
                </c:pt>
                <c:pt idx="418">
                  <c:v>136.85063180330306</c:v>
                </c:pt>
                <c:pt idx="419">
                  <c:v>137.41454431703028</c:v>
                </c:pt>
                <c:pt idx="420">
                  <c:v>137.96430091536266</c:v>
                </c:pt>
                <c:pt idx="421">
                  <c:v>137.94240279362231</c:v>
                </c:pt>
                <c:pt idx="422">
                  <c:v>137.99754635130517</c:v>
                </c:pt>
                <c:pt idx="423">
                  <c:v>138.55348044309662</c:v>
                </c:pt>
                <c:pt idx="424">
                  <c:v>138.0695746747225</c:v>
                </c:pt>
                <c:pt idx="425">
                  <c:v>138.7281367010894</c:v>
                </c:pt>
                <c:pt idx="426">
                  <c:v>138.44827968655628</c:v>
                </c:pt>
                <c:pt idx="427">
                  <c:v>139.32417175023446</c:v>
                </c:pt>
                <c:pt idx="428">
                  <c:v>140.14028970896439</c:v>
                </c:pt>
                <c:pt idx="429">
                  <c:v>140.42012208304862</c:v>
                </c:pt>
                <c:pt idx="430">
                  <c:v>140.97524955827771</c:v>
                </c:pt>
                <c:pt idx="431">
                  <c:v>140.79393335522767</c:v>
                </c:pt>
                <c:pt idx="432">
                  <c:v>139.92484125471989</c:v>
                </c:pt>
                <c:pt idx="433">
                  <c:v>140.34490818065566</c:v>
                </c:pt>
                <c:pt idx="434">
                  <c:v>140.7761720924949</c:v>
                </c:pt>
                <c:pt idx="435">
                  <c:v>139.054598192132</c:v>
                </c:pt>
                <c:pt idx="436">
                  <c:v>138.25442639677036</c:v>
                </c:pt>
                <c:pt idx="437">
                  <c:v>139.0696100642657</c:v>
                </c:pt>
                <c:pt idx="438">
                  <c:v>140.0322864175792</c:v>
                </c:pt>
                <c:pt idx="439">
                  <c:v>139.8529306258051</c:v>
                </c:pt>
                <c:pt idx="440">
                  <c:v>140.43768195684294</c:v>
                </c:pt>
                <c:pt idx="441">
                  <c:v>140.60483021619328</c:v>
                </c:pt>
                <c:pt idx="442">
                  <c:v>139.39298641003381</c:v>
                </c:pt>
                <c:pt idx="443">
                  <c:v>140.58246440132945</c:v>
                </c:pt>
                <c:pt idx="444">
                  <c:v>141.34008893372066</c:v>
                </c:pt>
                <c:pt idx="445">
                  <c:v>140.33041216618386</c:v>
                </c:pt>
                <c:pt idx="446">
                  <c:v>140.04257937048118</c:v>
                </c:pt>
                <c:pt idx="447">
                  <c:v>140.56546651600118</c:v>
                </c:pt>
                <c:pt idx="448">
                  <c:v>141.66270210093265</c:v>
                </c:pt>
                <c:pt idx="449">
                  <c:v>140.07755711698329</c:v>
                </c:pt>
                <c:pt idx="450">
                  <c:v>138.32867736504826</c:v>
                </c:pt>
                <c:pt idx="451">
                  <c:v>138.97459959860268</c:v>
                </c:pt>
                <c:pt idx="452">
                  <c:v>139.40092410698244</c:v>
                </c:pt>
                <c:pt idx="453">
                  <c:v>138.68570088474732</c:v>
                </c:pt>
                <c:pt idx="454">
                  <c:v>139.57367767358878</c:v>
                </c:pt>
                <c:pt idx="455">
                  <c:v>139.70123924972955</c:v>
                </c:pt>
                <c:pt idx="456">
                  <c:v>138.53150689528277</c:v>
                </c:pt>
                <c:pt idx="457">
                  <c:v>138.52529314575762</c:v>
                </c:pt>
                <c:pt idx="458">
                  <c:v>140.44744147870867</c:v>
                </c:pt>
                <c:pt idx="459">
                  <c:v>140.79669843537943</c:v>
                </c:pt>
                <c:pt idx="460">
                  <c:v>140.75755091523351</c:v>
                </c:pt>
                <c:pt idx="461">
                  <c:v>141.01633216304211</c:v>
                </c:pt>
                <c:pt idx="462">
                  <c:v>142.17411973347996</c:v>
                </c:pt>
                <c:pt idx="463">
                  <c:v>141.78923751896619</c:v>
                </c:pt>
                <c:pt idx="464">
                  <c:v>140.84296350946479</c:v>
                </c:pt>
                <c:pt idx="465">
                  <c:v>141.30722698801739</c:v>
                </c:pt>
                <c:pt idx="466">
                  <c:v>141.81219514579158</c:v>
                </c:pt>
                <c:pt idx="467">
                  <c:v>142.23182026379155</c:v>
                </c:pt>
                <c:pt idx="468">
                  <c:v>142.24861742748115</c:v>
                </c:pt>
                <c:pt idx="469">
                  <c:v>142.60721247864291</c:v>
                </c:pt>
                <c:pt idx="470">
                  <c:v>142.64133380831873</c:v>
                </c:pt>
                <c:pt idx="471">
                  <c:v>142.72631886806263</c:v>
                </c:pt>
                <c:pt idx="472">
                  <c:v>141.68421768809156</c:v>
                </c:pt>
                <c:pt idx="473">
                  <c:v>140.80677774275583</c:v>
                </c:pt>
                <c:pt idx="474">
                  <c:v>139.98826262211028</c:v>
                </c:pt>
                <c:pt idx="475">
                  <c:v>139.2663970469082</c:v>
                </c:pt>
                <c:pt idx="476">
                  <c:v>140.61698585251307</c:v>
                </c:pt>
                <c:pt idx="477">
                  <c:v>141.52003115220333</c:v>
                </c:pt>
                <c:pt idx="478">
                  <c:v>141.18170155495307</c:v>
                </c:pt>
                <c:pt idx="479">
                  <c:v>140.2215980104215</c:v>
                </c:pt>
                <c:pt idx="480">
                  <c:v>140.40017518505093</c:v>
                </c:pt>
                <c:pt idx="481">
                  <c:v>139.7626000596799</c:v>
                </c:pt>
                <c:pt idx="482">
                  <c:v>139.13100901517885</c:v>
                </c:pt>
                <c:pt idx="483">
                  <c:v>139.58742961888169</c:v>
                </c:pt>
                <c:pt idx="484">
                  <c:v>139.5919759670638</c:v>
                </c:pt>
                <c:pt idx="485">
                  <c:v>138.59764446085293</c:v>
                </c:pt>
                <c:pt idx="486">
                  <c:v>137.05200132145001</c:v>
                </c:pt>
                <c:pt idx="487">
                  <c:v>135.38792773560738</c:v>
                </c:pt>
                <c:pt idx="488">
                  <c:v>132.41949743464917</c:v>
                </c:pt>
                <c:pt idx="489">
                  <c:v>130.63216780584992</c:v>
                </c:pt>
                <c:pt idx="490">
                  <c:v>132.44451683135057</c:v>
                </c:pt>
                <c:pt idx="491">
                  <c:v>132.69219941682283</c:v>
                </c:pt>
                <c:pt idx="492">
                  <c:v>134.82609885598623</c:v>
                </c:pt>
                <c:pt idx="493">
                  <c:v>134.55867488333598</c:v>
                </c:pt>
                <c:pt idx="494">
                  <c:v>135.1699363858792</c:v>
                </c:pt>
                <c:pt idx="495">
                  <c:v>136.03069211999173</c:v>
                </c:pt>
                <c:pt idx="496">
                  <c:v>136.61962059460879</c:v>
                </c:pt>
                <c:pt idx="497">
                  <c:v>136.61878040567044</c:v>
                </c:pt>
                <c:pt idx="498">
                  <c:v>137.02753601754299</c:v>
                </c:pt>
                <c:pt idx="499">
                  <c:v>138.42413499604118</c:v>
                </c:pt>
                <c:pt idx="500">
                  <c:v>137.41390774300095</c:v>
                </c:pt>
                <c:pt idx="501">
                  <c:v>139.00502670812699</c:v>
                </c:pt>
                <c:pt idx="502">
                  <c:v>139.22842505398941</c:v>
                </c:pt>
                <c:pt idx="503">
                  <c:v>139.78701530406883</c:v>
                </c:pt>
                <c:pt idx="504">
                  <c:v>139.11935449287304</c:v>
                </c:pt>
                <c:pt idx="505">
                  <c:v>138.63397659326085</c:v>
                </c:pt>
                <c:pt idx="506">
                  <c:v>138.88397164343314</c:v>
                </c:pt>
                <c:pt idx="507">
                  <c:v>138.59502614334176</c:v>
                </c:pt>
                <c:pt idx="508">
                  <c:v>136.92283310166161</c:v>
                </c:pt>
                <c:pt idx="509">
                  <c:v>138.17214783561261</c:v>
                </c:pt>
                <c:pt idx="510">
                  <c:v>138.01875874138611</c:v>
                </c:pt>
                <c:pt idx="511">
                  <c:v>138.90401720082988</c:v>
                </c:pt>
                <c:pt idx="512">
                  <c:v>137.37693752520278</c:v>
                </c:pt>
                <c:pt idx="513">
                  <c:v>138.11713907114424</c:v>
                </c:pt>
                <c:pt idx="514">
                  <c:v>140.39507178276628</c:v>
                </c:pt>
                <c:pt idx="515">
                  <c:v>140.42715378004533</c:v>
                </c:pt>
                <c:pt idx="516">
                  <c:v>140.42715378004533</c:v>
                </c:pt>
                <c:pt idx="517">
                  <c:v>140.42715378004533</c:v>
                </c:pt>
                <c:pt idx="518">
                  <c:v>140.68339044263786</c:v>
                </c:pt>
                <c:pt idx="519">
                  <c:v>141.0324546123835</c:v>
                </c:pt>
                <c:pt idx="520">
                  <c:v>140.85561705429234</c:v>
                </c:pt>
                <c:pt idx="521">
                  <c:v>141.36676378714893</c:v>
                </c:pt>
                <c:pt idx="522">
                  <c:v>141.5966385436937</c:v>
                </c:pt>
                <c:pt idx="523">
                  <c:v>141.54211457002381</c:v>
                </c:pt>
                <c:pt idx="524">
                  <c:v>140.32243702498909</c:v>
                </c:pt>
                <c:pt idx="525">
                  <c:v>140.15064638830989</c:v>
                </c:pt>
                <c:pt idx="526">
                  <c:v>141.60993774660929</c:v>
                </c:pt>
                <c:pt idx="527">
                  <c:v>141.83069626634529</c:v>
                </c:pt>
                <c:pt idx="528">
                  <c:v>142.96086869637031</c:v>
                </c:pt>
                <c:pt idx="529">
                  <c:v>143.77605408991789</c:v>
                </c:pt>
                <c:pt idx="530">
                  <c:v>143.37185314187076</c:v>
                </c:pt>
                <c:pt idx="531">
                  <c:v>143.17303568930288</c:v>
                </c:pt>
                <c:pt idx="532">
                  <c:v>142.51091431834772</c:v>
                </c:pt>
                <c:pt idx="533">
                  <c:v>141.24601887899985</c:v>
                </c:pt>
                <c:pt idx="534">
                  <c:v>141.5106372991003</c:v>
                </c:pt>
                <c:pt idx="535">
                  <c:v>142.68182227181728</c:v>
                </c:pt>
                <c:pt idx="536">
                  <c:v>142.83839463966009</c:v>
                </c:pt>
                <c:pt idx="537">
                  <c:v>141.1379214706165</c:v>
                </c:pt>
                <c:pt idx="538">
                  <c:v>141.26285424515905</c:v>
                </c:pt>
                <c:pt idx="539">
                  <c:v>141.55709700095366</c:v>
                </c:pt>
                <c:pt idx="540">
                  <c:v>141.64940901298669</c:v>
                </c:pt>
                <c:pt idx="541">
                  <c:v>141.95693567019887</c:v>
                </c:pt>
                <c:pt idx="542">
                  <c:v>142.03604383386337</c:v>
                </c:pt>
                <c:pt idx="543">
                  <c:v>143.04689509460383</c:v>
                </c:pt>
                <c:pt idx="544">
                  <c:v>142.40685480229794</c:v>
                </c:pt>
                <c:pt idx="545">
                  <c:v>142.40685480229794</c:v>
                </c:pt>
                <c:pt idx="546">
                  <c:v>140.32589061932106</c:v>
                </c:pt>
                <c:pt idx="547">
                  <c:v>140.14677798637814</c:v>
                </c:pt>
                <c:pt idx="548">
                  <c:v>139.96857963285154</c:v>
                </c:pt>
                <c:pt idx="549">
                  <c:v>138.937595642665</c:v>
                </c:pt>
                <c:pt idx="550">
                  <c:v>140.26541140023102</c:v>
                </c:pt>
                <c:pt idx="551">
                  <c:v>138.84769165752934</c:v>
                </c:pt>
                <c:pt idx="552">
                  <c:v>138.84769165752934</c:v>
                </c:pt>
                <c:pt idx="553">
                  <c:v>139.83620885188714</c:v>
                </c:pt>
                <c:pt idx="554">
                  <c:v>138.70763802880955</c:v>
                </c:pt>
                <c:pt idx="555">
                  <c:v>138.1218539744203</c:v>
                </c:pt>
                <c:pt idx="556">
                  <c:v>138.24992590696633</c:v>
                </c:pt>
                <c:pt idx="557">
                  <c:v>138.01033674378144</c:v>
                </c:pt>
                <c:pt idx="558">
                  <c:v>139.04068647578487</c:v>
                </c:pt>
                <c:pt idx="559">
                  <c:v>138.37968448338717</c:v>
                </c:pt>
                <c:pt idx="560">
                  <c:v>138.37968448338717</c:v>
                </c:pt>
                <c:pt idx="561">
                  <c:v>137.53838355819025</c:v>
                </c:pt>
                <c:pt idx="562">
                  <c:v>137.58454566363591</c:v>
                </c:pt>
                <c:pt idx="563">
                  <c:v>137.8340649401087</c:v>
                </c:pt>
                <c:pt idx="564">
                  <c:v>139.3291506032414</c:v>
                </c:pt>
                <c:pt idx="565">
                  <c:v>140.36589625231056</c:v>
                </c:pt>
                <c:pt idx="566">
                  <c:v>140.84623878538034</c:v>
                </c:pt>
                <c:pt idx="567">
                  <c:v>141.50222427710565</c:v>
                </c:pt>
                <c:pt idx="568">
                  <c:v>141.97808367826048</c:v>
                </c:pt>
                <c:pt idx="569">
                  <c:v>141.818862246565</c:v>
                </c:pt>
                <c:pt idx="570">
                  <c:v>142.35128083457229</c:v>
                </c:pt>
                <c:pt idx="571">
                  <c:v>142.26915647337833</c:v>
                </c:pt>
                <c:pt idx="572">
                  <c:v>141.45192182218304</c:v>
                </c:pt>
                <c:pt idx="573">
                  <c:v>140.6416466943171</c:v>
                </c:pt>
                <c:pt idx="574">
                  <c:v>141.14672951013495</c:v>
                </c:pt>
                <c:pt idx="575">
                  <c:v>139.67130840021747</c:v>
                </c:pt>
                <c:pt idx="576">
                  <c:v>139.9007027603551</c:v>
                </c:pt>
                <c:pt idx="577">
                  <c:v>138.43574387032621</c:v>
                </c:pt>
                <c:pt idx="578">
                  <c:v>138.80371754108378</c:v>
                </c:pt>
                <c:pt idx="579">
                  <c:v>139.62109126963432</c:v>
                </c:pt>
                <c:pt idx="580">
                  <c:v>140.49992363525701</c:v>
                </c:pt>
                <c:pt idx="581">
                  <c:v>141.47055110441039</c:v>
                </c:pt>
                <c:pt idx="582">
                  <c:v>141.48604790928502</c:v>
                </c:pt>
                <c:pt idx="583">
                  <c:v>140.85858586148078</c:v>
                </c:pt>
                <c:pt idx="584">
                  <c:v>140.00571432071828</c:v>
                </c:pt>
                <c:pt idx="585">
                  <c:v>140.50327368191824</c:v>
                </c:pt>
                <c:pt idx="586">
                  <c:v>139.86394174497235</c:v>
                </c:pt>
                <c:pt idx="587">
                  <c:v>138.823812437507</c:v>
                </c:pt>
                <c:pt idx="588">
                  <c:v>137.26775312773296</c:v>
                </c:pt>
                <c:pt idx="589">
                  <c:v>135.21261421347529</c:v>
                </c:pt>
                <c:pt idx="590">
                  <c:v>131.30234228612983</c:v>
                </c:pt>
                <c:pt idx="591">
                  <c:v>129.23078601143007</c:v>
                </c:pt>
                <c:pt idx="592">
                  <c:v>124.62171658821765</c:v>
                </c:pt>
                <c:pt idx="593">
                  <c:v>126.06669030195448</c:v>
                </c:pt>
                <c:pt idx="594">
                  <c:v>123.29099675287833</c:v>
                </c:pt>
                <c:pt idx="595">
                  <c:v>125.1388661340668</c:v>
                </c:pt>
                <c:pt idx="596">
                  <c:v>129.49230883093884</c:v>
                </c:pt>
                <c:pt idx="597">
                  <c:v>129.49230883093884</c:v>
                </c:pt>
                <c:pt idx="598">
                  <c:v>129.52955330761151</c:v>
                </c:pt>
                <c:pt idx="599">
                  <c:v>130.46429066419108</c:v>
                </c:pt>
                <c:pt idx="600">
                  <c:v>126.29122050571775</c:v>
                </c:pt>
                <c:pt idx="601">
                  <c:v>125.29978390165178</c:v>
                </c:pt>
                <c:pt idx="602">
                  <c:v>126.73843711172843</c:v>
                </c:pt>
                <c:pt idx="603">
                  <c:v>127.77631580454347</c:v>
                </c:pt>
                <c:pt idx="604">
                  <c:v>128.51589055208504</c:v>
                </c:pt>
                <c:pt idx="605">
                  <c:v>126.59293294317054</c:v>
                </c:pt>
                <c:pt idx="606">
                  <c:v>126.17806269650835</c:v>
                </c:pt>
                <c:pt idx="607">
                  <c:v>126.92386567805976</c:v>
                </c:pt>
                <c:pt idx="608">
                  <c:v>127.81341371539385</c:v>
                </c:pt>
                <c:pt idx="609">
                  <c:v>131.1737718501391</c:v>
                </c:pt>
                <c:pt idx="610">
                  <c:v>132.6845011208209</c:v>
                </c:pt>
                <c:pt idx="611">
                  <c:v>131.00595171428816</c:v>
                </c:pt>
                <c:pt idx="612">
                  <c:v>127.1231184020982</c:v>
                </c:pt>
                <c:pt idx="613">
                  <c:v>126.51718163499355</c:v>
                </c:pt>
                <c:pt idx="614">
                  <c:v>129.17589765776722</c:v>
                </c:pt>
                <c:pt idx="615">
                  <c:v>129.87192785840583</c:v>
                </c:pt>
                <c:pt idx="616">
                  <c:v>128.38566041024762</c:v>
                </c:pt>
                <c:pt idx="617">
                  <c:v>125.63940717187027</c:v>
                </c:pt>
                <c:pt idx="618">
                  <c:v>125.71006392168013</c:v>
                </c:pt>
                <c:pt idx="619">
                  <c:v>127.34835453740551</c:v>
                </c:pt>
                <c:pt idx="620">
                  <c:v>128.95430717377744</c:v>
                </c:pt>
                <c:pt idx="621">
                  <c:v>129.97132703656155</c:v>
                </c:pt>
                <c:pt idx="622">
                  <c:v>127.97202651646383</c:v>
                </c:pt>
                <c:pt idx="623">
                  <c:v>130.33330873994348</c:v>
                </c:pt>
                <c:pt idx="624">
                  <c:v>128.58449157662776</c:v>
                </c:pt>
                <c:pt idx="625">
                  <c:v>123.88178238033171</c:v>
                </c:pt>
                <c:pt idx="626">
                  <c:v>124.50250462719492</c:v>
                </c:pt>
                <c:pt idx="627">
                  <c:v>126.34452533980188</c:v>
                </c:pt>
                <c:pt idx="628">
                  <c:v>130.05517556827724</c:v>
                </c:pt>
                <c:pt idx="629">
                  <c:v>129.05206167603438</c:v>
                </c:pt>
                <c:pt idx="630">
                  <c:v>129.09262921912122</c:v>
                </c:pt>
                <c:pt idx="631">
                  <c:v>128.46272885846659</c:v>
                </c:pt>
                <c:pt idx="632">
                  <c:v>127.88617631372875</c:v>
                </c:pt>
                <c:pt idx="633">
                  <c:v>125.70877891708101</c:v>
                </c:pt>
                <c:pt idx="634">
                  <c:v>128.13203929991047</c:v>
                </c:pt>
                <c:pt idx="635">
                  <c:v>129.77961571417524</c:v>
                </c:pt>
                <c:pt idx="636">
                  <c:v>130.88302444135326</c:v>
                </c:pt>
                <c:pt idx="637">
                  <c:v>132.26751180315782</c:v>
                </c:pt>
                <c:pt idx="638">
                  <c:v>131.6063732691934</c:v>
                </c:pt>
                <c:pt idx="639">
                  <c:v>132.95410854612842</c:v>
                </c:pt>
                <c:pt idx="640">
                  <c:v>132.48056251181467</c:v>
                </c:pt>
                <c:pt idx="641">
                  <c:v>133.63550411538645</c:v>
                </c:pt>
                <c:pt idx="642">
                  <c:v>132.6475505281073</c:v>
                </c:pt>
                <c:pt idx="643">
                  <c:v>132.32863852634176</c:v>
                </c:pt>
                <c:pt idx="644">
                  <c:v>132.79736329873009</c:v>
                </c:pt>
                <c:pt idx="645">
                  <c:v>131.74901983255</c:v>
                </c:pt>
                <c:pt idx="646">
                  <c:v>134.11638317917308</c:v>
                </c:pt>
                <c:pt idx="647">
                  <c:v>134.66675246720746</c:v>
                </c:pt>
                <c:pt idx="648">
                  <c:v>133.65425269832096</c:v>
                </c:pt>
                <c:pt idx="649">
                  <c:v>134.26642100298747</c:v>
                </c:pt>
                <c:pt idx="650">
                  <c:v>136.89971882981354</c:v>
                </c:pt>
                <c:pt idx="651">
                  <c:v>136.75940483532992</c:v>
                </c:pt>
                <c:pt idx="652">
                  <c:v>135.17695289152357</c:v>
                </c:pt>
                <c:pt idx="653">
                  <c:v>135.17695289152357</c:v>
                </c:pt>
                <c:pt idx="654">
                  <c:v>132.80281357376006</c:v>
                </c:pt>
                <c:pt idx="655">
                  <c:v>135.19102051407884</c:v>
                </c:pt>
                <c:pt idx="656">
                  <c:v>134.689581098925</c:v>
                </c:pt>
                <c:pt idx="657">
                  <c:v>134.23757927477766</c:v>
                </c:pt>
                <c:pt idx="658">
                  <c:v>135.19865264494837</c:v>
                </c:pt>
                <c:pt idx="659">
                  <c:v>133.26614080763761</c:v>
                </c:pt>
                <c:pt idx="660">
                  <c:v>133.04834438477045</c:v>
                </c:pt>
                <c:pt idx="661">
                  <c:v>135.29873129376139</c:v>
                </c:pt>
                <c:pt idx="662">
                  <c:v>134.36728856821088</c:v>
                </c:pt>
                <c:pt idx="663">
                  <c:v>134.10017246239701</c:v>
                </c:pt>
                <c:pt idx="664">
                  <c:v>134.06079995857729</c:v>
                </c:pt>
                <c:pt idx="665">
                  <c:v>133.0345097666912</c:v>
                </c:pt>
                <c:pt idx="666">
                  <c:v>131.96896909461552</c:v>
                </c:pt>
                <c:pt idx="667">
                  <c:v>128.75446900023618</c:v>
                </c:pt>
                <c:pt idx="668">
                  <c:v>128.78706729302459</c:v>
                </c:pt>
                <c:pt idx="669">
                  <c:v>127.53407828679255</c:v>
                </c:pt>
                <c:pt idx="670">
                  <c:v>127.10061726679061</c:v>
                </c:pt>
                <c:pt idx="671">
                  <c:v>127.88668244689502</c:v>
                </c:pt>
                <c:pt idx="672">
                  <c:v>131.40332959892592</c:v>
                </c:pt>
                <c:pt idx="673">
                  <c:v>132.48666535008661</c:v>
                </c:pt>
                <c:pt idx="674">
                  <c:v>136.41209198438045</c:v>
                </c:pt>
                <c:pt idx="675">
                  <c:v>135.41475333483697</c:v>
                </c:pt>
                <c:pt idx="676">
                  <c:v>135.48182275951984</c:v>
                </c:pt>
                <c:pt idx="677">
                  <c:v>135.97192621343964</c:v>
                </c:pt>
                <c:pt idx="678">
                  <c:v>135.88874889827679</c:v>
                </c:pt>
                <c:pt idx="679">
                  <c:v>136.17276617967639</c:v>
                </c:pt>
                <c:pt idx="680">
                  <c:v>135.22247561542824</c:v>
                </c:pt>
                <c:pt idx="681">
                  <c:v>136.0459672609885</c:v>
                </c:pt>
                <c:pt idx="682">
                  <c:v>135.10429484936805</c:v>
                </c:pt>
                <c:pt idx="683">
                  <c:v>136.04155029706695</c:v>
                </c:pt>
                <c:pt idx="684">
                  <c:v>134.1843142511498</c:v>
                </c:pt>
                <c:pt idx="685">
                  <c:v>135.27210641605853</c:v>
                </c:pt>
                <c:pt idx="686">
                  <c:v>134.37422264287605</c:v>
                </c:pt>
                <c:pt idx="687">
                  <c:v>134.98103540263071</c:v>
                </c:pt>
                <c:pt idx="688">
                  <c:v>136.64580962880606</c:v>
                </c:pt>
                <c:pt idx="689">
                  <c:v>136.17607584777724</c:v>
                </c:pt>
                <c:pt idx="690">
                  <c:v>137.10843723259649</c:v>
                </c:pt>
                <c:pt idx="691">
                  <c:v>138.43094468053917</c:v>
                </c:pt>
                <c:pt idx="692">
                  <c:v>138.43094468053917</c:v>
                </c:pt>
                <c:pt idx="693">
                  <c:v>138.42161596645192</c:v>
                </c:pt>
                <c:pt idx="694">
                  <c:v>138.42794808087837</c:v>
                </c:pt>
                <c:pt idx="695">
                  <c:v>139.59803070598616</c:v>
                </c:pt>
                <c:pt idx="696">
                  <c:v>140.45760281723949</c:v>
                </c:pt>
                <c:pt idx="697">
                  <c:v>141.3546037474388</c:v>
                </c:pt>
                <c:pt idx="698">
                  <c:v>142.76869792618797</c:v>
                </c:pt>
                <c:pt idx="699">
                  <c:v>142.18931737683417</c:v>
                </c:pt>
                <c:pt idx="700">
                  <c:v>141.0022749158972</c:v>
                </c:pt>
                <c:pt idx="701">
                  <c:v>141.38315745186199</c:v>
                </c:pt>
                <c:pt idx="702">
                  <c:v>141.1776824341639</c:v>
                </c:pt>
                <c:pt idx="703">
                  <c:v>142.75412477063242</c:v>
                </c:pt>
                <c:pt idx="704">
                  <c:v>141.95788550805062</c:v>
                </c:pt>
                <c:pt idx="705">
                  <c:v>140.51414987877035</c:v>
                </c:pt>
                <c:pt idx="706">
                  <c:v>139.99605846958991</c:v>
                </c:pt>
                <c:pt idx="707">
                  <c:v>140.872089996255</c:v>
                </c:pt>
                <c:pt idx="708">
                  <c:v>141.4336869867744</c:v>
                </c:pt>
                <c:pt idx="709">
                  <c:v>141.25613777656923</c:v>
                </c:pt>
                <c:pt idx="710">
                  <c:v>141.00656273186644</c:v>
                </c:pt>
                <c:pt idx="711">
                  <c:v>140.57587344903507</c:v>
                </c:pt>
                <c:pt idx="712">
                  <c:v>140.35795458168724</c:v>
                </c:pt>
                <c:pt idx="713">
                  <c:v>140.31865203427321</c:v>
                </c:pt>
                <c:pt idx="714">
                  <c:v>139.62170583750606</c:v>
                </c:pt>
                <c:pt idx="715">
                  <c:v>140.44818024470024</c:v>
                </c:pt>
                <c:pt idx="716">
                  <c:v>139.30431542364073</c:v>
                </c:pt>
                <c:pt idx="717">
                  <c:v>138.88086236484008</c:v>
                </c:pt>
                <c:pt idx="718">
                  <c:v>139.83626363543647</c:v>
                </c:pt>
                <c:pt idx="719">
                  <c:v>141.54039461228206</c:v>
                </c:pt>
                <c:pt idx="720">
                  <c:v>140.91825894603087</c:v>
                </c:pt>
                <c:pt idx="721">
                  <c:v>143.13220490154984</c:v>
                </c:pt>
                <c:pt idx="722">
                  <c:v>143.18312077744599</c:v>
                </c:pt>
                <c:pt idx="723">
                  <c:v>143.18478853628881</c:v>
                </c:pt>
                <c:pt idx="724">
                  <c:v>142.42922551516841</c:v>
                </c:pt>
                <c:pt idx="725">
                  <c:v>142.76442782604067</c:v>
                </c:pt>
                <c:pt idx="726">
                  <c:v>142.61883327424516</c:v>
                </c:pt>
                <c:pt idx="727">
                  <c:v>143.67079335605155</c:v>
                </c:pt>
                <c:pt idx="728">
                  <c:v>144.05475532748693</c:v>
                </c:pt>
                <c:pt idx="729">
                  <c:v>144.95012702336493</c:v>
                </c:pt>
                <c:pt idx="730">
                  <c:v>144.9174916056713</c:v>
                </c:pt>
                <c:pt idx="731">
                  <c:v>144.4990671618516</c:v>
                </c:pt>
                <c:pt idx="732">
                  <c:v>144.34638225138303</c:v>
                </c:pt>
                <c:pt idx="733">
                  <c:v>144.1584422258592</c:v>
                </c:pt>
                <c:pt idx="734">
                  <c:v>143.68121731153173</c:v>
                </c:pt>
                <c:pt idx="735">
                  <c:v>144.11872440465595</c:v>
                </c:pt>
                <c:pt idx="736">
                  <c:v>143.98959307484853</c:v>
                </c:pt>
                <c:pt idx="737">
                  <c:v>143.95280259801001</c:v>
                </c:pt>
                <c:pt idx="738">
                  <c:v>144.05216103900761</c:v>
                </c:pt>
                <c:pt idx="739">
                  <c:v>144.26742768668836</c:v>
                </c:pt>
                <c:pt idx="740">
                  <c:v>145.62454651963174</c:v>
                </c:pt>
                <c:pt idx="741">
                  <c:v>145.52240537738012</c:v>
                </c:pt>
                <c:pt idx="742">
                  <c:v>145.57707633631387</c:v>
                </c:pt>
                <c:pt idx="743">
                  <c:v>143.05172429512376</c:v>
                </c:pt>
                <c:pt idx="744">
                  <c:v>144.15603767292421</c:v>
                </c:pt>
                <c:pt idx="745">
                  <c:v>145.45989720345369</c:v>
                </c:pt>
                <c:pt idx="746">
                  <c:v>146.51684813757299</c:v>
                </c:pt>
                <c:pt idx="747">
                  <c:v>146.51776611123501</c:v>
                </c:pt>
                <c:pt idx="748">
                  <c:v>148.19089158860393</c:v>
                </c:pt>
                <c:pt idx="749">
                  <c:v>147.85843395410652</c:v>
                </c:pt>
                <c:pt idx="750">
                  <c:v>147.45164474164201</c:v>
                </c:pt>
                <c:pt idx="751">
                  <c:v>147.75044565532133</c:v>
                </c:pt>
                <c:pt idx="752">
                  <c:v>147.4416967049319</c:v>
                </c:pt>
                <c:pt idx="753">
                  <c:v>146.90525587965885</c:v>
                </c:pt>
                <c:pt idx="754">
                  <c:v>147.07806342190617</c:v>
                </c:pt>
                <c:pt idx="755">
                  <c:v>146.66704926398279</c:v>
                </c:pt>
                <c:pt idx="756">
                  <c:v>147.14821997293996</c:v>
                </c:pt>
                <c:pt idx="757">
                  <c:v>148.63542408791582</c:v>
                </c:pt>
                <c:pt idx="758">
                  <c:v>147.64861463659955</c:v>
                </c:pt>
                <c:pt idx="759">
                  <c:v>147.17378529874097</c:v>
                </c:pt>
                <c:pt idx="760">
                  <c:v>146.15336854025085</c:v>
                </c:pt>
                <c:pt idx="761">
                  <c:v>147.42134210310266</c:v>
                </c:pt>
                <c:pt idx="762">
                  <c:v>150.33291340033415</c:v>
                </c:pt>
                <c:pt idx="763">
                  <c:v>149.44505395048941</c:v>
                </c:pt>
                <c:pt idx="764">
                  <c:v>146.9801607731342</c:v>
                </c:pt>
                <c:pt idx="765">
                  <c:v>147.54245374472484</c:v>
                </c:pt>
                <c:pt idx="766">
                  <c:v>147.54245374472484</c:v>
                </c:pt>
                <c:pt idx="767">
                  <c:v>147.54245374472484</c:v>
                </c:pt>
                <c:pt idx="768">
                  <c:v>145.36223191654423</c:v>
                </c:pt>
                <c:pt idx="769">
                  <c:v>145.66445524395144</c:v>
                </c:pt>
                <c:pt idx="770">
                  <c:v>147.07008690245601</c:v>
                </c:pt>
                <c:pt idx="771">
                  <c:v>146.05906369624893</c:v>
                </c:pt>
                <c:pt idx="772">
                  <c:v>147.10882429535653</c:v>
                </c:pt>
                <c:pt idx="773">
                  <c:v>148.82109582092133</c:v>
                </c:pt>
                <c:pt idx="774">
                  <c:v>148.76457830112895</c:v>
                </c:pt>
                <c:pt idx="775">
                  <c:v>148.76981140481305</c:v>
                </c:pt>
                <c:pt idx="776">
                  <c:v>148.95715651671765</c:v>
                </c:pt>
                <c:pt idx="777">
                  <c:v>146.78123200470853</c:v>
                </c:pt>
                <c:pt idx="778">
                  <c:v>147.96564270243113</c:v>
                </c:pt>
                <c:pt idx="779">
                  <c:v>149.23553223226114</c:v>
                </c:pt>
                <c:pt idx="780">
                  <c:v>151.26986200822125</c:v>
                </c:pt>
                <c:pt idx="781">
                  <c:v>151.50581950021206</c:v>
                </c:pt>
                <c:pt idx="782">
                  <c:v>151.16440638707778</c:v>
                </c:pt>
                <c:pt idx="783">
                  <c:v>151.16440638707778</c:v>
                </c:pt>
                <c:pt idx="784">
                  <c:v>152.2902775358435</c:v>
                </c:pt>
                <c:pt idx="785">
                  <c:v>152.81772200981402</c:v>
                </c:pt>
                <c:pt idx="786">
                  <c:v>150.84353819229722</c:v>
                </c:pt>
                <c:pt idx="787">
                  <c:v>151.60742948643082</c:v>
                </c:pt>
                <c:pt idx="788">
                  <c:v>149.8975126446943</c:v>
                </c:pt>
                <c:pt idx="789">
                  <c:v>150.21518597607923</c:v>
                </c:pt>
                <c:pt idx="790">
                  <c:v>149.99976943016833</c:v>
                </c:pt>
                <c:pt idx="791">
                  <c:v>151.21812096590963</c:v>
                </c:pt>
                <c:pt idx="792">
                  <c:v>149.95045032363373</c:v>
                </c:pt>
                <c:pt idx="793">
                  <c:v>149.86078470865522</c:v>
                </c:pt>
                <c:pt idx="794">
                  <c:v>149.07650047054022</c:v>
                </c:pt>
                <c:pt idx="795">
                  <c:v>149.07650047054022</c:v>
                </c:pt>
                <c:pt idx="796">
                  <c:v>146.81591770166648</c:v>
                </c:pt>
                <c:pt idx="797">
                  <c:v>147.17950944532669</c:v>
                </c:pt>
                <c:pt idx="798">
                  <c:v>149.16787887960535</c:v>
                </c:pt>
                <c:pt idx="799">
                  <c:v>147.02729559372537</c:v>
                </c:pt>
                <c:pt idx="800">
                  <c:v>148.30622511223837</c:v>
                </c:pt>
                <c:pt idx="801">
                  <c:v>148.93427986247823</c:v>
                </c:pt>
                <c:pt idx="802">
                  <c:v>148.93427986247823</c:v>
                </c:pt>
                <c:pt idx="803">
                  <c:v>150.25647793215049</c:v>
                </c:pt>
                <c:pt idx="804">
                  <c:v>148.75954392287917</c:v>
                </c:pt>
                <c:pt idx="805">
                  <c:v>148.58041549474791</c:v>
                </c:pt>
                <c:pt idx="806">
                  <c:v>145.94485038947113</c:v>
                </c:pt>
                <c:pt idx="807">
                  <c:v>144.80218141889605</c:v>
                </c:pt>
                <c:pt idx="808">
                  <c:v>145.0836716297452</c:v>
                </c:pt>
                <c:pt idx="809">
                  <c:v>147.3228408620167</c:v>
                </c:pt>
                <c:pt idx="810">
                  <c:v>148.72100209317352</c:v>
                </c:pt>
                <c:pt idx="811">
                  <c:v>149.15472601201785</c:v>
                </c:pt>
                <c:pt idx="812">
                  <c:v>149.30092290965683</c:v>
                </c:pt>
                <c:pt idx="813">
                  <c:v>150.46997084521178</c:v>
                </c:pt>
                <c:pt idx="814">
                  <c:v>150.09735428850999</c:v>
                </c:pt>
                <c:pt idx="815">
                  <c:v>149.74737190835313</c:v>
                </c:pt>
                <c:pt idx="816">
                  <c:v>149.60708638004758</c:v>
                </c:pt>
                <c:pt idx="817">
                  <c:v>150.3841331016832</c:v>
                </c:pt>
                <c:pt idx="818">
                  <c:v>151.58476890041294</c:v>
                </c:pt>
                <c:pt idx="819">
                  <c:v>151.56791878854492</c:v>
                </c:pt>
                <c:pt idx="820">
                  <c:v>151.13672262835476</c:v>
                </c:pt>
                <c:pt idx="821">
                  <c:v>150.25229911684784</c:v>
                </c:pt>
                <c:pt idx="822">
                  <c:v>148.73649262217612</c:v>
                </c:pt>
                <c:pt idx="823">
                  <c:v>148.90235921184919</c:v>
                </c:pt>
                <c:pt idx="824">
                  <c:v>150.50839226595093</c:v>
                </c:pt>
                <c:pt idx="825">
                  <c:v>150.1258140018756</c:v>
                </c:pt>
                <c:pt idx="826">
                  <c:v>152.8146214793168</c:v>
                </c:pt>
                <c:pt idx="827">
                  <c:v>154.90776587425358</c:v>
                </c:pt>
                <c:pt idx="828">
                  <c:v>155.9419837685096</c:v>
                </c:pt>
                <c:pt idx="829">
                  <c:v>155.96798279629539</c:v>
                </c:pt>
                <c:pt idx="830">
                  <c:v>156.16429429997041</c:v>
                </c:pt>
                <c:pt idx="831">
                  <c:v>155.45387783758403</c:v>
                </c:pt>
                <c:pt idx="832">
                  <c:v>154.94406360000119</c:v>
                </c:pt>
                <c:pt idx="833">
                  <c:v>155.72032852545476</c:v>
                </c:pt>
                <c:pt idx="834">
                  <c:v>155.76048667873872</c:v>
                </c:pt>
                <c:pt idx="835">
                  <c:v>154.52871554974325</c:v>
                </c:pt>
                <c:pt idx="836">
                  <c:v>156.51671881607592</c:v>
                </c:pt>
                <c:pt idx="837">
                  <c:v>157.07364564644701</c:v>
                </c:pt>
                <c:pt idx="838">
                  <c:v>156.70588631038774</c:v>
                </c:pt>
                <c:pt idx="839">
                  <c:v>158.5056663532809</c:v>
                </c:pt>
                <c:pt idx="840">
                  <c:v>159.75909452643256</c:v>
                </c:pt>
                <c:pt idx="841">
                  <c:v>158.3072828854969</c:v>
                </c:pt>
                <c:pt idx="842">
                  <c:v>154.81324828201807</c:v>
                </c:pt>
                <c:pt idx="843">
                  <c:v>154.647311822023</c:v>
                </c:pt>
                <c:pt idx="844">
                  <c:v>154.15462583219175</c:v>
                </c:pt>
                <c:pt idx="845">
                  <c:v>157.2187907356373</c:v>
                </c:pt>
                <c:pt idx="846">
                  <c:v>158.27775187251959</c:v>
                </c:pt>
                <c:pt idx="847">
                  <c:v>159.45566024495125</c:v>
                </c:pt>
                <c:pt idx="848">
                  <c:v>158.09737573049983</c:v>
                </c:pt>
                <c:pt idx="849">
                  <c:v>159.1551333429563</c:v>
                </c:pt>
                <c:pt idx="850">
                  <c:v>158.23594838546998</c:v>
                </c:pt>
                <c:pt idx="851">
                  <c:v>160.64827846121074</c:v>
                </c:pt>
                <c:pt idx="852">
                  <c:v>160.78767329258335</c:v>
                </c:pt>
                <c:pt idx="853">
                  <c:v>161.46260454405274</c:v>
                </c:pt>
                <c:pt idx="854">
                  <c:v>161.89042070740553</c:v>
                </c:pt>
                <c:pt idx="855">
                  <c:v>162.20509120268048</c:v>
                </c:pt>
                <c:pt idx="856">
                  <c:v>161.9050019299072</c:v>
                </c:pt>
                <c:pt idx="857">
                  <c:v>161.28976703371731</c:v>
                </c:pt>
                <c:pt idx="858">
                  <c:v>162.43227287746836</c:v>
                </c:pt>
                <c:pt idx="859">
                  <c:v>162.43227287746836</c:v>
                </c:pt>
                <c:pt idx="860">
                  <c:v>162.65526835448415</c:v>
                </c:pt>
                <c:pt idx="861">
                  <c:v>163.02333040361009</c:v>
                </c:pt>
                <c:pt idx="862">
                  <c:v>162.64506897982915</c:v>
                </c:pt>
                <c:pt idx="863">
                  <c:v>162.73633599227776</c:v>
                </c:pt>
                <c:pt idx="864">
                  <c:v>160.84776707927759</c:v>
                </c:pt>
                <c:pt idx="865">
                  <c:v>159.93833966126664</c:v>
                </c:pt>
                <c:pt idx="866">
                  <c:v>160.77747960359036</c:v>
                </c:pt>
                <c:pt idx="867">
                  <c:v>161.28547295448999</c:v>
                </c:pt>
                <c:pt idx="868">
                  <c:v>160.35779597424849</c:v>
                </c:pt>
                <c:pt idx="869">
                  <c:v>160.52044838044429</c:v>
                </c:pt>
                <c:pt idx="870">
                  <c:v>160.17033618026332</c:v>
                </c:pt>
                <c:pt idx="871">
                  <c:v>160.52751080777952</c:v>
                </c:pt>
                <c:pt idx="872">
                  <c:v>161.83818830735132</c:v>
                </c:pt>
                <c:pt idx="873">
                  <c:v>160.15367146503613</c:v>
                </c:pt>
                <c:pt idx="874">
                  <c:v>160.2597630927678</c:v>
                </c:pt>
                <c:pt idx="875">
                  <c:v>162.5441256447254</c:v>
                </c:pt>
                <c:pt idx="876">
                  <c:v>161.44417024126122</c:v>
                </c:pt>
                <c:pt idx="877">
                  <c:v>161.18501839070342</c:v>
                </c:pt>
                <c:pt idx="878">
                  <c:v>161.25673809723685</c:v>
                </c:pt>
                <c:pt idx="879">
                  <c:v>160.86042747198729</c:v>
                </c:pt>
                <c:pt idx="880">
                  <c:v>161.08465194215105</c:v>
                </c:pt>
                <c:pt idx="881">
                  <c:v>161.35937235949518</c:v>
                </c:pt>
                <c:pt idx="882">
                  <c:v>161.03811506076806</c:v>
                </c:pt>
                <c:pt idx="883">
                  <c:v>160.98466648630122</c:v>
                </c:pt>
                <c:pt idx="884">
                  <c:v>161.21418104481606</c:v>
                </c:pt>
                <c:pt idx="885">
                  <c:v>161.41105781242518</c:v>
                </c:pt>
                <c:pt idx="886">
                  <c:v>162.21155301742843</c:v>
                </c:pt>
                <c:pt idx="887">
                  <c:v>161.91737921074494</c:v>
                </c:pt>
                <c:pt idx="888">
                  <c:v>162.70051568653119</c:v>
                </c:pt>
                <c:pt idx="889">
                  <c:v>160.86153616875933</c:v>
                </c:pt>
                <c:pt idx="890">
                  <c:v>161.55099686912803</c:v>
                </c:pt>
                <c:pt idx="891">
                  <c:v>160.44095962981288</c:v>
                </c:pt>
                <c:pt idx="892">
                  <c:v>161.712267625111</c:v>
                </c:pt>
                <c:pt idx="893">
                  <c:v>161.74866364103985</c:v>
                </c:pt>
                <c:pt idx="894">
                  <c:v>161.86885651049471</c:v>
                </c:pt>
                <c:pt idx="895">
                  <c:v>161.69121415390313</c:v>
                </c:pt>
                <c:pt idx="896">
                  <c:v>162.66236644954446</c:v>
                </c:pt>
                <c:pt idx="897">
                  <c:v>161.62731070436624</c:v>
                </c:pt>
                <c:pt idx="898">
                  <c:v>161.29492518451539</c:v>
                </c:pt>
                <c:pt idx="899">
                  <c:v>160.35302887214348</c:v>
                </c:pt>
                <c:pt idx="900">
                  <c:v>161.38280384415151</c:v>
                </c:pt>
                <c:pt idx="901">
                  <c:v>160.85456740406681</c:v>
                </c:pt>
                <c:pt idx="902">
                  <c:v>161.2857114901156</c:v>
                </c:pt>
                <c:pt idx="903">
                  <c:v>162.49520586558924</c:v>
                </c:pt>
                <c:pt idx="904">
                  <c:v>162.07551237236427</c:v>
                </c:pt>
                <c:pt idx="905">
                  <c:v>161.85898926527119</c:v>
                </c:pt>
                <c:pt idx="906">
                  <c:v>161.21486116122219</c:v>
                </c:pt>
                <c:pt idx="907">
                  <c:v>160.20006616793418</c:v>
                </c:pt>
                <c:pt idx="908">
                  <c:v>158.1143615119185</c:v>
                </c:pt>
                <c:pt idx="909">
                  <c:v>159.49006695540851</c:v>
                </c:pt>
                <c:pt idx="910">
                  <c:v>160.06520421489662</c:v>
                </c:pt>
                <c:pt idx="911">
                  <c:v>160.55295906965387</c:v>
                </c:pt>
                <c:pt idx="912">
                  <c:v>160.0193423478178</c:v>
                </c:pt>
                <c:pt idx="913">
                  <c:v>160.61667076418215</c:v>
                </c:pt>
                <c:pt idx="914">
                  <c:v>160.27767127937665</c:v>
                </c:pt>
                <c:pt idx="915">
                  <c:v>160.27767127937665</c:v>
                </c:pt>
                <c:pt idx="916">
                  <c:v>162.32342949042746</c:v>
                </c:pt>
                <c:pt idx="917">
                  <c:v>162.0182838538077</c:v>
                </c:pt>
                <c:pt idx="918">
                  <c:v>162.26922758868062</c:v>
                </c:pt>
                <c:pt idx="919">
                  <c:v>161.07687334519488</c:v>
                </c:pt>
                <c:pt idx="920">
                  <c:v>160.68304639401546</c:v>
                </c:pt>
                <c:pt idx="921">
                  <c:v>160.65268703534929</c:v>
                </c:pt>
                <c:pt idx="922">
                  <c:v>160.02212464596019</c:v>
                </c:pt>
                <c:pt idx="923">
                  <c:v>160.56702979293479</c:v>
                </c:pt>
                <c:pt idx="924">
                  <c:v>159.23116500450243</c:v>
                </c:pt>
                <c:pt idx="925">
                  <c:v>157.60969496353155</c:v>
                </c:pt>
                <c:pt idx="926">
                  <c:v>156.96414157585522</c:v>
                </c:pt>
                <c:pt idx="927">
                  <c:v>158.81912559783575</c:v>
                </c:pt>
                <c:pt idx="928">
                  <c:v>159.55166786465023</c:v>
                </c:pt>
                <c:pt idx="929">
                  <c:v>159.93974117329927</c:v>
                </c:pt>
                <c:pt idx="930">
                  <c:v>160.70958123593564</c:v>
                </c:pt>
                <c:pt idx="931">
                  <c:v>161.34841626353048</c:v>
                </c:pt>
                <c:pt idx="932">
                  <c:v>161.18568902734918</c:v>
                </c:pt>
                <c:pt idx="933">
                  <c:v>161.65700698780552</c:v>
                </c:pt>
                <c:pt idx="934">
                  <c:v>161.62829570423375</c:v>
                </c:pt>
                <c:pt idx="935">
                  <c:v>162.94092079142729</c:v>
                </c:pt>
                <c:pt idx="936">
                  <c:v>162.48891065169971</c:v>
                </c:pt>
                <c:pt idx="937">
                  <c:v>162.94922421045644</c:v>
                </c:pt>
                <c:pt idx="938">
                  <c:v>162.88830757542397</c:v>
                </c:pt>
                <c:pt idx="939">
                  <c:v>163.42516953690972</c:v>
                </c:pt>
                <c:pt idx="940">
                  <c:v>164.17080626926949</c:v>
                </c:pt>
                <c:pt idx="941">
                  <c:v>164.62337025528925</c:v>
                </c:pt>
                <c:pt idx="942">
                  <c:v>165.09969972681262</c:v>
                </c:pt>
                <c:pt idx="943">
                  <c:v>165.50487195291402</c:v>
                </c:pt>
                <c:pt idx="944">
                  <c:v>165.344880257878</c:v>
                </c:pt>
                <c:pt idx="945">
                  <c:v>164.68084776324454</c:v>
                </c:pt>
                <c:pt idx="946">
                  <c:v>164.76758184258827</c:v>
                </c:pt>
                <c:pt idx="947">
                  <c:v>164.35078294549623</c:v>
                </c:pt>
                <c:pt idx="948">
                  <c:v>164.88993141356761</c:v>
                </c:pt>
                <c:pt idx="949">
                  <c:v>165.24771033811078</c:v>
                </c:pt>
                <c:pt idx="950">
                  <c:v>165.34184916456024</c:v>
                </c:pt>
                <c:pt idx="951">
                  <c:v>164.90128813065743</c:v>
                </c:pt>
                <c:pt idx="952">
                  <c:v>164.90128813065743</c:v>
                </c:pt>
                <c:pt idx="953">
                  <c:v>164.90128813065743</c:v>
                </c:pt>
                <c:pt idx="954">
                  <c:v>164.90128813065743</c:v>
                </c:pt>
                <c:pt idx="955">
                  <c:v>164.36603094196454</c:v>
                </c:pt>
                <c:pt idx="956">
                  <c:v>163.78710276533329</c:v>
                </c:pt>
                <c:pt idx="957">
                  <c:v>164.25942895417967</c:v>
                </c:pt>
                <c:pt idx="958">
                  <c:v>164.25942895417967</c:v>
                </c:pt>
                <c:pt idx="959">
                  <c:v>166.06008428327115</c:v>
                </c:pt>
                <c:pt idx="960">
                  <c:v>167.24818190099367</c:v>
                </c:pt>
                <c:pt idx="961">
                  <c:v>167.76966082281143</c:v>
                </c:pt>
                <c:pt idx="962">
                  <c:v>167.17114304176101</c:v>
                </c:pt>
                <c:pt idx="963">
                  <c:v>167.06352485116869</c:v>
                </c:pt>
                <c:pt idx="964">
                  <c:v>167.77832815546105</c:v>
                </c:pt>
                <c:pt idx="965">
                  <c:v>167.1044301230254</c:v>
                </c:pt>
                <c:pt idx="966">
                  <c:v>166.47059947976632</c:v>
                </c:pt>
                <c:pt idx="967">
                  <c:v>165.83800621760818</c:v>
                </c:pt>
                <c:pt idx="968">
                  <c:v>165.30434577608995</c:v>
                </c:pt>
                <c:pt idx="969">
                  <c:v>165.46607934932561</c:v>
                </c:pt>
                <c:pt idx="970">
                  <c:v>165.6692640514558</c:v>
                </c:pt>
                <c:pt idx="971">
                  <c:v>165.42962974120243</c:v>
                </c:pt>
                <c:pt idx="972">
                  <c:v>165.53938188979106</c:v>
                </c:pt>
                <c:pt idx="973">
                  <c:v>165.77885727042235</c:v>
                </c:pt>
                <c:pt idx="974">
                  <c:v>166.26370716733624</c:v>
                </c:pt>
                <c:pt idx="975">
                  <c:v>166.0095778827436</c:v>
                </c:pt>
                <c:pt idx="976">
                  <c:v>166.52842246909159</c:v>
                </c:pt>
                <c:pt idx="977">
                  <c:v>165.89266880010092</c:v>
                </c:pt>
                <c:pt idx="978">
                  <c:v>166.45466171158111</c:v>
                </c:pt>
                <c:pt idx="979">
                  <c:v>166.09068911306883</c:v>
                </c:pt>
                <c:pt idx="980">
                  <c:v>165.88818630531284</c:v>
                </c:pt>
                <c:pt idx="981">
                  <c:v>166.7870474059244</c:v>
                </c:pt>
                <c:pt idx="982">
                  <c:v>165.89779525515064</c:v>
                </c:pt>
                <c:pt idx="983">
                  <c:v>166.11711519885259</c:v>
                </c:pt>
                <c:pt idx="984">
                  <c:v>165.48070119552983</c:v>
                </c:pt>
                <c:pt idx="985">
                  <c:v>165.40771752051012</c:v>
                </c:pt>
                <c:pt idx="986">
                  <c:v>166.8548258241361</c:v>
                </c:pt>
                <c:pt idx="987">
                  <c:v>166.38256809566147</c:v>
                </c:pt>
                <c:pt idx="988">
                  <c:v>166.75146787420096</c:v>
                </c:pt>
                <c:pt idx="989">
                  <c:v>167.2872614647932</c:v>
                </c:pt>
                <c:pt idx="990">
                  <c:v>167.2453316894707</c:v>
                </c:pt>
                <c:pt idx="991">
                  <c:v>167.20867777007584</c:v>
                </c:pt>
                <c:pt idx="992">
                  <c:v>166.83251835002878</c:v>
                </c:pt>
                <c:pt idx="993">
                  <c:v>168.62531828260521</c:v>
                </c:pt>
                <c:pt idx="994">
                  <c:v>168.49480455200342</c:v>
                </c:pt>
                <c:pt idx="995">
                  <c:v>167.38279044002522</c:v>
                </c:pt>
                <c:pt idx="996">
                  <c:v>169.34507232872025</c:v>
                </c:pt>
                <c:pt idx="997">
                  <c:v>168.22960889206385</c:v>
                </c:pt>
                <c:pt idx="998">
                  <c:v>167.91334063688865</c:v>
                </c:pt>
                <c:pt idx="999">
                  <c:v>168.62285555062024</c:v>
                </c:pt>
                <c:pt idx="1000">
                  <c:v>170.51495624377262</c:v>
                </c:pt>
                <c:pt idx="1001">
                  <c:v>170.94015847015663</c:v>
                </c:pt>
                <c:pt idx="1002">
                  <c:v>171.68023369993136</c:v>
                </c:pt>
                <c:pt idx="1003">
                  <c:v>173.62523641491507</c:v>
                </c:pt>
                <c:pt idx="1004">
                  <c:v>172.82421056740822</c:v>
                </c:pt>
                <c:pt idx="1005">
                  <c:v>172.54257352177669</c:v>
                </c:pt>
                <c:pt idx="1006">
                  <c:v>172.77350020574178</c:v>
                </c:pt>
                <c:pt idx="1007">
                  <c:v>172.84983524024832</c:v>
                </c:pt>
                <c:pt idx="1008">
                  <c:v>173.15997677392417</c:v>
                </c:pt>
                <c:pt idx="1009">
                  <c:v>173.87081743193602</c:v>
                </c:pt>
                <c:pt idx="1010">
                  <c:v>175.54046326171689</c:v>
                </c:pt>
                <c:pt idx="1011">
                  <c:v>174.99230963282039</c:v>
                </c:pt>
                <c:pt idx="1012">
                  <c:v>175.25167963964273</c:v>
                </c:pt>
                <c:pt idx="1013">
                  <c:v>175.64649260635326</c:v>
                </c:pt>
                <c:pt idx="1014">
                  <c:v>175.89859744274347</c:v>
                </c:pt>
                <c:pt idx="1015">
                  <c:v>175.16324802309146</c:v>
                </c:pt>
                <c:pt idx="1016">
                  <c:v>175.63544687371348</c:v>
                </c:pt>
                <c:pt idx="1017">
                  <c:v>175.99745764751142</c:v>
                </c:pt>
                <c:pt idx="1018">
                  <c:v>175.91814107651288</c:v>
                </c:pt>
                <c:pt idx="1019">
                  <c:v>175.83389072546709</c:v>
                </c:pt>
                <c:pt idx="1020">
                  <c:v>177.11554895880911</c:v>
                </c:pt>
                <c:pt idx="1021">
                  <c:v>177.11554895880911</c:v>
                </c:pt>
                <c:pt idx="1022">
                  <c:v>177.11554895880911</c:v>
                </c:pt>
                <c:pt idx="1023">
                  <c:v>179.02765257585844</c:v>
                </c:pt>
                <c:pt idx="1024">
                  <c:v>178.1146974410037</c:v>
                </c:pt>
                <c:pt idx="1025">
                  <c:v>176.55982008350642</c:v>
                </c:pt>
                <c:pt idx="1026">
                  <c:v>173.82560092381621</c:v>
                </c:pt>
                <c:pt idx="1027">
                  <c:v>174.37364572437261</c:v>
                </c:pt>
                <c:pt idx="1028">
                  <c:v>173.61810431603016</c:v>
                </c:pt>
                <c:pt idx="1029">
                  <c:v>175.97331989467617</c:v>
                </c:pt>
                <c:pt idx="1030">
                  <c:v>176.73221129435302</c:v>
                </c:pt>
                <c:pt idx="1031">
                  <c:v>175.93801270087761</c:v>
                </c:pt>
                <c:pt idx="1032">
                  <c:v>175.27168138369359</c:v>
                </c:pt>
                <c:pt idx="1033">
                  <c:v>173.56928509920766</c:v>
                </c:pt>
                <c:pt idx="1034">
                  <c:v>171.72768595184499</c:v>
                </c:pt>
                <c:pt idx="1035">
                  <c:v>171.62700854074052</c:v>
                </c:pt>
                <c:pt idx="1036">
                  <c:v>172.22247443543748</c:v>
                </c:pt>
                <c:pt idx="1037">
                  <c:v>172.28563177882324</c:v>
                </c:pt>
                <c:pt idx="1038">
                  <c:v>175.91989750820903</c:v>
                </c:pt>
                <c:pt idx="1039">
                  <c:v>176.81827839478984</c:v>
                </c:pt>
                <c:pt idx="1040">
                  <c:v>177.87764350604405</c:v>
                </c:pt>
                <c:pt idx="1041">
                  <c:v>177.44723067815087</c:v>
                </c:pt>
                <c:pt idx="1042">
                  <c:v>178.08723827792275</c:v>
                </c:pt>
                <c:pt idx="1043">
                  <c:v>177.69911863442823</c:v>
                </c:pt>
                <c:pt idx="1044">
                  <c:v>177.69911863442823</c:v>
                </c:pt>
                <c:pt idx="1045">
                  <c:v>178.0835665462042</c:v>
                </c:pt>
                <c:pt idx="1046">
                  <c:v>179.14210208134563</c:v>
                </c:pt>
                <c:pt idx="1047">
                  <c:v>179.26450372962628</c:v>
                </c:pt>
                <c:pt idx="1048">
                  <c:v>178.87846893957376</c:v>
                </c:pt>
                <c:pt idx="1049">
                  <c:v>180.15746955873368</c:v>
                </c:pt>
                <c:pt idx="1050">
                  <c:v>180.15746955873368</c:v>
                </c:pt>
                <c:pt idx="1051">
                  <c:v>181.7220263321318</c:v>
                </c:pt>
                <c:pt idx="1052">
                  <c:v>181.88804885454093</c:v>
                </c:pt>
                <c:pt idx="1053">
                  <c:v>182.43104836182295</c:v>
                </c:pt>
                <c:pt idx="1054">
                  <c:v>183.53449470513453</c:v>
                </c:pt>
                <c:pt idx="1055">
                  <c:v>183.50443506599888</c:v>
                </c:pt>
                <c:pt idx="1056">
                  <c:v>183.2646274284985</c:v>
                </c:pt>
                <c:pt idx="1057">
                  <c:v>183.2646274284985</c:v>
                </c:pt>
                <c:pt idx="1058">
                  <c:v>184.59998972908343</c:v>
                </c:pt>
                <c:pt idx="1059">
                  <c:v>184.52756930811154</c:v>
                </c:pt>
                <c:pt idx="1060">
                  <c:v>182.04262437809822</c:v>
                </c:pt>
                <c:pt idx="1061">
                  <c:v>181.87583068639762</c:v>
                </c:pt>
                <c:pt idx="1062">
                  <c:v>182.14467746790245</c:v>
                </c:pt>
                <c:pt idx="1063">
                  <c:v>183.94342244226308</c:v>
                </c:pt>
                <c:pt idx="1064">
                  <c:v>180.38897166522102</c:v>
                </c:pt>
                <c:pt idx="1065">
                  <c:v>180.35886819738656</c:v>
                </c:pt>
                <c:pt idx="1066">
                  <c:v>179.0378373600341</c:v>
                </c:pt>
                <c:pt idx="1067">
                  <c:v>177.64683480639155</c:v>
                </c:pt>
                <c:pt idx="1068">
                  <c:v>177.78511187471031</c:v>
                </c:pt>
                <c:pt idx="1069">
                  <c:v>175.87142192048969</c:v>
                </c:pt>
                <c:pt idx="1070">
                  <c:v>174.66255733011303</c:v>
                </c:pt>
                <c:pt idx="1071">
                  <c:v>176.36736424595665</c:v>
                </c:pt>
                <c:pt idx="1072">
                  <c:v>176.65716701717545</c:v>
                </c:pt>
                <c:pt idx="1073">
                  <c:v>175.23928262050481</c:v>
                </c:pt>
                <c:pt idx="1074">
                  <c:v>175.65420851180744</c:v>
                </c:pt>
                <c:pt idx="1075">
                  <c:v>175.18613421219607</c:v>
                </c:pt>
                <c:pt idx="1076">
                  <c:v>175.02965664099418</c:v>
                </c:pt>
                <c:pt idx="1077">
                  <c:v>176.58631451284529</c:v>
                </c:pt>
                <c:pt idx="1078">
                  <c:v>176.40872718170726</c:v>
                </c:pt>
                <c:pt idx="1079">
                  <c:v>176.21095960102556</c:v>
                </c:pt>
                <c:pt idx="1080">
                  <c:v>171.8093525425414</c:v>
                </c:pt>
                <c:pt idx="1081">
                  <c:v>170.32287812926032</c:v>
                </c:pt>
                <c:pt idx="1082">
                  <c:v>167.78676705698737</c:v>
                </c:pt>
                <c:pt idx="1083">
                  <c:v>170.01697577129192</c:v>
                </c:pt>
                <c:pt idx="1084">
                  <c:v>172.52388230508785</c:v>
                </c:pt>
                <c:pt idx="1085">
                  <c:v>173.98573311252574</c:v>
                </c:pt>
                <c:pt idx="1086">
                  <c:v>173.31881657641517</c:v>
                </c:pt>
                <c:pt idx="1087">
                  <c:v>174.92111453251064</c:v>
                </c:pt>
                <c:pt idx="1088">
                  <c:v>174.65803805417463</c:v>
                </c:pt>
                <c:pt idx="1089">
                  <c:v>174.41843954175286</c:v>
                </c:pt>
                <c:pt idx="1090">
                  <c:v>177.5326895580728</c:v>
                </c:pt>
                <c:pt idx="1091">
                  <c:v>175.99398447321977</c:v>
                </c:pt>
                <c:pt idx="1092">
                  <c:v>177.68245113705029</c:v>
                </c:pt>
                <c:pt idx="1093">
                  <c:v>178.69026279204735</c:v>
                </c:pt>
                <c:pt idx="1094">
                  <c:v>179.13533601472821</c:v>
                </c:pt>
                <c:pt idx="1095">
                  <c:v>179.74593825520478</c:v>
                </c:pt>
                <c:pt idx="1096">
                  <c:v>179.50884549026958</c:v>
                </c:pt>
                <c:pt idx="1097">
                  <c:v>179.92007891975177</c:v>
                </c:pt>
                <c:pt idx="1098">
                  <c:v>178.59759770530664</c:v>
                </c:pt>
                <c:pt idx="1099">
                  <c:v>179.445728271234</c:v>
                </c:pt>
                <c:pt idx="1100">
                  <c:v>180.46495765451246</c:v>
                </c:pt>
                <c:pt idx="1101">
                  <c:v>180.30423890414184</c:v>
                </c:pt>
                <c:pt idx="1102">
                  <c:v>180.15632754797574</c:v>
                </c:pt>
                <c:pt idx="1103">
                  <c:v>179.59974261705858</c:v>
                </c:pt>
                <c:pt idx="1104">
                  <c:v>180.42277164023443</c:v>
                </c:pt>
                <c:pt idx="1105">
                  <c:v>179.87784885445765</c:v>
                </c:pt>
                <c:pt idx="1106">
                  <c:v>179.43423796302764</c:v>
                </c:pt>
                <c:pt idx="1107">
                  <c:v>180.01008429123436</c:v>
                </c:pt>
                <c:pt idx="1108">
                  <c:v>180.23672023924397</c:v>
                </c:pt>
                <c:pt idx="1109">
                  <c:v>180.17779891563811</c:v>
                </c:pt>
                <c:pt idx="1110">
                  <c:v>181.34700539066344</c:v>
                </c:pt>
                <c:pt idx="1111">
                  <c:v>181.76261848793058</c:v>
                </c:pt>
                <c:pt idx="1112">
                  <c:v>182.23572799573395</c:v>
                </c:pt>
                <c:pt idx="1113">
                  <c:v>181.93915881379291</c:v>
                </c:pt>
                <c:pt idx="1114">
                  <c:v>181.63828414563653</c:v>
                </c:pt>
                <c:pt idx="1115">
                  <c:v>181.52529494090794</c:v>
                </c:pt>
                <c:pt idx="1116">
                  <c:v>182.03120793518553</c:v>
                </c:pt>
                <c:pt idx="1117">
                  <c:v>181.74319406832461</c:v>
                </c:pt>
                <c:pt idx="1118">
                  <c:v>182.78424092068838</c:v>
                </c:pt>
                <c:pt idx="1119">
                  <c:v>182.78698591411916</c:v>
                </c:pt>
                <c:pt idx="1120">
                  <c:v>182.78698591411916</c:v>
                </c:pt>
                <c:pt idx="1121">
                  <c:v>181.19666950937696</c:v>
                </c:pt>
                <c:pt idx="1122">
                  <c:v>181.47662995953814</c:v>
                </c:pt>
                <c:pt idx="1123">
                  <c:v>180.73815553696454</c:v>
                </c:pt>
                <c:pt idx="1124">
                  <c:v>180.01823972781693</c:v>
                </c:pt>
                <c:pt idx="1125">
                  <c:v>180.65379328877287</c:v>
                </c:pt>
                <c:pt idx="1126">
                  <c:v>180.86668563070077</c:v>
                </c:pt>
                <c:pt idx="1127">
                  <c:v>181.24542070954627</c:v>
                </c:pt>
                <c:pt idx="1128">
                  <c:v>178.90436181270255</c:v>
                </c:pt>
                <c:pt idx="1129">
                  <c:v>177.84609382404096</c:v>
                </c:pt>
                <c:pt idx="1130">
                  <c:v>179.07753339250104</c:v>
                </c:pt>
                <c:pt idx="1131">
                  <c:v>177.71441871383286</c:v>
                </c:pt>
                <c:pt idx="1132">
                  <c:v>180.50500255664008</c:v>
                </c:pt>
                <c:pt idx="1133">
                  <c:v>179.72915958223854</c:v>
                </c:pt>
                <c:pt idx="1134">
                  <c:v>179.98569447863758</c:v>
                </c:pt>
                <c:pt idx="1135">
                  <c:v>180.70322311217328</c:v>
                </c:pt>
                <c:pt idx="1136">
                  <c:v>181.31031346960827</c:v>
                </c:pt>
                <c:pt idx="1137">
                  <c:v>180.88186552580618</c:v>
                </c:pt>
                <c:pt idx="1138">
                  <c:v>182.46206360213208</c:v>
                </c:pt>
                <c:pt idx="1139">
                  <c:v>182.91202694236674</c:v>
                </c:pt>
                <c:pt idx="1140">
                  <c:v>182.92645959315584</c:v>
                </c:pt>
                <c:pt idx="1141">
                  <c:v>183.58793097602737</c:v>
                </c:pt>
                <c:pt idx="1142">
                  <c:v>184.61295030956813</c:v>
                </c:pt>
                <c:pt idx="1143">
                  <c:v>184.1620693772752</c:v>
                </c:pt>
                <c:pt idx="1144">
                  <c:v>184.51021920688774</c:v>
                </c:pt>
                <c:pt idx="1145">
                  <c:v>185.1908936962142</c:v>
                </c:pt>
                <c:pt idx="1146">
                  <c:v>185.3786072739851</c:v>
                </c:pt>
                <c:pt idx="1147">
                  <c:v>184.64319795618687</c:v>
                </c:pt>
                <c:pt idx="1148">
                  <c:v>184.53972052735008</c:v>
                </c:pt>
                <c:pt idx="1149">
                  <c:v>184.2385909635087</c:v>
                </c:pt>
                <c:pt idx="1150">
                  <c:v>184.41255349039972</c:v>
                </c:pt>
                <c:pt idx="1151">
                  <c:v>184.28143519420487</c:v>
                </c:pt>
                <c:pt idx="1152">
                  <c:v>183.90491156494926</c:v>
                </c:pt>
                <c:pt idx="1153">
                  <c:v>184.28283794575438</c:v>
                </c:pt>
                <c:pt idx="1154">
                  <c:v>182.46610603834952</c:v>
                </c:pt>
                <c:pt idx="1155">
                  <c:v>181.89385897604794</c:v>
                </c:pt>
                <c:pt idx="1156">
                  <c:v>181.5787948211017</c:v>
                </c:pt>
                <c:pt idx="1157">
                  <c:v>181.06400074583519</c:v>
                </c:pt>
                <c:pt idx="1158">
                  <c:v>180.07815989006912</c:v>
                </c:pt>
                <c:pt idx="1159">
                  <c:v>178.90947305637303</c:v>
                </c:pt>
                <c:pt idx="1160">
                  <c:v>180.81273615235122</c:v>
                </c:pt>
                <c:pt idx="1161">
                  <c:v>181.7487509230252</c:v>
                </c:pt>
                <c:pt idx="1162">
                  <c:v>181.80262939097557</c:v>
                </c:pt>
                <c:pt idx="1163">
                  <c:v>182.67602197455628</c:v>
                </c:pt>
                <c:pt idx="1164">
                  <c:v>182.90945819303727</c:v>
                </c:pt>
                <c:pt idx="1165">
                  <c:v>184.43993758477197</c:v>
                </c:pt>
                <c:pt idx="1166">
                  <c:v>186.13844760177275</c:v>
                </c:pt>
                <c:pt idx="1167">
                  <c:v>186.84438457810703</c:v>
                </c:pt>
                <c:pt idx="1168">
                  <c:v>187.44794597927537</c:v>
                </c:pt>
                <c:pt idx="1169">
                  <c:v>187.3380801853767</c:v>
                </c:pt>
                <c:pt idx="1170">
                  <c:v>187.75241354643012</c:v>
                </c:pt>
                <c:pt idx="1171">
                  <c:v>187.98387255736918</c:v>
                </c:pt>
                <c:pt idx="1172">
                  <c:v>188.4635048607872</c:v>
                </c:pt>
                <c:pt idx="1173">
                  <c:v>188.89598084459476</c:v>
                </c:pt>
                <c:pt idx="1174">
                  <c:v>189.10196550241642</c:v>
                </c:pt>
                <c:pt idx="1175">
                  <c:v>189.79081659021088</c:v>
                </c:pt>
                <c:pt idx="1176">
                  <c:v>189.79081659021088</c:v>
                </c:pt>
                <c:pt idx="1177">
                  <c:v>190.06826962310609</c:v>
                </c:pt>
                <c:pt idx="1178">
                  <c:v>190.23176628623472</c:v>
                </c:pt>
                <c:pt idx="1179">
                  <c:v>190.52503084138911</c:v>
                </c:pt>
                <c:pt idx="1180">
                  <c:v>190.71917303215872</c:v>
                </c:pt>
                <c:pt idx="1181">
                  <c:v>190.40297810087102</c:v>
                </c:pt>
                <c:pt idx="1182">
                  <c:v>190.40636500446536</c:v>
                </c:pt>
                <c:pt idx="1183">
                  <c:v>189.66251753555525</c:v>
                </c:pt>
                <c:pt idx="1184">
                  <c:v>188.89842751330627</c:v>
                </c:pt>
                <c:pt idx="1185">
                  <c:v>190.40762423148544</c:v>
                </c:pt>
                <c:pt idx="1186">
                  <c:v>190.91543871448548</c:v>
                </c:pt>
                <c:pt idx="1187">
                  <c:v>191.49597324819533</c:v>
                </c:pt>
                <c:pt idx="1188">
                  <c:v>190.52927604009741</c:v>
                </c:pt>
                <c:pt idx="1189">
                  <c:v>190.69921324634797</c:v>
                </c:pt>
                <c:pt idx="1190">
                  <c:v>190.08823463016344</c:v>
                </c:pt>
                <c:pt idx="1191">
                  <c:v>189.89429873222895</c:v>
                </c:pt>
                <c:pt idx="1192">
                  <c:v>190.69670337786815</c:v>
                </c:pt>
                <c:pt idx="1193">
                  <c:v>189.13346468553786</c:v>
                </c:pt>
                <c:pt idx="1194">
                  <c:v>189.96209780369381</c:v>
                </c:pt>
                <c:pt idx="1195">
                  <c:v>190.23211467955397</c:v>
                </c:pt>
                <c:pt idx="1196">
                  <c:v>189.96364646209079</c:v>
                </c:pt>
                <c:pt idx="1197">
                  <c:v>189.2294761049412</c:v>
                </c:pt>
                <c:pt idx="1198">
                  <c:v>187.38690950161154</c:v>
                </c:pt>
                <c:pt idx="1199">
                  <c:v>186.48829270428834</c:v>
                </c:pt>
                <c:pt idx="1200">
                  <c:v>185.87913147346976</c:v>
                </c:pt>
                <c:pt idx="1201">
                  <c:v>186.3896267650326</c:v>
                </c:pt>
                <c:pt idx="1202">
                  <c:v>186.48110298795061</c:v>
                </c:pt>
                <c:pt idx="1203">
                  <c:v>185.30985982867762</c:v>
                </c:pt>
                <c:pt idx="1204">
                  <c:v>184.80945371510524</c:v>
                </c:pt>
                <c:pt idx="1205">
                  <c:v>183.44544724953172</c:v>
                </c:pt>
                <c:pt idx="1206">
                  <c:v>183.1277883540447</c:v>
                </c:pt>
                <c:pt idx="1207">
                  <c:v>184.75950291547602</c:v>
                </c:pt>
                <c:pt idx="1208">
                  <c:v>184.02452429792859</c:v>
                </c:pt>
                <c:pt idx="1209">
                  <c:v>185.31228077524693</c:v>
                </c:pt>
                <c:pt idx="1210">
                  <c:v>188.67295758044958</c:v>
                </c:pt>
                <c:pt idx="1211">
                  <c:v>189.41895433755482</c:v>
                </c:pt>
                <c:pt idx="1212">
                  <c:v>190.5966805009551</c:v>
                </c:pt>
                <c:pt idx="1213">
                  <c:v>190.5966805009551</c:v>
                </c:pt>
                <c:pt idx="1214">
                  <c:v>190.5966805009551</c:v>
                </c:pt>
                <c:pt idx="1215">
                  <c:v>190.5966805009551</c:v>
                </c:pt>
                <c:pt idx="1216">
                  <c:v>193.10742283880953</c:v>
                </c:pt>
                <c:pt idx="1217">
                  <c:v>192.84532841304082</c:v>
                </c:pt>
                <c:pt idx="1218">
                  <c:v>193.77049385106807</c:v>
                </c:pt>
                <c:pt idx="1219">
                  <c:v>193.77049385106807</c:v>
                </c:pt>
                <c:pt idx="1220">
                  <c:v>192.4569094226425</c:v>
                </c:pt>
                <c:pt idx="1221">
                  <c:v>193.97856420398099</c:v>
                </c:pt>
                <c:pt idx="1222">
                  <c:v>193.28773007099903</c:v>
                </c:pt>
                <c:pt idx="1223">
                  <c:v>193.51542756511694</c:v>
                </c:pt>
                <c:pt idx="1224">
                  <c:v>193.55992951343842</c:v>
                </c:pt>
                <c:pt idx="1225">
                  <c:v>193.00156141329626</c:v>
                </c:pt>
                <c:pt idx="1226">
                  <c:v>193.81298760885593</c:v>
                </c:pt>
                <c:pt idx="1227">
                  <c:v>193.57050506201608</c:v>
                </c:pt>
                <c:pt idx="1228">
                  <c:v>194.2062370013472</c:v>
                </c:pt>
                <c:pt idx="1229">
                  <c:v>195.09340281785984</c:v>
                </c:pt>
                <c:pt idx="1230">
                  <c:v>194.33683667161444</c:v>
                </c:pt>
                <c:pt idx="1231">
                  <c:v>195.13668542091929</c:v>
                </c:pt>
                <c:pt idx="1232">
                  <c:v>195.55585917573336</c:v>
                </c:pt>
                <c:pt idx="1233">
                  <c:v>196.8490898842098</c:v>
                </c:pt>
                <c:pt idx="1234">
                  <c:v>197.73750670385496</c:v>
                </c:pt>
                <c:pt idx="1235">
                  <c:v>196.05819024367298</c:v>
                </c:pt>
                <c:pt idx="1236">
                  <c:v>192.14341085681471</c:v>
                </c:pt>
                <c:pt idx="1237">
                  <c:v>190.3023705256137</c:v>
                </c:pt>
                <c:pt idx="1238">
                  <c:v>190.70912403497425</c:v>
                </c:pt>
                <c:pt idx="1239">
                  <c:v>189.74227022105057</c:v>
                </c:pt>
                <c:pt idx="1240">
                  <c:v>189.981725471218</c:v>
                </c:pt>
                <c:pt idx="1241">
                  <c:v>189.63503056872599</c:v>
                </c:pt>
                <c:pt idx="1242">
                  <c:v>188.36801979724675</c:v>
                </c:pt>
                <c:pt idx="1243">
                  <c:v>187.25931097793995</c:v>
                </c:pt>
                <c:pt idx="1244">
                  <c:v>187.3452745096771</c:v>
                </c:pt>
                <c:pt idx="1245">
                  <c:v>189.2420088251026</c:v>
                </c:pt>
                <c:pt idx="1246">
                  <c:v>190.59099812058511</c:v>
                </c:pt>
                <c:pt idx="1247">
                  <c:v>190.64980497236567</c:v>
                </c:pt>
                <c:pt idx="1248">
                  <c:v>192.73736367121006</c:v>
                </c:pt>
                <c:pt idx="1249">
                  <c:v>193.9256060965337</c:v>
                </c:pt>
                <c:pt idx="1250">
                  <c:v>194.12042760846606</c:v>
                </c:pt>
                <c:pt idx="1251">
                  <c:v>195.28947576947232</c:v>
                </c:pt>
                <c:pt idx="1252">
                  <c:v>195.98710100821219</c:v>
                </c:pt>
                <c:pt idx="1253">
                  <c:v>196.21505236110158</c:v>
                </c:pt>
                <c:pt idx="1254">
                  <c:v>196.65614561643969</c:v>
                </c:pt>
                <c:pt idx="1255">
                  <c:v>197.02386021536918</c:v>
                </c:pt>
                <c:pt idx="1256">
                  <c:v>197.52579059598389</c:v>
                </c:pt>
                <c:pt idx="1257">
                  <c:v>199.04249479300222</c:v>
                </c:pt>
                <c:pt idx="1258">
                  <c:v>199.42620859236209</c:v>
                </c:pt>
                <c:pt idx="1259">
                  <c:v>199.02164764896736</c:v>
                </c:pt>
                <c:pt idx="1260">
                  <c:v>198.42014141118904</c:v>
                </c:pt>
                <c:pt idx="1261">
                  <c:v>198.31455403186692</c:v>
                </c:pt>
                <c:pt idx="1262">
                  <c:v>194.74284973190603</c:v>
                </c:pt>
                <c:pt idx="1263">
                  <c:v>198.55928690140209</c:v>
                </c:pt>
                <c:pt idx="1264">
                  <c:v>198.37253236609723</c:v>
                </c:pt>
                <c:pt idx="1265">
                  <c:v>197.85944336474412</c:v>
                </c:pt>
                <c:pt idx="1266">
                  <c:v>196.14239259356881</c:v>
                </c:pt>
                <c:pt idx="1267">
                  <c:v>195.360078901956</c:v>
                </c:pt>
                <c:pt idx="1268">
                  <c:v>195.57639249921766</c:v>
                </c:pt>
                <c:pt idx="1269">
                  <c:v>193.58382565910532</c:v>
                </c:pt>
                <c:pt idx="1270">
                  <c:v>192.17774092280254</c:v>
                </c:pt>
                <c:pt idx="1271">
                  <c:v>191.35830000851706</c:v>
                </c:pt>
                <c:pt idx="1272">
                  <c:v>192.66953616209304</c:v>
                </c:pt>
                <c:pt idx="1273">
                  <c:v>193.49278626563571</c:v>
                </c:pt>
                <c:pt idx="1274">
                  <c:v>193.74310832710856</c:v>
                </c:pt>
                <c:pt idx="1275">
                  <c:v>193.83363158969621</c:v>
                </c:pt>
                <c:pt idx="1276">
                  <c:v>194.26656246006894</c:v>
                </c:pt>
                <c:pt idx="1277">
                  <c:v>192.46805652751726</c:v>
                </c:pt>
                <c:pt idx="1278">
                  <c:v>194.5740360571281</c:v>
                </c:pt>
                <c:pt idx="1279">
                  <c:v>195.90331881994334</c:v>
                </c:pt>
                <c:pt idx="1280">
                  <c:v>195.95648240801447</c:v>
                </c:pt>
                <c:pt idx="1281">
                  <c:v>197.53337071076186</c:v>
                </c:pt>
                <c:pt idx="1282">
                  <c:v>197.14015054058115</c:v>
                </c:pt>
                <c:pt idx="1283">
                  <c:v>197.258438191876</c:v>
                </c:pt>
                <c:pt idx="1284">
                  <c:v>197.11528049320574</c:v>
                </c:pt>
                <c:pt idx="1285">
                  <c:v>197.0606967297592</c:v>
                </c:pt>
                <c:pt idx="1286">
                  <c:v>198.25791791403202</c:v>
                </c:pt>
                <c:pt idx="1287">
                  <c:v>196.29481468499276</c:v>
                </c:pt>
                <c:pt idx="1288">
                  <c:v>195.31486215411701</c:v>
                </c:pt>
                <c:pt idx="1289">
                  <c:v>196.17063630307069</c:v>
                </c:pt>
                <c:pt idx="1290">
                  <c:v>195.5033750107867</c:v>
                </c:pt>
                <c:pt idx="1291">
                  <c:v>192.96289258674409</c:v>
                </c:pt>
                <c:pt idx="1292">
                  <c:v>194.36472129253067</c:v>
                </c:pt>
                <c:pt idx="1293">
                  <c:v>193.3130743543401</c:v>
                </c:pt>
                <c:pt idx="1294">
                  <c:v>195.48299536347497</c:v>
                </c:pt>
                <c:pt idx="1295">
                  <c:v>196.28020480858166</c:v>
                </c:pt>
                <c:pt idx="1296">
                  <c:v>196.28020480858166</c:v>
                </c:pt>
                <c:pt idx="1297">
                  <c:v>196.28020480858166</c:v>
                </c:pt>
                <c:pt idx="1298">
                  <c:v>198.80125758184175</c:v>
                </c:pt>
                <c:pt idx="1299">
                  <c:v>197.97688115951482</c:v>
                </c:pt>
                <c:pt idx="1300">
                  <c:v>198.36636881222171</c:v>
                </c:pt>
                <c:pt idx="1301">
                  <c:v>197.56442936987725</c:v>
                </c:pt>
                <c:pt idx="1302">
                  <c:v>197.67607774999283</c:v>
                </c:pt>
                <c:pt idx="1303">
                  <c:v>199.53498238322504</c:v>
                </c:pt>
                <c:pt idx="1304">
                  <c:v>199.66407446835731</c:v>
                </c:pt>
                <c:pt idx="1305">
                  <c:v>199.66407446835731</c:v>
                </c:pt>
                <c:pt idx="1306">
                  <c:v>199.45134801945224</c:v>
                </c:pt>
                <c:pt idx="1307">
                  <c:v>199.3538115665192</c:v>
                </c:pt>
                <c:pt idx="1308">
                  <c:v>198.91155222903342</c:v>
                </c:pt>
                <c:pt idx="1309">
                  <c:v>199.20619440874009</c:v>
                </c:pt>
                <c:pt idx="1310">
                  <c:v>200.49195998936412</c:v>
                </c:pt>
                <c:pt idx="1311">
                  <c:v>200.61361950174046</c:v>
                </c:pt>
                <c:pt idx="1312">
                  <c:v>201.69212164982687</c:v>
                </c:pt>
                <c:pt idx="1313">
                  <c:v>202.26883803946637</c:v>
                </c:pt>
                <c:pt idx="1314">
                  <c:v>202.34995728067088</c:v>
                </c:pt>
                <c:pt idx="1315">
                  <c:v>201.27211318247919</c:v>
                </c:pt>
                <c:pt idx="1316">
                  <c:v>201.804952045145</c:v>
                </c:pt>
                <c:pt idx="1317">
                  <c:v>202.3912172893227</c:v>
                </c:pt>
                <c:pt idx="1318">
                  <c:v>202.17750223774812</c:v>
                </c:pt>
                <c:pt idx="1319">
                  <c:v>203.15814513662187</c:v>
                </c:pt>
                <c:pt idx="1320">
                  <c:v>203.37818417941298</c:v>
                </c:pt>
                <c:pt idx="1321">
                  <c:v>203.53119471744878</c:v>
                </c:pt>
                <c:pt idx="1322">
                  <c:v>204.37093420697531</c:v>
                </c:pt>
                <c:pt idx="1323">
                  <c:v>204.83145689201768</c:v>
                </c:pt>
                <c:pt idx="1324">
                  <c:v>204.76635429770536</c:v>
                </c:pt>
                <c:pt idx="1325">
                  <c:v>204.76635429770536</c:v>
                </c:pt>
                <c:pt idx="1326">
                  <c:v>205.12110850721049</c:v>
                </c:pt>
                <c:pt idx="1327">
                  <c:v>205.75582948287371</c:v>
                </c:pt>
                <c:pt idx="1328">
                  <c:v>204.8079155687366</c:v>
                </c:pt>
                <c:pt idx="1329">
                  <c:v>204.98317421706071</c:v>
                </c:pt>
                <c:pt idx="1330">
                  <c:v>205.47799059122119</c:v>
                </c:pt>
                <c:pt idx="1331">
                  <c:v>206.17268451974158</c:v>
                </c:pt>
                <c:pt idx="1332">
                  <c:v>206.17268451974158</c:v>
                </c:pt>
                <c:pt idx="1333">
                  <c:v>207.6403757433045</c:v>
                </c:pt>
                <c:pt idx="1334">
                  <c:v>206.96062514809327</c:v>
                </c:pt>
                <c:pt idx="1335">
                  <c:v>207.18512651776672</c:v>
                </c:pt>
                <c:pt idx="1336">
                  <c:v>207.13385797152753</c:v>
                </c:pt>
                <c:pt idx="1337">
                  <c:v>206.42951527447511</c:v>
                </c:pt>
                <c:pt idx="1338">
                  <c:v>207.33605187713457</c:v>
                </c:pt>
                <c:pt idx="1339">
                  <c:v>207.03569788019101</c:v>
                </c:pt>
                <c:pt idx="1340">
                  <c:v>208.34317808452124</c:v>
                </c:pt>
                <c:pt idx="1341">
                  <c:v>209.46255691774866</c:v>
                </c:pt>
                <c:pt idx="1342">
                  <c:v>209.46255691774866</c:v>
                </c:pt>
                <c:pt idx="1343">
                  <c:v>208.00243319913082</c:v>
                </c:pt>
                <c:pt idx="1344">
                  <c:v>206.11110398911489</c:v>
                </c:pt>
                <c:pt idx="1345">
                  <c:v>206.48407242190638</c:v>
                </c:pt>
                <c:pt idx="1346">
                  <c:v>206.59432019726731</c:v>
                </c:pt>
                <c:pt idx="1347">
                  <c:v>206.8467252331555</c:v>
                </c:pt>
                <c:pt idx="1348">
                  <c:v>208.08385526872053</c:v>
                </c:pt>
                <c:pt idx="1349">
                  <c:v>208.42397351028654</c:v>
                </c:pt>
                <c:pt idx="1350">
                  <c:v>210.44734361889687</c:v>
                </c:pt>
                <c:pt idx="1351">
                  <c:v>210.47097399834794</c:v>
                </c:pt>
                <c:pt idx="1352">
                  <c:v>208.895930512815</c:v>
                </c:pt>
                <c:pt idx="1353">
                  <c:v>206.78692078867041</c:v>
                </c:pt>
                <c:pt idx="1354">
                  <c:v>206.50673521068393</c:v>
                </c:pt>
                <c:pt idx="1355">
                  <c:v>204.74733259565755</c:v>
                </c:pt>
                <c:pt idx="1356">
                  <c:v>205.24681302378568</c:v>
                </c:pt>
                <c:pt idx="1357">
                  <c:v>206.61273056181562</c:v>
                </c:pt>
                <c:pt idx="1358">
                  <c:v>205.43290654739067</c:v>
                </c:pt>
                <c:pt idx="1359">
                  <c:v>207.25994438433622</c:v>
                </c:pt>
                <c:pt idx="1360">
                  <c:v>205.88432571708387</c:v>
                </c:pt>
                <c:pt idx="1361">
                  <c:v>205.60135891301644</c:v>
                </c:pt>
                <c:pt idx="1362">
                  <c:v>204.6930465159904</c:v>
                </c:pt>
                <c:pt idx="1363">
                  <c:v>206.77825289062764</c:v>
                </c:pt>
                <c:pt idx="1364">
                  <c:v>207.1613097191352</c:v>
                </c:pt>
                <c:pt idx="1365">
                  <c:v>207.90495195886663</c:v>
                </c:pt>
                <c:pt idx="1366">
                  <c:v>205.98549078107524</c:v>
                </c:pt>
                <c:pt idx="1367">
                  <c:v>205.96091004082712</c:v>
                </c:pt>
                <c:pt idx="1368">
                  <c:v>206.59117969965638</c:v>
                </c:pt>
                <c:pt idx="1369">
                  <c:v>205.43873164534682</c:v>
                </c:pt>
                <c:pt idx="1370">
                  <c:v>203.67944358019648</c:v>
                </c:pt>
                <c:pt idx="1371">
                  <c:v>201.38935027654813</c:v>
                </c:pt>
                <c:pt idx="1372">
                  <c:v>200.70844751458884</c:v>
                </c:pt>
                <c:pt idx="1373">
                  <c:v>201.83848750116448</c:v>
                </c:pt>
                <c:pt idx="1374">
                  <c:v>200.52309514946543</c:v>
                </c:pt>
                <c:pt idx="1375">
                  <c:v>199.59293923581097</c:v>
                </c:pt>
                <c:pt idx="1376">
                  <c:v>197.94779930931972</c:v>
                </c:pt>
                <c:pt idx="1377">
                  <c:v>200.50433994637294</c:v>
                </c:pt>
                <c:pt idx="1378">
                  <c:v>199.96690310842712</c:v>
                </c:pt>
                <c:pt idx="1379">
                  <c:v>200.80811232975182</c:v>
                </c:pt>
                <c:pt idx="1380">
                  <c:v>201.70493718544327</c:v>
                </c:pt>
                <c:pt idx="1381">
                  <c:v>201.70493718544327</c:v>
                </c:pt>
                <c:pt idx="1382">
                  <c:v>203.17976419485976</c:v>
                </c:pt>
                <c:pt idx="1383">
                  <c:v>204.58317050047782</c:v>
                </c:pt>
                <c:pt idx="1384">
                  <c:v>204.1474360999365</c:v>
                </c:pt>
                <c:pt idx="1385">
                  <c:v>205.26508070407874</c:v>
                </c:pt>
                <c:pt idx="1386">
                  <c:v>204.78330642845722</c:v>
                </c:pt>
                <c:pt idx="1387">
                  <c:v>207.05412360792309</c:v>
                </c:pt>
                <c:pt idx="1388">
                  <c:v>208.20834956912822</c:v>
                </c:pt>
                <c:pt idx="1389">
                  <c:v>208.16343327144136</c:v>
                </c:pt>
                <c:pt idx="1390">
                  <c:v>207.17199285224112</c:v>
                </c:pt>
                <c:pt idx="1391">
                  <c:v>207.62816444906625</c:v>
                </c:pt>
                <c:pt idx="1392">
                  <c:v>208.43640237761124</c:v>
                </c:pt>
                <c:pt idx="1393">
                  <c:v>208.31973642903881</c:v>
                </c:pt>
                <c:pt idx="1394">
                  <c:v>209.27287341985053</c:v>
                </c:pt>
                <c:pt idx="1395">
                  <c:v>210.86536964113907</c:v>
                </c:pt>
                <c:pt idx="1396">
                  <c:v>210.29146217599916</c:v>
                </c:pt>
                <c:pt idx="1397">
                  <c:v>209.66306549891343</c:v>
                </c:pt>
                <c:pt idx="1398">
                  <c:v>209.28722174759278</c:v>
                </c:pt>
                <c:pt idx="1399">
                  <c:v>209.15662975641897</c:v>
                </c:pt>
                <c:pt idx="1400">
                  <c:v>208.9199973231608</c:v>
                </c:pt>
                <c:pt idx="1401">
                  <c:v>208.87936286118207</c:v>
                </c:pt>
                <c:pt idx="1402">
                  <c:v>209.07665172886607</c:v>
                </c:pt>
                <c:pt idx="1403">
                  <c:v>208.51542675449116</c:v>
                </c:pt>
                <c:pt idx="1404">
                  <c:v>209.0371565151525</c:v>
                </c:pt>
                <c:pt idx="1405">
                  <c:v>211.20001351177442</c:v>
                </c:pt>
                <c:pt idx="1406">
                  <c:v>211.3479582208833</c:v>
                </c:pt>
                <c:pt idx="1407">
                  <c:v>211.13618902669126</c:v>
                </c:pt>
                <c:pt idx="1408">
                  <c:v>208.24906385227374</c:v>
                </c:pt>
                <c:pt idx="1409">
                  <c:v>209.19083505701082</c:v>
                </c:pt>
                <c:pt idx="1410">
                  <c:v>207.23243103438298</c:v>
                </c:pt>
                <c:pt idx="1411">
                  <c:v>207.65301975965983</c:v>
                </c:pt>
                <c:pt idx="1412">
                  <c:v>207.55455761217848</c:v>
                </c:pt>
                <c:pt idx="1413">
                  <c:v>208.61219435170298</c:v>
                </c:pt>
                <c:pt idx="1414">
                  <c:v>207.32963578480513</c:v>
                </c:pt>
                <c:pt idx="1415">
                  <c:v>203.05633011293475</c:v>
                </c:pt>
                <c:pt idx="1416">
                  <c:v>204.34323018334285</c:v>
                </c:pt>
                <c:pt idx="1417">
                  <c:v>204.5810419304436</c:v>
                </c:pt>
                <c:pt idx="1418">
                  <c:v>201.61465535603554</c:v>
                </c:pt>
                <c:pt idx="1419">
                  <c:v>200.34248014326619</c:v>
                </c:pt>
                <c:pt idx="1420">
                  <c:v>199.8483086323744</c:v>
                </c:pt>
                <c:pt idx="1421">
                  <c:v>197.29103631770099</c:v>
                </c:pt>
                <c:pt idx="1422">
                  <c:v>196.68064919528811</c:v>
                </c:pt>
                <c:pt idx="1423">
                  <c:v>196.55505501102806</c:v>
                </c:pt>
                <c:pt idx="1424">
                  <c:v>191.65975453129687</c:v>
                </c:pt>
                <c:pt idx="1425">
                  <c:v>191.09458552000845</c:v>
                </c:pt>
                <c:pt idx="1426">
                  <c:v>196.1439368926213</c:v>
                </c:pt>
                <c:pt idx="1427">
                  <c:v>194.65438282733541</c:v>
                </c:pt>
                <c:pt idx="1428">
                  <c:v>198.02766535068309</c:v>
                </c:pt>
                <c:pt idx="1429">
                  <c:v>199.20027093189202</c:v>
                </c:pt>
                <c:pt idx="1430">
                  <c:v>200.33754883892772</c:v>
                </c:pt>
                <c:pt idx="1431">
                  <c:v>199.35758229610661</c:v>
                </c:pt>
                <c:pt idx="1432">
                  <c:v>198.85864010247377</c:v>
                </c:pt>
                <c:pt idx="1433">
                  <c:v>200.53638748614085</c:v>
                </c:pt>
                <c:pt idx="1434">
                  <c:v>201.60307422878597</c:v>
                </c:pt>
                <c:pt idx="1435">
                  <c:v>202.85648968776707</c:v>
                </c:pt>
                <c:pt idx="1436">
                  <c:v>206.02584206965719</c:v>
                </c:pt>
                <c:pt idx="1437">
                  <c:v>204.78521494044321</c:v>
                </c:pt>
                <c:pt idx="1438">
                  <c:v>203.37508398350462</c:v>
                </c:pt>
                <c:pt idx="1439">
                  <c:v>206.58022322073691</c:v>
                </c:pt>
                <c:pt idx="1440">
                  <c:v>207.48101450491922</c:v>
                </c:pt>
                <c:pt idx="1441">
                  <c:v>206.4033091446139</c:v>
                </c:pt>
                <c:pt idx="1442">
                  <c:v>208.11709898733278</c:v>
                </c:pt>
                <c:pt idx="1443">
                  <c:v>209.28076847007532</c:v>
                </c:pt>
                <c:pt idx="1444">
                  <c:v>206.97176974770542</c:v>
                </c:pt>
                <c:pt idx="1445">
                  <c:v>207.90272948638653</c:v>
                </c:pt>
                <c:pt idx="1446">
                  <c:v>207.67431952951236</c:v>
                </c:pt>
                <c:pt idx="1447">
                  <c:v>208.68588666146474</c:v>
                </c:pt>
                <c:pt idx="1448">
                  <c:v>209.92375035177645</c:v>
                </c:pt>
                <c:pt idx="1449">
                  <c:v>209.76829788153731</c:v>
                </c:pt>
                <c:pt idx="1450">
                  <c:v>209.70187038316291</c:v>
                </c:pt>
                <c:pt idx="1451">
                  <c:v>212.92967727622855</c:v>
                </c:pt>
                <c:pt idx="1452">
                  <c:v>213.63705692558815</c:v>
                </c:pt>
                <c:pt idx="1453">
                  <c:v>214.05881857493384</c:v>
                </c:pt>
                <c:pt idx="1454">
                  <c:v>214.30573064035841</c:v>
                </c:pt>
                <c:pt idx="1455">
                  <c:v>215.16507898272388</c:v>
                </c:pt>
                <c:pt idx="1456">
                  <c:v>215.48065006567879</c:v>
                </c:pt>
                <c:pt idx="1457">
                  <c:v>215.05417947958415</c:v>
                </c:pt>
                <c:pt idx="1458">
                  <c:v>215.75611332377892</c:v>
                </c:pt>
                <c:pt idx="1459">
                  <c:v>216.82786906270536</c:v>
                </c:pt>
                <c:pt idx="1460">
                  <c:v>215.19052392115631</c:v>
                </c:pt>
                <c:pt idx="1461">
                  <c:v>218.20734274704617</c:v>
                </c:pt>
                <c:pt idx="1462">
                  <c:v>217.11841520145438</c:v>
                </c:pt>
                <c:pt idx="1463">
                  <c:v>212.24385428179585</c:v>
                </c:pt>
                <c:pt idx="1464">
                  <c:v>211.99981647095302</c:v>
                </c:pt>
                <c:pt idx="1465">
                  <c:v>212.34755563229791</c:v>
                </c:pt>
                <c:pt idx="1466">
                  <c:v>207.1890454820778</c:v>
                </c:pt>
                <c:pt idx="1467">
                  <c:v>203.61548191357369</c:v>
                </c:pt>
                <c:pt idx="1468">
                  <c:v>207.12018736031138</c:v>
                </c:pt>
                <c:pt idx="1469">
                  <c:v>206.94925239074692</c:v>
                </c:pt>
                <c:pt idx="1470">
                  <c:v>212.882260660838</c:v>
                </c:pt>
                <c:pt idx="1471">
                  <c:v>213.91946554289487</c:v>
                </c:pt>
                <c:pt idx="1472">
                  <c:v>215.43304420737036</c:v>
                </c:pt>
                <c:pt idx="1473">
                  <c:v>216.45716069679969</c:v>
                </c:pt>
                <c:pt idx="1474">
                  <c:v>216.45716069679969</c:v>
                </c:pt>
                <c:pt idx="1475">
                  <c:v>216.45716069679969</c:v>
                </c:pt>
                <c:pt idx="1476">
                  <c:v>216.45716069679969</c:v>
                </c:pt>
                <c:pt idx="1477">
                  <c:v>216.93030369322938</c:v>
                </c:pt>
                <c:pt idx="1478">
                  <c:v>215.15504832139229</c:v>
                </c:pt>
                <c:pt idx="1479">
                  <c:v>216.13008419335978</c:v>
                </c:pt>
                <c:pt idx="1480">
                  <c:v>216.13008419335978</c:v>
                </c:pt>
                <c:pt idx="1481">
                  <c:v>214.95911202569715</c:v>
                </c:pt>
                <c:pt idx="1482">
                  <c:v>211.68478062168336</c:v>
                </c:pt>
                <c:pt idx="1483">
                  <c:v>210.15235165614854</c:v>
                </c:pt>
                <c:pt idx="1484">
                  <c:v>211.43558059813103</c:v>
                </c:pt>
                <c:pt idx="1485">
                  <c:v>217.11507173963525</c:v>
                </c:pt>
                <c:pt idx="1486">
                  <c:v>215.42394993645235</c:v>
                </c:pt>
                <c:pt idx="1487">
                  <c:v>217.07743967673898</c:v>
                </c:pt>
                <c:pt idx="1488">
                  <c:v>219.67799010560881</c:v>
                </c:pt>
                <c:pt idx="1489">
                  <c:v>217.42808311975952</c:v>
                </c:pt>
                <c:pt idx="1490">
                  <c:v>224.50233868017028</c:v>
                </c:pt>
                <c:pt idx="1491">
                  <c:v>227.88952619441653</c:v>
                </c:pt>
                <c:pt idx="1492">
                  <c:v>228.35309024563938</c:v>
                </c:pt>
                <c:pt idx="1493">
                  <c:v>229.4880558088816</c:v>
                </c:pt>
                <c:pt idx="1494">
                  <c:v>230.3576498353967</c:v>
                </c:pt>
                <c:pt idx="1495">
                  <c:v>233.96453024931824</c:v>
                </c:pt>
                <c:pt idx="1496">
                  <c:v>239.03268240823257</c:v>
                </c:pt>
                <c:pt idx="1497">
                  <c:v>240.16082139857809</c:v>
                </c:pt>
                <c:pt idx="1498">
                  <c:v>237.72423675765464</c:v>
                </c:pt>
                <c:pt idx="1499">
                  <c:v>238.41874130582053</c:v>
                </c:pt>
                <c:pt idx="1500">
                  <c:v>238.29240860213906</c:v>
                </c:pt>
                <c:pt idx="1501">
                  <c:v>236.9432150659876</c:v>
                </c:pt>
                <c:pt idx="1502">
                  <c:v>236.44373672957849</c:v>
                </c:pt>
                <c:pt idx="1503">
                  <c:v>237.17229149600237</c:v>
                </c:pt>
                <c:pt idx="1504">
                  <c:v>238.50054144141257</c:v>
                </c:pt>
                <c:pt idx="1505">
                  <c:v>239.97746280433344</c:v>
                </c:pt>
                <c:pt idx="1506">
                  <c:v>240.0322757389238</c:v>
                </c:pt>
                <c:pt idx="1507">
                  <c:v>237.95114712552117</c:v>
                </c:pt>
                <c:pt idx="1508">
                  <c:v>240.2194126812395</c:v>
                </c:pt>
                <c:pt idx="1509">
                  <c:v>240.28076365725863</c:v>
                </c:pt>
                <c:pt idx="1510">
                  <c:v>241.31711334231917</c:v>
                </c:pt>
                <c:pt idx="1511">
                  <c:v>241.51413742660105</c:v>
                </c:pt>
                <c:pt idx="1512">
                  <c:v>240.81848708985382</c:v>
                </c:pt>
                <c:pt idx="1513">
                  <c:v>241.03244122636016</c:v>
                </c:pt>
                <c:pt idx="1514">
                  <c:v>242.76563482473091</c:v>
                </c:pt>
                <c:pt idx="1515">
                  <c:v>244.3788715594149</c:v>
                </c:pt>
                <c:pt idx="1516">
                  <c:v>244.67945332477291</c:v>
                </c:pt>
                <c:pt idx="1517">
                  <c:v>247.18229924645607</c:v>
                </c:pt>
                <c:pt idx="1518">
                  <c:v>248.22033902012296</c:v>
                </c:pt>
                <c:pt idx="1519">
                  <c:v>247.83982659523707</c:v>
                </c:pt>
                <c:pt idx="1520">
                  <c:v>250.37765754532705</c:v>
                </c:pt>
                <c:pt idx="1521">
                  <c:v>251.67894018362321</c:v>
                </c:pt>
                <c:pt idx="1522">
                  <c:v>251.26096378275952</c:v>
                </c:pt>
                <c:pt idx="1523">
                  <c:v>249.45198160780606</c:v>
                </c:pt>
                <c:pt idx="1524">
                  <c:v>251.64580046670216</c:v>
                </c:pt>
                <c:pt idx="1525">
                  <c:v>253.96889200037634</c:v>
                </c:pt>
                <c:pt idx="1526">
                  <c:v>254.37680549231493</c:v>
                </c:pt>
                <c:pt idx="1527">
                  <c:v>253.73278983262196</c:v>
                </c:pt>
                <c:pt idx="1528">
                  <c:v>252.34616193050107</c:v>
                </c:pt>
                <c:pt idx="1529">
                  <c:v>256.59617456534937</c:v>
                </c:pt>
                <c:pt idx="1530">
                  <c:v>257.00769143513639</c:v>
                </c:pt>
                <c:pt idx="1531">
                  <c:v>258.42220790739447</c:v>
                </c:pt>
                <c:pt idx="1532">
                  <c:v>260.8966045340743</c:v>
                </c:pt>
                <c:pt idx="1533">
                  <c:v>258.83232925089095</c:v>
                </c:pt>
                <c:pt idx="1534">
                  <c:v>260.09674449642699</c:v>
                </c:pt>
                <c:pt idx="1535">
                  <c:v>261.23358515280972</c:v>
                </c:pt>
                <c:pt idx="1536">
                  <c:v>262.33541230884157</c:v>
                </c:pt>
                <c:pt idx="1537">
                  <c:v>260.63805521856926</c:v>
                </c:pt>
                <c:pt idx="1538">
                  <c:v>261.30784872488761</c:v>
                </c:pt>
                <c:pt idx="1539">
                  <c:v>257.77246825210727</c:v>
                </c:pt>
                <c:pt idx="1540">
                  <c:v>255.83204320421225</c:v>
                </c:pt>
                <c:pt idx="1541">
                  <c:v>256.83301053136887</c:v>
                </c:pt>
                <c:pt idx="1542">
                  <c:v>259.41768992480195</c:v>
                </c:pt>
                <c:pt idx="1543">
                  <c:v>258.04816096245634</c:v>
                </c:pt>
                <c:pt idx="1544">
                  <c:v>258.70196724984726</c:v>
                </c:pt>
                <c:pt idx="1545">
                  <c:v>258.39113361104722</c:v>
                </c:pt>
                <c:pt idx="1546">
                  <c:v>258.39113361104722</c:v>
                </c:pt>
                <c:pt idx="1547">
                  <c:v>258.39113361104722</c:v>
                </c:pt>
                <c:pt idx="1548">
                  <c:v>262.65644094629016</c:v>
                </c:pt>
                <c:pt idx="1549">
                  <c:v>262.98069232709747</c:v>
                </c:pt>
                <c:pt idx="1550">
                  <c:v>265.75897049146818</c:v>
                </c:pt>
                <c:pt idx="1551">
                  <c:v>268.68220666917296</c:v>
                </c:pt>
                <c:pt idx="1552">
                  <c:v>268.95008365590064</c:v>
                </c:pt>
                <c:pt idx="1553">
                  <c:v>267.99281254137225</c:v>
                </c:pt>
                <c:pt idx="1554">
                  <c:v>269.19312156284263</c:v>
                </c:pt>
                <c:pt idx="1555">
                  <c:v>267.76829773101366</c:v>
                </c:pt>
                <c:pt idx="1556">
                  <c:v>263.47950978896517</c:v>
                </c:pt>
                <c:pt idx="1557">
                  <c:v>265.58234346126898</c:v>
                </c:pt>
                <c:pt idx="1558">
                  <c:v>268.15603005912772</c:v>
                </c:pt>
                <c:pt idx="1559">
                  <c:v>268.107532973579</c:v>
                </c:pt>
                <c:pt idx="1560">
                  <c:v>266.47911240511581</c:v>
                </c:pt>
                <c:pt idx="1561">
                  <c:v>266.83399607837526</c:v>
                </c:pt>
                <c:pt idx="1562">
                  <c:v>269.29550361258691</c:v>
                </c:pt>
                <c:pt idx="1563">
                  <c:v>264.87982566471135</c:v>
                </c:pt>
                <c:pt idx="1564">
                  <c:v>258.78966434782279</c:v>
                </c:pt>
                <c:pt idx="1565">
                  <c:v>258.17615945302418</c:v>
                </c:pt>
                <c:pt idx="1566">
                  <c:v>258.17615945302418</c:v>
                </c:pt>
                <c:pt idx="1567">
                  <c:v>258.6997344354516</c:v>
                </c:pt>
                <c:pt idx="1568">
                  <c:v>254.72492412827447</c:v>
                </c:pt>
                <c:pt idx="1569">
                  <c:v>253.55043252110653</c:v>
                </c:pt>
                <c:pt idx="1570">
                  <c:v>254.19313599483692</c:v>
                </c:pt>
                <c:pt idx="1571">
                  <c:v>261.71484398182605</c:v>
                </c:pt>
                <c:pt idx="1572">
                  <c:v>263.1827538566049</c:v>
                </c:pt>
                <c:pt idx="1573">
                  <c:v>259.94081058701624</c:v>
                </c:pt>
                <c:pt idx="1574">
                  <c:v>259.21695056694671</c:v>
                </c:pt>
                <c:pt idx="1575">
                  <c:v>259.21695056694671</c:v>
                </c:pt>
                <c:pt idx="1576">
                  <c:v>260.53937455968861</c:v>
                </c:pt>
                <c:pt idx="1577">
                  <c:v>262.33124879752381</c:v>
                </c:pt>
                <c:pt idx="1578">
                  <c:v>267.03218009679432</c:v>
                </c:pt>
                <c:pt idx="1579">
                  <c:v>267.61145795203657</c:v>
                </c:pt>
                <c:pt idx="1580">
                  <c:v>268.74238439368628</c:v>
                </c:pt>
                <c:pt idx="1581">
                  <c:v>268.25250757771175</c:v>
                </c:pt>
                <c:pt idx="1582">
                  <c:v>268.25250757771175</c:v>
                </c:pt>
                <c:pt idx="1583">
                  <c:v>266.62713056302181</c:v>
                </c:pt>
                <c:pt idx="1584">
                  <c:v>269.7821038477033</c:v>
                </c:pt>
                <c:pt idx="1585">
                  <c:v>268.59088509983928</c:v>
                </c:pt>
                <c:pt idx="1586">
                  <c:v>264.05355881609512</c:v>
                </c:pt>
                <c:pt idx="1587">
                  <c:v>264.72145445687579</c:v>
                </c:pt>
                <c:pt idx="1588">
                  <c:v>261.22259712932549</c:v>
                </c:pt>
                <c:pt idx="1589">
                  <c:v>260.95874320006584</c:v>
                </c:pt>
                <c:pt idx="1590">
                  <c:v>259.03246686164067</c:v>
                </c:pt>
                <c:pt idx="1591">
                  <c:v>256.66259628749003</c:v>
                </c:pt>
                <c:pt idx="1592">
                  <c:v>254.64792723972985</c:v>
                </c:pt>
                <c:pt idx="1593">
                  <c:v>253.84332336069809</c:v>
                </c:pt>
                <c:pt idx="1594">
                  <c:v>257.85896172931132</c:v>
                </c:pt>
                <c:pt idx="1595">
                  <c:v>259.45308197868053</c:v>
                </c:pt>
                <c:pt idx="1596">
                  <c:v>257.39594542116595</c:v>
                </c:pt>
                <c:pt idx="1597">
                  <c:v>253.7336300732442</c:v>
                </c:pt>
                <c:pt idx="1598">
                  <c:v>255.7212477725765</c:v>
                </c:pt>
                <c:pt idx="1599">
                  <c:v>254.58944066671231</c:v>
                </c:pt>
                <c:pt idx="1600">
                  <c:v>255.10335630572101</c:v>
                </c:pt>
                <c:pt idx="1601">
                  <c:v>256.00794464871996</c:v>
                </c:pt>
                <c:pt idx="1602">
                  <c:v>260.62067821547726</c:v>
                </c:pt>
                <c:pt idx="1603">
                  <c:v>260.62067821547726</c:v>
                </c:pt>
                <c:pt idx="1604">
                  <c:v>262.32787770495685</c:v>
                </c:pt>
                <c:pt idx="1605">
                  <c:v>261.83458283220887</c:v>
                </c:pt>
                <c:pt idx="1606">
                  <c:v>262.11391978273014</c:v>
                </c:pt>
                <c:pt idx="1607">
                  <c:v>256.66029581355599</c:v>
                </c:pt>
                <c:pt idx="1608">
                  <c:v>253.16889292744668</c:v>
                </c:pt>
                <c:pt idx="1609">
                  <c:v>256.97534023808703</c:v>
                </c:pt>
                <c:pt idx="1610">
                  <c:v>255.63711096197412</c:v>
                </c:pt>
                <c:pt idx="1611">
                  <c:v>254.35666689627942</c:v>
                </c:pt>
                <c:pt idx="1612">
                  <c:v>252.51035510946514</c:v>
                </c:pt>
                <c:pt idx="1613">
                  <c:v>249.62343967322425</c:v>
                </c:pt>
                <c:pt idx="1614">
                  <c:v>249.43600418164101</c:v>
                </c:pt>
                <c:pt idx="1615">
                  <c:v>254.66636421771545</c:v>
                </c:pt>
                <c:pt idx="1616">
                  <c:v>259.74519553448897</c:v>
                </c:pt>
                <c:pt idx="1617">
                  <c:v>264.87839836062273</c:v>
                </c:pt>
                <c:pt idx="1618">
                  <c:v>266.26482238941247</c:v>
                </c:pt>
                <c:pt idx="1619">
                  <c:v>267.66521536045758</c:v>
                </c:pt>
                <c:pt idx="1620">
                  <c:v>271.06512991494321</c:v>
                </c:pt>
                <c:pt idx="1621">
                  <c:v>271.53275382181852</c:v>
                </c:pt>
                <c:pt idx="1622">
                  <c:v>272.1920376055956</c:v>
                </c:pt>
                <c:pt idx="1623">
                  <c:v>269.46749253612603</c:v>
                </c:pt>
                <c:pt idx="1624">
                  <c:v>268.2207423258385</c:v>
                </c:pt>
                <c:pt idx="1625">
                  <c:v>266.55758157573007</c:v>
                </c:pt>
                <c:pt idx="1626">
                  <c:v>265.1102112317709</c:v>
                </c:pt>
                <c:pt idx="1627">
                  <c:v>259.52607503468295</c:v>
                </c:pt>
                <c:pt idx="1628">
                  <c:v>261.68713598540478</c:v>
                </c:pt>
                <c:pt idx="1629">
                  <c:v>264.22804649070002</c:v>
                </c:pt>
                <c:pt idx="1630">
                  <c:v>265.80559003645953</c:v>
                </c:pt>
                <c:pt idx="1631">
                  <c:v>266.27498545135563</c:v>
                </c:pt>
                <c:pt idx="1632">
                  <c:v>269.0876559808184</c:v>
                </c:pt>
                <c:pt idx="1633">
                  <c:v>269.25354359253436</c:v>
                </c:pt>
                <c:pt idx="1634">
                  <c:v>271.76268484901362</c:v>
                </c:pt>
                <c:pt idx="1635">
                  <c:v>269.51168256822353</c:v>
                </c:pt>
                <c:pt idx="1636">
                  <c:v>266.46417342606406</c:v>
                </c:pt>
                <c:pt idx="1637">
                  <c:v>268.43871536895176</c:v>
                </c:pt>
                <c:pt idx="1638">
                  <c:v>264.30646484822768</c:v>
                </c:pt>
                <c:pt idx="1639">
                  <c:v>257.50644108210537</c:v>
                </c:pt>
                <c:pt idx="1640">
                  <c:v>260.45394728176035</c:v>
                </c:pt>
                <c:pt idx="1641">
                  <c:v>260.52458536655348</c:v>
                </c:pt>
                <c:pt idx="1642">
                  <c:v>260.90277477849548</c:v>
                </c:pt>
                <c:pt idx="1643">
                  <c:v>261.94880178018684</c:v>
                </c:pt>
                <c:pt idx="1644">
                  <c:v>257.67261191502888</c:v>
                </c:pt>
                <c:pt idx="1645">
                  <c:v>253.00985065981379</c:v>
                </c:pt>
                <c:pt idx="1646">
                  <c:v>245.56808107856872</c:v>
                </c:pt>
                <c:pt idx="1647">
                  <c:v>234.36147584499949</c:v>
                </c:pt>
                <c:pt idx="1648">
                  <c:v>242.70584864757097</c:v>
                </c:pt>
                <c:pt idx="1649">
                  <c:v>238.97348472230325</c:v>
                </c:pt>
                <c:pt idx="1650">
                  <c:v>245.8192097549329</c:v>
                </c:pt>
                <c:pt idx="1651">
                  <c:v>246.71870634509943</c:v>
                </c:pt>
                <c:pt idx="1652">
                  <c:v>246.45832057202517</c:v>
                </c:pt>
                <c:pt idx="1653">
                  <c:v>240.73621784434602</c:v>
                </c:pt>
                <c:pt idx="1654">
                  <c:v>241.21325155886404</c:v>
                </c:pt>
                <c:pt idx="1655">
                  <c:v>246.56975397759857</c:v>
                </c:pt>
                <c:pt idx="1656">
                  <c:v>241.09617148611551</c:v>
                </c:pt>
                <c:pt idx="1657">
                  <c:v>242.32687024738379</c:v>
                </c:pt>
                <c:pt idx="1658">
                  <c:v>244.49940015292526</c:v>
                </c:pt>
                <c:pt idx="1659">
                  <c:v>247.70085797245628</c:v>
                </c:pt>
                <c:pt idx="1660">
                  <c:v>245.35084007375053</c:v>
                </c:pt>
                <c:pt idx="1661">
                  <c:v>242.61858401503028</c:v>
                </c:pt>
                <c:pt idx="1662">
                  <c:v>241.72306632506113</c:v>
                </c:pt>
                <c:pt idx="1663">
                  <c:v>243.06868034931352</c:v>
                </c:pt>
                <c:pt idx="1664">
                  <c:v>246.85348784191925</c:v>
                </c:pt>
                <c:pt idx="1665">
                  <c:v>246.79483754579564</c:v>
                </c:pt>
                <c:pt idx="1666">
                  <c:v>243.5335799689899</c:v>
                </c:pt>
                <c:pt idx="1667">
                  <c:v>246.17073998354547</c:v>
                </c:pt>
                <c:pt idx="1668">
                  <c:v>239.43780578718386</c:v>
                </c:pt>
                <c:pt idx="1669">
                  <c:v>240.19902781392818</c:v>
                </c:pt>
                <c:pt idx="1670">
                  <c:v>235.68861202561658</c:v>
                </c:pt>
                <c:pt idx="1671">
                  <c:v>242.26379248636567</c:v>
                </c:pt>
                <c:pt idx="1672">
                  <c:v>238.26134014257136</c:v>
                </c:pt>
                <c:pt idx="1673">
                  <c:v>235.52660889016877</c:v>
                </c:pt>
                <c:pt idx="1674">
                  <c:v>241.16157086273921</c:v>
                </c:pt>
                <c:pt idx="1675">
                  <c:v>239.85062743152912</c:v>
                </c:pt>
                <c:pt idx="1676">
                  <c:v>240.12227093169031</c:v>
                </c:pt>
                <c:pt idx="1677">
                  <c:v>246.20057651386804</c:v>
                </c:pt>
                <c:pt idx="1678">
                  <c:v>246.9386056796474</c:v>
                </c:pt>
                <c:pt idx="1679">
                  <c:v>245.8475286162292</c:v>
                </c:pt>
                <c:pt idx="1680">
                  <c:v>246.5444669803725</c:v>
                </c:pt>
                <c:pt idx="1681">
                  <c:v>246.59920635173313</c:v>
                </c:pt>
                <c:pt idx="1682">
                  <c:v>245.97716779328516</c:v>
                </c:pt>
                <c:pt idx="1683">
                  <c:v>244.65192556234271</c:v>
                </c:pt>
                <c:pt idx="1684">
                  <c:v>242.81524967150639</c:v>
                </c:pt>
                <c:pt idx="1685">
                  <c:v>246.64786516119452</c:v>
                </c:pt>
                <c:pt idx="1686">
                  <c:v>247.98374905538219</c:v>
                </c:pt>
                <c:pt idx="1687">
                  <c:v>249.42225632429148</c:v>
                </c:pt>
                <c:pt idx="1688">
                  <c:v>248.62487048573604</c:v>
                </c:pt>
                <c:pt idx="1689">
                  <c:v>248.95981542018851</c:v>
                </c:pt>
                <c:pt idx="1690">
                  <c:v>252.76491477590463</c:v>
                </c:pt>
                <c:pt idx="1691">
                  <c:v>257.98473841550282</c:v>
                </c:pt>
                <c:pt idx="1692">
                  <c:v>256.99968113185997</c:v>
                </c:pt>
                <c:pt idx="1693">
                  <c:v>254.93314301315806</c:v>
                </c:pt>
                <c:pt idx="1694">
                  <c:v>257.90682768125248</c:v>
                </c:pt>
                <c:pt idx="1695">
                  <c:v>258.78845545313987</c:v>
                </c:pt>
                <c:pt idx="1696">
                  <c:v>258.58637123898006</c:v>
                </c:pt>
                <c:pt idx="1697">
                  <c:v>258.9713085008803</c:v>
                </c:pt>
                <c:pt idx="1698">
                  <c:v>259.90679705484996</c:v>
                </c:pt>
                <c:pt idx="1699">
                  <c:v>261.18964756258833</c:v>
                </c:pt>
                <c:pt idx="1700">
                  <c:v>260.92404148986429</c:v>
                </c:pt>
                <c:pt idx="1701">
                  <c:v>260.97876662585838</c:v>
                </c:pt>
                <c:pt idx="1702">
                  <c:v>258.28911516000846</c:v>
                </c:pt>
                <c:pt idx="1703">
                  <c:v>259.0808083550022</c:v>
                </c:pt>
                <c:pt idx="1704">
                  <c:v>262.09275630040804</c:v>
                </c:pt>
                <c:pt idx="1705">
                  <c:v>259.1526386454679</c:v>
                </c:pt>
                <c:pt idx="1706">
                  <c:v>256.90330617169985</c:v>
                </c:pt>
                <c:pt idx="1707">
                  <c:v>258.3632045488672</c:v>
                </c:pt>
                <c:pt idx="1708">
                  <c:v>265.08240636549061</c:v>
                </c:pt>
                <c:pt idx="1709">
                  <c:v>264.01922467371088</c:v>
                </c:pt>
                <c:pt idx="1710">
                  <c:v>266.1536646217159</c:v>
                </c:pt>
                <c:pt idx="1711">
                  <c:v>267.10723404854963</c:v>
                </c:pt>
                <c:pt idx="1712">
                  <c:v>266.51342728841126</c:v>
                </c:pt>
                <c:pt idx="1713">
                  <c:v>262.95962228448889</c:v>
                </c:pt>
                <c:pt idx="1714">
                  <c:v>267.25880344955294</c:v>
                </c:pt>
                <c:pt idx="1715">
                  <c:v>269.4435025220771</c:v>
                </c:pt>
                <c:pt idx="1716">
                  <c:v>269.19604375019554</c:v>
                </c:pt>
                <c:pt idx="1717">
                  <c:v>270.33906586024807</c:v>
                </c:pt>
                <c:pt idx="1718">
                  <c:v>269.37089628703575</c:v>
                </c:pt>
                <c:pt idx="1719">
                  <c:v>270.1764467074654</c:v>
                </c:pt>
                <c:pt idx="1720">
                  <c:v>261.66330277534706</c:v>
                </c:pt>
                <c:pt idx="1721">
                  <c:v>261.08191296367818</c:v>
                </c:pt>
                <c:pt idx="1722">
                  <c:v>263.59841910483811</c:v>
                </c:pt>
                <c:pt idx="1723">
                  <c:v>259.49898787302055</c:v>
                </c:pt>
                <c:pt idx="1724">
                  <c:v>257.31621375863057</c:v>
                </c:pt>
                <c:pt idx="1725">
                  <c:v>256.58507149126177</c:v>
                </c:pt>
                <c:pt idx="1726">
                  <c:v>252.49060609431555</c:v>
                </c:pt>
                <c:pt idx="1727">
                  <c:v>248.6921660817477</c:v>
                </c:pt>
                <c:pt idx="1728">
                  <c:v>255.25248457083828</c:v>
                </c:pt>
                <c:pt idx="1729">
                  <c:v>255.7637345631986</c:v>
                </c:pt>
                <c:pt idx="1730">
                  <c:v>258.74417835421963</c:v>
                </c:pt>
                <c:pt idx="1731">
                  <c:v>255.93195452810528</c:v>
                </c:pt>
                <c:pt idx="1732">
                  <c:v>253.18106220780501</c:v>
                </c:pt>
                <c:pt idx="1733">
                  <c:v>252.3781794250462</c:v>
                </c:pt>
                <c:pt idx="1734">
                  <c:v>258.59224849701229</c:v>
                </c:pt>
                <c:pt idx="1735">
                  <c:v>258.59224849701229</c:v>
                </c:pt>
                <c:pt idx="1736">
                  <c:v>258.59224849701229</c:v>
                </c:pt>
                <c:pt idx="1737">
                  <c:v>257.46761167325269</c:v>
                </c:pt>
                <c:pt idx="1738">
                  <c:v>261.7300072512819</c:v>
                </c:pt>
                <c:pt idx="1739">
                  <c:v>260.80865586480661</c:v>
                </c:pt>
                <c:pt idx="1740">
                  <c:v>259.29607913489315</c:v>
                </c:pt>
                <c:pt idx="1741">
                  <c:v>259.29607913489315</c:v>
                </c:pt>
                <c:pt idx="1742">
                  <c:v>252.64302041839443</c:v>
                </c:pt>
                <c:pt idx="1743">
                  <c:v>254.30014526345772</c:v>
                </c:pt>
                <c:pt idx="1744">
                  <c:v>251.90423224353103</c:v>
                </c:pt>
                <c:pt idx="1745">
                  <c:v>246.83758950766853</c:v>
                </c:pt>
                <c:pt idx="1746">
                  <c:v>243.92909822344362</c:v>
                </c:pt>
                <c:pt idx="1747">
                  <c:v>243.11908428211675</c:v>
                </c:pt>
                <c:pt idx="1748">
                  <c:v>245.98494212916054</c:v>
                </c:pt>
                <c:pt idx="1749">
                  <c:v>246.83857968941271</c:v>
                </c:pt>
                <c:pt idx="1750">
                  <c:v>242.30654839702231</c:v>
                </c:pt>
                <c:pt idx="1751">
                  <c:v>236.67961774613829</c:v>
                </c:pt>
                <c:pt idx="1752">
                  <c:v>236.23856591631602</c:v>
                </c:pt>
                <c:pt idx="1753">
                  <c:v>239.38490639311274</c:v>
                </c:pt>
                <c:pt idx="1754">
                  <c:v>232.80110154569985</c:v>
                </c:pt>
                <c:pt idx="1755">
                  <c:v>236.42442361855541</c:v>
                </c:pt>
                <c:pt idx="1756">
                  <c:v>243.4650575177622</c:v>
                </c:pt>
                <c:pt idx="1757">
                  <c:v>243.43378407874701</c:v>
                </c:pt>
                <c:pt idx="1758">
                  <c:v>244.23409831829468</c:v>
                </c:pt>
                <c:pt idx="1759">
                  <c:v>245.81706649457863</c:v>
                </c:pt>
                <c:pt idx="1760">
                  <c:v>241.87623875049405</c:v>
                </c:pt>
                <c:pt idx="1761">
                  <c:v>247.64211066296517</c:v>
                </c:pt>
                <c:pt idx="1762">
                  <c:v>247.81387338743346</c:v>
                </c:pt>
                <c:pt idx="1763">
                  <c:v>244.38748824984137</c:v>
                </c:pt>
                <c:pt idx="1764">
                  <c:v>240.75976312925187</c:v>
                </c:pt>
                <c:pt idx="1765">
                  <c:v>238.22084554187529</c:v>
                </c:pt>
                <c:pt idx="1766">
                  <c:v>235.41131527440524</c:v>
                </c:pt>
                <c:pt idx="1767">
                  <c:v>227.97359573568423</c:v>
                </c:pt>
                <c:pt idx="1768">
                  <c:v>226.65339024016563</c:v>
                </c:pt>
                <c:pt idx="1769">
                  <c:v>229.49771335755634</c:v>
                </c:pt>
                <c:pt idx="1770">
                  <c:v>222.46238405492832</c:v>
                </c:pt>
                <c:pt idx="1771">
                  <c:v>227.07849807782443</c:v>
                </c:pt>
                <c:pt idx="1772">
                  <c:v>233.79579952673967</c:v>
                </c:pt>
                <c:pt idx="1773">
                  <c:v>233.02235030626514</c:v>
                </c:pt>
                <c:pt idx="1774">
                  <c:v>237.79245616764686</c:v>
                </c:pt>
                <c:pt idx="1775">
                  <c:v>239.43886523337611</c:v>
                </c:pt>
                <c:pt idx="1776">
                  <c:v>238.32371619234235</c:v>
                </c:pt>
                <c:pt idx="1777">
                  <c:v>241.24257134112273</c:v>
                </c:pt>
                <c:pt idx="1778">
                  <c:v>239.34189072702324</c:v>
                </c:pt>
                <c:pt idx="1779">
                  <c:v>235.13297890968255</c:v>
                </c:pt>
                <c:pt idx="1780">
                  <c:v>239.39391016201057</c:v>
                </c:pt>
                <c:pt idx="1781">
                  <c:v>241.74404214503193</c:v>
                </c:pt>
                <c:pt idx="1782">
                  <c:v>243.14036269412856</c:v>
                </c:pt>
                <c:pt idx="1783">
                  <c:v>246.69297647098909</c:v>
                </c:pt>
                <c:pt idx="1784">
                  <c:v>246.19816556372541</c:v>
                </c:pt>
                <c:pt idx="1785">
                  <c:v>244.19270516460486</c:v>
                </c:pt>
                <c:pt idx="1786">
                  <c:v>245.2043986479739</c:v>
                </c:pt>
                <c:pt idx="1787">
                  <c:v>244.52668081586643</c:v>
                </c:pt>
                <c:pt idx="1788">
                  <c:v>243.02713386751998</c:v>
                </c:pt>
                <c:pt idx="1789">
                  <c:v>244.72902770357132</c:v>
                </c:pt>
                <c:pt idx="1790">
                  <c:v>241.02988642607818</c:v>
                </c:pt>
                <c:pt idx="1791">
                  <c:v>246.15785579852098</c:v>
                </c:pt>
                <c:pt idx="1792">
                  <c:v>248.01068385471066</c:v>
                </c:pt>
                <c:pt idx="1793">
                  <c:v>246.48083772940632</c:v>
                </c:pt>
                <c:pt idx="1794">
                  <c:v>246.64808490964379</c:v>
                </c:pt>
                <c:pt idx="1795">
                  <c:v>245.76482862261676</c:v>
                </c:pt>
                <c:pt idx="1796">
                  <c:v>246.35200445559002</c:v>
                </c:pt>
                <c:pt idx="1797">
                  <c:v>246.12018925122575</c:v>
                </c:pt>
                <c:pt idx="1798">
                  <c:v>246.04156862453954</c:v>
                </c:pt>
                <c:pt idx="1799">
                  <c:v>247.10711263426708</c:v>
                </c:pt>
                <c:pt idx="1800">
                  <c:v>244.498816941238</c:v>
                </c:pt>
                <c:pt idx="1801">
                  <c:v>244.498816941238</c:v>
                </c:pt>
                <c:pt idx="1802">
                  <c:v>244.498816941238</c:v>
                </c:pt>
                <c:pt idx="1803">
                  <c:v>246.68898926598152</c:v>
                </c:pt>
                <c:pt idx="1804">
                  <c:v>249.5721724992575</c:v>
                </c:pt>
                <c:pt idx="1805">
                  <c:v>247.26615431509794</c:v>
                </c:pt>
                <c:pt idx="1806">
                  <c:v>245.05522988267666</c:v>
                </c:pt>
                <c:pt idx="1807">
                  <c:v>246.67509882413543</c:v>
                </c:pt>
                <c:pt idx="1808">
                  <c:v>243.121743360366</c:v>
                </c:pt>
                <c:pt idx="1809">
                  <c:v>244.8146079581125</c:v>
                </c:pt>
                <c:pt idx="1810">
                  <c:v>243.71569031531592</c:v>
                </c:pt>
                <c:pt idx="1811">
                  <c:v>244.76742881982614</c:v>
                </c:pt>
                <c:pt idx="1812">
                  <c:v>245.22696089227372</c:v>
                </c:pt>
                <c:pt idx="1813">
                  <c:v>246.25950349648602</c:v>
                </c:pt>
                <c:pt idx="1814">
                  <c:v>250.12667122993918</c:v>
                </c:pt>
                <c:pt idx="1815">
                  <c:v>250.71904388414757</c:v>
                </c:pt>
                <c:pt idx="1816">
                  <c:v>249.77365532543564</c:v>
                </c:pt>
                <c:pt idx="1817">
                  <c:v>250.87268603211723</c:v>
                </c:pt>
                <c:pt idx="1818">
                  <c:v>254.4786362313566</c:v>
                </c:pt>
                <c:pt idx="1819">
                  <c:v>254.20654314760057</c:v>
                </c:pt>
                <c:pt idx="1820">
                  <c:v>252.18667795612606</c:v>
                </c:pt>
                <c:pt idx="1821">
                  <c:v>251.06157425204128</c:v>
                </c:pt>
                <c:pt idx="1822">
                  <c:v>250.9377936169729</c:v>
                </c:pt>
                <c:pt idx="1823">
                  <c:v>250.35555349790837</c:v>
                </c:pt>
                <c:pt idx="1824">
                  <c:v>250.8448108788794</c:v>
                </c:pt>
                <c:pt idx="1825">
                  <c:v>251.02618763728651</c:v>
                </c:pt>
                <c:pt idx="1826">
                  <c:v>246.66493467244791</c:v>
                </c:pt>
                <c:pt idx="1827">
                  <c:v>246.76462060024656</c:v>
                </c:pt>
                <c:pt idx="1828">
                  <c:v>244.82203267372466</c:v>
                </c:pt>
                <c:pt idx="1829">
                  <c:v>242.98400197138096</c:v>
                </c:pt>
                <c:pt idx="1830">
                  <c:v>242.98400197138096</c:v>
                </c:pt>
                <c:pt idx="1831">
                  <c:v>243.12704203698448</c:v>
                </c:pt>
                <c:pt idx="1832">
                  <c:v>245.69212919451218</c:v>
                </c:pt>
                <c:pt idx="1833">
                  <c:v>247.2306331621688</c:v>
                </c:pt>
                <c:pt idx="1834">
                  <c:v>246.10696616128834</c:v>
                </c:pt>
                <c:pt idx="1835">
                  <c:v>245.30602135191529</c:v>
                </c:pt>
                <c:pt idx="1836">
                  <c:v>246.11471102746899</c:v>
                </c:pt>
                <c:pt idx="1837">
                  <c:v>246.11471102746899</c:v>
                </c:pt>
                <c:pt idx="1838">
                  <c:v>245.98164889091788</c:v>
                </c:pt>
                <c:pt idx="1839">
                  <c:v>247.45644002852302</c:v>
                </c:pt>
                <c:pt idx="1840">
                  <c:v>245.17208651314823</c:v>
                </c:pt>
                <c:pt idx="1841">
                  <c:v>247.93014610689812</c:v>
                </c:pt>
                <c:pt idx="1842">
                  <c:v>247.26181776528625</c:v>
                </c:pt>
                <c:pt idx="1843">
                  <c:v>252.28319457866473</c:v>
                </c:pt>
                <c:pt idx="1844">
                  <c:v>254.16705572605505</c:v>
                </c:pt>
                <c:pt idx="1845">
                  <c:v>254.7457410517151</c:v>
                </c:pt>
                <c:pt idx="1846">
                  <c:v>255.53890236423635</c:v>
                </c:pt>
                <c:pt idx="1847">
                  <c:v>256.07652055526444</c:v>
                </c:pt>
                <c:pt idx="1848">
                  <c:v>254.64575551242157</c:v>
                </c:pt>
                <c:pt idx="1849">
                  <c:v>252.97824229286445</c:v>
                </c:pt>
                <c:pt idx="1850">
                  <c:v>253.51976864655668</c:v>
                </c:pt>
                <c:pt idx="1851">
                  <c:v>251.60799214018863</c:v>
                </c:pt>
                <c:pt idx="1852">
                  <c:v>251.87590099214808</c:v>
                </c:pt>
                <c:pt idx="1853">
                  <c:v>254.32575292757753</c:v>
                </c:pt>
                <c:pt idx="1854">
                  <c:v>252.89080687372731</c:v>
                </c:pt>
                <c:pt idx="1855">
                  <c:v>251.22116865287006</c:v>
                </c:pt>
                <c:pt idx="1856">
                  <c:v>245.49742429813594</c:v>
                </c:pt>
                <c:pt idx="1857">
                  <c:v>241.27414016126099</c:v>
                </c:pt>
                <c:pt idx="1858">
                  <c:v>237.40921910893826</c:v>
                </c:pt>
                <c:pt idx="1859">
                  <c:v>239.26576555604191</c:v>
                </c:pt>
                <c:pt idx="1860">
                  <c:v>237.62826176495088</c:v>
                </c:pt>
                <c:pt idx="1861">
                  <c:v>239.35810801258839</c:v>
                </c:pt>
                <c:pt idx="1862">
                  <c:v>247.62834509315473</c:v>
                </c:pt>
                <c:pt idx="1863">
                  <c:v>249.12860540694544</c:v>
                </c:pt>
                <c:pt idx="1864">
                  <c:v>249.97145421607991</c:v>
                </c:pt>
                <c:pt idx="1865">
                  <c:v>249.97145421607991</c:v>
                </c:pt>
                <c:pt idx="1866">
                  <c:v>238.4999610452389</c:v>
                </c:pt>
                <c:pt idx="1867">
                  <c:v>230.18644229708011</c:v>
                </c:pt>
                <c:pt idx="1868">
                  <c:v>235.69945713694133</c:v>
                </c:pt>
                <c:pt idx="1869">
                  <c:v>242.36043366904801</c:v>
                </c:pt>
                <c:pt idx="1870">
                  <c:v>244.94495811121575</c:v>
                </c:pt>
                <c:pt idx="1871">
                  <c:v>246.73672048622396</c:v>
                </c:pt>
                <c:pt idx="1872">
                  <c:v>245.2233427442545</c:v>
                </c:pt>
                <c:pt idx="1873">
                  <c:v>242.39416983833416</c:v>
                </c:pt>
                <c:pt idx="1874">
                  <c:v>239.21044639821156</c:v>
                </c:pt>
                <c:pt idx="1875">
                  <c:v>241.80055698467925</c:v>
                </c:pt>
                <c:pt idx="1876">
                  <c:v>244.68333129995275</c:v>
                </c:pt>
                <c:pt idx="1877">
                  <c:v>248.23640734645087</c:v>
                </c:pt>
                <c:pt idx="1878">
                  <c:v>249.46764953094007</c:v>
                </c:pt>
                <c:pt idx="1879">
                  <c:v>249.72085108041625</c:v>
                </c:pt>
                <c:pt idx="1880">
                  <c:v>250.89636950892626</c:v>
                </c:pt>
                <c:pt idx="1881">
                  <c:v>250.24489095696447</c:v>
                </c:pt>
                <c:pt idx="1882">
                  <c:v>250.57652191450046</c:v>
                </c:pt>
                <c:pt idx="1883">
                  <c:v>249.52772654782331</c:v>
                </c:pt>
                <c:pt idx="1884">
                  <c:v>252.32160996397099</c:v>
                </c:pt>
                <c:pt idx="1885">
                  <c:v>251.82241417477277</c:v>
                </c:pt>
                <c:pt idx="1886">
                  <c:v>252.06302422457946</c:v>
                </c:pt>
                <c:pt idx="1887">
                  <c:v>253.30089305359303</c:v>
                </c:pt>
                <c:pt idx="1888">
                  <c:v>253.69819384553284</c:v>
                </c:pt>
                <c:pt idx="1889">
                  <c:v>254.84182325009735</c:v>
                </c:pt>
                <c:pt idx="1890">
                  <c:v>253.94934700505246</c:v>
                </c:pt>
                <c:pt idx="1891">
                  <c:v>254.89150585924389</c:v>
                </c:pt>
                <c:pt idx="1892">
                  <c:v>254.19621569588463</c:v>
                </c:pt>
                <c:pt idx="1893">
                  <c:v>251.78656531830734</c:v>
                </c:pt>
                <c:pt idx="1894">
                  <c:v>251.19899371097878</c:v>
                </c:pt>
                <c:pt idx="1895">
                  <c:v>252.38615624881834</c:v>
                </c:pt>
                <c:pt idx="1896">
                  <c:v>254.27437316096623</c:v>
                </c:pt>
                <c:pt idx="1897">
                  <c:v>253.72941181572003</c:v>
                </c:pt>
                <c:pt idx="1898">
                  <c:v>256.15361981664864</c:v>
                </c:pt>
                <c:pt idx="1899">
                  <c:v>255.67396624669851</c:v>
                </c:pt>
                <c:pt idx="1900">
                  <c:v>258.11102813792263</c:v>
                </c:pt>
                <c:pt idx="1901">
                  <c:v>257.62150899565643</c:v>
                </c:pt>
                <c:pt idx="1902">
                  <c:v>257.62150899565643</c:v>
                </c:pt>
                <c:pt idx="1903">
                  <c:v>255.96995918002813</c:v>
                </c:pt>
                <c:pt idx="1904">
                  <c:v>254.14640580914653</c:v>
                </c:pt>
                <c:pt idx="1905">
                  <c:v>255.87313148106273</c:v>
                </c:pt>
                <c:pt idx="1906">
                  <c:v>254.49390912731485</c:v>
                </c:pt>
                <c:pt idx="1907">
                  <c:v>254.66708398831835</c:v>
                </c:pt>
                <c:pt idx="1908">
                  <c:v>256.4980086426113</c:v>
                </c:pt>
                <c:pt idx="1909">
                  <c:v>257.27353066347513</c:v>
                </c:pt>
                <c:pt idx="1910">
                  <c:v>255.48190818254338</c:v>
                </c:pt>
                <c:pt idx="1911">
                  <c:v>256.65791917795093</c:v>
                </c:pt>
                <c:pt idx="1912">
                  <c:v>256.32028077831887</c:v>
                </c:pt>
                <c:pt idx="1913">
                  <c:v>257.21426524101861</c:v>
                </c:pt>
                <c:pt idx="1914">
                  <c:v>255.86856144359459</c:v>
                </c:pt>
                <c:pt idx="1915">
                  <c:v>256.09542950357417</c:v>
                </c:pt>
                <c:pt idx="1916">
                  <c:v>260.99793915597326</c:v>
                </c:pt>
                <c:pt idx="1917">
                  <c:v>260.96407250869316</c:v>
                </c:pt>
                <c:pt idx="1918">
                  <c:v>260.47709704141704</c:v>
                </c:pt>
                <c:pt idx="1919">
                  <c:v>261.28082710870166</c:v>
                </c:pt>
                <c:pt idx="1920">
                  <c:v>259.60956400945355</c:v>
                </c:pt>
                <c:pt idx="1921">
                  <c:v>256.28524843758174</c:v>
                </c:pt>
                <c:pt idx="1922">
                  <c:v>254.38744133268449</c:v>
                </c:pt>
                <c:pt idx="1923">
                  <c:v>253.21158905844774</c:v>
                </c:pt>
                <c:pt idx="1924">
                  <c:v>253.33745768571069</c:v>
                </c:pt>
                <c:pt idx="1925">
                  <c:v>254.85359389416294</c:v>
                </c:pt>
                <c:pt idx="1926">
                  <c:v>253.59393496655284</c:v>
                </c:pt>
                <c:pt idx="1927">
                  <c:v>256.03069882288378</c:v>
                </c:pt>
                <c:pt idx="1928">
                  <c:v>255.91837743038437</c:v>
                </c:pt>
                <c:pt idx="1929">
                  <c:v>256.3550955899783</c:v>
                </c:pt>
                <c:pt idx="1930">
                  <c:v>260.40205685174283</c:v>
                </c:pt>
                <c:pt idx="1931">
                  <c:v>258.67675760104123</c:v>
                </c:pt>
                <c:pt idx="1932">
                  <c:v>255.0693044168936</c:v>
                </c:pt>
                <c:pt idx="1933">
                  <c:v>256.0208823729759</c:v>
                </c:pt>
                <c:pt idx="1934">
                  <c:v>258.00396308553786</c:v>
                </c:pt>
                <c:pt idx="1935">
                  <c:v>256.89276061048622</c:v>
                </c:pt>
                <c:pt idx="1936">
                  <c:v>257.40378285004601</c:v>
                </c:pt>
                <c:pt idx="1937">
                  <c:v>257.88196502978849</c:v>
                </c:pt>
                <c:pt idx="1938">
                  <c:v>260.15754592842262</c:v>
                </c:pt>
                <c:pt idx="1939">
                  <c:v>257.26891553905131</c:v>
                </c:pt>
                <c:pt idx="1940">
                  <c:v>256.13396810547357</c:v>
                </c:pt>
                <c:pt idx="1941">
                  <c:v>252.92338558870006</c:v>
                </c:pt>
                <c:pt idx="1942">
                  <c:v>254.71149848343453</c:v>
                </c:pt>
                <c:pt idx="1943">
                  <c:v>253.66105755453344</c:v>
                </c:pt>
                <c:pt idx="1944">
                  <c:v>252.32342563264262</c:v>
                </c:pt>
                <c:pt idx="1945">
                  <c:v>250.86051583749094</c:v>
                </c:pt>
                <c:pt idx="1946">
                  <c:v>253.84970594405621</c:v>
                </c:pt>
                <c:pt idx="1947">
                  <c:v>251.95053282982695</c:v>
                </c:pt>
                <c:pt idx="1948">
                  <c:v>255.44131999085741</c:v>
                </c:pt>
                <c:pt idx="1949">
                  <c:v>255.74410046079385</c:v>
                </c:pt>
                <c:pt idx="1950">
                  <c:v>255.69757941180004</c:v>
                </c:pt>
                <c:pt idx="1951">
                  <c:v>255.90198590845517</c:v>
                </c:pt>
                <c:pt idx="1952">
                  <c:v>255.75558560338342</c:v>
                </c:pt>
                <c:pt idx="1953">
                  <c:v>254.26368381862403</c:v>
                </c:pt>
                <c:pt idx="1954">
                  <c:v>253.18011528501455</c:v>
                </c:pt>
                <c:pt idx="1955">
                  <c:v>252.62252498941479</c:v>
                </c:pt>
                <c:pt idx="1956">
                  <c:v>252.42695078757524</c:v>
                </c:pt>
                <c:pt idx="1957">
                  <c:v>252.30913532577688</c:v>
                </c:pt>
                <c:pt idx="1958">
                  <c:v>252.30913532577688</c:v>
                </c:pt>
                <c:pt idx="1959">
                  <c:v>247.27544989776166</c:v>
                </c:pt>
                <c:pt idx="1960">
                  <c:v>246.79625044215831</c:v>
                </c:pt>
                <c:pt idx="1961">
                  <c:v>245.09231323672259</c:v>
                </c:pt>
                <c:pt idx="1962">
                  <c:v>247.96429968993644</c:v>
                </c:pt>
                <c:pt idx="1963">
                  <c:v>248.96264976472628</c:v>
                </c:pt>
                <c:pt idx="1964">
                  <c:v>252.19161307294979</c:v>
                </c:pt>
                <c:pt idx="1965">
                  <c:v>249.75623474136185</c:v>
                </c:pt>
                <c:pt idx="1966">
                  <c:v>248.73240724967386</c:v>
                </c:pt>
                <c:pt idx="1967">
                  <c:v>248.21777955398855</c:v>
                </c:pt>
                <c:pt idx="1968">
                  <c:v>249.03328768347498</c:v>
                </c:pt>
                <c:pt idx="1969">
                  <c:v>249.26265328906848</c:v>
                </c:pt>
                <c:pt idx="1970">
                  <c:v>250.7758214552498</c:v>
                </c:pt>
                <c:pt idx="1971">
                  <c:v>250.56226124562988</c:v>
                </c:pt>
                <c:pt idx="1972">
                  <c:v>251.34482114622276</c:v>
                </c:pt>
                <c:pt idx="1973">
                  <c:v>251.28977355454384</c:v>
                </c:pt>
                <c:pt idx="1974">
                  <c:v>251.04940843111939</c:v>
                </c:pt>
                <c:pt idx="1975">
                  <c:v>252.17883193939574</c:v>
                </c:pt>
                <c:pt idx="1976">
                  <c:v>252.93319019371441</c:v>
                </c:pt>
                <c:pt idx="1977">
                  <c:v>251.23965694713655</c:v>
                </c:pt>
                <c:pt idx="1978">
                  <c:v>252.40716369579866</c:v>
                </c:pt>
                <c:pt idx="1979">
                  <c:v>252.39790561484887</c:v>
                </c:pt>
                <c:pt idx="1980">
                  <c:v>249.99901213214756</c:v>
                </c:pt>
                <c:pt idx="1981">
                  <c:v>249.24941913136504</c:v>
                </c:pt>
                <c:pt idx="1982">
                  <c:v>250.3752028979581</c:v>
                </c:pt>
                <c:pt idx="1983">
                  <c:v>251.40106672663492</c:v>
                </c:pt>
                <c:pt idx="1984">
                  <c:v>252.66928716843148</c:v>
                </c:pt>
                <c:pt idx="1985">
                  <c:v>255.29767978573511</c:v>
                </c:pt>
                <c:pt idx="1986">
                  <c:v>258.15041869837313</c:v>
                </c:pt>
                <c:pt idx="1987">
                  <c:v>256.912377916411</c:v>
                </c:pt>
                <c:pt idx="1988">
                  <c:v>259.65845287073586</c:v>
                </c:pt>
                <c:pt idx="1989">
                  <c:v>258.55817738718991</c:v>
                </c:pt>
                <c:pt idx="1990">
                  <c:v>260.24223777826325</c:v>
                </c:pt>
                <c:pt idx="1991">
                  <c:v>260.74244918848984</c:v>
                </c:pt>
                <c:pt idx="1992">
                  <c:v>261.43704203703732</c:v>
                </c:pt>
                <c:pt idx="1993">
                  <c:v>262.48240845759437</c:v>
                </c:pt>
                <c:pt idx="1994">
                  <c:v>262.08701712745443</c:v>
                </c:pt>
                <c:pt idx="1995">
                  <c:v>261.66801028275881</c:v>
                </c:pt>
                <c:pt idx="1996">
                  <c:v>262.17966865481139</c:v>
                </c:pt>
                <c:pt idx="1997">
                  <c:v>262.17966865481139</c:v>
                </c:pt>
                <c:pt idx="1998">
                  <c:v>262.68526610814718</c:v>
                </c:pt>
                <c:pt idx="1999">
                  <c:v>263.26608726877919</c:v>
                </c:pt>
                <c:pt idx="2000">
                  <c:v>262.80457822484288</c:v>
                </c:pt>
                <c:pt idx="2001">
                  <c:v>263.45470379380424</c:v>
                </c:pt>
                <c:pt idx="2002">
                  <c:v>265.06655884718145</c:v>
                </c:pt>
                <c:pt idx="2003">
                  <c:v>265.58380162166674</c:v>
                </c:pt>
                <c:pt idx="2004">
                  <c:v>265.27201338565885</c:v>
                </c:pt>
                <c:pt idx="2005">
                  <c:v>265.78033981608479</c:v>
                </c:pt>
                <c:pt idx="2006">
                  <c:v>265.52664546485187</c:v>
                </c:pt>
                <c:pt idx="2007">
                  <c:v>265.24712078483657</c:v>
                </c:pt>
                <c:pt idx="2008">
                  <c:v>264.76989710797602</c:v>
                </c:pt>
                <c:pt idx="2009">
                  <c:v>265.32859032627505</c:v>
                </c:pt>
                <c:pt idx="2010">
                  <c:v>263.40529969645507</c:v>
                </c:pt>
                <c:pt idx="2011">
                  <c:v>265.6547948453466</c:v>
                </c:pt>
                <c:pt idx="2012">
                  <c:v>264.02628026598887</c:v>
                </c:pt>
                <c:pt idx="2013">
                  <c:v>263.06838398257418</c:v>
                </c:pt>
                <c:pt idx="2014">
                  <c:v>263.27727242710012</c:v>
                </c:pt>
                <c:pt idx="2015">
                  <c:v>263.55546916158039</c:v>
                </c:pt>
                <c:pt idx="2016">
                  <c:v>263.0211419951894</c:v>
                </c:pt>
                <c:pt idx="2017">
                  <c:v>262.03270201039413</c:v>
                </c:pt>
                <c:pt idx="2018">
                  <c:v>261.74641546842543</c:v>
                </c:pt>
                <c:pt idx="2019">
                  <c:v>264.41786037895645</c:v>
                </c:pt>
                <c:pt idx="2020">
                  <c:v>265.09070327118843</c:v>
                </c:pt>
                <c:pt idx="2021">
                  <c:v>264.58103956615963</c:v>
                </c:pt>
                <c:pt idx="2022">
                  <c:v>262.59085392097717</c:v>
                </c:pt>
                <c:pt idx="2023">
                  <c:v>261.00428356549571</c:v>
                </c:pt>
                <c:pt idx="2024">
                  <c:v>262.97177850567573</c:v>
                </c:pt>
                <c:pt idx="2025">
                  <c:v>262.93477112920243</c:v>
                </c:pt>
                <c:pt idx="2026">
                  <c:v>263.96883417576879</c:v>
                </c:pt>
                <c:pt idx="2027">
                  <c:v>262.49936882615577</c:v>
                </c:pt>
                <c:pt idx="2028">
                  <c:v>263.94497936492411</c:v>
                </c:pt>
                <c:pt idx="2029">
                  <c:v>265.64782520942697</c:v>
                </c:pt>
                <c:pt idx="2030">
                  <c:v>267.5162876522445</c:v>
                </c:pt>
                <c:pt idx="2031">
                  <c:v>267.81259019896265</c:v>
                </c:pt>
                <c:pt idx="2032">
                  <c:v>269.63532171424475</c:v>
                </c:pt>
                <c:pt idx="2033">
                  <c:v>269.35353755508879</c:v>
                </c:pt>
                <c:pt idx="2034">
                  <c:v>270.01448010124375</c:v>
                </c:pt>
                <c:pt idx="2035">
                  <c:v>269.98094615041026</c:v>
                </c:pt>
                <c:pt idx="2036">
                  <c:v>271.0490116531239</c:v>
                </c:pt>
                <c:pt idx="2037">
                  <c:v>271.24377775931003</c:v>
                </c:pt>
                <c:pt idx="2038">
                  <c:v>272.8632672882959</c:v>
                </c:pt>
                <c:pt idx="2039">
                  <c:v>273.71116997460012</c:v>
                </c:pt>
                <c:pt idx="2040">
                  <c:v>273.71916263741946</c:v>
                </c:pt>
                <c:pt idx="2041">
                  <c:v>272.49224793065321</c:v>
                </c:pt>
                <c:pt idx="2042">
                  <c:v>272.12895214825011</c:v>
                </c:pt>
                <c:pt idx="2043">
                  <c:v>272.75001187662605</c:v>
                </c:pt>
                <c:pt idx="2044">
                  <c:v>275.71674708116552</c:v>
                </c:pt>
                <c:pt idx="2045">
                  <c:v>276.15765077330281</c:v>
                </c:pt>
                <c:pt idx="2046">
                  <c:v>274.78405645556614</c:v>
                </c:pt>
                <c:pt idx="2047">
                  <c:v>273.6332556942956</c:v>
                </c:pt>
                <c:pt idx="2048">
                  <c:v>273.21820716154292</c:v>
                </c:pt>
                <c:pt idx="2049">
                  <c:v>273.23844388649923</c:v>
                </c:pt>
                <c:pt idx="2050">
                  <c:v>273.54062615602436</c:v>
                </c:pt>
                <c:pt idx="2051">
                  <c:v>273.04059947782878</c:v>
                </c:pt>
                <c:pt idx="2052">
                  <c:v>273.92930443181217</c:v>
                </c:pt>
                <c:pt idx="2053">
                  <c:v>273.98313902762681</c:v>
                </c:pt>
                <c:pt idx="2054">
                  <c:v>274.53826285722897</c:v>
                </c:pt>
                <c:pt idx="2055">
                  <c:v>276.08708115164035</c:v>
                </c:pt>
                <c:pt idx="2056">
                  <c:v>276.94328921063413</c:v>
                </c:pt>
                <c:pt idx="2057">
                  <c:v>276.83637714616327</c:v>
                </c:pt>
                <c:pt idx="2058">
                  <c:v>275.27873623763503</c:v>
                </c:pt>
                <c:pt idx="2059">
                  <c:v>274.58836374439676</c:v>
                </c:pt>
                <c:pt idx="2060">
                  <c:v>276.9040401210749</c:v>
                </c:pt>
                <c:pt idx="2061">
                  <c:v>276.64568039134576</c:v>
                </c:pt>
                <c:pt idx="2062">
                  <c:v>276.09998467587531</c:v>
                </c:pt>
                <c:pt idx="2063">
                  <c:v>277.01236044729399</c:v>
                </c:pt>
                <c:pt idx="2064">
                  <c:v>277.33041836291846</c:v>
                </c:pt>
                <c:pt idx="2065">
                  <c:v>278.84169358321083</c:v>
                </c:pt>
                <c:pt idx="2066">
                  <c:v>279.6160617331692</c:v>
                </c:pt>
                <c:pt idx="2067">
                  <c:v>278.84995991992258</c:v>
                </c:pt>
                <c:pt idx="2068">
                  <c:v>279.44681775803406</c:v>
                </c:pt>
                <c:pt idx="2069">
                  <c:v>279.26013330551353</c:v>
                </c:pt>
                <c:pt idx="2070">
                  <c:v>279.4786429942223</c:v>
                </c:pt>
                <c:pt idx="2071">
                  <c:v>279.78000794130082</c:v>
                </c:pt>
                <c:pt idx="2072">
                  <c:v>279.93071173521048</c:v>
                </c:pt>
                <c:pt idx="2073">
                  <c:v>280.22091487413519</c:v>
                </c:pt>
                <c:pt idx="2074">
                  <c:v>281.31276604205311</c:v>
                </c:pt>
                <c:pt idx="2075">
                  <c:v>281.19098774870088</c:v>
                </c:pt>
                <c:pt idx="2076">
                  <c:v>281.19098774870088</c:v>
                </c:pt>
                <c:pt idx="2077">
                  <c:v>281.19098774870088</c:v>
                </c:pt>
                <c:pt idx="2078">
                  <c:v>278.58440085666376</c:v>
                </c:pt>
                <c:pt idx="2079">
                  <c:v>278.85003258468328</c:v>
                </c:pt>
                <c:pt idx="2080">
                  <c:v>279.46948468854987</c:v>
                </c:pt>
                <c:pt idx="2081">
                  <c:v>279.3666829042271</c:v>
                </c:pt>
                <c:pt idx="2082">
                  <c:v>283.58593287328205</c:v>
                </c:pt>
                <c:pt idx="2083">
                  <c:v>283.74526652815126</c:v>
                </c:pt>
                <c:pt idx="2084">
                  <c:v>284.9819817262977</c:v>
                </c:pt>
                <c:pt idx="2085">
                  <c:v>285.86707404578749</c:v>
                </c:pt>
                <c:pt idx="2086">
                  <c:v>285.60535303389958</c:v>
                </c:pt>
                <c:pt idx="2087">
                  <c:v>285.60535303389958</c:v>
                </c:pt>
                <c:pt idx="2088">
                  <c:v>287.79292604187555</c:v>
                </c:pt>
                <c:pt idx="2089">
                  <c:v>288.2208708931002</c:v>
                </c:pt>
                <c:pt idx="2090">
                  <c:v>290.77374555385973</c:v>
                </c:pt>
                <c:pt idx="2091">
                  <c:v>292.04190900935032</c:v>
                </c:pt>
                <c:pt idx="2092">
                  <c:v>292.31461296896339</c:v>
                </c:pt>
                <c:pt idx="2093">
                  <c:v>293.26925004102998</c:v>
                </c:pt>
                <c:pt idx="2094">
                  <c:v>293.17309404627679</c:v>
                </c:pt>
                <c:pt idx="2095">
                  <c:v>291.78967521441115</c:v>
                </c:pt>
                <c:pt idx="2096">
                  <c:v>293.09504347782274</c:v>
                </c:pt>
                <c:pt idx="2097">
                  <c:v>292.49504493789897</c:v>
                </c:pt>
                <c:pt idx="2098">
                  <c:v>293.12603521069229</c:v>
                </c:pt>
                <c:pt idx="2099">
                  <c:v>290.5042766556133</c:v>
                </c:pt>
                <c:pt idx="2100">
                  <c:v>289.2415803107865</c:v>
                </c:pt>
                <c:pt idx="2101">
                  <c:v>290.63339732708124</c:v>
                </c:pt>
                <c:pt idx="2102">
                  <c:v>290.26172981404983</c:v>
                </c:pt>
                <c:pt idx="2103">
                  <c:v>290.90398317635413</c:v>
                </c:pt>
                <c:pt idx="2104">
                  <c:v>291.31764439142682</c:v>
                </c:pt>
                <c:pt idx="2105">
                  <c:v>291.31764439142682</c:v>
                </c:pt>
                <c:pt idx="2106">
                  <c:v>291.8188908343202</c:v>
                </c:pt>
                <c:pt idx="2107">
                  <c:v>291.81598804687957</c:v>
                </c:pt>
                <c:pt idx="2108">
                  <c:v>292.568511335187</c:v>
                </c:pt>
                <c:pt idx="2109">
                  <c:v>293.12857970467661</c:v>
                </c:pt>
                <c:pt idx="2110">
                  <c:v>294.51816945292421</c:v>
                </c:pt>
                <c:pt idx="2111">
                  <c:v>295.34086568081779</c:v>
                </c:pt>
                <c:pt idx="2112">
                  <c:v>295.34086568081779</c:v>
                </c:pt>
                <c:pt idx="2113">
                  <c:v>293.12984091466905</c:v>
                </c:pt>
                <c:pt idx="2114">
                  <c:v>292.60573116209383</c:v>
                </c:pt>
                <c:pt idx="2115">
                  <c:v>292.00369171594656</c:v>
                </c:pt>
                <c:pt idx="2116">
                  <c:v>292.68985827422063</c:v>
                </c:pt>
                <c:pt idx="2117">
                  <c:v>290.04417911198834</c:v>
                </c:pt>
                <c:pt idx="2118">
                  <c:v>291.26854239637436</c:v>
                </c:pt>
                <c:pt idx="2119">
                  <c:v>291.80415242916763</c:v>
                </c:pt>
                <c:pt idx="2120">
                  <c:v>290.87816669578865</c:v>
                </c:pt>
                <c:pt idx="2121">
                  <c:v>293.24565452728262</c:v>
                </c:pt>
                <c:pt idx="2122">
                  <c:v>295.36044707257832</c:v>
                </c:pt>
                <c:pt idx="2123">
                  <c:v>294.53879083687781</c:v>
                </c:pt>
                <c:pt idx="2124">
                  <c:v>293.98451284579517</c:v>
                </c:pt>
                <c:pt idx="2125">
                  <c:v>293.16492399483496</c:v>
                </c:pt>
                <c:pt idx="2126">
                  <c:v>293.16492399483496</c:v>
                </c:pt>
                <c:pt idx="2127">
                  <c:v>293.68739066634606</c:v>
                </c:pt>
                <c:pt idx="2128">
                  <c:v>290.19708621368704</c:v>
                </c:pt>
                <c:pt idx="2129">
                  <c:v>289.2161608609191</c:v>
                </c:pt>
                <c:pt idx="2130">
                  <c:v>284.50007049231681</c:v>
                </c:pt>
                <c:pt idx="2131">
                  <c:v>284.39008571761684</c:v>
                </c:pt>
                <c:pt idx="2132">
                  <c:v>285.66175276011876</c:v>
                </c:pt>
                <c:pt idx="2133">
                  <c:v>284.69037996596063</c:v>
                </c:pt>
                <c:pt idx="2134">
                  <c:v>285.41377006355322</c:v>
                </c:pt>
                <c:pt idx="2135">
                  <c:v>282.58375678370408</c:v>
                </c:pt>
                <c:pt idx="2136">
                  <c:v>282.41202889620263</c:v>
                </c:pt>
                <c:pt idx="2137">
                  <c:v>283.46837754854027</c:v>
                </c:pt>
                <c:pt idx="2138">
                  <c:v>281.34139928499212</c:v>
                </c:pt>
                <c:pt idx="2139">
                  <c:v>285.3449567940072</c:v>
                </c:pt>
                <c:pt idx="2140">
                  <c:v>286.18402035519961</c:v>
                </c:pt>
                <c:pt idx="2141">
                  <c:v>286.87615814184852</c:v>
                </c:pt>
                <c:pt idx="2142">
                  <c:v>287.26762039282903</c:v>
                </c:pt>
                <c:pt idx="2143">
                  <c:v>284.59067620506352</c:v>
                </c:pt>
                <c:pt idx="2144">
                  <c:v>286.92650695891757</c:v>
                </c:pt>
                <c:pt idx="2145">
                  <c:v>285.39498650650927</c:v>
                </c:pt>
                <c:pt idx="2146">
                  <c:v>282.67408925551598</c:v>
                </c:pt>
                <c:pt idx="2147">
                  <c:v>281.74132508119277</c:v>
                </c:pt>
                <c:pt idx="2148">
                  <c:v>282.41669133035271</c:v>
                </c:pt>
                <c:pt idx="2149">
                  <c:v>283.91907630628668</c:v>
                </c:pt>
                <c:pt idx="2150">
                  <c:v>283.94143051076321</c:v>
                </c:pt>
                <c:pt idx="2151">
                  <c:v>281.29884065775457</c:v>
                </c:pt>
                <c:pt idx="2152">
                  <c:v>281.58676123612753</c:v>
                </c:pt>
                <c:pt idx="2153">
                  <c:v>282.4810536122406</c:v>
                </c:pt>
                <c:pt idx="2154">
                  <c:v>281.43386815677809</c:v>
                </c:pt>
                <c:pt idx="2155">
                  <c:v>281.66043846603156</c:v>
                </c:pt>
                <c:pt idx="2156">
                  <c:v>283.93409894357541</c:v>
                </c:pt>
                <c:pt idx="2157">
                  <c:v>283.26153695676368</c:v>
                </c:pt>
                <c:pt idx="2158">
                  <c:v>283.58468525602632</c:v>
                </c:pt>
                <c:pt idx="2159">
                  <c:v>282.6271698099066</c:v>
                </c:pt>
                <c:pt idx="2160">
                  <c:v>280.42707662172637</c:v>
                </c:pt>
                <c:pt idx="2161">
                  <c:v>278.69047318766479</c:v>
                </c:pt>
                <c:pt idx="2162">
                  <c:v>281.24404334208913</c:v>
                </c:pt>
                <c:pt idx="2163">
                  <c:v>281.24404334208913</c:v>
                </c:pt>
                <c:pt idx="2164">
                  <c:v>283.24743514287445</c:v>
                </c:pt>
                <c:pt idx="2165">
                  <c:v>282.57157126385988</c:v>
                </c:pt>
                <c:pt idx="2166">
                  <c:v>280.21073271609282</c:v>
                </c:pt>
                <c:pt idx="2167">
                  <c:v>279.60184214297971</c:v>
                </c:pt>
                <c:pt idx="2168">
                  <c:v>281.83684332216359</c:v>
                </c:pt>
                <c:pt idx="2169">
                  <c:v>280.24927028494761</c:v>
                </c:pt>
                <c:pt idx="2170">
                  <c:v>280.46702247821929</c:v>
                </c:pt>
                <c:pt idx="2171">
                  <c:v>279.92684377454725</c:v>
                </c:pt>
                <c:pt idx="2172">
                  <c:v>278.88216402877845</c:v>
                </c:pt>
                <c:pt idx="2173">
                  <c:v>276.06263853105463</c:v>
                </c:pt>
                <c:pt idx="2174">
                  <c:v>278.05764091362767</c:v>
                </c:pt>
                <c:pt idx="2175">
                  <c:v>280.1716614188457</c:v>
                </c:pt>
                <c:pt idx="2176">
                  <c:v>281.60651419978592</c:v>
                </c:pt>
                <c:pt idx="2177">
                  <c:v>280.33383230552613</c:v>
                </c:pt>
                <c:pt idx="2178">
                  <c:v>280.32468800459895</c:v>
                </c:pt>
                <c:pt idx="2179">
                  <c:v>279.96405302083542</c:v>
                </c:pt>
                <c:pt idx="2180">
                  <c:v>280.69832372222538</c:v>
                </c:pt>
                <c:pt idx="2181">
                  <c:v>281.10694737769398</c:v>
                </c:pt>
                <c:pt idx="2182">
                  <c:v>283.74350565323795</c:v>
                </c:pt>
                <c:pt idx="2183">
                  <c:v>284.36111797283229</c:v>
                </c:pt>
                <c:pt idx="2184">
                  <c:v>284.08586896368473</c:v>
                </c:pt>
                <c:pt idx="2185">
                  <c:v>284.07146992649064</c:v>
                </c:pt>
                <c:pt idx="2186">
                  <c:v>283.29751709674332</c:v>
                </c:pt>
                <c:pt idx="2187">
                  <c:v>284.41819705266715</c:v>
                </c:pt>
                <c:pt idx="2188">
                  <c:v>284.20694128841603</c:v>
                </c:pt>
                <c:pt idx="2189">
                  <c:v>283.91030789371314</c:v>
                </c:pt>
                <c:pt idx="2190">
                  <c:v>283.64174448705734</c:v>
                </c:pt>
                <c:pt idx="2191">
                  <c:v>283.71689675841077</c:v>
                </c:pt>
                <c:pt idx="2192">
                  <c:v>284.76134563156245</c:v>
                </c:pt>
                <c:pt idx="2193">
                  <c:v>284.49837980694343</c:v>
                </c:pt>
                <c:pt idx="2194">
                  <c:v>284.49277453124029</c:v>
                </c:pt>
                <c:pt idx="2195">
                  <c:v>284.91960719560359</c:v>
                </c:pt>
                <c:pt idx="2196">
                  <c:v>285.90819767894101</c:v>
                </c:pt>
                <c:pt idx="2197">
                  <c:v>287.62357045049561</c:v>
                </c:pt>
                <c:pt idx="2198">
                  <c:v>287.69657909199606</c:v>
                </c:pt>
                <c:pt idx="2199">
                  <c:v>287.68757022669229</c:v>
                </c:pt>
                <c:pt idx="2200">
                  <c:v>288.19091687344644</c:v>
                </c:pt>
                <c:pt idx="2201">
                  <c:v>287.08190301477276</c:v>
                </c:pt>
                <c:pt idx="2202">
                  <c:v>288.20997550986107</c:v>
                </c:pt>
                <c:pt idx="2203">
                  <c:v>288.37177688428068</c:v>
                </c:pt>
                <c:pt idx="2204">
                  <c:v>288.60325141964194</c:v>
                </c:pt>
                <c:pt idx="2205">
                  <c:v>289.16737028435108</c:v>
                </c:pt>
                <c:pt idx="2206">
                  <c:v>289.52248670557645</c:v>
                </c:pt>
                <c:pt idx="2207">
                  <c:v>289.01905263020382</c:v>
                </c:pt>
                <c:pt idx="2208">
                  <c:v>288.37284051912599</c:v>
                </c:pt>
                <c:pt idx="2209">
                  <c:v>289.36409027611995</c:v>
                </c:pt>
                <c:pt idx="2210">
                  <c:v>287.38716394654409</c:v>
                </c:pt>
                <c:pt idx="2211">
                  <c:v>287.32194841581833</c:v>
                </c:pt>
                <c:pt idx="2212">
                  <c:v>287.8613716205366</c:v>
                </c:pt>
                <c:pt idx="2213">
                  <c:v>285.8381395047702</c:v>
                </c:pt>
                <c:pt idx="2214">
                  <c:v>284.30939792306373</c:v>
                </c:pt>
                <c:pt idx="2215">
                  <c:v>288.11760151462471</c:v>
                </c:pt>
                <c:pt idx="2216">
                  <c:v>290.17127262868684</c:v>
                </c:pt>
                <c:pt idx="2217">
                  <c:v>290.34671368386762</c:v>
                </c:pt>
                <c:pt idx="2218">
                  <c:v>291.26397889360237</c:v>
                </c:pt>
                <c:pt idx="2219">
                  <c:v>291.26397889360237</c:v>
                </c:pt>
                <c:pt idx="2220">
                  <c:v>289.96448568834541</c:v>
                </c:pt>
                <c:pt idx="2221">
                  <c:v>291.33943945907481</c:v>
                </c:pt>
                <c:pt idx="2222">
                  <c:v>292.11759452207974</c:v>
                </c:pt>
                <c:pt idx="2223">
                  <c:v>290.67178200485284</c:v>
                </c:pt>
                <c:pt idx="2224">
                  <c:v>290.91467223314436</c:v>
                </c:pt>
                <c:pt idx="2225">
                  <c:v>288.49951819648811</c:v>
                </c:pt>
                <c:pt idx="2226">
                  <c:v>287.34026816832585</c:v>
                </c:pt>
                <c:pt idx="2227">
                  <c:v>285.49607381127498</c:v>
                </c:pt>
                <c:pt idx="2228">
                  <c:v>284.37377816382269</c:v>
                </c:pt>
                <c:pt idx="2229">
                  <c:v>282.73754662909624</c:v>
                </c:pt>
                <c:pt idx="2230">
                  <c:v>284.75481041020225</c:v>
                </c:pt>
                <c:pt idx="2231">
                  <c:v>283.63243672364217</c:v>
                </c:pt>
                <c:pt idx="2232">
                  <c:v>285.47534773954141</c:v>
                </c:pt>
                <c:pt idx="2233">
                  <c:v>286.65501419154873</c:v>
                </c:pt>
                <c:pt idx="2234">
                  <c:v>286.06002657623196</c:v>
                </c:pt>
                <c:pt idx="2235">
                  <c:v>286.44235738158244</c:v>
                </c:pt>
                <c:pt idx="2236">
                  <c:v>286.05766153336924</c:v>
                </c:pt>
                <c:pt idx="2237">
                  <c:v>285.05757454281013</c:v>
                </c:pt>
                <c:pt idx="2238">
                  <c:v>287.21595820843652</c:v>
                </c:pt>
                <c:pt idx="2239">
                  <c:v>287.2530405296659</c:v>
                </c:pt>
                <c:pt idx="2240">
                  <c:v>286.88856043596388</c:v>
                </c:pt>
                <c:pt idx="2241">
                  <c:v>284.95056637973164</c:v>
                </c:pt>
                <c:pt idx="2242">
                  <c:v>287.55708262461741</c:v>
                </c:pt>
                <c:pt idx="2243">
                  <c:v>287.10759467756549</c:v>
                </c:pt>
                <c:pt idx="2244">
                  <c:v>287.84140698533798</c:v>
                </c:pt>
                <c:pt idx="2245">
                  <c:v>287.90494034255198</c:v>
                </c:pt>
                <c:pt idx="2246">
                  <c:v>289.25946995393122</c:v>
                </c:pt>
                <c:pt idx="2247">
                  <c:v>288.50115645966429</c:v>
                </c:pt>
                <c:pt idx="2248">
                  <c:v>290.59053821858964</c:v>
                </c:pt>
                <c:pt idx="2249">
                  <c:v>289.7118139150906</c:v>
                </c:pt>
                <c:pt idx="2250">
                  <c:v>288.52139245783502</c:v>
                </c:pt>
                <c:pt idx="2251">
                  <c:v>288.38860809075373</c:v>
                </c:pt>
                <c:pt idx="2252">
                  <c:v>291.36714949691827</c:v>
                </c:pt>
                <c:pt idx="2253">
                  <c:v>290.19782948786855</c:v>
                </c:pt>
                <c:pt idx="2254">
                  <c:v>288.00573338691487</c:v>
                </c:pt>
                <c:pt idx="2255">
                  <c:v>288.78555503105446</c:v>
                </c:pt>
                <c:pt idx="2256">
                  <c:v>288.9475986059345</c:v>
                </c:pt>
                <c:pt idx="2257">
                  <c:v>288.9475986059345</c:v>
                </c:pt>
                <c:pt idx="2258">
                  <c:v>288.9475986059345</c:v>
                </c:pt>
                <c:pt idx="2259">
                  <c:v>289.00159351953351</c:v>
                </c:pt>
                <c:pt idx="2260">
                  <c:v>288.42533625072701</c:v>
                </c:pt>
                <c:pt idx="2261">
                  <c:v>288.01000464892923</c:v>
                </c:pt>
                <c:pt idx="2262">
                  <c:v>288.01000464892923</c:v>
                </c:pt>
                <c:pt idx="2263">
                  <c:v>286.98772717048377</c:v>
                </c:pt>
                <c:pt idx="2264">
                  <c:v>288.09752147623794</c:v>
                </c:pt>
                <c:pt idx="2265">
                  <c:v>290.36898590553255</c:v>
                </c:pt>
                <c:pt idx="2266">
                  <c:v>293.85624424691497</c:v>
                </c:pt>
                <c:pt idx="2267">
                  <c:v>294.23700057003259</c:v>
                </c:pt>
                <c:pt idx="2268">
                  <c:v>295.49228588311462</c:v>
                </c:pt>
                <c:pt idx="2269">
                  <c:v>293.12383914139912</c:v>
                </c:pt>
                <c:pt idx="2270">
                  <c:v>291.70768971211515</c:v>
                </c:pt>
                <c:pt idx="2271">
                  <c:v>293.04067984673617</c:v>
                </c:pt>
                <c:pt idx="2272">
                  <c:v>292.62207595516787</c:v>
                </c:pt>
                <c:pt idx="2273">
                  <c:v>293.72213037226095</c:v>
                </c:pt>
                <c:pt idx="2274">
                  <c:v>293.73122309289505</c:v>
                </c:pt>
                <c:pt idx="2275">
                  <c:v>293.66600464830509</c:v>
                </c:pt>
                <c:pt idx="2276">
                  <c:v>295.62524577321358</c:v>
                </c:pt>
                <c:pt idx="2277">
                  <c:v>295.49837127208269</c:v>
                </c:pt>
                <c:pt idx="2278">
                  <c:v>296.53883132111719</c:v>
                </c:pt>
                <c:pt idx="2279">
                  <c:v>294.56495361903364</c:v>
                </c:pt>
                <c:pt idx="2280">
                  <c:v>292.37812638536684</c:v>
                </c:pt>
                <c:pt idx="2281">
                  <c:v>294.71147920404161</c:v>
                </c:pt>
                <c:pt idx="2282">
                  <c:v>293.94261331893483</c:v>
                </c:pt>
                <c:pt idx="2283">
                  <c:v>292.10137102116119</c:v>
                </c:pt>
                <c:pt idx="2284">
                  <c:v>292.05066416557213</c:v>
                </c:pt>
              </c:numCache>
            </c:numRef>
          </c:val>
          <c:smooth val="0"/>
          <c:extLst xmlns:c16r2="http://schemas.microsoft.com/office/drawing/2015/06/chart">
            <c:ext xmlns:c16="http://schemas.microsoft.com/office/drawing/2014/chart" uri="{C3380CC4-5D6E-409C-BE32-E72D297353CC}">
              <c16:uniqueId val="{00000001-7127-4EE7-81B7-88A877082DDF}"/>
            </c:ext>
          </c:extLst>
        </c:ser>
        <c:ser>
          <c:idx val="1"/>
          <c:order val="1"/>
          <c:tx>
            <c:v>Benchmark</c:v>
          </c:tx>
          <c:spPr>
            <a:ln w="28575">
              <a:solidFill>
                <a:srgbClr val="009EE0"/>
              </a:solidFill>
              <a:prstDash val="solid"/>
            </a:ln>
          </c:spPr>
          <c:marker>
            <c:symbol val="none"/>
          </c:marker>
          <c:cat>
            <c:numRef>
              <c:f>'Amundi Fds Europe MinVar BRUT'!$C$5:$C$2289</c:f>
              <c:numCache>
                <c:formatCode>m/d/yyyy</c:formatCode>
                <c:ptCount val="2285"/>
                <c:pt idx="0">
                  <c:v>39933</c:v>
                </c:pt>
                <c:pt idx="1">
                  <c:v>39934</c:v>
                </c:pt>
                <c:pt idx="2">
                  <c:v>39937</c:v>
                </c:pt>
                <c:pt idx="3">
                  <c:v>39938</c:v>
                </c:pt>
                <c:pt idx="4">
                  <c:v>39939</c:v>
                </c:pt>
                <c:pt idx="5">
                  <c:v>39940</c:v>
                </c:pt>
                <c:pt idx="6">
                  <c:v>39941</c:v>
                </c:pt>
                <c:pt idx="7">
                  <c:v>39944</c:v>
                </c:pt>
                <c:pt idx="8">
                  <c:v>39945</c:v>
                </c:pt>
                <c:pt idx="9">
                  <c:v>39946</c:v>
                </c:pt>
                <c:pt idx="10">
                  <c:v>39947</c:v>
                </c:pt>
                <c:pt idx="11">
                  <c:v>39948</c:v>
                </c:pt>
                <c:pt idx="12">
                  <c:v>39951</c:v>
                </c:pt>
                <c:pt idx="13">
                  <c:v>39952</c:v>
                </c:pt>
                <c:pt idx="14">
                  <c:v>39953</c:v>
                </c:pt>
                <c:pt idx="15">
                  <c:v>39954</c:v>
                </c:pt>
                <c:pt idx="16">
                  <c:v>39955</c:v>
                </c:pt>
                <c:pt idx="17">
                  <c:v>39958</c:v>
                </c:pt>
                <c:pt idx="18">
                  <c:v>39959</c:v>
                </c:pt>
                <c:pt idx="19">
                  <c:v>39960</c:v>
                </c:pt>
                <c:pt idx="20">
                  <c:v>39961</c:v>
                </c:pt>
                <c:pt idx="21">
                  <c:v>39962</c:v>
                </c:pt>
                <c:pt idx="22">
                  <c:v>39965</c:v>
                </c:pt>
                <c:pt idx="23">
                  <c:v>39966</c:v>
                </c:pt>
                <c:pt idx="24">
                  <c:v>39967</c:v>
                </c:pt>
                <c:pt idx="25">
                  <c:v>39968</c:v>
                </c:pt>
                <c:pt idx="26">
                  <c:v>39969</c:v>
                </c:pt>
                <c:pt idx="27">
                  <c:v>39972</c:v>
                </c:pt>
                <c:pt idx="28">
                  <c:v>39973</c:v>
                </c:pt>
                <c:pt idx="29">
                  <c:v>39974</c:v>
                </c:pt>
                <c:pt idx="30">
                  <c:v>39975</c:v>
                </c:pt>
                <c:pt idx="31">
                  <c:v>39976</c:v>
                </c:pt>
                <c:pt idx="32">
                  <c:v>39979</c:v>
                </c:pt>
                <c:pt idx="33">
                  <c:v>39980</c:v>
                </c:pt>
                <c:pt idx="34">
                  <c:v>39981</c:v>
                </c:pt>
                <c:pt idx="35">
                  <c:v>39982</c:v>
                </c:pt>
                <c:pt idx="36">
                  <c:v>39983</c:v>
                </c:pt>
                <c:pt idx="37">
                  <c:v>39986</c:v>
                </c:pt>
                <c:pt idx="38">
                  <c:v>39987</c:v>
                </c:pt>
                <c:pt idx="39">
                  <c:v>39988</c:v>
                </c:pt>
                <c:pt idx="40">
                  <c:v>39989</c:v>
                </c:pt>
                <c:pt idx="41">
                  <c:v>39990</c:v>
                </c:pt>
                <c:pt idx="42">
                  <c:v>39993</c:v>
                </c:pt>
                <c:pt idx="43">
                  <c:v>39994</c:v>
                </c:pt>
                <c:pt idx="44">
                  <c:v>39995</c:v>
                </c:pt>
                <c:pt idx="45">
                  <c:v>39996</c:v>
                </c:pt>
                <c:pt idx="46">
                  <c:v>39997</c:v>
                </c:pt>
                <c:pt idx="47">
                  <c:v>40000</c:v>
                </c:pt>
                <c:pt idx="48">
                  <c:v>40001</c:v>
                </c:pt>
                <c:pt idx="49">
                  <c:v>40002</c:v>
                </c:pt>
                <c:pt idx="50">
                  <c:v>40003</c:v>
                </c:pt>
                <c:pt idx="51">
                  <c:v>40004</c:v>
                </c:pt>
                <c:pt idx="52">
                  <c:v>40007</c:v>
                </c:pt>
                <c:pt idx="53">
                  <c:v>40008</c:v>
                </c:pt>
                <c:pt idx="54">
                  <c:v>40009</c:v>
                </c:pt>
                <c:pt idx="55">
                  <c:v>40010</c:v>
                </c:pt>
                <c:pt idx="56">
                  <c:v>40011</c:v>
                </c:pt>
                <c:pt idx="57">
                  <c:v>40014</c:v>
                </c:pt>
                <c:pt idx="58">
                  <c:v>40015</c:v>
                </c:pt>
                <c:pt idx="59">
                  <c:v>40016</c:v>
                </c:pt>
                <c:pt idx="60">
                  <c:v>40017</c:v>
                </c:pt>
                <c:pt idx="61">
                  <c:v>40018</c:v>
                </c:pt>
                <c:pt idx="62">
                  <c:v>40021</c:v>
                </c:pt>
                <c:pt idx="63">
                  <c:v>40022</c:v>
                </c:pt>
                <c:pt idx="64">
                  <c:v>40023</c:v>
                </c:pt>
                <c:pt idx="65">
                  <c:v>40024</c:v>
                </c:pt>
                <c:pt idx="66">
                  <c:v>40025</c:v>
                </c:pt>
                <c:pt idx="67">
                  <c:v>40028</c:v>
                </c:pt>
                <c:pt idx="68">
                  <c:v>40029</c:v>
                </c:pt>
                <c:pt idx="69">
                  <c:v>40030</c:v>
                </c:pt>
                <c:pt idx="70">
                  <c:v>40031</c:v>
                </c:pt>
                <c:pt idx="71">
                  <c:v>40032</c:v>
                </c:pt>
                <c:pt idx="72">
                  <c:v>40035</c:v>
                </c:pt>
                <c:pt idx="73">
                  <c:v>40036</c:v>
                </c:pt>
                <c:pt idx="74">
                  <c:v>40037</c:v>
                </c:pt>
                <c:pt idx="75">
                  <c:v>40038</c:v>
                </c:pt>
                <c:pt idx="76">
                  <c:v>40039</c:v>
                </c:pt>
                <c:pt idx="77">
                  <c:v>40042</c:v>
                </c:pt>
                <c:pt idx="78">
                  <c:v>40043</c:v>
                </c:pt>
                <c:pt idx="79">
                  <c:v>40044</c:v>
                </c:pt>
                <c:pt idx="80">
                  <c:v>40045</c:v>
                </c:pt>
                <c:pt idx="81">
                  <c:v>40046</c:v>
                </c:pt>
                <c:pt idx="82">
                  <c:v>40049</c:v>
                </c:pt>
                <c:pt idx="83">
                  <c:v>40050</c:v>
                </c:pt>
                <c:pt idx="84">
                  <c:v>40051</c:v>
                </c:pt>
                <c:pt idx="85">
                  <c:v>40052</c:v>
                </c:pt>
                <c:pt idx="86">
                  <c:v>40053</c:v>
                </c:pt>
                <c:pt idx="87">
                  <c:v>40056</c:v>
                </c:pt>
                <c:pt idx="88">
                  <c:v>40057</c:v>
                </c:pt>
                <c:pt idx="89">
                  <c:v>40058</c:v>
                </c:pt>
                <c:pt idx="90">
                  <c:v>40059</c:v>
                </c:pt>
                <c:pt idx="91">
                  <c:v>40060</c:v>
                </c:pt>
                <c:pt idx="92">
                  <c:v>40063</c:v>
                </c:pt>
                <c:pt idx="93">
                  <c:v>40064</c:v>
                </c:pt>
                <c:pt idx="94">
                  <c:v>40065</c:v>
                </c:pt>
                <c:pt idx="95">
                  <c:v>40066</c:v>
                </c:pt>
                <c:pt idx="96">
                  <c:v>40067</c:v>
                </c:pt>
                <c:pt idx="97">
                  <c:v>40070</c:v>
                </c:pt>
                <c:pt idx="98">
                  <c:v>40071</c:v>
                </c:pt>
                <c:pt idx="99">
                  <c:v>40072</c:v>
                </c:pt>
                <c:pt idx="100">
                  <c:v>40073</c:v>
                </c:pt>
                <c:pt idx="101">
                  <c:v>40074</c:v>
                </c:pt>
                <c:pt idx="102">
                  <c:v>40077</c:v>
                </c:pt>
                <c:pt idx="103">
                  <c:v>40078</c:v>
                </c:pt>
                <c:pt idx="104">
                  <c:v>40079</c:v>
                </c:pt>
                <c:pt idx="105">
                  <c:v>40080</c:v>
                </c:pt>
                <c:pt idx="106">
                  <c:v>40081</c:v>
                </c:pt>
                <c:pt idx="107">
                  <c:v>40084</c:v>
                </c:pt>
                <c:pt idx="108">
                  <c:v>40085</c:v>
                </c:pt>
                <c:pt idx="109">
                  <c:v>40086</c:v>
                </c:pt>
                <c:pt idx="110">
                  <c:v>40087</c:v>
                </c:pt>
                <c:pt idx="111">
                  <c:v>40088</c:v>
                </c:pt>
                <c:pt idx="112">
                  <c:v>40091</c:v>
                </c:pt>
                <c:pt idx="113">
                  <c:v>40092</c:v>
                </c:pt>
                <c:pt idx="114">
                  <c:v>40093</c:v>
                </c:pt>
                <c:pt idx="115">
                  <c:v>40094</c:v>
                </c:pt>
                <c:pt idx="116">
                  <c:v>40095</c:v>
                </c:pt>
                <c:pt idx="117">
                  <c:v>40098</c:v>
                </c:pt>
                <c:pt idx="118">
                  <c:v>40099</c:v>
                </c:pt>
                <c:pt idx="119">
                  <c:v>40100</c:v>
                </c:pt>
                <c:pt idx="120">
                  <c:v>40101</c:v>
                </c:pt>
                <c:pt idx="121">
                  <c:v>40102</c:v>
                </c:pt>
                <c:pt idx="122">
                  <c:v>40105</c:v>
                </c:pt>
                <c:pt idx="123">
                  <c:v>40106</c:v>
                </c:pt>
                <c:pt idx="124">
                  <c:v>40107</c:v>
                </c:pt>
                <c:pt idx="125">
                  <c:v>40108</c:v>
                </c:pt>
                <c:pt idx="126">
                  <c:v>40109</c:v>
                </c:pt>
                <c:pt idx="127">
                  <c:v>40112</c:v>
                </c:pt>
                <c:pt idx="128">
                  <c:v>40113</c:v>
                </c:pt>
                <c:pt idx="129">
                  <c:v>40114</c:v>
                </c:pt>
                <c:pt idx="130">
                  <c:v>40115</c:v>
                </c:pt>
                <c:pt idx="131">
                  <c:v>40116</c:v>
                </c:pt>
                <c:pt idx="132">
                  <c:v>40119</c:v>
                </c:pt>
                <c:pt idx="133">
                  <c:v>40120</c:v>
                </c:pt>
                <c:pt idx="134">
                  <c:v>40121</c:v>
                </c:pt>
                <c:pt idx="135">
                  <c:v>40122</c:v>
                </c:pt>
                <c:pt idx="136">
                  <c:v>40123</c:v>
                </c:pt>
                <c:pt idx="137">
                  <c:v>40126</c:v>
                </c:pt>
                <c:pt idx="138">
                  <c:v>40127</c:v>
                </c:pt>
                <c:pt idx="139">
                  <c:v>40128</c:v>
                </c:pt>
                <c:pt idx="140">
                  <c:v>40129</c:v>
                </c:pt>
                <c:pt idx="141">
                  <c:v>40130</c:v>
                </c:pt>
                <c:pt idx="142">
                  <c:v>40133</c:v>
                </c:pt>
                <c:pt idx="143">
                  <c:v>40134</c:v>
                </c:pt>
                <c:pt idx="144">
                  <c:v>40135</c:v>
                </c:pt>
                <c:pt idx="145">
                  <c:v>40136</c:v>
                </c:pt>
                <c:pt idx="146">
                  <c:v>40137</c:v>
                </c:pt>
                <c:pt idx="147">
                  <c:v>40140</c:v>
                </c:pt>
                <c:pt idx="148">
                  <c:v>40141</c:v>
                </c:pt>
                <c:pt idx="149">
                  <c:v>40142</c:v>
                </c:pt>
                <c:pt idx="150">
                  <c:v>40143</c:v>
                </c:pt>
                <c:pt idx="151">
                  <c:v>40144</c:v>
                </c:pt>
                <c:pt idx="152">
                  <c:v>40147</c:v>
                </c:pt>
                <c:pt idx="153">
                  <c:v>40148</c:v>
                </c:pt>
                <c:pt idx="154">
                  <c:v>40149</c:v>
                </c:pt>
                <c:pt idx="155">
                  <c:v>40150</c:v>
                </c:pt>
                <c:pt idx="156">
                  <c:v>40151</c:v>
                </c:pt>
                <c:pt idx="157">
                  <c:v>40154</c:v>
                </c:pt>
                <c:pt idx="158">
                  <c:v>40155</c:v>
                </c:pt>
                <c:pt idx="159">
                  <c:v>40156</c:v>
                </c:pt>
                <c:pt idx="160">
                  <c:v>40157</c:v>
                </c:pt>
                <c:pt idx="161">
                  <c:v>40158</c:v>
                </c:pt>
                <c:pt idx="162">
                  <c:v>40161</c:v>
                </c:pt>
                <c:pt idx="163">
                  <c:v>40162</c:v>
                </c:pt>
                <c:pt idx="164">
                  <c:v>40163</c:v>
                </c:pt>
                <c:pt idx="165">
                  <c:v>40164</c:v>
                </c:pt>
                <c:pt idx="166">
                  <c:v>40165</c:v>
                </c:pt>
                <c:pt idx="167">
                  <c:v>40168</c:v>
                </c:pt>
                <c:pt idx="168">
                  <c:v>40169</c:v>
                </c:pt>
                <c:pt idx="169">
                  <c:v>40170</c:v>
                </c:pt>
                <c:pt idx="170">
                  <c:v>40171</c:v>
                </c:pt>
                <c:pt idx="171">
                  <c:v>40172</c:v>
                </c:pt>
                <c:pt idx="172">
                  <c:v>40175</c:v>
                </c:pt>
                <c:pt idx="173">
                  <c:v>40176</c:v>
                </c:pt>
                <c:pt idx="174">
                  <c:v>40177</c:v>
                </c:pt>
                <c:pt idx="175">
                  <c:v>40178</c:v>
                </c:pt>
                <c:pt idx="176">
                  <c:v>40179</c:v>
                </c:pt>
                <c:pt idx="177">
                  <c:v>40182</c:v>
                </c:pt>
                <c:pt idx="178">
                  <c:v>40183</c:v>
                </c:pt>
                <c:pt idx="179">
                  <c:v>40184</c:v>
                </c:pt>
                <c:pt idx="180">
                  <c:v>40185</c:v>
                </c:pt>
                <c:pt idx="181">
                  <c:v>40186</c:v>
                </c:pt>
                <c:pt idx="182">
                  <c:v>40189</c:v>
                </c:pt>
                <c:pt idx="183">
                  <c:v>40190</c:v>
                </c:pt>
                <c:pt idx="184">
                  <c:v>40191</c:v>
                </c:pt>
                <c:pt idx="185">
                  <c:v>40192</c:v>
                </c:pt>
                <c:pt idx="186">
                  <c:v>40193</c:v>
                </c:pt>
                <c:pt idx="187">
                  <c:v>40196</c:v>
                </c:pt>
                <c:pt idx="188">
                  <c:v>40197</c:v>
                </c:pt>
                <c:pt idx="189">
                  <c:v>40198</c:v>
                </c:pt>
                <c:pt idx="190">
                  <c:v>40199</c:v>
                </c:pt>
                <c:pt idx="191">
                  <c:v>40200</c:v>
                </c:pt>
                <c:pt idx="192">
                  <c:v>40203</c:v>
                </c:pt>
                <c:pt idx="193">
                  <c:v>40204</c:v>
                </c:pt>
                <c:pt idx="194">
                  <c:v>40205</c:v>
                </c:pt>
                <c:pt idx="195">
                  <c:v>40206</c:v>
                </c:pt>
                <c:pt idx="196">
                  <c:v>40207</c:v>
                </c:pt>
                <c:pt idx="197">
                  <c:v>40210</c:v>
                </c:pt>
                <c:pt idx="198">
                  <c:v>40211</c:v>
                </c:pt>
                <c:pt idx="199">
                  <c:v>40212</c:v>
                </c:pt>
                <c:pt idx="200">
                  <c:v>40213</c:v>
                </c:pt>
                <c:pt idx="201">
                  <c:v>40214</c:v>
                </c:pt>
                <c:pt idx="202">
                  <c:v>40217</c:v>
                </c:pt>
                <c:pt idx="203">
                  <c:v>40218</c:v>
                </c:pt>
                <c:pt idx="204">
                  <c:v>40219</c:v>
                </c:pt>
                <c:pt idx="205">
                  <c:v>40220</c:v>
                </c:pt>
                <c:pt idx="206">
                  <c:v>40221</c:v>
                </c:pt>
                <c:pt idx="207">
                  <c:v>40224</c:v>
                </c:pt>
                <c:pt idx="208">
                  <c:v>40225</c:v>
                </c:pt>
                <c:pt idx="209">
                  <c:v>40226</c:v>
                </c:pt>
                <c:pt idx="210">
                  <c:v>40227</c:v>
                </c:pt>
                <c:pt idx="211">
                  <c:v>40228</c:v>
                </c:pt>
                <c:pt idx="212">
                  <c:v>40231</c:v>
                </c:pt>
                <c:pt idx="213">
                  <c:v>40232</c:v>
                </c:pt>
                <c:pt idx="214">
                  <c:v>40233</c:v>
                </c:pt>
                <c:pt idx="215">
                  <c:v>40234</c:v>
                </c:pt>
                <c:pt idx="216">
                  <c:v>40235</c:v>
                </c:pt>
                <c:pt idx="217">
                  <c:v>40238</c:v>
                </c:pt>
                <c:pt idx="218">
                  <c:v>40239</c:v>
                </c:pt>
                <c:pt idx="219">
                  <c:v>40240</c:v>
                </c:pt>
                <c:pt idx="220">
                  <c:v>40241</c:v>
                </c:pt>
                <c:pt idx="221">
                  <c:v>40242</c:v>
                </c:pt>
                <c:pt idx="222">
                  <c:v>40245</c:v>
                </c:pt>
                <c:pt idx="223">
                  <c:v>40246</c:v>
                </c:pt>
                <c:pt idx="224">
                  <c:v>40247</c:v>
                </c:pt>
                <c:pt idx="225">
                  <c:v>40248</c:v>
                </c:pt>
                <c:pt idx="226">
                  <c:v>40249</c:v>
                </c:pt>
                <c:pt idx="227">
                  <c:v>40252</c:v>
                </c:pt>
                <c:pt idx="228">
                  <c:v>40253</c:v>
                </c:pt>
                <c:pt idx="229">
                  <c:v>40254</c:v>
                </c:pt>
                <c:pt idx="230">
                  <c:v>40255</c:v>
                </c:pt>
                <c:pt idx="231">
                  <c:v>40256</c:v>
                </c:pt>
                <c:pt idx="232">
                  <c:v>40259</c:v>
                </c:pt>
                <c:pt idx="233">
                  <c:v>40260</c:v>
                </c:pt>
                <c:pt idx="234">
                  <c:v>40261</c:v>
                </c:pt>
                <c:pt idx="235">
                  <c:v>40262</c:v>
                </c:pt>
                <c:pt idx="236">
                  <c:v>40263</c:v>
                </c:pt>
                <c:pt idx="237">
                  <c:v>40266</c:v>
                </c:pt>
                <c:pt idx="238">
                  <c:v>40267</c:v>
                </c:pt>
                <c:pt idx="239">
                  <c:v>40268</c:v>
                </c:pt>
                <c:pt idx="240">
                  <c:v>40269</c:v>
                </c:pt>
                <c:pt idx="241">
                  <c:v>40270</c:v>
                </c:pt>
                <c:pt idx="242">
                  <c:v>40273</c:v>
                </c:pt>
                <c:pt idx="243">
                  <c:v>40274</c:v>
                </c:pt>
                <c:pt idx="244">
                  <c:v>40275</c:v>
                </c:pt>
                <c:pt idx="245">
                  <c:v>40276</c:v>
                </c:pt>
                <c:pt idx="246">
                  <c:v>40277</c:v>
                </c:pt>
                <c:pt idx="247">
                  <c:v>40280</c:v>
                </c:pt>
                <c:pt idx="248">
                  <c:v>40281</c:v>
                </c:pt>
                <c:pt idx="249">
                  <c:v>40282</c:v>
                </c:pt>
                <c:pt idx="250">
                  <c:v>40283</c:v>
                </c:pt>
                <c:pt idx="251">
                  <c:v>40284</c:v>
                </c:pt>
                <c:pt idx="252">
                  <c:v>40287</c:v>
                </c:pt>
                <c:pt idx="253">
                  <c:v>40288</c:v>
                </c:pt>
                <c:pt idx="254">
                  <c:v>40289</c:v>
                </c:pt>
                <c:pt idx="255">
                  <c:v>40290</c:v>
                </c:pt>
                <c:pt idx="256">
                  <c:v>40291</c:v>
                </c:pt>
                <c:pt idx="257">
                  <c:v>40294</c:v>
                </c:pt>
                <c:pt idx="258">
                  <c:v>40295</c:v>
                </c:pt>
                <c:pt idx="259">
                  <c:v>40296</c:v>
                </c:pt>
                <c:pt idx="260">
                  <c:v>40297</c:v>
                </c:pt>
                <c:pt idx="261">
                  <c:v>40298</c:v>
                </c:pt>
                <c:pt idx="262">
                  <c:v>40301</c:v>
                </c:pt>
                <c:pt idx="263">
                  <c:v>40302</c:v>
                </c:pt>
                <c:pt idx="264">
                  <c:v>40303</c:v>
                </c:pt>
                <c:pt idx="265">
                  <c:v>40304</c:v>
                </c:pt>
                <c:pt idx="266">
                  <c:v>40305</c:v>
                </c:pt>
                <c:pt idx="267">
                  <c:v>40308</c:v>
                </c:pt>
                <c:pt idx="268">
                  <c:v>40309</c:v>
                </c:pt>
                <c:pt idx="269">
                  <c:v>40310</c:v>
                </c:pt>
                <c:pt idx="270">
                  <c:v>40311</c:v>
                </c:pt>
                <c:pt idx="271">
                  <c:v>40312</c:v>
                </c:pt>
                <c:pt idx="272">
                  <c:v>40315</c:v>
                </c:pt>
                <c:pt idx="273">
                  <c:v>40316</c:v>
                </c:pt>
                <c:pt idx="274">
                  <c:v>40317</c:v>
                </c:pt>
                <c:pt idx="275">
                  <c:v>40318</c:v>
                </c:pt>
                <c:pt idx="276">
                  <c:v>40319</c:v>
                </c:pt>
                <c:pt idx="277">
                  <c:v>40322</c:v>
                </c:pt>
                <c:pt idx="278">
                  <c:v>40323</c:v>
                </c:pt>
                <c:pt idx="279">
                  <c:v>40324</c:v>
                </c:pt>
                <c:pt idx="280">
                  <c:v>40325</c:v>
                </c:pt>
                <c:pt idx="281">
                  <c:v>40326</c:v>
                </c:pt>
                <c:pt idx="282">
                  <c:v>40329</c:v>
                </c:pt>
                <c:pt idx="283">
                  <c:v>40330</c:v>
                </c:pt>
                <c:pt idx="284">
                  <c:v>40331</c:v>
                </c:pt>
                <c:pt idx="285">
                  <c:v>40332</c:v>
                </c:pt>
                <c:pt idx="286">
                  <c:v>40333</c:v>
                </c:pt>
                <c:pt idx="287">
                  <c:v>40336</c:v>
                </c:pt>
                <c:pt idx="288">
                  <c:v>40337</c:v>
                </c:pt>
                <c:pt idx="289">
                  <c:v>40338</c:v>
                </c:pt>
                <c:pt idx="290">
                  <c:v>40339</c:v>
                </c:pt>
                <c:pt idx="291">
                  <c:v>40340</c:v>
                </c:pt>
                <c:pt idx="292">
                  <c:v>40343</c:v>
                </c:pt>
                <c:pt idx="293">
                  <c:v>40344</c:v>
                </c:pt>
                <c:pt idx="294">
                  <c:v>40345</c:v>
                </c:pt>
                <c:pt idx="295">
                  <c:v>40346</c:v>
                </c:pt>
                <c:pt idx="296">
                  <c:v>40347</c:v>
                </c:pt>
                <c:pt idx="297">
                  <c:v>40350</c:v>
                </c:pt>
                <c:pt idx="298">
                  <c:v>40351</c:v>
                </c:pt>
                <c:pt idx="299">
                  <c:v>40352</c:v>
                </c:pt>
                <c:pt idx="300">
                  <c:v>40353</c:v>
                </c:pt>
                <c:pt idx="301">
                  <c:v>40354</c:v>
                </c:pt>
                <c:pt idx="302">
                  <c:v>40357</c:v>
                </c:pt>
                <c:pt idx="303">
                  <c:v>40358</c:v>
                </c:pt>
                <c:pt idx="304">
                  <c:v>40359</c:v>
                </c:pt>
                <c:pt idx="305">
                  <c:v>40360</c:v>
                </c:pt>
                <c:pt idx="306">
                  <c:v>40361</c:v>
                </c:pt>
                <c:pt idx="307">
                  <c:v>40364</c:v>
                </c:pt>
                <c:pt idx="308">
                  <c:v>40365</c:v>
                </c:pt>
                <c:pt idx="309">
                  <c:v>40366</c:v>
                </c:pt>
                <c:pt idx="310">
                  <c:v>40367</c:v>
                </c:pt>
                <c:pt idx="311">
                  <c:v>40368</c:v>
                </c:pt>
                <c:pt idx="312">
                  <c:v>40371</c:v>
                </c:pt>
                <c:pt idx="313">
                  <c:v>40372</c:v>
                </c:pt>
                <c:pt idx="314">
                  <c:v>40373</c:v>
                </c:pt>
                <c:pt idx="315">
                  <c:v>40374</c:v>
                </c:pt>
                <c:pt idx="316">
                  <c:v>40375</c:v>
                </c:pt>
                <c:pt idx="317">
                  <c:v>40378</c:v>
                </c:pt>
                <c:pt idx="318">
                  <c:v>40379</c:v>
                </c:pt>
                <c:pt idx="319">
                  <c:v>40380</c:v>
                </c:pt>
                <c:pt idx="320">
                  <c:v>40381</c:v>
                </c:pt>
                <c:pt idx="321">
                  <c:v>40382</c:v>
                </c:pt>
                <c:pt idx="322">
                  <c:v>40385</c:v>
                </c:pt>
                <c:pt idx="323">
                  <c:v>40386</c:v>
                </c:pt>
                <c:pt idx="324">
                  <c:v>40387</c:v>
                </c:pt>
                <c:pt idx="325">
                  <c:v>40388</c:v>
                </c:pt>
                <c:pt idx="326">
                  <c:v>40389</c:v>
                </c:pt>
                <c:pt idx="327">
                  <c:v>40392</c:v>
                </c:pt>
                <c:pt idx="328">
                  <c:v>40393</c:v>
                </c:pt>
                <c:pt idx="329">
                  <c:v>40394</c:v>
                </c:pt>
                <c:pt idx="330">
                  <c:v>40395</c:v>
                </c:pt>
                <c:pt idx="331">
                  <c:v>40396</c:v>
                </c:pt>
                <c:pt idx="332">
                  <c:v>40399</c:v>
                </c:pt>
                <c:pt idx="333">
                  <c:v>40400</c:v>
                </c:pt>
                <c:pt idx="334">
                  <c:v>40401</c:v>
                </c:pt>
                <c:pt idx="335">
                  <c:v>40402</c:v>
                </c:pt>
                <c:pt idx="336">
                  <c:v>40403</c:v>
                </c:pt>
                <c:pt idx="337">
                  <c:v>40406</c:v>
                </c:pt>
                <c:pt idx="338">
                  <c:v>40407</c:v>
                </c:pt>
                <c:pt idx="339">
                  <c:v>40408</c:v>
                </c:pt>
                <c:pt idx="340">
                  <c:v>40409</c:v>
                </c:pt>
                <c:pt idx="341">
                  <c:v>40410</c:v>
                </c:pt>
                <c:pt idx="342">
                  <c:v>40413</c:v>
                </c:pt>
                <c:pt idx="343">
                  <c:v>40414</c:v>
                </c:pt>
                <c:pt idx="344">
                  <c:v>40415</c:v>
                </c:pt>
                <c:pt idx="345">
                  <c:v>40416</c:v>
                </c:pt>
                <c:pt idx="346">
                  <c:v>40417</c:v>
                </c:pt>
                <c:pt idx="347">
                  <c:v>40420</c:v>
                </c:pt>
                <c:pt idx="348">
                  <c:v>40421</c:v>
                </c:pt>
                <c:pt idx="349">
                  <c:v>40422</c:v>
                </c:pt>
                <c:pt idx="350">
                  <c:v>40423</c:v>
                </c:pt>
                <c:pt idx="351">
                  <c:v>40424</c:v>
                </c:pt>
                <c:pt idx="352">
                  <c:v>40427</c:v>
                </c:pt>
                <c:pt idx="353">
                  <c:v>40428</c:v>
                </c:pt>
                <c:pt idx="354">
                  <c:v>40429</c:v>
                </c:pt>
                <c:pt idx="355">
                  <c:v>40430</c:v>
                </c:pt>
                <c:pt idx="356">
                  <c:v>40431</c:v>
                </c:pt>
                <c:pt idx="357">
                  <c:v>40434</c:v>
                </c:pt>
                <c:pt idx="358">
                  <c:v>40435</c:v>
                </c:pt>
                <c:pt idx="359">
                  <c:v>40436</c:v>
                </c:pt>
                <c:pt idx="360">
                  <c:v>40437</c:v>
                </c:pt>
                <c:pt idx="361">
                  <c:v>40438</c:v>
                </c:pt>
                <c:pt idx="362">
                  <c:v>40441</c:v>
                </c:pt>
                <c:pt idx="363">
                  <c:v>40442</c:v>
                </c:pt>
                <c:pt idx="364">
                  <c:v>40443</c:v>
                </c:pt>
                <c:pt idx="365">
                  <c:v>40444</c:v>
                </c:pt>
                <c:pt idx="366">
                  <c:v>40445</c:v>
                </c:pt>
                <c:pt idx="367">
                  <c:v>40448</c:v>
                </c:pt>
                <c:pt idx="368">
                  <c:v>40449</c:v>
                </c:pt>
                <c:pt idx="369">
                  <c:v>40450</c:v>
                </c:pt>
                <c:pt idx="370">
                  <c:v>40451</c:v>
                </c:pt>
                <c:pt idx="371">
                  <c:v>40452</c:v>
                </c:pt>
                <c:pt idx="372">
                  <c:v>40455</c:v>
                </c:pt>
                <c:pt idx="373">
                  <c:v>40456</c:v>
                </c:pt>
                <c:pt idx="374">
                  <c:v>40457</c:v>
                </c:pt>
                <c:pt idx="375">
                  <c:v>40458</c:v>
                </c:pt>
                <c:pt idx="376">
                  <c:v>40459</c:v>
                </c:pt>
                <c:pt idx="377">
                  <c:v>40462</c:v>
                </c:pt>
                <c:pt idx="378">
                  <c:v>40463</c:v>
                </c:pt>
                <c:pt idx="379">
                  <c:v>40464</c:v>
                </c:pt>
                <c:pt idx="380">
                  <c:v>40465</c:v>
                </c:pt>
                <c:pt idx="381">
                  <c:v>40466</c:v>
                </c:pt>
                <c:pt idx="382">
                  <c:v>40469</c:v>
                </c:pt>
                <c:pt idx="383">
                  <c:v>40470</c:v>
                </c:pt>
                <c:pt idx="384">
                  <c:v>40471</c:v>
                </c:pt>
                <c:pt idx="385">
                  <c:v>40472</c:v>
                </c:pt>
                <c:pt idx="386">
                  <c:v>40473</c:v>
                </c:pt>
                <c:pt idx="387">
                  <c:v>40476</c:v>
                </c:pt>
                <c:pt idx="388">
                  <c:v>40477</c:v>
                </c:pt>
                <c:pt idx="389">
                  <c:v>40478</c:v>
                </c:pt>
                <c:pt idx="390">
                  <c:v>40479</c:v>
                </c:pt>
                <c:pt idx="391">
                  <c:v>40480</c:v>
                </c:pt>
                <c:pt idx="392">
                  <c:v>40483</c:v>
                </c:pt>
                <c:pt idx="393">
                  <c:v>40484</c:v>
                </c:pt>
                <c:pt idx="394">
                  <c:v>40485</c:v>
                </c:pt>
                <c:pt idx="395">
                  <c:v>40486</c:v>
                </c:pt>
                <c:pt idx="396">
                  <c:v>40487</c:v>
                </c:pt>
                <c:pt idx="397">
                  <c:v>40490</c:v>
                </c:pt>
                <c:pt idx="398">
                  <c:v>40491</c:v>
                </c:pt>
                <c:pt idx="399">
                  <c:v>40492</c:v>
                </c:pt>
                <c:pt idx="400">
                  <c:v>40493</c:v>
                </c:pt>
                <c:pt idx="401">
                  <c:v>40494</c:v>
                </c:pt>
                <c:pt idx="402">
                  <c:v>40497</c:v>
                </c:pt>
                <c:pt idx="403">
                  <c:v>40498</c:v>
                </c:pt>
                <c:pt idx="404">
                  <c:v>40499</c:v>
                </c:pt>
                <c:pt idx="405">
                  <c:v>40500</c:v>
                </c:pt>
                <c:pt idx="406">
                  <c:v>40501</c:v>
                </c:pt>
                <c:pt idx="407">
                  <c:v>40504</c:v>
                </c:pt>
                <c:pt idx="408">
                  <c:v>40505</c:v>
                </c:pt>
                <c:pt idx="409">
                  <c:v>40506</c:v>
                </c:pt>
                <c:pt idx="410">
                  <c:v>40507</c:v>
                </c:pt>
                <c:pt idx="411">
                  <c:v>40508</c:v>
                </c:pt>
                <c:pt idx="412">
                  <c:v>40511</c:v>
                </c:pt>
                <c:pt idx="413">
                  <c:v>40512</c:v>
                </c:pt>
                <c:pt idx="414">
                  <c:v>40513</c:v>
                </c:pt>
                <c:pt idx="415">
                  <c:v>40514</c:v>
                </c:pt>
                <c:pt idx="416">
                  <c:v>40515</c:v>
                </c:pt>
                <c:pt idx="417">
                  <c:v>40518</c:v>
                </c:pt>
                <c:pt idx="418">
                  <c:v>40519</c:v>
                </c:pt>
                <c:pt idx="419">
                  <c:v>40520</c:v>
                </c:pt>
                <c:pt idx="420">
                  <c:v>40521</c:v>
                </c:pt>
                <c:pt idx="421">
                  <c:v>40522</c:v>
                </c:pt>
                <c:pt idx="422">
                  <c:v>40525</c:v>
                </c:pt>
                <c:pt idx="423">
                  <c:v>40526</c:v>
                </c:pt>
                <c:pt idx="424">
                  <c:v>40527</c:v>
                </c:pt>
                <c:pt idx="425">
                  <c:v>40528</c:v>
                </c:pt>
                <c:pt idx="426">
                  <c:v>40529</c:v>
                </c:pt>
                <c:pt idx="427">
                  <c:v>40532</c:v>
                </c:pt>
                <c:pt idx="428">
                  <c:v>40533</c:v>
                </c:pt>
                <c:pt idx="429">
                  <c:v>40534</c:v>
                </c:pt>
                <c:pt idx="430">
                  <c:v>40535</c:v>
                </c:pt>
                <c:pt idx="431">
                  <c:v>40536</c:v>
                </c:pt>
                <c:pt idx="432">
                  <c:v>40539</c:v>
                </c:pt>
                <c:pt idx="433">
                  <c:v>40540</c:v>
                </c:pt>
                <c:pt idx="434">
                  <c:v>40541</c:v>
                </c:pt>
                <c:pt idx="435">
                  <c:v>40542</c:v>
                </c:pt>
                <c:pt idx="436">
                  <c:v>40543</c:v>
                </c:pt>
                <c:pt idx="437">
                  <c:v>40546</c:v>
                </c:pt>
                <c:pt idx="438">
                  <c:v>40547</c:v>
                </c:pt>
                <c:pt idx="439">
                  <c:v>40548</c:v>
                </c:pt>
                <c:pt idx="440">
                  <c:v>40549</c:v>
                </c:pt>
                <c:pt idx="441">
                  <c:v>40550</c:v>
                </c:pt>
                <c:pt idx="442">
                  <c:v>40553</c:v>
                </c:pt>
                <c:pt idx="443">
                  <c:v>40554</c:v>
                </c:pt>
                <c:pt idx="444">
                  <c:v>40555</c:v>
                </c:pt>
                <c:pt idx="445">
                  <c:v>40556</c:v>
                </c:pt>
                <c:pt idx="446">
                  <c:v>40557</c:v>
                </c:pt>
                <c:pt idx="447">
                  <c:v>40560</c:v>
                </c:pt>
                <c:pt idx="448">
                  <c:v>40561</c:v>
                </c:pt>
                <c:pt idx="449">
                  <c:v>40562</c:v>
                </c:pt>
                <c:pt idx="450">
                  <c:v>40563</c:v>
                </c:pt>
                <c:pt idx="451">
                  <c:v>40564</c:v>
                </c:pt>
                <c:pt idx="452">
                  <c:v>40567</c:v>
                </c:pt>
                <c:pt idx="453">
                  <c:v>40568</c:v>
                </c:pt>
                <c:pt idx="454">
                  <c:v>40569</c:v>
                </c:pt>
                <c:pt idx="455">
                  <c:v>40570</c:v>
                </c:pt>
                <c:pt idx="456">
                  <c:v>40571</c:v>
                </c:pt>
                <c:pt idx="457">
                  <c:v>40574</c:v>
                </c:pt>
                <c:pt idx="458">
                  <c:v>40575</c:v>
                </c:pt>
                <c:pt idx="459">
                  <c:v>40576</c:v>
                </c:pt>
                <c:pt idx="460">
                  <c:v>40577</c:v>
                </c:pt>
                <c:pt idx="461">
                  <c:v>40578</c:v>
                </c:pt>
                <c:pt idx="462">
                  <c:v>40581</c:v>
                </c:pt>
                <c:pt idx="463">
                  <c:v>40582</c:v>
                </c:pt>
                <c:pt idx="464">
                  <c:v>40583</c:v>
                </c:pt>
                <c:pt idx="465">
                  <c:v>40584</c:v>
                </c:pt>
                <c:pt idx="466">
                  <c:v>40585</c:v>
                </c:pt>
                <c:pt idx="467">
                  <c:v>40588</c:v>
                </c:pt>
                <c:pt idx="468">
                  <c:v>40589</c:v>
                </c:pt>
                <c:pt idx="469">
                  <c:v>40590</c:v>
                </c:pt>
                <c:pt idx="470">
                  <c:v>40591</c:v>
                </c:pt>
                <c:pt idx="471">
                  <c:v>40592</c:v>
                </c:pt>
                <c:pt idx="472">
                  <c:v>40595</c:v>
                </c:pt>
                <c:pt idx="473">
                  <c:v>40596</c:v>
                </c:pt>
                <c:pt idx="474">
                  <c:v>40597</c:v>
                </c:pt>
                <c:pt idx="475">
                  <c:v>40598</c:v>
                </c:pt>
                <c:pt idx="476">
                  <c:v>40599</c:v>
                </c:pt>
                <c:pt idx="477">
                  <c:v>40602</c:v>
                </c:pt>
                <c:pt idx="478">
                  <c:v>40603</c:v>
                </c:pt>
                <c:pt idx="479">
                  <c:v>40604</c:v>
                </c:pt>
                <c:pt idx="480">
                  <c:v>40605</c:v>
                </c:pt>
                <c:pt idx="481">
                  <c:v>40606</c:v>
                </c:pt>
                <c:pt idx="482">
                  <c:v>40609</c:v>
                </c:pt>
                <c:pt idx="483">
                  <c:v>40610</c:v>
                </c:pt>
                <c:pt idx="484">
                  <c:v>40611</c:v>
                </c:pt>
                <c:pt idx="485">
                  <c:v>40612</c:v>
                </c:pt>
                <c:pt idx="486">
                  <c:v>40613</c:v>
                </c:pt>
                <c:pt idx="487">
                  <c:v>40616</c:v>
                </c:pt>
                <c:pt idx="488">
                  <c:v>40617</c:v>
                </c:pt>
                <c:pt idx="489">
                  <c:v>40618</c:v>
                </c:pt>
                <c:pt idx="490">
                  <c:v>40619</c:v>
                </c:pt>
                <c:pt idx="491">
                  <c:v>40620</c:v>
                </c:pt>
                <c:pt idx="492">
                  <c:v>40623</c:v>
                </c:pt>
                <c:pt idx="493">
                  <c:v>40624</c:v>
                </c:pt>
                <c:pt idx="494">
                  <c:v>40625</c:v>
                </c:pt>
                <c:pt idx="495">
                  <c:v>40626</c:v>
                </c:pt>
                <c:pt idx="496">
                  <c:v>40627</c:v>
                </c:pt>
                <c:pt idx="497">
                  <c:v>40630</c:v>
                </c:pt>
                <c:pt idx="498">
                  <c:v>40631</c:v>
                </c:pt>
                <c:pt idx="499">
                  <c:v>40632</c:v>
                </c:pt>
                <c:pt idx="500">
                  <c:v>40633</c:v>
                </c:pt>
                <c:pt idx="501">
                  <c:v>40634</c:v>
                </c:pt>
                <c:pt idx="502">
                  <c:v>40637</c:v>
                </c:pt>
                <c:pt idx="503">
                  <c:v>40638</c:v>
                </c:pt>
                <c:pt idx="504">
                  <c:v>40639</c:v>
                </c:pt>
                <c:pt idx="505">
                  <c:v>40640</c:v>
                </c:pt>
                <c:pt idx="506">
                  <c:v>40641</c:v>
                </c:pt>
                <c:pt idx="507">
                  <c:v>40644</c:v>
                </c:pt>
                <c:pt idx="508">
                  <c:v>40645</c:v>
                </c:pt>
                <c:pt idx="509">
                  <c:v>40646</c:v>
                </c:pt>
                <c:pt idx="510">
                  <c:v>40647</c:v>
                </c:pt>
                <c:pt idx="511">
                  <c:v>40648</c:v>
                </c:pt>
                <c:pt idx="512">
                  <c:v>40651</c:v>
                </c:pt>
                <c:pt idx="513">
                  <c:v>40652</c:v>
                </c:pt>
                <c:pt idx="514">
                  <c:v>40653</c:v>
                </c:pt>
                <c:pt idx="515">
                  <c:v>40654</c:v>
                </c:pt>
                <c:pt idx="516">
                  <c:v>40655</c:v>
                </c:pt>
                <c:pt idx="517">
                  <c:v>40658</c:v>
                </c:pt>
                <c:pt idx="518">
                  <c:v>40659</c:v>
                </c:pt>
                <c:pt idx="519">
                  <c:v>40660</c:v>
                </c:pt>
                <c:pt idx="520">
                  <c:v>40661</c:v>
                </c:pt>
                <c:pt idx="521">
                  <c:v>40662</c:v>
                </c:pt>
                <c:pt idx="522">
                  <c:v>40665</c:v>
                </c:pt>
                <c:pt idx="523">
                  <c:v>40666</c:v>
                </c:pt>
                <c:pt idx="524">
                  <c:v>40667</c:v>
                </c:pt>
                <c:pt idx="525">
                  <c:v>40668</c:v>
                </c:pt>
                <c:pt idx="526">
                  <c:v>40669</c:v>
                </c:pt>
                <c:pt idx="527">
                  <c:v>40672</c:v>
                </c:pt>
                <c:pt idx="528">
                  <c:v>40673</c:v>
                </c:pt>
                <c:pt idx="529">
                  <c:v>40674</c:v>
                </c:pt>
                <c:pt idx="530">
                  <c:v>40675</c:v>
                </c:pt>
                <c:pt idx="531">
                  <c:v>40676</c:v>
                </c:pt>
                <c:pt idx="532">
                  <c:v>40679</c:v>
                </c:pt>
                <c:pt idx="533">
                  <c:v>40680</c:v>
                </c:pt>
                <c:pt idx="534">
                  <c:v>40681</c:v>
                </c:pt>
                <c:pt idx="535">
                  <c:v>40682</c:v>
                </c:pt>
                <c:pt idx="536">
                  <c:v>40683</c:v>
                </c:pt>
                <c:pt idx="537">
                  <c:v>40686</c:v>
                </c:pt>
                <c:pt idx="538">
                  <c:v>40687</c:v>
                </c:pt>
                <c:pt idx="539">
                  <c:v>40688</c:v>
                </c:pt>
                <c:pt idx="540">
                  <c:v>40689</c:v>
                </c:pt>
                <c:pt idx="541">
                  <c:v>40690</c:v>
                </c:pt>
                <c:pt idx="542">
                  <c:v>40693</c:v>
                </c:pt>
                <c:pt idx="543">
                  <c:v>40694</c:v>
                </c:pt>
                <c:pt idx="544">
                  <c:v>40695</c:v>
                </c:pt>
                <c:pt idx="545">
                  <c:v>40696</c:v>
                </c:pt>
                <c:pt idx="546">
                  <c:v>40697</c:v>
                </c:pt>
                <c:pt idx="547">
                  <c:v>40700</c:v>
                </c:pt>
                <c:pt idx="548">
                  <c:v>40701</c:v>
                </c:pt>
                <c:pt idx="549">
                  <c:v>40702</c:v>
                </c:pt>
                <c:pt idx="550">
                  <c:v>40703</c:v>
                </c:pt>
                <c:pt idx="551">
                  <c:v>40704</c:v>
                </c:pt>
                <c:pt idx="552">
                  <c:v>40707</c:v>
                </c:pt>
                <c:pt idx="553">
                  <c:v>40708</c:v>
                </c:pt>
                <c:pt idx="554">
                  <c:v>40709</c:v>
                </c:pt>
                <c:pt idx="555">
                  <c:v>40710</c:v>
                </c:pt>
                <c:pt idx="556">
                  <c:v>40711</c:v>
                </c:pt>
                <c:pt idx="557">
                  <c:v>40714</c:v>
                </c:pt>
                <c:pt idx="558">
                  <c:v>40715</c:v>
                </c:pt>
                <c:pt idx="559">
                  <c:v>40716</c:v>
                </c:pt>
                <c:pt idx="560">
                  <c:v>40717</c:v>
                </c:pt>
                <c:pt idx="561">
                  <c:v>40718</c:v>
                </c:pt>
                <c:pt idx="562">
                  <c:v>40721</c:v>
                </c:pt>
                <c:pt idx="563">
                  <c:v>40722</c:v>
                </c:pt>
                <c:pt idx="564">
                  <c:v>40723</c:v>
                </c:pt>
                <c:pt idx="565">
                  <c:v>40724</c:v>
                </c:pt>
                <c:pt idx="566">
                  <c:v>40725</c:v>
                </c:pt>
                <c:pt idx="567">
                  <c:v>40728</c:v>
                </c:pt>
                <c:pt idx="568">
                  <c:v>40729</c:v>
                </c:pt>
                <c:pt idx="569">
                  <c:v>40730</c:v>
                </c:pt>
                <c:pt idx="570">
                  <c:v>40731</c:v>
                </c:pt>
                <c:pt idx="571">
                  <c:v>40732</c:v>
                </c:pt>
                <c:pt idx="572">
                  <c:v>40735</c:v>
                </c:pt>
                <c:pt idx="573">
                  <c:v>40736</c:v>
                </c:pt>
                <c:pt idx="574">
                  <c:v>40737</c:v>
                </c:pt>
                <c:pt idx="575">
                  <c:v>40738</c:v>
                </c:pt>
                <c:pt idx="576">
                  <c:v>40739</c:v>
                </c:pt>
                <c:pt idx="577">
                  <c:v>40742</c:v>
                </c:pt>
                <c:pt idx="578">
                  <c:v>40743</c:v>
                </c:pt>
                <c:pt idx="579">
                  <c:v>40744</c:v>
                </c:pt>
                <c:pt idx="580">
                  <c:v>40745</c:v>
                </c:pt>
                <c:pt idx="581">
                  <c:v>40746</c:v>
                </c:pt>
                <c:pt idx="582">
                  <c:v>40749</c:v>
                </c:pt>
                <c:pt idx="583">
                  <c:v>40750</c:v>
                </c:pt>
                <c:pt idx="584">
                  <c:v>40751</c:v>
                </c:pt>
                <c:pt idx="585">
                  <c:v>40752</c:v>
                </c:pt>
                <c:pt idx="586">
                  <c:v>40753</c:v>
                </c:pt>
                <c:pt idx="587">
                  <c:v>40756</c:v>
                </c:pt>
                <c:pt idx="588">
                  <c:v>40757</c:v>
                </c:pt>
                <c:pt idx="589">
                  <c:v>40758</c:v>
                </c:pt>
                <c:pt idx="590">
                  <c:v>40759</c:v>
                </c:pt>
                <c:pt idx="591">
                  <c:v>40760</c:v>
                </c:pt>
                <c:pt idx="592">
                  <c:v>40763</c:v>
                </c:pt>
                <c:pt idx="593">
                  <c:v>40764</c:v>
                </c:pt>
                <c:pt idx="594">
                  <c:v>40765</c:v>
                </c:pt>
                <c:pt idx="595">
                  <c:v>40766</c:v>
                </c:pt>
                <c:pt idx="596">
                  <c:v>40767</c:v>
                </c:pt>
                <c:pt idx="597">
                  <c:v>40770</c:v>
                </c:pt>
                <c:pt idx="598">
                  <c:v>40771</c:v>
                </c:pt>
                <c:pt idx="599">
                  <c:v>40772</c:v>
                </c:pt>
                <c:pt idx="600">
                  <c:v>40773</c:v>
                </c:pt>
                <c:pt idx="601">
                  <c:v>40774</c:v>
                </c:pt>
                <c:pt idx="602">
                  <c:v>40777</c:v>
                </c:pt>
                <c:pt idx="603">
                  <c:v>40778</c:v>
                </c:pt>
                <c:pt idx="604">
                  <c:v>40779</c:v>
                </c:pt>
                <c:pt idx="605">
                  <c:v>40780</c:v>
                </c:pt>
                <c:pt idx="606">
                  <c:v>40781</c:v>
                </c:pt>
                <c:pt idx="607">
                  <c:v>40784</c:v>
                </c:pt>
                <c:pt idx="608">
                  <c:v>40785</c:v>
                </c:pt>
                <c:pt idx="609">
                  <c:v>40786</c:v>
                </c:pt>
                <c:pt idx="610">
                  <c:v>40787</c:v>
                </c:pt>
                <c:pt idx="611">
                  <c:v>40788</c:v>
                </c:pt>
                <c:pt idx="612">
                  <c:v>40791</c:v>
                </c:pt>
                <c:pt idx="613">
                  <c:v>40792</c:v>
                </c:pt>
                <c:pt idx="614">
                  <c:v>40793</c:v>
                </c:pt>
                <c:pt idx="615">
                  <c:v>40794</c:v>
                </c:pt>
                <c:pt idx="616">
                  <c:v>40795</c:v>
                </c:pt>
                <c:pt idx="617">
                  <c:v>40798</c:v>
                </c:pt>
                <c:pt idx="618">
                  <c:v>40799</c:v>
                </c:pt>
                <c:pt idx="619">
                  <c:v>40800</c:v>
                </c:pt>
                <c:pt idx="620">
                  <c:v>40801</c:v>
                </c:pt>
                <c:pt idx="621">
                  <c:v>40802</c:v>
                </c:pt>
                <c:pt idx="622">
                  <c:v>40805</c:v>
                </c:pt>
                <c:pt idx="623">
                  <c:v>40806</c:v>
                </c:pt>
                <c:pt idx="624">
                  <c:v>40807</c:v>
                </c:pt>
                <c:pt idx="625">
                  <c:v>40808</c:v>
                </c:pt>
                <c:pt idx="626">
                  <c:v>40809</c:v>
                </c:pt>
                <c:pt idx="627">
                  <c:v>40812</c:v>
                </c:pt>
                <c:pt idx="628">
                  <c:v>40813</c:v>
                </c:pt>
                <c:pt idx="629">
                  <c:v>40814</c:v>
                </c:pt>
                <c:pt idx="630">
                  <c:v>40815</c:v>
                </c:pt>
                <c:pt idx="631">
                  <c:v>40816</c:v>
                </c:pt>
                <c:pt idx="632">
                  <c:v>40819</c:v>
                </c:pt>
                <c:pt idx="633">
                  <c:v>40820</c:v>
                </c:pt>
                <c:pt idx="634">
                  <c:v>40821</c:v>
                </c:pt>
                <c:pt idx="635">
                  <c:v>40822</c:v>
                </c:pt>
                <c:pt idx="636">
                  <c:v>40823</c:v>
                </c:pt>
                <c:pt idx="637">
                  <c:v>40826</c:v>
                </c:pt>
                <c:pt idx="638">
                  <c:v>40827</c:v>
                </c:pt>
                <c:pt idx="639">
                  <c:v>40828</c:v>
                </c:pt>
                <c:pt idx="640">
                  <c:v>40829</c:v>
                </c:pt>
                <c:pt idx="641">
                  <c:v>40830</c:v>
                </c:pt>
                <c:pt idx="642">
                  <c:v>40833</c:v>
                </c:pt>
                <c:pt idx="643">
                  <c:v>40834</c:v>
                </c:pt>
                <c:pt idx="644">
                  <c:v>40835</c:v>
                </c:pt>
                <c:pt idx="645">
                  <c:v>40836</c:v>
                </c:pt>
                <c:pt idx="646">
                  <c:v>40837</c:v>
                </c:pt>
                <c:pt idx="647">
                  <c:v>40840</c:v>
                </c:pt>
                <c:pt idx="648">
                  <c:v>40841</c:v>
                </c:pt>
                <c:pt idx="649">
                  <c:v>40842</c:v>
                </c:pt>
                <c:pt idx="650">
                  <c:v>40843</c:v>
                </c:pt>
                <c:pt idx="651">
                  <c:v>40844</c:v>
                </c:pt>
                <c:pt idx="652">
                  <c:v>40847</c:v>
                </c:pt>
                <c:pt idx="653">
                  <c:v>40848</c:v>
                </c:pt>
                <c:pt idx="654">
                  <c:v>40849</c:v>
                </c:pt>
                <c:pt idx="655">
                  <c:v>40850</c:v>
                </c:pt>
                <c:pt idx="656">
                  <c:v>40851</c:v>
                </c:pt>
                <c:pt idx="657">
                  <c:v>40854</c:v>
                </c:pt>
                <c:pt idx="658">
                  <c:v>40855</c:v>
                </c:pt>
                <c:pt idx="659">
                  <c:v>40856</c:v>
                </c:pt>
                <c:pt idx="660">
                  <c:v>40857</c:v>
                </c:pt>
                <c:pt idx="661">
                  <c:v>40858</c:v>
                </c:pt>
                <c:pt idx="662">
                  <c:v>40861</c:v>
                </c:pt>
                <c:pt idx="663">
                  <c:v>40862</c:v>
                </c:pt>
                <c:pt idx="664">
                  <c:v>40863</c:v>
                </c:pt>
                <c:pt idx="665">
                  <c:v>40864</c:v>
                </c:pt>
                <c:pt idx="666">
                  <c:v>40865</c:v>
                </c:pt>
                <c:pt idx="667">
                  <c:v>40868</c:v>
                </c:pt>
                <c:pt idx="668">
                  <c:v>40869</c:v>
                </c:pt>
                <c:pt idx="669">
                  <c:v>40870</c:v>
                </c:pt>
                <c:pt idx="670">
                  <c:v>40871</c:v>
                </c:pt>
                <c:pt idx="671">
                  <c:v>40872</c:v>
                </c:pt>
                <c:pt idx="672">
                  <c:v>40875</c:v>
                </c:pt>
                <c:pt idx="673">
                  <c:v>40876</c:v>
                </c:pt>
                <c:pt idx="674">
                  <c:v>40877</c:v>
                </c:pt>
                <c:pt idx="675">
                  <c:v>40878</c:v>
                </c:pt>
                <c:pt idx="676">
                  <c:v>40879</c:v>
                </c:pt>
                <c:pt idx="677">
                  <c:v>40882</c:v>
                </c:pt>
                <c:pt idx="678">
                  <c:v>40883</c:v>
                </c:pt>
                <c:pt idx="679">
                  <c:v>40884</c:v>
                </c:pt>
                <c:pt idx="680">
                  <c:v>40885</c:v>
                </c:pt>
                <c:pt idx="681">
                  <c:v>40886</c:v>
                </c:pt>
                <c:pt idx="682">
                  <c:v>40889</c:v>
                </c:pt>
                <c:pt idx="683">
                  <c:v>40890</c:v>
                </c:pt>
                <c:pt idx="684">
                  <c:v>40891</c:v>
                </c:pt>
                <c:pt idx="685">
                  <c:v>40892</c:v>
                </c:pt>
                <c:pt idx="686">
                  <c:v>40893</c:v>
                </c:pt>
                <c:pt idx="687">
                  <c:v>40896</c:v>
                </c:pt>
                <c:pt idx="688">
                  <c:v>40897</c:v>
                </c:pt>
                <c:pt idx="689">
                  <c:v>40898</c:v>
                </c:pt>
                <c:pt idx="690">
                  <c:v>40899</c:v>
                </c:pt>
                <c:pt idx="691">
                  <c:v>40900</c:v>
                </c:pt>
                <c:pt idx="692">
                  <c:v>40903</c:v>
                </c:pt>
                <c:pt idx="693">
                  <c:v>40904</c:v>
                </c:pt>
                <c:pt idx="694">
                  <c:v>40905</c:v>
                </c:pt>
                <c:pt idx="695">
                  <c:v>40906</c:v>
                </c:pt>
                <c:pt idx="696">
                  <c:v>40907</c:v>
                </c:pt>
                <c:pt idx="697">
                  <c:v>40910</c:v>
                </c:pt>
                <c:pt idx="698">
                  <c:v>40911</c:v>
                </c:pt>
                <c:pt idx="699">
                  <c:v>40912</c:v>
                </c:pt>
                <c:pt idx="700">
                  <c:v>40913</c:v>
                </c:pt>
                <c:pt idx="701">
                  <c:v>40914</c:v>
                </c:pt>
                <c:pt idx="702">
                  <c:v>40917</c:v>
                </c:pt>
                <c:pt idx="703">
                  <c:v>40918</c:v>
                </c:pt>
                <c:pt idx="704">
                  <c:v>40919</c:v>
                </c:pt>
                <c:pt idx="705">
                  <c:v>40920</c:v>
                </c:pt>
                <c:pt idx="706">
                  <c:v>40921</c:v>
                </c:pt>
                <c:pt idx="707">
                  <c:v>40924</c:v>
                </c:pt>
                <c:pt idx="708">
                  <c:v>40925</c:v>
                </c:pt>
                <c:pt idx="709">
                  <c:v>40926</c:v>
                </c:pt>
                <c:pt idx="710">
                  <c:v>40927</c:v>
                </c:pt>
                <c:pt idx="711">
                  <c:v>40928</c:v>
                </c:pt>
                <c:pt idx="712">
                  <c:v>40931</c:v>
                </c:pt>
                <c:pt idx="713">
                  <c:v>40932</c:v>
                </c:pt>
                <c:pt idx="714">
                  <c:v>40933</c:v>
                </c:pt>
                <c:pt idx="715">
                  <c:v>40934</c:v>
                </c:pt>
                <c:pt idx="716">
                  <c:v>40935</c:v>
                </c:pt>
                <c:pt idx="717">
                  <c:v>40938</c:v>
                </c:pt>
                <c:pt idx="718">
                  <c:v>40939</c:v>
                </c:pt>
                <c:pt idx="719">
                  <c:v>40940</c:v>
                </c:pt>
                <c:pt idx="720">
                  <c:v>40941</c:v>
                </c:pt>
                <c:pt idx="721">
                  <c:v>40942</c:v>
                </c:pt>
                <c:pt idx="722">
                  <c:v>40945</c:v>
                </c:pt>
                <c:pt idx="723">
                  <c:v>40946</c:v>
                </c:pt>
                <c:pt idx="724">
                  <c:v>40947</c:v>
                </c:pt>
                <c:pt idx="725">
                  <c:v>40948</c:v>
                </c:pt>
                <c:pt idx="726">
                  <c:v>40949</c:v>
                </c:pt>
                <c:pt idx="727">
                  <c:v>40952</c:v>
                </c:pt>
                <c:pt idx="728">
                  <c:v>40953</c:v>
                </c:pt>
                <c:pt idx="729">
                  <c:v>40954</c:v>
                </c:pt>
                <c:pt idx="730">
                  <c:v>40955</c:v>
                </c:pt>
                <c:pt idx="731">
                  <c:v>40956</c:v>
                </c:pt>
                <c:pt idx="732">
                  <c:v>40959</c:v>
                </c:pt>
                <c:pt idx="733">
                  <c:v>40960</c:v>
                </c:pt>
                <c:pt idx="734">
                  <c:v>40961</c:v>
                </c:pt>
                <c:pt idx="735">
                  <c:v>40962</c:v>
                </c:pt>
                <c:pt idx="736">
                  <c:v>40963</c:v>
                </c:pt>
                <c:pt idx="737">
                  <c:v>40966</c:v>
                </c:pt>
                <c:pt idx="738">
                  <c:v>40967</c:v>
                </c:pt>
                <c:pt idx="739">
                  <c:v>40968</c:v>
                </c:pt>
                <c:pt idx="740">
                  <c:v>40969</c:v>
                </c:pt>
                <c:pt idx="741">
                  <c:v>40970</c:v>
                </c:pt>
                <c:pt idx="742">
                  <c:v>40973</c:v>
                </c:pt>
                <c:pt idx="743">
                  <c:v>40974</c:v>
                </c:pt>
                <c:pt idx="744">
                  <c:v>40975</c:v>
                </c:pt>
                <c:pt idx="745">
                  <c:v>40976</c:v>
                </c:pt>
                <c:pt idx="746">
                  <c:v>40977</c:v>
                </c:pt>
                <c:pt idx="747">
                  <c:v>40980</c:v>
                </c:pt>
                <c:pt idx="748">
                  <c:v>40981</c:v>
                </c:pt>
                <c:pt idx="749">
                  <c:v>40982</c:v>
                </c:pt>
                <c:pt idx="750">
                  <c:v>40983</c:v>
                </c:pt>
                <c:pt idx="751">
                  <c:v>40984</c:v>
                </c:pt>
                <c:pt idx="752">
                  <c:v>40987</c:v>
                </c:pt>
                <c:pt idx="753">
                  <c:v>40988</c:v>
                </c:pt>
                <c:pt idx="754">
                  <c:v>40989</c:v>
                </c:pt>
                <c:pt idx="755">
                  <c:v>40990</c:v>
                </c:pt>
                <c:pt idx="756">
                  <c:v>40991</c:v>
                </c:pt>
                <c:pt idx="757">
                  <c:v>40994</c:v>
                </c:pt>
                <c:pt idx="758">
                  <c:v>40995</c:v>
                </c:pt>
                <c:pt idx="759">
                  <c:v>40996</c:v>
                </c:pt>
                <c:pt idx="760">
                  <c:v>40997</c:v>
                </c:pt>
                <c:pt idx="761">
                  <c:v>40998</c:v>
                </c:pt>
                <c:pt idx="762">
                  <c:v>41001</c:v>
                </c:pt>
                <c:pt idx="763">
                  <c:v>41002</c:v>
                </c:pt>
                <c:pt idx="764">
                  <c:v>41003</c:v>
                </c:pt>
                <c:pt idx="765">
                  <c:v>41004</c:v>
                </c:pt>
                <c:pt idx="766">
                  <c:v>41005</c:v>
                </c:pt>
                <c:pt idx="767">
                  <c:v>41008</c:v>
                </c:pt>
                <c:pt idx="768">
                  <c:v>41009</c:v>
                </c:pt>
                <c:pt idx="769">
                  <c:v>41010</c:v>
                </c:pt>
                <c:pt idx="770">
                  <c:v>41011</c:v>
                </c:pt>
                <c:pt idx="771">
                  <c:v>41012</c:v>
                </c:pt>
                <c:pt idx="772">
                  <c:v>41015</c:v>
                </c:pt>
                <c:pt idx="773">
                  <c:v>41016</c:v>
                </c:pt>
                <c:pt idx="774">
                  <c:v>41017</c:v>
                </c:pt>
                <c:pt idx="775">
                  <c:v>41018</c:v>
                </c:pt>
                <c:pt idx="776">
                  <c:v>41019</c:v>
                </c:pt>
                <c:pt idx="777">
                  <c:v>41022</c:v>
                </c:pt>
                <c:pt idx="778">
                  <c:v>41023</c:v>
                </c:pt>
                <c:pt idx="779">
                  <c:v>41024</c:v>
                </c:pt>
                <c:pt idx="780">
                  <c:v>41025</c:v>
                </c:pt>
                <c:pt idx="781">
                  <c:v>41026</c:v>
                </c:pt>
                <c:pt idx="782">
                  <c:v>41029</c:v>
                </c:pt>
                <c:pt idx="783">
                  <c:v>41030</c:v>
                </c:pt>
                <c:pt idx="784">
                  <c:v>41031</c:v>
                </c:pt>
                <c:pt idx="785">
                  <c:v>41032</c:v>
                </c:pt>
                <c:pt idx="786">
                  <c:v>41033</c:v>
                </c:pt>
                <c:pt idx="787">
                  <c:v>41036</c:v>
                </c:pt>
                <c:pt idx="788">
                  <c:v>41037</c:v>
                </c:pt>
                <c:pt idx="789">
                  <c:v>41038</c:v>
                </c:pt>
                <c:pt idx="790">
                  <c:v>41039</c:v>
                </c:pt>
                <c:pt idx="791">
                  <c:v>41040</c:v>
                </c:pt>
                <c:pt idx="792">
                  <c:v>41043</c:v>
                </c:pt>
                <c:pt idx="793">
                  <c:v>41044</c:v>
                </c:pt>
                <c:pt idx="794">
                  <c:v>41045</c:v>
                </c:pt>
                <c:pt idx="795">
                  <c:v>41046</c:v>
                </c:pt>
                <c:pt idx="796">
                  <c:v>41047</c:v>
                </c:pt>
                <c:pt idx="797">
                  <c:v>41050</c:v>
                </c:pt>
                <c:pt idx="798">
                  <c:v>41051</c:v>
                </c:pt>
                <c:pt idx="799">
                  <c:v>41052</c:v>
                </c:pt>
                <c:pt idx="800">
                  <c:v>41053</c:v>
                </c:pt>
                <c:pt idx="801">
                  <c:v>41054</c:v>
                </c:pt>
                <c:pt idx="802">
                  <c:v>41057</c:v>
                </c:pt>
                <c:pt idx="803">
                  <c:v>41058</c:v>
                </c:pt>
                <c:pt idx="804">
                  <c:v>41059</c:v>
                </c:pt>
                <c:pt idx="805">
                  <c:v>41060</c:v>
                </c:pt>
                <c:pt idx="806">
                  <c:v>41061</c:v>
                </c:pt>
                <c:pt idx="807">
                  <c:v>41064</c:v>
                </c:pt>
                <c:pt idx="808">
                  <c:v>41065</c:v>
                </c:pt>
                <c:pt idx="809">
                  <c:v>41066</c:v>
                </c:pt>
                <c:pt idx="810">
                  <c:v>41067</c:v>
                </c:pt>
                <c:pt idx="811">
                  <c:v>41068</c:v>
                </c:pt>
                <c:pt idx="812">
                  <c:v>41071</c:v>
                </c:pt>
                <c:pt idx="813">
                  <c:v>41072</c:v>
                </c:pt>
                <c:pt idx="814">
                  <c:v>41073</c:v>
                </c:pt>
                <c:pt idx="815">
                  <c:v>41074</c:v>
                </c:pt>
                <c:pt idx="816">
                  <c:v>41075</c:v>
                </c:pt>
                <c:pt idx="817">
                  <c:v>41078</c:v>
                </c:pt>
                <c:pt idx="818">
                  <c:v>41079</c:v>
                </c:pt>
                <c:pt idx="819">
                  <c:v>41080</c:v>
                </c:pt>
                <c:pt idx="820">
                  <c:v>41081</c:v>
                </c:pt>
                <c:pt idx="821">
                  <c:v>41082</c:v>
                </c:pt>
                <c:pt idx="822">
                  <c:v>41085</c:v>
                </c:pt>
                <c:pt idx="823">
                  <c:v>41086</c:v>
                </c:pt>
                <c:pt idx="824">
                  <c:v>41087</c:v>
                </c:pt>
                <c:pt idx="825">
                  <c:v>41088</c:v>
                </c:pt>
                <c:pt idx="826">
                  <c:v>41089</c:v>
                </c:pt>
                <c:pt idx="827">
                  <c:v>41092</c:v>
                </c:pt>
                <c:pt idx="828">
                  <c:v>41093</c:v>
                </c:pt>
                <c:pt idx="829">
                  <c:v>41094</c:v>
                </c:pt>
                <c:pt idx="830">
                  <c:v>41095</c:v>
                </c:pt>
                <c:pt idx="831">
                  <c:v>41096</c:v>
                </c:pt>
                <c:pt idx="832">
                  <c:v>41099</c:v>
                </c:pt>
                <c:pt idx="833">
                  <c:v>41100</c:v>
                </c:pt>
                <c:pt idx="834">
                  <c:v>41101</c:v>
                </c:pt>
                <c:pt idx="835">
                  <c:v>41102</c:v>
                </c:pt>
                <c:pt idx="836">
                  <c:v>41103</c:v>
                </c:pt>
                <c:pt idx="837">
                  <c:v>41106</c:v>
                </c:pt>
                <c:pt idx="838">
                  <c:v>41107</c:v>
                </c:pt>
                <c:pt idx="839">
                  <c:v>41108</c:v>
                </c:pt>
                <c:pt idx="840">
                  <c:v>41109</c:v>
                </c:pt>
                <c:pt idx="841">
                  <c:v>41110</c:v>
                </c:pt>
                <c:pt idx="842">
                  <c:v>41113</c:v>
                </c:pt>
                <c:pt idx="843">
                  <c:v>41114</c:v>
                </c:pt>
                <c:pt idx="844">
                  <c:v>41115</c:v>
                </c:pt>
                <c:pt idx="845">
                  <c:v>41116</c:v>
                </c:pt>
                <c:pt idx="846">
                  <c:v>41117</c:v>
                </c:pt>
                <c:pt idx="847">
                  <c:v>41120</c:v>
                </c:pt>
                <c:pt idx="848">
                  <c:v>41121</c:v>
                </c:pt>
                <c:pt idx="849">
                  <c:v>41122</c:v>
                </c:pt>
                <c:pt idx="850">
                  <c:v>41123</c:v>
                </c:pt>
                <c:pt idx="851">
                  <c:v>41124</c:v>
                </c:pt>
                <c:pt idx="852">
                  <c:v>41127</c:v>
                </c:pt>
                <c:pt idx="853">
                  <c:v>41128</c:v>
                </c:pt>
                <c:pt idx="854">
                  <c:v>41129</c:v>
                </c:pt>
                <c:pt idx="855">
                  <c:v>41130</c:v>
                </c:pt>
                <c:pt idx="856">
                  <c:v>41131</c:v>
                </c:pt>
                <c:pt idx="857">
                  <c:v>41134</c:v>
                </c:pt>
                <c:pt idx="858">
                  <c:v>41135</c:v>
                </c:pt>
                <c:pt idx="859">
                  <c:v>41136</c:v>
                </c:pt>
                <c:pt idx="860">
                  <c:v>41137</c:v>
                </c:pt>
                <c:pt idx="861">
                  <c:v>41138</c:v>
                </c:pt>
                <c:pt idx="862">
                  <c:v>41141</c:v>
                </c:pt>
                <c:pt idx="863">
                  <c:v>41142</c:v>
                </c:pt>
                <c:pt idx="864">
                  <c:v>41143</c:v>
                </c:pt>
                <c:pt idx="865">
                  <c:v>41144</c:v>
                </c:pt>
                <c:pt idx="866">
                  <c:v>41145</c:v>
                </c:pt>
                <c:pt idx="867">
                  <c:v>41148</c:v>
                </c:pt>
                <c:pt idx="868">
                  <c:v>41149</c:v>
                </c:pt>
                <c:pt idx="869">
                  <c:v>41150</c:v>
                </c:pt>
                <c:pt idx="870">
                  <c:v>41151</c:v>
                </c:pt>
                <c:pt idx="871">
                  <c:v>41152</c:v>
                </c:pt>
                <c:pt idx="872">
                  <c:v>41155</c:v>
                </c:pt>
                <c:pt idx="873">
                  <c:v>41156</c:v>
                </c:pt>
                <c:pt idx="874">
                  <c:v>41157</c:v>
                </c:pt>
                <c:pt idx="875">
                  <c:v>41158</c:v>
                </c:pt>
                <c:pt idx="876">
                  <c:v>41159</c:v>
                </c:pt>
                <c:pt idx="877">
                  <c:v>41162</c:v>
                </c:pt>
                <c:pt idx="878">
                  <c:v>41163</c:v>
                </c:pt>
                <c:pt idx="879">
                  <c:v>41164</c:v>
                </c:pt>
                <c:pt idx="880">
                  <c:v>41165</c:v>
                </c:pt>
                <c:pt idx="881">
                  <c:v>41166</c:v>
                </c:pt>
                <c:pt idx="882">
                  <c:v>41169</c:v>
                </c:pt>
                <c:pt idx="883">
                  <c:v>41170</c:v>
                </c:pt>
                <c:pt idx="884">
                  <c:v>41171</c:v>
                </c:pt>
                <c:pt idx="885">
                  <c:v>41172</c:v>
                </c:pt>
                <c:pt idx="886">
                  <c:v>41173</c:v>
                </c:pt>
                <c:pt idx="887">
                  <c:v>41176</c:v>
                </c:pt>
                <c:pt idx="888">
                  <c:v>41177</c:v>
                </c:pt>
                <c:pt idx="889">
                  <c:v>41178</c:v>
                </c:pt>
                <c:pt idx="890">
                  <c:v>41179</c:v>
                </c:pt>
                <c:pt idx="891">
                  <c:v>41180</c:v>
                </c:pt>
                <c:pt idx="892">
                  <c:v>41183</c:v>
                </c:pt>
                <c:pt idx="893">
                  <c:v>41184</c:v>
                </c:pt>
                <c:pt idx="894">
                  <c:v>41185</c:v>
                </c:pt>
                <c:pt idx="895">
                  <c:v>41186</c:v>
                </c:pt>
                <c:pt idx="896">
                  <c:v>41187</c:v>
                </c:pt>
                <c:pt idx="897">
                  <c:v>41190</c:v>
                </c:pt>
                <c:pt idx="898">
                  <c:v>41191</c:v>
                </c:pt>
                <c:pt idx="899">
                  <c:v>41192</c:v>
                </c:pt>
                <c:pt idx="900">
                  <c:v>41193</c:v>
                </c:pt>
                <c:pt idx="901">
                  <c:v>41194</c:v>
                </c:pt>
                <c:pt idx="902">
                  <c:v>41197</c:v>
                </c:pt>
                <c:pt idx="903">
                  <c:v>41198</c:v>
                </c:pt>
                <c:pt idx="904">
                  <c:v>41199</c:v>
                </c:pt>
                <c:pt idx="905">
                  <c:v>41200</c:v>
                </c:pt>
                <c:pt idx="906">
                  <c:v>41201</c:v>
                </c:pt>
                <c:pt idx="907">
                  <c:v>41204</c:v>
                </c:pt>
                <c:pt idx="908">
                  <c:v>41205</c:v>
                </c:pt>
                <c:pt idx="909">
                  <c:v>41206</c:v>
                </c:pt>
                <c:pt idx="910">
                  <c:v>41207</c:v>
                </c:pt>
                <c:pt idx="911">
                  <c:v>41208</c:v>
                </c:pt>
                <c:pt idx="912">
                  <c:v>41211</c:v>
                </c:pt>
                <c:pt idx="913">
                  <c:v>41212</c:v>
                </c:pt>
                <c:pt idx="914">
                  <c:v>41213</c:v>
                </c:pt>
                <c:pt idx="915">
                  <c:v>41214</c:v>
                </c:pt>
                <c:pt idx="916">
                  <c:v>41215</c:v>
                </c:pt>
                <c:pt idx="917">
                  <c:v>41218</c:v>
                </c:pt>
                <c:pt idx="918">
                  <c:v>41219</c:v>
                </c:pt>
                <c:pt idx="919">
                  <c:v>41220</c:v>
                </c:pt>
                <c:pt idx="920">
                  <c:v>41221</c:v>
                </c:pt>
                <c:pt idx="921">
                  <c:v>41222</c:v>
                </c:pt>
                <c:pt idx="922">
                  <c:v>41225</c:v>
                </c:pt>
                <c:pt idx="923">
                  <c:v>41226</c:v>
                </c:pt>
                <c:pt idx="924">
                  <c:v>41227</c:v>
                </c:pt>
                <c:pt idx="925">
                  <c:v>41228</c:v>
                </c:pt>
                <c:pt idx="926">
                  <c:v>41229</c:v>
                </c:pt>
                <c:pt idx="927">
                  <c:v>41232</c:v>
                </c:pt>
                <c:pt idx="928">
                  <c:v>41233</c:v>
                </c:pt>
                <c:pt idx="929">
                  <c:v>41234</c:v>
                </c:pt>
                <c:pt idx="930">
                  <c:v>41235</c:v>
                </c:pt>
                <c:pt idx="931">
                  <c:v>41236</c:v>
                </c:pt>
                <c:pt idx="932">
                  <c:v>41239</c:v>
                </c:pt>
                <c:pt idx="933">
                  <c:v>41240</c:v>
                </c:pt>
                <c:pt idx="934">
                  <c:v>41241</c:v>
                </c:pt>
                <c:pt idx="935">
                  <c:v>41242</c:v>
                </c:pt>
                <c:pt idx="936">
                  <c:v>41243</c:v>
                </c:pt>
                <c:pt idx="937">
                  <c:v>41246</c:v>
                </c:pt>
                <c:pt idx="938">
                  <c:v>41247</c:v>
                </c:pt>
                <c:pt idx="939">
                  <c:v>41248</c:v>
                </c:pt>
                <c:pt idx="940">
                  <c:v>41249</c:v>
                </c:pt>
                <c:pt idx="941">
                  <c:v>41250</c:v>
                </c:pt>
                <c:pt idx="942">
                  <c:v>41253</c:v>
                </c:pt>
                <c:pt idx="943">
                  <c:v>41254</c:v>
                </c:pt>
                <c:pt idx="944">
                  <c:v>41255</c:v>
                </c:pt>
                <c:pt idx="945">
                  <c:v>41256</c:v>
                </c:pt>
                <c:pt idx="946">
                  <c:v>41257</c:v>
                </c:pt>
                <c:pt idx="947">
                  <c:v>41260</c:v>
                </c:pt>
                <c:pt idx="948">
                  <c:v>41261</c:v>
                </c:pt>
                <c:pt idx="949">
                  <c:v>41262</c:v>
                </c:pt>
                <c:pt idx="950">
                  <c:v>41263</c:v>
                </c:pt>
                <c:pt idx="951">
                  <c:v>41264</c:v>
                </c:pt>
                <c:pt idx="952">
                  <c:v>41267</c:v>
                </c:pt>
                <c:pt idx="953">
                  <c:v>41268</c:v>
                </c:pt>
                <c:pt idx="954">
                  <c:v>41269</c:v>
                </c:pt>
                <c:pt idx="955">
                  <c:v>41270</c:v>
                </c:pt>
                <c:pt idx="956">
                  <c:v>41271</c:v>
                </c:pt>
                <c:pt idx="957">
                  <c:v>41274</c:v>
                </c:pt>
                <c:pt idx="958">
                  <c:v>41275</c:v>
                </c:pt>
                <c:pt idx="959">
                  <c:v>41276</c:v>
                </c:pt>
                <c:pt idx="960">
                  <c:v>41277</c:v>
                </c:pt>
                <c:pt idx="961">
                  <c:v>41278</c:v>
                </c:pt>
                <c:pt idx="962">
                  <c:v>41281</c:v>
                </c:pt>
                <c:pt idx="963">
                  <c:v>41282</c:v>
                </c:pt>
                <c:pt idx="964">
                  <c:v>41283</c:v>
                </c:pt>
                <c:pt idx="965">
                  <c:v>41284</c:v>
                </c:pt>
                <c:pt idx="966">
                  <c:v>41285</c:v>
                </c:pt>
                <c:pt idx="967">
                  <c:v>41288</c:v>
                </c:pt>
                <c:pt idx="968">
                  <c:v>41289</c:v>
                </c:pt>
                <c:pt idx="969">
                  <c:v>41290</c:v>
                </c:pt>
                <c:pt idx="970">
                  <c:v>41291</c:v>
                </c:pt>
                <c:pt idx="971">
                  <c:v>41292</c:v>
                </c:pt>
                <c:pt idx="972">
                  <c:v>41295</c:v>
                </c:pt>
                <c:pt idx="973">
                  <c:v>41296</c:v>
                </c:pt>
                <c:pt idx="974">
                  <c:v>41297</c:v>
                </c:pt>
                <c:pt idx="975">
                  <c:v>41298</c:v>
                </c:pt>
                <c:pt idx="976">
                  <c:v>41299</c:v>
                </c:pt>
                <c:pt idx="977">
                  <c:v>41302</c:v>
                </c:pt>
                <c:pt idx="978">
                  <c:v>41303</c:v>
                </c:pt>
                <c:pt idx="979">
                  <c:v>41304</c:v>
                </c:pt>
                <c:pt idx="980">
                  <c:v>41305</c:v>
                </c:pt>
                <c:pt idx="981">
                  <c:v>41306</c:v>
                </c:pt>
                <c:pt idx="982">
                  <c:v>41309</c:v>
                </c:pt>
                <c:pt idx="983">
                  <c:v>41310</c:v>
                </c:pt>
                <c:pt idx="984">
                  <c:v>41311</c:v>
                </c:pt>
                <c:pt idx="985">
                  <c:v>41312</c:v>
                </c:pt>
                <c:pt idx="986">
                  <c:v>41313</c:v>
                </c:pt>
                <c:pt idx="987">
                  <c:v>41316</c:v>
                </c:pt>
                <c:pt idx="988">
                  <c:v>41317</c:v>
                </c:pt>
                <c:pt idx="989">
                  <c:v>41318</c:v>
                </c:pt>
                <c:pt idx="990">
                  <c:v>41319</c:v>
                </c:pt>
                <c:pt idx="991">
                  <c:v>41320</c:v>
                </c:pt>
                <c:pt idx="992">
                  <c:v>41323</c:v>
                </c:pt>
                <c:pt idx="993">
                  <c:v>41324</c:v>
                </c:pt>
                <c:pt idx="994">
                  <c:v>41325</c:v>
                </c:pt>
                <c:pt idx="995">
                  <c:v>41326</c:v>
                </c:pt>
                <c:pt idx="996">
                  <c:v>41327</c:v>
                </c:pt>
                <c:pt idx="997">
                  <c:v>41330</c:v>
                </c:pt>
                <c:pt idx="998">
                  <c:v>41331</c:v>
                </c:pt>
                <c:pt idx="999">
                  <c:v>41332</c:v>
                </c:pt>
                <c:pt idx="1000">
                  <c:v>41333</c:v>
                </c:pt>
                <c:pt idx="1001">
                  <c:v>41334</c:v>
                </c:pt>
                <c:pt idx="1002">
                  <c:v>41337</c:v>
                </c:pt>
                <c:pt idx="1003">
                  <c:v>41338</c:v>
                </c:pt>
                <c:pt idx="1004">
                  <c:v>41339</c:v>
                </c:pt>
                <c:pt idx="1005">
                  <c:v>41340</c:v>
                </c:pt>
                <c:pt idx="1006">
                  <c:v>41341</c:v>
                </c:pt>
                <c:pt idx="1007">
                  <c:v>41344</c:v>
                </c:pt>
                <c:pt idx="1008">
                  <c:v>41345</c:v>
                </c:pt>
                <c:pt idx="1009">
                  <c:v>41346</c:v>
                </c:pt>
                <c:pt idx="1010">
                  <c:v>41347</c:v>
                </c:pt>
                <c:pt idx="1011">
                  <c:v>41348</c:v>
                </c:pt>
                <c:pt idx="1012">
                  <c:v>41351</c:v>
                </c:pt>
                <c:pt idx="1013">
                  <c:v>41352</c:v>
                </c:pt>
                <c:pt idx="1014">
                  <c:v>41353</c:v>
                </c:pt>
                <c:pt idx="1015">
                  <c:v>41354</c:v>
                </c:pt>
                <c:pt idx="1016">
                  <c:v>41355</c:v>
                </c:pt>
                <c:pt idx="1017">
                  <c:v>41358</c:v>
                </c:pt>
                <c:pt idx="1018">
                  <c:v>41359</c:v>
                </c:pt>
                <c:pt idx="1019">
                  <c:v>41360</c:v>
                </c:pt>
                <c:pt idx="1020">
                  <c:v>41361</c:v>
                </c:pt>
                <c:pt idx="1021">
                  <c:v>41362</c:v>
                </c:pt>
                <c:pt idx="1022">
                  <c:v>41365</c:v>
                </c:pt>
                <c:pt idx="1023">
                  <c:v>41366</c:v>
                </c:pt>
                <c:pt idx="1024">
                  <c:v>41367</c:v>
                </c:pt>
                <c:pt idx="1025">
                  <c:v>41368</c:v>
                </c:pt>
                <c:pt idx="1026">
                  <c:v>41369</c:v>
                </c:pt>
                <c:pt idx="1027">
                  <c:v>41372</c:v>
                </c:pt>
                <c:pt idx="1028">
                  <c:v>41373</c:v>
                </c:pt>
                <c:pt idx="1029">
                  <c:v>41374</c:v>
                </c:pt>
                <c:pt idx="1030">
                  <c:v>41375</c:v>
                </c:pt>
                <c:pt idx="1031">
                  <c:v>41376</c:v>
                </c:pt>
                <c:pt idx="1032">
                  <c:v>41379</c:v>
                </c:pt>
                <c:pt idx="1033">
                  <c:v>41380</c:v>
                </c:pt>
                <c:pt idx="1034">
                  <c:v>41381</c:v>
                </c:pt>
                <c:pt idx="1035">
                  <c:v>41382</c:v>
                </c:pt>
                <c:pt idx="1036">
                  <c:v>41383</c:v>
                </c:pt>
                <c:pt idx="1037">
                  <c:v>41386</c:v>
                </c:pt>
                <c:pt idx="1038">
                  <c:v>41387</c:v>
                </c:pt>
                <c:pt idx="1039">
                  <c:v>41388</c:v>
                </c:pt>
                <c:pt idx="1040">
                  <c:v>41389</c:v>
                </c:pt>
                <c:pt idx="1041">
                  <c:v>41390</c:v>
                </c:pt>
                <c:pt idx="1042">
                  <c:v>41393</c:v>
                </c:pt>
                <c:pt idx="1043">
                  <c:v>41394</c:v>
                </c:pt>
                <c:pt idx="1044">
                  <c:v>41395</c:v>
                </c:pt>
                <c:pt idx="1045">
                  <c:v>41396</c:v>
                </c:pt>
                <c:pt idx="1046">
                  <c:v>41397</c:v>
                </c:pt>
                <c:pt idx="1047">
                  <c:v>41400</c:v>
                </c:pt>
                <c:pt idx="1048">
                  <c:v>41401</c:v>
                </c:pt>
                <c:pt idx="1049">
                  <c:v>41402</c:v>
                </c:pt>
                <c:pt idx="1050">
                  <c:v>41403</c:v>
                </c:pt>
                <c:pt idx="1051">
                  <c:v>41404</c:v>
                </c:pt>
                <c:pt idx="1052">
                  <c:v>41407</c:v>
                </c:pt>
                <c:pt idx="1053">
                  <c:v>41408</c:v>
                </c:pt>
                <c:pt idx="1054">
                  <c:v>41409</c:v>
                </c:pt>
                <c:pt idx="1055">
                  <c:v>41410</c:v>
                </c:pt>
                <c:pt idx="1056">
                  <c:v>41411</c:v>
                </c:pt>
                <c:pt idx="1057">
                  <c:v>41414</c:v>
                </c:pt>
                <c:pt idx="1058">
                  <c:v>41415</c:v>
                </c:pt>
                <c:pt idx="1059">
                  <c:v>41416</c:v>
                </c:pt>
                <c:pt idx="1060">
                  <c:v>41417</c:v>
                </c:pt>
                <c:pt idx="1061">
                  <c:v>41418</c:v>
                </c:pt>
                <c:pt idx="1062">
                  <c:v>41421</c:v>
                </c:pt>
                <c:pt idx="1063">
                  <c:v>41422</c:v>
                </c:pt>
                <c:pt idx="1064">
                  <c:v>41423</c:v>
                </c:pt>
                <c:pt idx="1065">
                  <c:v>41424</c:v>
                </c:pt>
                <c:pt idx="1066">
                  <c:v>41425</c:v>
                </c:pt>
                <c:pt idx="1067">
                  <c:v>41428</c:v>
                </c:pt>
                <c:pt idx="1068">
                  <c:v>41429</c:v>
                </c:pt>
                <c:pt idx="1069">
                  <c:v>41430</c:v>
                </c:pt>
                <c:pt idx="1070">
                  <c:v>41431</c:v>
                </c:pt>
                <c:pt idx="1071">
                  <c:v>41432</c:v>
                </c:pt>
                <c:pt idx="1072">
                  <c:v>41435</c:v>
                </c:pt>
                <c:pt idx="1073">
                  <c:v>41436</c:v>
                </c:pt>
                <c:pt idx="1074">
                  <c:v>41437</c:v>
                </c:pt>
                <c:pt idx="1075">
                  <c:v>41438</c:v>
                </c:pt>
                <c:pt idx="1076">
                  <c:v>41439</c:v>
                </c:pt>
                <c:pt idx="1077">
                  <c:v>41442</c:v>
                </c:pt>
                <c:pt idx="1078">
                  <c:v>41443</c:v>
                </c:pt>
                <c:pt idx="1079">
                  <c:v>41444</c:v>
                </c:pt>
                <c:pt idx="1080">
                  <c:v>41445</c:v>
                </c:pt>
                <c:pt idx="1081">
                  <c:v>41446</c:v>
                </c:pt>
                <c:pt idx="1082">
                  <c:v>41449</c:v>
                </c:pt>
                <c:pt idx="1083">
                  <c:v>41450</c:v>
                </c:pt>
                <c:pt idx="1084">
                  <c:v>41451</c:v>
                </c:pt>
                <c:pt idx="1085">
                  <c:v>41452</c:v>
                </c:pt>
                <c:pt idx="1086">
                  <c:v>41453</c:v>
                </c:pt>
                <c:pt idx="1087">
                  <c:v>41456</c:v>
                </c:pt>
                <c:pt idx="1088">
                  <c:v>41457</c:v>
                </c:pt>
                <c:pt idx="1089">
                  <c:v>41458</c:v>
                </c:pt>
                <c:pt idx="1090">
                  <c:v>41459</c:v>
                </c:pt>
                <c:pt idx="1091">
                  <c:v>41460</c:v>
                </c:pt>
                <c:pt idx="1092">
                  <c:v>41463</c:v>
                </c:pt>
                <c:pt idx="1093">
                  <c:v>41464</c:v>
                </c:pt>
                <c:pt idx="1094">
                  <c:v>41465</c:v>
                </c:pt>
                <c:pt idx="1095">
                  <c:v>41466</c:v>
                </c:pt>
                <c:pt idx="1096">
                  <c:v>41467</c:v>
                </c:pt>
                <c:pt idx="1097">
                  <c:v>41470</c:v>
                </c:pt>
                <c:pt idx="1098">
                  <c:v>41471</c:v>
                </c:pt>
                <c:pt idx="1099">
                  <c:v>41472</c:v>
                </c:pt>
                <c:pt idx="1100">
                  <c:v>41473</c:v>
                </c:pt>
                <c:pt idx="1101">
                  <c:v>41474</c:v>
                </c:pt>
                <c:pt idx="1102">
                  <c:v>41477</c:v>
                </c:pt>
                <c:pt idx="1103">
                  <c:v>41478</c:v>
                </c:pt>
                <c:pt idx="1104">
                  <c:v>41479</c:v>
                </c:pt>
                <c:pt idx="1105">
                  <c:v>41480</c:v>
                </c:pt>
                <c:pt idx="1106">
                  <c:v>41481</c:v>
                </c:pt>
                <c:pt idx="1107">
                  <c:v>41484</c:v>
                </c:pt>
                <c:pt idx="1108">
                  <c:v>41485</c:v>
                </c:pt>
                <c:pt idx="1109">
                  <c:v>41486</c:v>
                </c:pt>
                <c:pt idx="1110">
                  <c:v>41487</c:v>
                </c:pt>
                <c:pt idx="1111">
                  <c:v>41488</c:v>
                </c:pt>
                <c:pt idx="1112">
                  <c:v>41491</c:v>
                </c:pt>
                <c:pt idx="1113">
                  <c:v>41492</c:v>
                </c:pt>
                <c:pt idx="1114">
                  <c:v>41493</c:v>
                </c:pt>
                <c:pt idx="1115">
                  <c:v>41494</c:v>
                </c:pt>
                <c:pt idx="1116">
                  <c:v>41495</c:v>
                </c:pt>
                <c:pt idx="1117">
                  <c:v>41498</c:v>
                </c:pt>
                <c:pt idx="1118">
                  <c:v>41499</c:v>
                </c:pt>
                <c:pt idx="1119">
                  <c:v>41500</c:v>
                </c:pt>
                <c:pt idx="1120">
                  <c:v>41501</c:v>
                </c:pt>
                <c:pt idx="1121">
                  <c:v>41502</c:v>
                </c:pt>
                <c:pt idx="1122">
                  <c:v>41505</c:v>
                </c:pt>
                <c:pt idx="1123">
                  <c:v>41506</c:v>
                </c:pt>
                <c:pt idx="1124">
                  <c:v>41507</c:v>
                </c:pt>
                <c:pt idx="1125">
                  <c:v>41508</c:v>
                </c:pt>
                <c:pt idx="1126">
                  <c:v>41509</c:v>
                </c:pt>
                <c:pt idx="1127">
                  <c:v>41512</c:v>
                </c:pt>
                <c:pt idx="1128">
                  <c:v>41513</c:v>
                </c:pt>
                <c:pt idx="1129">
                  <c:v>41514</c:v>
                </c:pt>
                <c:pt idx="1130">
                  <c:v>41515</c:v>
                </c:pt>
                <c:pt idx="1131">
                  <c:v>41516</c:v>
                </c:pt>
                <c:pt idx="1132">
                  <c:v>41519</c:v>
                </c:pt>
                <c:pt idx="1133">
                  <c:v>41520</c:v>
                </c:pt>
                <c:pt idx="1134">
                  <c:v>41521</c:v>
                </c:pt>
                <c:pt idx="1135">
                  <c:v>41522</c:v>
                </c:pt>
                <c:pt idx="1136">
                  <c:v>41523</c:v>
                </c:pt>
                <c:pt idx="1137">
                  <c:v>41526</c:v>
                </c:pt>
                <c:pt idx="1138">
                  <c:v>41527</c:v>
                </c:pt>
                <c:pt idx="1139">
                  <c:v>41528</c:v>
                </c:pt>
                <c:pt idx="1140">
                  <c:v>41529</c:v>
                </c:pt>
                <c:pt idx="1141">
                  <c:v>41530</c:v>
                </c:pt>
                <c:pt idx="1142">
                  <c:v>41533</c:v>
                </c:pt>
                <c:pt idx="1143">
                  <c:v>41534</c:v>
                </c:pt>
                <c:pt idx="1144">
                  <c:v>41535</c:v>
                </c:pt>
                <c:pt idx="1145">
                  <c:v>41536</c:v>
                </c:pt>
                <c:pt idx="1146">
                  <c:v>41537</c:v>
                </c:pt>
                <c:pt idx="1147">
                  <c:v>41540</c:v>
                </c:pt>
                <c:pt idx="1148">
                  <c:v>41541</c:v>
                </c:pt>
                <c:pt idx="1149">
                  <c:v>41542</c:v>
                </c:pt>
                <c:pt idx="1150">
                  <c:v>41543</c:v>
                </c:pt>
                <c:pt idx="1151">
                  <c:v>41544</c:v>
                </c:pt>
                <c:pt idx="1152">
                  <c:v>41547</c:v>
                </c:pt>
                <c:pt idx="1153">
                  <c:v>41548</c:v>
                </c:pt>
                <c:pt idx="1154">
                  <c:v>41549</c:v>
                </c:pt>
                <c:pt idx="1155">
                  <c:v>41550</c:v>
                </c:pt>
                <c:pt idx="1156">
                  <c:v>41551</c:v>
                </c:pt>
                <c:pt idx="1157">
                  <c:v>41554</c:v>
                </c:pt>
                <c:pt idx="1158">
                  <c:v>41555</c:v>
                </c:pt>
                <c:pt idx="1159">
                  <c:v>41556</c:v>
                </c:pt>
                <c:pt idx="1160">
                  <c:v>41557</c:v>
                </c:pt>
                <c:pt idx="1161">
                  <c:v>41558</c:v>
                </c:pt>
                <c:pt idx="1162">
                  <c:v>41561</c:v>
                </c:pt>
                <c:pt idx="1163">
                  <c:v>41562</c:v>
                </c:pt>
                <c:pt idx="1164">
                  <c:v>41563</c:v>
                </c:pt>
                <c:pt idx="1165">
                  <c:v>41564</c:v>
                </c:pt>
                <c:pt idx="1166">
                  <c:v>41565</c:v>
                </c:pt>
                <c:pt idx="1167">
                  <c:v>41568</c:v>
                </c:pt>
                <c:pt idx="1168">
                  <c:v>41569</c:v>
                </c:pt>
                <c:pt idx="1169">
                  <c:v>41570</c:v>
                </c:pt>
                <c:pt idx="1170">
                  <c:v>41571</c:v>
                </c:pt>
                <c:pt idx="1171">
                  <c:v>41572</c:v>
                </c:pt>
                <c:pt idx="1172">
                  <c:v>41575</c:v>
                </c:pt>
                <c:pt idx="1173">
                  <c:v>41576</c:v>
                </c:pt>
                <c:pt idx="1174">
                  <c:v>41577</c:v>
                </c:pt>
                <c:pt idx="1175">
                  <c:v>41578</c:v>
                </c:pt>
                <c:pt idx="1176">
                  <c:v>41579</c:v>
                </c:pt>
                <c:pt idx="1177">
                  <c:v>41582</c:v>
                </c:pt>
                <c:pt idx="1178">
                  <c:v>41583</c:v>
                </c:pt>
                <c:pt idx="1179">
                  <c:v>41584</c:v>
                </c:pt>
                <c:pt idx="1180">
                  <c:v>41585</c:v>
                </c:pt>
                <c:pt idx="1181">
                  <c:v>41586</c:v>
                </c:pt>
                <c:pt idx="1182">
                  <c:v>41589</c:v>
                </c:pt>
                <c:pt idx="1183">
                  <c:v>41590</c:v>
                </c:pt>
                <c:pt idx="1184">
                  <c:v>41591</c:v>
                </c:pt>
                <c:pt idx="1185">
                  <c:v>41592</c:v>
                </c:pt>
                <c:pt idx="1186">
                  <c:v>41593</c:v>
                </c:pt>
                <c:pt idx="1187">
                  <c:v>41596</c:v>
                </c:pt>
                <c:pt idx="1188">
                  <c:v>41597</c:v>
                </c:pt>
                <c:pt idx="1189">
                  <c:v>41598</c:v>
                </c:pt>
                <c:pt idx="1190">
                  <c:v>41599</c:v>
                </c:pt>
                <c:pt idx="1191">
                  <c:v>41600</c:v>
                </c:pt>
                <c:pt idx="1192">
                  <c:v>41603</c:v>
                </c:pt>
                <c:pt idx="1193">
                  <c:v>41604</c:v>
                </c:pt>
                <c:pt idx="1194">
                  <c:v>41605</c:v>
                </c:pt>
                <c:pt idx="1195">
                  <c:v>41606</c:v>
                </c:pt>
                <c:pt idx="1196">
                  <c:v>41607</c:v>
                </c:pt>
                <c:pt idx="1197">
                  <c:v>41610</c:v>
                </c:pt>
                <c:pt idx="1198">
                  <c:v>41611</c:v>
                </c:pt>
                <c:pt idx="1199">
                  <c:v>41612</c:v>
                </c:pt>
                <c:pt idx="1200">
                  <c:v>41613</c:v>
                </c:pt>
                <c:pt idx="1201">
                  <c:v>41614</c:v>
                </c:pt>
                <c:pt idx="1202">
                  <c:v>41617</c:v>
                </c:pt>
                <c:pt idx="1203">
                  <c:v>41618</c:v>
                </c:pt>
                <c:pt idx="1204">
                  <c:v>41619</c:v>
                </c:pt>
                <c:pt idx="1205">
                  <c:v>41620</c:v>
                </c:pt>
                <c:pt idx="1206">
                  <c:v>41621</c:v>
                </c:pt>
                <c:pt idx="1207">
                  <c:v>41624</c:v>
                </c:pt>
                <c:pt idx="1208">
                  <c:v>41625</c:v>
                </c:pt>
                <c:pt idx="1209">
                  <c:v>41626</c:v>
                </c:pt>
                <c:pt idx="1210">
                  <c:v>41627</c:v>
                </c:pt>
                <c:pt idx="1211">
                  <c:v>41628</c:v>
                </c:pt>
                <c:pt idx="1212">
                  <c:v>41631</c:v>
                </c:pt>
                <c:pt idx="1213">
                  <c:v>41632</c:v>
                </c:pt>
                <c:pt idx="1214">
                  <c:v>41633</c:v>
                </c:pt>
                <c:pt idx="1215">
                  <c:v>41634</c:v>
                </c:pt>
                <c:pt idx="1216">
                  <c:v>41635</c:v>
                </c:pt>
                <c:pt idx="1217">
                  <c:v>41638</c:v>
                </c:pt>
                <c:pt idx="1218">
                  <c:v>41639</c:v>
                </c:pt>
                <c:pt idx="1219">
                  <c:v>41640</c:v>
                </c:pt>
                <c:pt idx="1220">
                  <c:v>41641</c:v>
                </c:pt>
                <c:pt idx="1221">
                  <c:v>41642</c:v>
                </c:pt>
                <c:pt idx="1222">
                  <c:v>41645</c:v>
                </c:pt>
                <c:pt idx="1223">
                  <c:v>41646</c:v>
                </c:pt>
                <c:pt idx="1224">
                  <c:v>41647</c:v>
                </c:pt>
                <c:pt idx="1225">
                  <c:v>41648</c:v>
                </c:pt>
                <c:pt idx="1226">
                  <c:v>41649</c:v>
                </c:pt>
                <c:pt idx="1227">
                  <c:v>41652</c:v>
                </c:pt>
                <c:pt idx="1228">
                  <c:v>41653</c:v>
                </c:pt>
                <c:pt idx="1229">
                  <c:v>41654</c:v>
                </c:pt>
                <c:pt idx="1230">
                  <c:v>41655</c:v>
                </c:pt>
                <c:pt idx="1231">
                  <c:v>41656</c:v>
                </c:pt>
                <c:pt idx="1232">
                  <c:v>41659</c:v>
                </c:pt>
                <c:pt idx="1233">
                  <c:v>41660</c:v>
                </c:pt>
                <c:pt idx="1234">
                  <c:v>41661</c:v>
                </c:pt>
                <c:pt idx="1235">
                  <c:v>41662</c:v>
                </c:pt>
                <c:pt idx="1236">
                  <c:v>41663</c:v>
                </c:pt>
                <c:pt idx="1237">
                  <c:v>41666</c:v>
                </c:pt>
                <c:pt idx="1238">
                  <c:v>41667</c:v>
                </c:pt>
                <c:pt idx="1239">
                  <c:v>41668</c:v>
                </c:pt>
                <c:pt idx="1240">
                  <c:v>41669</c:v>
                </c:pt>
                <c:pt idx="1241">
                  <c:v>41670</c:v>
                </c:pt>
                <c:pt idx="1242">
                  <c:v>41673</c:v>
                </c:pt>
                <c:pt idx="1243">
                  <c:v>41674</c:v>
                </c:pt>
                <c:pt idx="1244">
                  <c:v>41675</c:v>
                </c:pt>
                <c:pt idx="1245">
                  <c:v>41676</c:v>
                </c:pt>
                <c:pt idx="1246">
                  <c:v>41677</c:v>
                </c:pt>
                <c:pt idx="1247">
                  <c:v>41680</c:v>
                </c:pt>
                <c:pt idx="1248">
                  <c:v>41681</c:v>
                </c:pt>
                <c:pt idx="1249">
                  <c:v>41682</c:v>
                </c:pt>
                <c:pt idx="1250">
                  <c:v>41683</c:v>
                </c:pt>
                <c:pt idx="1251">
                  <c:v>41684</c:v>
                </c:pt>
                <c:pt idx="1252">
                  <c:v>41687</c:v>
                </c:pt>
                <c:pt idx="1253">
                  <c:v>41688</c:v>
                </c:pt>
                <c:pt idx="1254">
                  <c:v>41689</c:v>
                </c:pt>
                <c:pt idx="1255">
                  <c:v>41690</c:v>
                </c:pt>
                <c:pt idx="1256">
                  <c:v>41691</c:v>
                </c:pt>
                <c:pt idx="1257">
                  <c:v>41694</c:v>
                </c:pt>
                <c:pt idx="1258">
                  <c:v>41695</c:v>
                </c:pt>
                <c:pt idx="1259">
                  <c:v>41696</c:v>
                </c:pt>
                <c:pt idx="1260">
                  <c:v>41697</c:v>
                </c:pt>
                <c:pt idx="1261">
                  <c:v>41698</c:v>
                </c:pt>
                <c:pt idx="1262">
                  <c:v>41701</c:v>
                </c:pt>
                <c:pt idx="1263">
                  <c:v>41702</c:v>
                </c:pt>
                <c:pt idx="1264">
                  <c:v>41703</c:v>
                </c:pt>
                <c:pt idx="1265">
                  <c:v>41704</c:v>
                </c:pt>
                <c:pt idx="1266">
                  <c:v>41705</c:v>
                </c:pt>
                <c:pt idx="1267">
                  <c:v>41708</c:v>
                </c:pt>
                <c:pt idx="1268">
                  <c:v>41709</c:v>
                </c:pt>
                <c:pt idx="1269">
                  <c:v>41710</c:v>
                </c:pt>
                <c:pt idx="1270">
                  <c:v>41711</c:v>
                </c:pt>
                <c:pt idx="1271">
                  <c:v>41712</c:v>
                </c:pt>
                <c:pt idx="1272">
                  <c:v>41715</c:v>
                </c:pt>
                <c:pt idx="1273">
                  <c:v>41716</c:v>
                </c:pt>
                <c:pt idx="1274">
                  <c:v>41717</c:v>
                </c:pt>
                <c:pt idx="1275">
                  <c:v>41718</c:v>
                </c:pt>
                <c:pt idx="1276">
                  <c:v>41719</c:v>
                </c:pt>
                <c:pt idx="1277">
                  <c:v>41722</c:v>
                </c:pt>
                <c:pt idx="1278">
                  <c:v>41723</c:v>
                </c:pt>
                <c:pt idx="1279">
                  <c:v>41724</c:v>
                </c:pt>
                <c:pt idx="1280">
                  <c:v>41725</c:v>
                </c:pt>
                <c:pt idx="1281">
                  <c:v>41726</c:v>
                </c:pt>
                <c:pt idx="1282">
                  <c:v>41729</c:v>
                </c:pt>
                <c:pt idx="1283">
                  <c:v>41730</c:v>
                </c:pt>
                <c:pt idx="1284">
                  <c:v>41731</c:v>
                </c:pt>
                <c:pt idx="1285">
                  <c:v>41732</c:v>
                </c:pt>
                <c:pt idx="1286">
                  <c:v>41733</c:v>
                </c:pt>
                <c:pt idx="1287">
                  <c:v>41736</c:v>
                </c:pt>
                <c:pt idx="1288">
                  <c:v>41737</c:v>
                </c:pt>
                <c:pt idx="1289">
                  <c:v>41738</c:v>
                </c:pt>
                <c:pt idx="1290">
                  <c:v>41739</c:v>
                </c:pt>
                <c:pt idx="1291">
                  <c:v>41740</c:v>
                </c:pt>
                <c:pt idx="1292">
                  <c:v>41743</c:v>
                </c:pt>
                <c:pt idx="1293">
                  <c:v>41744</c:v>
                </c:pt>
                <c:pt idx="1294">
                  <c:v>41745</c:v>
                </c:pt>
                <c:pt idx="1295">
                  <c:v>41746</c:v>
                </c:pt>
                <c:pt idx="1296">
                  <c:v>41747</c:v>
                </c:pt>
                <c:pt idx="1297">
                  <c:v>41750</c:v>
                </c:pt>
                <c:pt idx="1298">
                  <c:v>41751</c:v>
                </c:pt>
                <c:pt idx="1299">
                  <c:v>41752</c:v>
                </c:pt>
                <c:pt idx="1300">
                  <c:v>41753</c:v>
                </c:pt>
                <c:pt idx="1301">
                  <c:v>41754</c:v>
                </c:pt>
                <c:pt idx="1302">
                  <c:v>41757</c:v>
                </c:pt>
                <c:pt idx="1303">
                  <c:v>41758</c:v>
                </c:pt>
                <c:pt idx="1304">
                  <c:v>41759</c:v>
                </c:pt>
                <c:pt idx="1305">
                  <c:v>41760</c:v>
                </c:pt>
                <c:pt idx="1306">
                  <c:v>41761</c:v>
                </c:pt>
                <c:pt idx="1307">
                  <c:v>41764</c:v>
                </c:pt>
                <c:pt idx="1308">
                  <c:v>41765</c:v>
                </c:pt>
                <c:pt idx="1309">
                  <c:v>41766</c:v>
                </c:pt>
                <c:pt idx="1310">
                  <c:v>41767</c:v>
                </c:pt>
                <c:pt idx="1311">
                  <c:v>41768</c:v>
                </c:pt>
                <c:pt idx="1312">
                  <c:v>41771</c:v>
                </c:pt>
                <c:pt idx="1313">
                  <c:v>41772</c:v>
                </c:pt>
                <c:pt idx="1314">
                  <c:v>41773</c:v>
                </c:pt>
                <c:pt idx="1315">
                  <c:v>41774</c:v>
                </c:pt>
                <c:pt idx="1316">
                  <c:v>41775</c:v>
                </c:pt>
                <c:pt idx="1317">
                  <c:v>41778</c:v>
                </c:pt>
                <c:pt idx="1318">
                  <c:v>41779</c:v>
                </c:pt>
                <c:pt idx="1319">
                  <c:v>41780</c:v>
                </c:pt>
                <c:pt idx="1320">
                  <c:v>41781</c:v>
                </c:pt>
                <c:pt idx="1321">
                  <c:v>41782</c:v>
                </c:pt>
                <c:pt idx="1322">
                  <c:v>41785</c:v>
                </c:pt>
                <c:pt idx="1323">
                  <c:v>41786</c:v>
                </c:pt>
                <c:pt idx="1324">
                  <c:v>41787</c:v>
                </c:pt>
                <c:pt idx="1325">
                  <c:v>41788</c:v>
                </c:pt>
                <c:pt idx="1326">
                  <c:v>41789</c:v>
                </c:pt>
                <c:pt idx="1327">
                  <c:v>41792</c:v>
                </c:pt>
                <c:pt idx="1328">
                  <c:v>41793</c:v>
                </c:pt>
                <c:pt idx="1329">
                  <c:v>41794</c:v>
                </c:pt>
                <c:pt idx="1330">
                  <c:v>41795</c:v>
                </c:pt>
                <c:pt idx="1331">
                  <c:v>41796</c:v>
                </c:pt>
                <c:pt idx="1332">
                  <c:v>41799</c:v>
                </c:pt>
                <c:pt idx="1333">
                  <c:v>41800</c:v>
                </c:pt>
                <c:pt idx="1334">
                  <c:v>41801</c:v>
                </c:pt>
                <c:pt idx="1335">
                  <c:v>41802</c:v>
                </c:pt>
                <c:pt idx="1336">
                  <c:v>41803</c:v>
                </c:pt>
                <c:pt idx="1337">
                  <c:v>41806</c:v>
                </c:pt>
                <c:pt idx="1338">
                  <c:v>41807</c:v>
                </c:pt>
                <c:pt idx="1339">
                  <c:v>41808</c:v>
                </c:pt>
                <c:pt idx="1340">
                  <c:v>41809</c:v>
                </c:pt>
                <c:pt idx="1341">
                  <c:v>41810</c:v>
                </c:pt>
                <c:pt idx="1342">
                  <c:v>41813</c:v>
                </c:pt>
                <c:pt idx="1343">
                  <c:v>41814</c:v>
                </c:pt>
                <c:pt idx="1344">
                  <c:v>41815</c:v>
                </c:pt>
                <c:pt idx="1345">
                  <c:v>41816</c:v>
                </c:pt>
                <c:pt idx="1346">
                  <c:v>41817</c:v>
                </c:pt>
                <c:pt idx="1347">
                  <c:v>41820</c:v>
                </c:pt>
                <c:pt idx="1348">
                  <c:v>41821</c:v>
                </c:pt>
                <c:pt idx="1349">
                  <c:v>41822</c:v>
                </c:pt>
                <c:pt idx="1350">
                  <c:v>41823</c:v>
                </c:pt>
                <c:pt idx="1351">
                  <c:v>41824</c:v>
                </c:pt>
                <c:pt idx="1352">
                  <c:v>41827</c:v>
                </c:pt>
                <c:pt idx="1353">
                  <c:v>41828</c:v>
                </c:pt>
                <c:pt idx="1354">
                  <c:v>41829</c:v>
                </c:pt>
                <c:pt idx="1355">
                  <c:v>41830</c:v>
                </c:pt>
                <c:pt idx="1356">
                  <c:v>41831</c:v>
                </c:pt>
                <c:pt idx="1357">
                  <c:v>41834</c:v>
                </c:pt>
                <c:pt idx="1358">
                  <c:v>41835</c:v>
                </c:pt>
                <c:pt idx="1359">
                  <c:v>41836</c:v>
                </c:pt>
                <c:pt idx="1360">
                  <c:v>41837</c:v>
                </c:pt>
                <c:pt idx="1361">
                  <c:v>41838</c:v>
                </c:pt>
                <c:pt idx="1362">
                  <c:v>41841</c:v>
                </c:pt>
                <c:pt idx="1363">
                  <c:v>41842</c:v>
                </c:pt>
                <c:pt idx="1364">
                  <c:v>41843</c:v>
                </c:pt>
                <c:pt idx="1365">
                  <c:v>41844</c:v>
                </c:pt>
                <c:pt idx="1366">
                  <c:v>41845</c:v>
                </c:pt>
                <c:pt idx="1367">
                  <c:v>41848</c:v>
                </c:pt>
                <c:pt idx="1368">
                  <c:v>41849</c:v>
                </c:pt>
                <c:pt idx="1369">
                  <c:v>41850</c:v>
                </c:pt>
                <c:pt idx="1370">
                  <c:v>41851</c:v>
                </c:pt>
                <c:pt idx="1371">
                  <c:v>41852</c:v>
                </c:pt>
                <c:pt idx="1372">
                  <c:v>41855</c:v>
                </c:pt>
                <c:pt idx="1373">
                  <c:v>41856</c:v>
                </c:pt>
                <c:pt idx="1374">
                  <c:v>41857</c:v>
                </c:pt>
                <c:pt idx="1375">
                  <c:v>41858</c:v>
                </c:pt>
                <c:pt idx="1376">
                  <c:v>41859</c:v>
                </c:pt>
                <c:pt idx="1377">
                  <c:v>41862</c:v>
                </c:pt>
                <c:pt idx="1378">
                  <c:v>41863</c:v>
                </c:pt>
                <c:pt idx="1379">
                  <c:v>41864</c:v>
                </c:pt>
                <c:pt idx="1380">
                  <c:v>41865</c:v>
                </c:pt>
                <c:pt idx="1381">
                  <c:v>41866</c:v>
                </c:pt>
                <c:pt idx="1382">
                  <c:v>41869</c:v>
                </c:pt>
                <c:pt idx="1383">
                  <c:v>41870</c:v>
                </c:pt>
                <c:pt idx="1384">
                  <c:v>41871</c:v>
                </c:pt>
                <c:pt idx="1385">
                  <c:v>41872</c:v>
                </c:pt>
                <c:pt idx="1386">
                  <c:v>41873</c:v>
                </c:pt>
                <c:pt idx="1387">
                  <c:v>41876</c:v>
                </c:pt>
                <c:pt idx="1388">
                  <c:v>41877</c:v>
                </c:pt>
                <c:pt idx="1389">
                  <c:v>41878</c:v>
                </c:pt>
                <c:pt idx="1390">
                  <c:v>41879</c:v>
                </c:pt>
                <c:pt idx="1391">
                  <c:v>41880</c:v>
                </c:pt>
                <c:pt idx="1392">
                  <c:v>41883</c:v>
                </c:pt>
                <c:pt idx="1393">
                  <c:v>41884</c:v>
                </c:pt>
                <c:pt idx="1394">
                  <c:v>41885</c:v>
                </c:pt>
                <c:pt idx="1395">
                  <c:v>41886</c:v>
                </c:pt>
                <c:pt idx="1396">
                  <c:v>41887</c:v>
                </c:pt>
                <c:pt idx="1397">
                  <c:v>41890</c:v>
                </c:pt>
                <c:pt idx="1398">
                  <c:v>41891</c:v>
                </c:pt>
                <c:pt idx="1399">
                  <c:v>41892</c:v>
                </c:pt>
                <c:pt idx="1400">
                  <c:v>41893</c:v>
                </c:pt>
                <c:pt idx="1401">
                  <c:v>41894</c:v>
                </c:pt>
                <c:pt idx="1402">
                  <c:v>41897</c:v>
                </c:pt>
                <c:pt idx="1403">
                  <c:v>41898</c:v>
                </c:pt>
                <c:pt idx="1404">
                  <c:v>41899</c:v>
                </c:pt>
                <c:pt idx="1405">
                  <c:v>41900</c:v>
                </c:pt>
                <c:pt idx="1406">
                  <c:v>41901</c:v>
                </c:pt>
                <c:pt idx="1407">
                  <c:v>41904</c:v>
                </c:pt>
                <c:pt idx="1408">
                  <c:v>41905</c:v>
                </c:pt>
                <c:pt idx="1409">
                  <c:v>41906</c:v>
                </c:pt>
                <c:pt idx="1410">
                  <c:v>41907</c:v>
                </c:pt>
                <c:pt idx="1411">
                  <c:v>41908</c:v>
                </c:pt>
                <c:pt idx="1412">
                  <c:v>41911</c:v>
                </c:pt>
                <c:pt idx="1413">
                  <c:v>41912</c:v>
                </c:pt>
                <c:pt idx="1414">
                  <c:v>41913</c:v>
                </c:pt>
                <c:pt idx="1415">
                  <c:v>41914</c:v>
                </c:pt>
                <c:pt idx="1416">
                  <c:v>41915</c:v>
                </c:pt>
                <c:pt idx="1417">
                  <c:v>41918</c:v>
                </c:pt>
                <c:pt idx="1418">
                  <c:v>41919</c:v>
                </c:pt>
                <c:pt idx="1419">
                  <c:v>41920</c:v>
                </c:pt>
                <c:pt idx="1420">
                  <c:v>41921</c:v>
                </c:pt>
                <c:pt idx="1421">
                  <c:v>41922</c:v>
                </c:pt>
                <c:pt idx="1422">
                  <c:v>41925</c:v>
                </c:pt>
                <c:pt idx="1423">
                  <c:v>41926</c:v>
                </c:pt>
                <c:pt idx="1424">
                  <c:v>41927</c:v>
                </c:pt>
                <c:pt idx="1425">
                  <c:v>41928</c:v>
                </c:pt>
                <c:pt idx="1426">
                  <c:v>41929</c:v>
                </c:pt>
                <c:pt idx="1427">
                  <c:v>41932</c:v>
                </c:pt>
                <c:pt idx="1428">
                  <c:v>41933</c:v>
                </c:pt>
                <c:pt idx="1429">
                  <c:v>41934</c:v>
                </c:pt>
                <c:pt idx="1430">
                  <c:v>41935</c:v>
                </c:pt>
                <c:pt idx="1431">
                  <c:v>41936</c:v>
                </c:pt>
                <c:pt idx="1432">
                  <c:v>41939</c:v>
                </c:pt>
                <c:pt idx="1433">
                  <c:v>41940</c:v>
                </c:pt>
                <c:pt idx="1434">
                  <c:v>41941</c:v>
                </c:pt>
                <c:pt idx="1435">
                  <c:v>41942</c:v>
                </c:pt>
                <c:pt idx="1436">
                  <c:v>41943</c:v>
                </c:pt>
                <c:pt idx="1437">
                  <c:v>41946</c:v>
                </c:pt>
                <c:pt idx="1438">
                  <c:v>41947</c:v>
                </c:pt>
                <c:pt idx="1439">
                  <c:v>41948</c:v>
                </c:pt>
                <c:pt idx="1440">
                  <c:v>41949</c:v>
                </c:pt>
                <c:pt idx="1441">
                  <c:v>41950</c:v>
                </c:pt>
                <c:pt idx="1442">
                  <c:v>41953</c:v>
                </c:pt>
                <c:pt idx="1443">
                  <c:v>41954</c:v>
                </c:pt>
                <c:pt idx="1444">
                  <c:v>41955</c:v>
                </c:pt>
                <c:pt idx="1445">
                  <c:v>41956</c:v>
                </c:pt>
                <c:pt idx="1446">
                  <c:v>41957</c:v>
                </c:pt>
                <c:pt idx="1447">
                  <c:v>41960</c:v>
                </c:pt>
                <c:pt idx="1448">
                  <c:v>41961</c:v>
                </c:pt>
                <c:pt idx="1449">
                  <c:v>41962</c:v>
                </c:pt>
                <c:pt idx="1450">
                  <c:v>41963</c:v>
                </c:pt>
                <c:pt idx="1451">
                  <c:v>41964</c:v>
                </c:pt>
                <c:pt idx="1452">
                  <c:v>41967</c:v>
                </c:pt>
                <c:pt idx="1453">
                  <c:v>41968</c:v>
                </c:pt>
                <c:pt idx="1454">
                  <c:v>41969</c:v>
                </c:pt>
                <c:pt idx="1455">
                  <c:v>41970</c:v>
                </c:pt>
                <c:pt idx="1456">
                  <c:v>41971</c:v>
                </c:pt>
                <c:pt idx="1457">
                  <c:v>41974</c:v>
                </c:pt>
                <c:pt idx="1458">
                  <c:v>41975</c:v>
                </c:pt>
                <c:pt idx="1459">
                  <c:v>41976</c:v>
                </c:pt>
                <c:pt idx="1460">
                  <c:v>41977</c:v>
                </c:pt>
                <c:pt idx="1461">
                  <c:v>41978</c:v>
                </c:pt>
                <c:pt idx="1462">
                  <c:v>41981</c:v>
                </c:pt>
                <c:pt idx="1463">
                  <c:v>41982</c:v>
                </c:pt>
                <c:pt idx="1464">
                  <c:v>41983</c:v>
                </c:pt>
                <c:pt idx="1465">
                  <c:v>41984</c:v>
                </c:pt>
                <c:pt idx="1466">
                  <c:v>41985</c:v>
                </c:pt>
                <c:pt idx="1467">
                  <c:v>41988</c:v>
                </c:pt>
                <c:pt idx="1468">
                  <c:v>41989</c:v>
                </c:pt>
                <c:pt idx="1469">
                  <c:v>41990</c:v>
                </c:pt>
                <c:pt idx="1470">
                  <c:v>41991</c:v>
                </c:pt>
                <c:pt idx="1471">
                  <c:v>41992</c:v>
                </c:pt>
                <c:pt idx="1472">
                  <c:v>41995</c:v>
                </c:pt>
                <c:pt idx="1473">
                  <c:v>41996</c:v>
                </c:pt>
                <c:pt idx="1474">
                  <c:v>41997</c:v>
                </c:pt>
                <c:pt idx="1475">
                  <c:v>41998</c:v>
                </c:pt>
                <c:pt idx="1476">
                  <c:v>41999</c:v>
                </c:pt>
                <c:pt idx="1477">
                  <c:v>42002</c:v>
                </c:pt>
                <c:pt idx="1478">
                  <c:v>42003</c:v>
                </c:pt>
                <c:pt idx="1479">
                  <c:v>42004</c:v>
                </c:pt>
                <c:pt idx="1480">
                  <c:v>42005</c:v>
                </c:pt>
                <c:pt idx="1481">
                  <c:v>42006</c:v>
                </c:pt>
                <c:pt idx="1482">
                  <c:v>42009</c:v>
                </c:pt>
                <c:pt idx="1483">
                  <c:v>42010</c:v>
                </c:pt>
                <c:pt idx="1484">
                  <c:v>42011</c:v>
                </c:pt>
                <c:pt idx="1485">
                  <c:v>42012</c:v>
                </c:pt>
                <c:pt idx="1486">
                  <c:v>42013</c:v>
                </c:pt>
                <c:pt idx="1487">
                  <c:v>42016</c:v>
                </c:pt>
                <c:pt idx="1488">
                  <c:v>42017</c:v>
                </c:pt>
                <c:pt idx="1489">
                  <c:v>42018</c:v>
                </c:pt>
                <c:pt idx="1490">
                  <c:v>42019</c:v>
                </c:pt>
                <c:pt idx="1491">
                  <c:v>42020</c:v>
                </c:pt>
                <c:pt idx="1492">
                  <c:v>42023</c:v>
                </c:pt>
                <c:pt idx="1493">
                  <c:v>42024</c:v>
                </c:pt>
                <c:pt idx="1494">
                  <c:v>42025</c:v>
                </c:pt>
                <c:pt idx="1495">
                  <c:v>42026</c:v>
                </c:pt>
                <c:pt idx="1496">
                  <c:v>42027</c:v>
                </c:pt>
                <c:pt idx="1497">
                  <c:v>42030</c:v>
                </c:pt>
                <c:pt idx="1498">
                  <c:v>42031</c:v>
                </c:pt>
                <c:pt idx="1499">
                  <c:v>42032</c:v>
                </c:pt>
                <c:pt idx="1500">
                  <c:v>42033</c:v>
                </c:pt>
                <c:pt idx="1501">
                  <c:v>42034</c:v>
                </c:pt>
                <c:pt idx="1502">
                  <c:v>42037</c:v>
                </c:pt>
                <c:pt idx="1503">
                  <c:v>42038</c:v>
                </c:pt>
                <c:pt idx="1504">
                  <c:v>42039</c:v>
                </c:pt>
                <c:pt idx="1505">
                  <c:v>42040</c:v>
                </c:pt>
                <c:pt idx="1506">
                  <c:v>42041</c:v>
                </c:pt>
                <c:pt idx="1507">
                  <c:v>42044</c:v>
                </c:pt>
                <c:pt idx="1508">
                  <c:v>42045</c:v>
                </c:pt>
                <c:pt idx="1509">
                  <c:v>42046</c:v>
                </c:pt>
                <c:pt idx="1510">
                  <c:v>42047</c:v>
                </c:pt>
                <c:pt idx="1511">
                  <c:v>42048</c:v>
                </c:pt>
                <c:pt idx="1512">
                  <c:v>42051</c:v>
                </c:pt>
                <c:pt idx="1513">
                  <c:v>42052</c:v>
                </c:pt>
                <c:pt idx="1514">
                  <c:v>42053</c:v>
                </c:pt>
                <c:pt idx="1515">
                  <c:v>42054</c:v>
                </c:pt>
                <c:pt idx="1516">
                  <c:v>42055</c:v>
                </c:pt>
                <c:pt idx="1517">
                  <c:v>42058</c:v>
                </c:pt>
                <c:pt idx="1518">
                  <c:v>42059</c:v>
                </c:pt>
                <c:pt idx="1519">
                  <c:v>42060</c:v>
                </c:pt>
                <c:pt idx="1520">
                  <c:v>42061</c:v>
                </c:pt>
                <c:pt idx="1521">
                  <c:v>42062</c:v>
                </c:pt>
                <c:pt idx="1522">
                  <c:v>42065</c:v>
                </c:pt>
                <c:pt idx="1523">
                  <c:v>42066</c:v>
                </c:pt>
                <c:pt idx="1524">
                  <c:v>42067</c:v>
                </c:pt>
                <c:pt idx="1525">
                  <c:v>42068</c:v>
                </c:pt>
                <c:pt idx="1526">
                  <c:v>42069</c:v>
                </c:pt>
                <c:pt idx="1527">
                  <c:v>42072</c:v>
                </c:pt>
                <c:pt idx="1528">
                  <c:v>42073</c:v>
                </c:pt>
                <c:pt idx="1529">
                  <c:v>42074</c:v>
                </c:pt>
                <c:pt idx="1530">
                  <c:v>42075</c:v>
                </c:pt>
                <c:pt idx="1531">
                  <c:v>42076</c:v>
                </c:pt>
                <c:pt idx="1532">
                  <c:v>42079</c:v>
                </c:pt>
                <c:pt idx="1533">
                  <c:v>42080</c:v>
                </c:pt>
                <c:pt idx="1534">
                  <c:v>42081</c:v>
                </c:pt>
                <c:pt idx="1535">
                  <c:v>42082</c:v>
                </c:pt>
                <c:pt idx="1536">
                  <c:v>42083</c:v>
                </c:pt>
                <c:pt idx="1537">
                  <c:v>42086</c:v>
                </c:pt>
                <c:pt idx="1538">
                  <c:v>42087</c:v>
                </c:pt>
                <c:pt idx="1539">
                  <c:v>42088</c:v>
                </c:pt>
                <c:pt idx="1540">
                  <c:v>42089</c:v>
                </c:pt>
                <c:pt idx="1541">
                  <c:v>42090</c:v>
                </c:pt>
                <c:pt idx="1542">
                  <c:v>42093</c:v>
                </c:pt>
                <c:pt idx="1543">
                  <c:v>42094</c:v>
                </c:pt>
                <c:pt idx="1544">
                  <c:v>42095</c:v>
                </c:pt>
                <c:pt idx="1545">
                  <c:v>42096</c:v>
                </c:pt>
                <c:pt idx="1546">
                  <c:v>42097</c:v>
                </c:pt>
                <c:pt idx="1547">
                  <c:v>42100</c:v>
                </c:pt>
                <c:pt idx="1548">
                  <c:v>42101</c:v>
                </c:pt>
                <c:pt idx="1549">
                  <c:v>42102</c:v>
                </c:pt>
                <c:pt idx="1550">
                  <c:v>42103</c:v>
                </c:pt>
                <c:pt idx="1551">
                  <c:v>42104</c:v>
                </c:pt>
                <c:pt idx="1552">
                  <c:v>42107</c:v>
                </c:pt>
                <c:pt idx="1553">
                  <c:v>42108</c:v>
                </c:pt>
                <c:pt idx="1554">
                  <c:v>42109</c:v>
                </c:pt>
                <c:pt idx="1555">
                  <c:v>42110</c:v>
                </c:pt>
                <c:pt idx="1556">
                  <c:v>42111</c:v>
                </c:pt>
                <c:pt idx="1557">
                  <c:v>42114</c:v>
                </c:pt>
                <c:pt idx="1558">
                  <c:v>42115</c:v>
                </c:pt>
                <c:pt idx="1559">
                  <c:v>42116</c:v>
                </c:pt>
                <c:pt idx="1560">
                  <c:v>42117</c:v>
                </c:pt>
                <c:pt idx="1561">
                  <c:v>42118</c:v>
                </c:pt>
                <c:pt idx="1562">
                  <c:v>42121</c:v>
                </c:pt>
                <c:pt idx="1563">
                  <c:v>42122</c:v>
                </c:pt>
                <c:pt idx="1564">
                  <c:v>42123</c:v>
                </c:pt>
                <c:pt idx="1565">
                  <c:v>42124</c:v>
                </c:pt>
                <c:pt idx="1566">
                  <c:v>42125</c:v>
                </c:pt>
                <c:pt idx="1567">
                  <c:v>42128</c:v>
                </c:pt>
                <c:pt idx="1568">
                  <c:v>42129</c:v>
                </c:pt>
                <c:pt idx="1569">
                  <c:v>42130</c:v>
                </c:pt>
                <c:pt idx="1570">
                  <c:v>42131</c:v>
                </c:pt>
                <c:pt idx="1571">
                  <c:v>42132</c:v>
                </c:pt>
                <c:pt idx="1572">
                  <c:v>42135</c:v>
                </c:pt>
                <c:pt idx="1573">
                  <c:v>42136</c:v>
                </c:pt>
                <c:pt idx="1574">
                  <c:v>42137</c:v>
                </c:pt>
                <c:pt idx="1575">
                  <c:v>42138</c:v>
                </c:pt>
                <c:pt idx="1576">
                  <c:v>42139</c:v>
                </c:pt>
                <c:pt idx="1577">
                  <c:v>42142</c:v>
                </c:pt>
                <c:pt idx="1578">
                  <c:v>42143</c:v>
                </c:pt>
                <c:pt idx="1579">
                  <c:v>42144</c:v>
                </c:pt>
                <c:pt idx="1580">
                  <c:v>42145</c:v>
                </c:pt>
                <c:pt idx="1581">
                  <c:v>42146</c:v>
                </c:pt>
                <c:pt idx="1582">
                  <c:v>42149</c:v>
                </c:pt>
                <c:pt idx="1583">
                  <c:v>42150</c:v>
                </c:pt>
                <c:pt idx="1584">
                  <c:v>42151</c:v>
                </c:pt>
                <c:pt idx="1585">
                  <c:v>42152</c:v>
                </c:pt>
                <c:pt idx="1586">
                  <c:v>42153</c:v>
                </c:pt>
                <c:pt idx="1587">
                  <c:v>42156</c:v>
                </c:pt>
                <c:pt idx="1588">
                  <c:v>42157</c:v>
                </c:pt>
                <c:pt idx="1589">
                  <c:v>42158</c:v>
                </c:pt>
                <c:pt idx="1590">
                  <c:v>42159</c:v>
                </c:pt>
                <c:pt idx="1591">
                  <c:v>42160</c:v>
                </c:pt>
                <c:pt idx="1592">
                  <c:v>42163</c:v>
                </c:pt>
                <c:pt idx="1593">
                  <c:v>42164</c:v>
                </c:pt>
                <c:pt idx="1594">
                  <c:v>42165</c:v>
                </c:pt>
                <c:pt idx="1595">
                  <c:v>42166</c:v>
                </c:pt>
                <c:pt idx="1596">
                  <c:v>42167</c:v>
                </c:pt>
                <c:pt idx="1597">
                  <c:v>42170</c:v>
                </c:pt>
                <c:pt idx="1598">
                  <c:v>42171</c:v>
                </c:pt>
                <c:pt idx="1599">
                  <c:v>42172</c:v>
                </c:pt>
                <c:pt idx="1600">
                  <c:v>42173</c:v>
                </c:pt>
                <c:pt idx="1601">
                  <c:v>42174</c:v>
                </c:pt>
                <c:pt idx="1602">
                  <c:v>42177</c:v>
                </c:pt>
                <c:pt idx="1603">
                  <c:v>42178</c:v>
                </c:pt>
                <c:pt idx="1604">
                  <c:v>42179</c:v>
                </c:pt>
                <c:pt idx="1605">
                  <c:v>42180</c:v>
                </c:pt>
                <c:pt idx="1606">
                  <c:v>42181</c:v>
                </c:pt>
                <c:pt idx="1607">
                  <c:v>42184</c:v>
                </c:pt>
                <c:pt idx="1608">
                  <c:v>42185</c:v>
                </c:pt>
                <c:pt idx="1609">
                  <c:v>42186</c:v>
                </c:pt>
                <c:pt idx="1610">
                  <c:v>42187</c:v>
                </c:pt>
                <c:pt idx="1611">
                  <c:v>42188</c:v>
                </c:pt>
                <c:pt idx="1612">
                  <c:v>42191</c:v>
                </c:pt>
                <c:pt idx="1613">
                  <c:v>42192</c:v>
                </c:pt>
                <c:pt idx="1614">
                  <c:v>42193</c:v>
                </c:pt>
                <c:pt idx="1615">
                  <c:v>42194</c:v>
                </c:pt>
                <c:pt idx="1616">
                  <c:v>42195</c:v>
                </c:pt>
                <c:pt idx="1617">
                  <c:v>42198</c:v>
                </c:pt>
                <c:pt idx="1618">
                  <c:v>42199</c:v>
                </c:pt>
                <c:pt idx="1619">
                  <c:v>42200</c:v>
                </c:pt>
                <c:pt idx="1620">
                  <c:v>42201</c:v>
                </c:pt>
                <c:pt idx="1621">
                  <c:v>42202</c:v>
                </c:pt>
                <c:pt idx="1622">
                  <c:v>42205</c:v>
                </c:pt>
                <c:pt idx="1623">
                  <c:v>42206</c:v>
                </c:pt>
                <c:pt idx="1624">
                  <c:v>42207</c:v>
                </c:pt>
                <c:pt idx="1625">
                  <c:v>42208</c:v>
                </c:pt>
                <c:pt idx="1626">
                  <c:v>42209</c:v>
                </c:pt>
                <c:pt idx="1627">
                  <c:v>42212</c:v>
                </c:pt>
                <c:pt idx="1628">
                  <c:v>42213</c:v>
                </c:pt>
                <c:pt idx="1629">
                  <c:v>42214</c:v>
                </c:pt>
                <c:pt idx="1630">
                  <c:v>42215</c:v>
                </c:pt>
                <c:pt idx="1631">
                  <c:v>42216</c:v>
                </c:pt>
                <c:pt idx="1632">
                  <c:v>42219</c:v>
                </c:pt>
                <c:pt idx="1633">
                  <c:v>42220</c:v>
                </c:pt>
                <c:pt idx="1634">
                  <c:v>42221</c:v>
                </c:pt>
                <c:pt idx="1635">
                  <c:v>42222</c:v>
                </c:pt>
                <c:pt idx="1636">
                  <c:v>42223</c:v>
                </c:pt>
                <c:pt idx="1637">
                  <c:v>42226</c:v>
                </c:pt>
                <c:pt idx="1638">
                  <c:v>42227</c:v>
                </c:pt>
                <c:pt idx="1639">
                  <c:v>42228</c:v>
                </c:pt>
                <c:pt idx="1640">
                  <c:v>42229</c:v>
                </c:pt>
                <c:pt idx="1641">
                  <c:v>42230</c:v>
                </c:pt>
                <c:pt idx="1642">
                  <c:v>42233</c:v>
                </c:pt>
                <c:pt idx="1643">
                  <c:v>42234</c:v>
                </c:pt>
                <c:pt idx="1644">
                  <c:v>42235</c:v>
                </c:pt>
                <c:pt idx="1645">
                  <c:v>42236</c:v>
                </c:pt>
                <c:pt idx="1646">
                  <c:v>42237</c:v>
                </c:pt>
                <c:pt idx="1647">
                  <c:v>42240</c:v>
                </c:pt>
                <c:pt idx="1648">
                  <c:v>42241</c:v>
                </c:pt>
                <c:pt idx="1649">
                  <c:v>42242</c:v>
                </c:pt>
                <c:pt idx="1650">
                  <c:v>42243</c:v>
                </c:pt>
                <c:pt idx="1651">
                  <c:v>42244</c:v>
                </c:pt>
                <c:pt idx="1652">
                  <c:v>42247</c:v>
                </c:pt>
                <c:pt idx="1653">
                  <c:v>42248</c:v>
                </c:pt>
                <c:pt idx="1654">
                  <c:v>42249</c:v>
                </c:pt>
                <c:pt idx="1655">
                  <c:v>42250</c:v>
                </c:pt>
                <c:pt idx="1656">
                  <c:v>42251</c:v>
                </c:pt>
                <c:pt idx="1657">
                  <c:v>42254</c:v>
                </c:pt>
                <c:pt idx="1658">
                  <c:v>42255</c:v>
                </c:pt>
                <c:pt idx="1659">
                  <c:v>42256</c:v>
                </c:pt>
                <c:pt idx="1660">
                  <c:v>42257</c:v>
                </c:pt>
                <c:pt idx="1661">
                  <c:v>42258</c:v>
                </c:pt>
                <c:pt idx="1662">
                  <c:v>42261</c:v>
                </c:pt>
                <c:pt idx="1663">
                  <c:v>42262</c:v>
                </c:pt>
                <c:pt idx="1664">
                  <c:v>42263</c:v>
                </c:pt>
                <c:pt idx="1665">
                  <c:v>42264</c:v>
                </c:pt>
                <c:pt idx="1666">
                  <c:v>42265</c:v>
                </c:pt>
                <c:pt idx="1667">
                  <c:v>42268</c:v>
                </c:pt>
                <c:pt idx="1668">
                  <c:v>42269</c:v>
                </c:pt>
                <c:pt idx="1669">
                  <c:v>42270</c:v>
                </c:pt>
                <c:pt idx="1670">
                  <c:v>42271</c:v>
                </c:pt>
                <c:pt idx="1671">
                  <c:v>42272</c:v>
                </c:pt>
                <c:pt idx="1672">
                  <c:v>42275</c:v>
                </c:pt>
                <c:pt idx="1673">
                  <c:v>42276</c:v>
                </c:pt>
                <c:pt idx="1674">
                  <c:v>42277</c:v>
                </c:pt>
                <c:pt idx="1675">
                  <c:v>42278</c:v>
                </c:pt>
                <c:pt idx="1676">
                  <c:v>42279</c:v>
                </c:pt>
                <c:pt idx="1677">
                  <c:v>42282</c:v>
                </c:pt>
                <c:pt idx="1678">
                  <c:v>42283</c:v>
                </c:pt>
                <c:pt idx="1679">
                  <c:v>42284</c:v>
                </c:pt>
                <c:pt idx="1680">
                  <c:v>42285</c:v>
                </c:pt>
                <c:pt idx="1681">
                  <c:v>42286</c:v>
                </c:pt>
                <c:pt idx="1682">
                  <c:v>42289</c:v>
                </c:pt>
                <c:pt idx="1683">
                  <c:v>42290</c:v>
                </c:pt>
                <c:pt idx="1684">
                  <c:v>42291</c:v>
                </c:pt>
                <c:pt idx="1685">
                  <c:v>42292</c:v>
                </c:pt>
                <c:pt idx="1686">
                  <c:v>42293</c:v>
                </c:pt>
                <c:pt idx="1687">
                  <c:v>42296</c:v>
                </c:pt>
                <c:pt idx="1688">
                  <c:v>42297</c:v>
                </c:pt>
                <c:pt idx="1689">
                  <c:v>42298</c:v>
                </c:pt>
                <c:pt idx="1690">
                  <c:v>42299</c:v>
                </c:pt>
                <c:pt idx="1691">
                  <c:v>42300</c:v>
                </c:pt>
                <c:pt idx="1692">
                  <c:v>42303</c:v>
                </c:pt>
                <c:pt idx="1693">
                  <c:v>42304</c:v>
                </c:pt>
                <c:pt idx="1694">
                  <c:v>42305</c:v>
                </c:pt>
                <c:pt idx="1695">
                  <c:v>42306</c:v>
                </c:pt>
                <c:pt idx="1696">
                  <c:v>42307</c:v>
                </c:pt>
                <c:pt idx="1697">
                  <c:v>42310</c:v>
                </c:pt>
                <c:pt idx="1698">
                  <c:v>42311</c:v>
                </c:pt>
                <c:pt idx="1699">
                  <c:v>42312</c:v>
                </c:pt>
                <c:pt idx="1700">
                  <c:v>42313</c:v>
                </c:pt>
                <c:pt idx="1701">
                  <c:v>42314</c:v>
                </c:pt>
                <c:pt idx="1702">
                  <c:v>42317</c:v>
                </c:pt>
                <c:pt idx="1703">
                  <c:v>42318</c:v>
                </c:pt>
                <c:pt idx="1704">
                  <c:v>42319</c:v>
                </c:pt>
                <c:pt idx="1705">
                  <c:v>42320</c:v>
                </c:pt>
                <c:pt idx="1706">
                  <c:v>42321</c:v>
                </c:pt>
                <c:pt idx="1707">
                  <c:v>42324</c:v>
                </c:pt>
                <c:pt idx="1708">
                  <c:v>42325</c:v>
                </c:pt>
                <c:pt idx="1709">
                  <c:v>42326</c:v>
                </c:pt>
                <c:pt idx="1710">
                  <c:v>42327</c:v>
                </c:pt>
                <c:pt idx="1711">
                  <c:v>42328</c:v>
                </c:pt>
                <c:pt idx="1712">
                  <c:v>42331</c:v>
                </c:pt>
                <c:pt idx="1713">
                  <c:v>42332</c:v>
                </c:pt>
                <c:pt idx="1714">
                  <c:v>42333</c:v>
                </c:pt>
                <c:pt idx="1715">
                  <c:v>42334</c:v>
                </c:pt>
                <c:pt idx="1716">
                  <c:v>42335</c:v>
                </c:pt>
                <c:pt idx="1717">
                  <c:v>42338</c:v>
                </c:pt>
                <c:pt idx="1718">
                  <c:v>42339</c:v>
                </c:pt>
                <c:pt idx="1719">
                  <c:v>42340</c:v>
                </c:pt>
                <c:pt idx="1720">
                  <c:v>42341</c:v>
                </c:pt>
                <c:pt idx="1721">
                  <c:v>42342</c:v>
                </c:pt>
                <c:pt idx="1722">
                  <c:v>42345</c:v>
                </c:pt>
                <c:pt idx="1723">
                  <c:v>42346</c:v>
                </c:pt>
                <c:pt idx="1724">
                  <c:v>42347</c:v>
                </c:pt>
                <c:pt idx="1725">
                  <c:v>42348</c:v>
                </c:pt>
                <c:pt idx="1726">
                  <c:v>42349</c:v>
                </c:pt>
                <c:pt idx="1727">
                  <c:v>42352</c:v>
                </c:pt>
                <c:pt idx="1728">
                  <c:v>42353</c:v>
                </c:pt>
                <c:pt idx="1729">
                  <c:v>42354</c:v>
                </c:pt>
                <c:pt idx="1730">
                  <c:v>42355</c:v>
                </c:pt>
                <c:pt idx="1731">
                  <c:v>42356</c:v>
                </c:pt>
                <c:pt idx="1732">
                  <c:v>42359</c:v>
                </c:pt>
                <c:pt idx="1733">
                  <c:v>42360</c:v>
                </c:pt>
                <c:pt idx="1734">
                  <c:v>42361</c:v>
                </c:pt>
                <c:pt idx="1735">
                  <c:v>42362</c:v>
                </c:pt>
                <c:pt idx="1736">
                  <c:v>42363</c:v>
                </c:pt>
                <c:pt idx="1737">
                  <c:v>42366</c:v>
                </c:pt>
                <c:pt idx="1738">
                  <c:v>42367</c:v>
                </c:pt>
                <c:pt idx="1739">
                  <c:v>42368</c:v>
                </c:pt>
                <c:pt idx="1740">
                  <c:v>42369</c:v>
                </c:pt>
                <c:pt idx="1741">
                  <c:v>42370</c:v>
                </c:pt>
                <c:pt idx="1742">
                  <c:v>42373</c:v>
                </c:pt>
                <c:pt idx="1743">
                  <c:v>42374</c:v>
                </c:pt>
                <c:pt idx="1744">
                  <c:v>42375</c:v>
                </c:pt>
                <c:pt idx="1745">
                  <c:v>42376</c:v>
                </c:pt>
                <c:pt idx="1746">
                  <c:v>42377</c:v>
                </c:pt>
                <c:pt idx="1747">
                  <c:v>42380</c:v>
                </c:pt>
                <c:pt idx="1748">
                  <c:v>42381</c:v>
                </c:pt>
                <c:pt idx="1749">
                  <c:v>42382</c:v>
                </c:pt>
                <c:pt idx="1750">
                  <c:v>42383</c:v>
                </c:pt>
                <c:pt idx="1751">
                  <c:v>42384</c:v>
                </c:pt>
                <c:pt idx="1752">
                  <c:v>42387</c:v>
                </c:pt>
                <c:pt idx="1753">
                  <c:v>42388</c:v>
                </c:pt>
                <c:pt idx="1754">
                  <c:v>42389</c:v>
                </c:pt>
                <c:pt idx="1755">
                  <c:v>42390</c:v>
                </c:pt>
                <c:pt idx="1756">
                  <c:v>42391</c:v>
                </c:pt>
                <c:pt idx="1757">
                  <c:v>42394</c:v>
                </c:pt>
                <c:pt idx="1758">
                  <c:v>42395</c:v>
                </c:pt>
                <c:pt idx="1759">
                  <c:v>42396</c:v>
                </c:pt>
                <c:pt idx="1760">
                  <c:v>42397</c:v>
                </c:pt>
                <c:pt idx="1761">
                  <c:v>42398</c:v>
                </c:pt>
                <c:pt idx="1762">
                  <c:v>42401</c:v>
                </c:pt>
                <c:pt idx="1763">
                  <c:v>42402</c:v>
                </c:pt>
                <c:pt idx="1764">
                  <c:v>42403</c:v>
                </c:pt>
                <c:pt idx="1765">
                  <c:v>42404</c:v>
                </c:pt>
                <c:pt idx="1766">
                  <c:v>42405</c:v>
                </c:pt>
                <c:pt idx="1767">
                  <c:v>42408</c:v>
                </c:pt>
                <c:pt idx="1768">
                  <c:v>42409</c:v>
                </c:pt>
                <c:pt idx="1769">
                  <c:v>42410</c:v>
                </c:pt>
                <c:pt idx="1770">
                  <c:v>42411</c:v>
                </c:pt>
                <c:pt idx="1771">
                  <c:v>42412</c:v>
                </c:pt>
                <c:pt idx="1772">
                  <c:v>42415</c:v>
                </c:pt>
                <c:pt idx="1773">
                  <c:v>42416</c:v>
                </c:pt>
                <c:pt idx="1774">
                  <c:v>42417</c:v>
                </c:pt>
                <c:pt idx="1775">
                  <c:v>42418</c:v>
                </c:pt>
                <c:pt idx="1776">
                  <c:v>42419</c:v>
                </c:pt>
                <c:pt idx="1777">
                  <c:v>42422</c:v>
                </c:pt>
                <c:pt idx="1778">
                  <c:v>42423</c:v>
                </c:pt>
                <c:pt idx="1779">
                  <c:v>42424</c:v>
                </c:pt>
                <c:pt idx="1780">
                  <c:v>42425</c:v>
                </c:pt>
                <c:pt idx="1781">
                  <c:v>42426</c:v>
                </c:pt>
                <c:pt idx="1782">
                  <c:v>42429</c:v>
                </c:pt>
                <c:pt idx="1783">
                  <c:v>42430</c:v>
                </c:pt>
                <c:pt idx="1784">
                  <c:v>42431</c:v>
                </c:pt>
                <c:pt idx="1785">
                  <c:v>42432</c:v>
                </c:pt>
                <c:pt idx="1786">
                  <c:v>42433</c:v>
                </c:pt>
                <c:pt idx="1787">
                  <c:v>42436</c:v>
                </c:pt>
                <c:pt idx="1788">
                  <c:v>42437</c:v>
                </c:pt>
                <c:pt idx="1789">
                  <c:v>42438</c:v>
                </c:pt>
                <c:pt idx="1790">
                  <c:v>42439</c:v>
                </c:pt>
                <c:pt idx="1791">
                  <c:v>42440</c:v>
                </c:pt>
                <c:pt idx="1792">
                  <c:v>42443</c:v>
                </c:pt>
                <c:pt idx="1793">
                  <c:v>42444</c:v>
                </c:pt>
                <c:pt idx="1794">
                  <c:v>42445</c:v>
                </c:pt>
                <c:pt idx="1795">
                  <c:v>42446</c:v>
                </c:pt>
                <c:pt idx="1796">
                  <c:v>42447</c:v>
                </c:pt>
                <c:pt idx="1797">
                  <c:v>42450</c:v>
                </c:pt>
                <c:pt idx="1798">
                  <c:v>42451</c:v>
                </c:pt>
                <c:pt idx="1799">
                  <c:v>42452</c:v>
                </c:pt>
                <c:pt idx="1800">
                  <c:v>42453</c:v>
                </c:pt>
                <c:pt idx="1801">
                  <c:v>42454</c:v>
                </c:pt>
                <c:pt idx="1802">
                  <c:v>42457</c:v>
                </c:pt>
                <c:pt idx="1803">
                  <c:v>42458</c:v>
                </c:pt>
                <c:pt idx="1804">
                  <c:v>42459</c:v>
                </c:pt>
                <c:pt idx="1805">
                  <c:v>42460</c:v>
                </c:pt>
                <c:pt idx="1806">
                  <c:v>42461</c:v>
                </c:pt>
                <c:pt idx="1807">
                  <c:v>42464</c:v>
                </c:pt>
                <c:pt idx="1808">
                  <c:v>42465</c:v>
                </c:pt>
                <c:pt idx="1809">
                  <c:v>42466</c:v>
                </c:pt>
                <c:pt idx="1810">
                  <c:v>42467</c:v>
                </c:pt>
                <c:pt idx="1811">
                  <c:v>42468</c:v>
                </c:pt>
                <c:pt idx="1812">
                  <c:v>42471</c:v>
                </c:pt>
                <c:pt idx="1813">
                  <c:v>42472</c:v>
                </c:pt>
                <c:pt idx="1814">
                  <c:v>42473</c:v>
                </c:pt>
                <c:pt idx="1815">
                  <c:v>42474</c:v>
                </c:pt>
                <c:pt idx="1816">
                  <c:v>42475</c:v>
                </c:pt>
                <c:pt idx="1817">
                  <c:v>42478</c:v>
                </c:pt>
                <c:pt idx="1818">
                  <c:v>42479</c:v>
                </c:pt>
                <c:pt idx="1819">
                  <c:v>42480</c:v>
                </c:pt>
                <c:pt idx="1820">
                  <c:v>42481</c:v>
                </c:pt>
                <c:pt idx="1821">
                  <c:v>42482</c:v>
                </c:pt>
                <c:pt idx="1822">
                  <c:v>42485</c:v>
                </c:pt>
                <c:pt idx="1823">
                  <c:v>42486</c:v>
                </c:pt>
                <c:pt idx="1824">
                  <c:v>42487</c:v>
                </c:pt>
                <c:pt idx="1825">
                  <c:v>42488</c:v>
                </c:pt>
                <c:pt idx="1826">
                  <c:v>42489</c:v>
                </c:pt>
                <c:pt idx="1827">
                  <c:v>42492</c:v>
                </c:pt>
                <c:pt idx="1828">
                  <c:v>42493</c:v>
                </c:pt>
                <c:pt idx="1829">
                  <c:v>42494</c:v>
                </c:pt>
                <c:pt idx="1830">
                  <c:v>42495</c:v>
                </c:pt>
                <c:pt idx="1831">
                  <c:v>42496</c:v>
                </c:pt>
                <c:pt idx="1832">
                  <c:v>42499</c:v>
                </c:pt>
                <c:pt idx="1833">
                  <c:v>42500</c:v>
                </c:pt>
                <c:pt idx="1834">
                  <c:v>42501</c:v>
                </c:pt>
                <c:pt idx="1835">
                  <c:v>42502</c:v>
                </c:pt>
                <c:pt idx="1836">
                  <c:v>42503</c:v>
                </c:pt>
                <c:pt idx="1837">
                  <c:v>42506</c:v>
                </c:pt>
                <c:pt idx="1838">
                  <c:v>42507</c:v>
                </c:pt>
                <c:pt idx="1839">
                  <c:v>42508</c:v>
                </c:pt>
                <c:pt idx="1840">
                  <c:v>42509</c:v>
                </c:pt>
                <c:pt idx="1841">
                  <c:v>42510</c:v>
                </c:pt>
                <c:pt idx="1842">
                  <c:v>42513</c:v>
                </c:pt>
                <c:pt idx="1843">
                  <c:v>42514</c:v>
                </c:pt>
                <c:pt idx="1844">
                  <c:v>42515</c:v>
                </c:pt>
                <c:pt idx="1845">
                  <c:v>42516</c:v>
                </c:pt>
                <c:pt idx="1846">
                  <c:v>42517</c:v>
                </c:pt>
                <c:pt idx="1847">
                  <c:v>42520</c:v>
                </c:pt>
                <c:pt idx="1848">
                  <c:v>42521</c:v>
                </c:pt>
                <c:pt idx="1849">
                  <c:v>42522</c:v>
                </c:pt>
                <c:pt idx="1850">
                  <c:v>42523</c:v>
                </c:pt>
                <c:pt idx="1851">
                  <c:v>42524</c:v>
                </c:pt>
                <c:pt idx="1852">
                  <c:v>42527</c:v>
                </c:pt>
                <c:pt idx="1853">
                  <c:v>42528</c:v>
                </c:pt>
                <c:pt idx="1854">
                  <c:v>42529</c:v>
                </c:pt>
                <c:pt idx="1855">
                  <c:v>42530</c:v>
                </c:pt>
                <c:pt idx="1856">
                  <c:v>42531</c:v>
                </c:pt>
                <c:pt idx="1857">
                  <c:v>42534</c:v>
                </c:pt>
                <c:pt idx="1858">
                  <c:v>42535</c:v>
                </c:pt>
                <c:pt idx="1859">
                  <c:v>42536</c:v>
                </c:pt>
                <c:pt idx="1860">
                  <c:v>42537</c:v>
                </c:pt>
                <c:pt idx="1861">
                  <c:v>42538</c:v>
                </c:pt>
                <c:pt idx="1862">
                  <c:v>42541</c:v>
                </c:pt>
                <c:pt idx="1863">
                  <c:v>42542</c:v>
                </c:pt>
                <c:pt idx="1864">
                  <c:v>42543</c:v>
                </c:pt>
                <c:pt idx="1865">
                  <c:v>42544</c:v>
                </c:pt>
                <c:pt idx="1866">
                  <c:v>42545</c:v>
                </c:pt>
                <c:pt idx="1867">
                  <c:v>42548</c:v>
                </c:pt>
                <c:pt idx="1868">
                  <c:v>42549</c:v>
                </c:pt>
                <c:pt idx="1869">
                  <c:v>42550</c:v>
                </c:pt>
                <c:pt idx="1870">
                  <c:v>42551</c:v>
                </c:pt>
                <c:pt idx="1871">
                  <c:v>42552</c:v>
                </c:pt>
                <c:pt idx="1872">
                  <c:v>42555</c:v>
                </c:pt>
                <c:pt idx="1873">
                  <c:v>42556</c:v>
                </c:pt>
                <c:pt idx="1874">
                  <c:v>42557</c:v>
                </c:pt>
                <c:pt idx="1875">
                  <c:v>42558</c:v>
                </c:pt>
                <c:pt idx="1876">
                  <c:v>42559</c:v>
                </c:pt>
                <c:pt idx="1877">
                  <c:v>42562</c:v>
                </c:pt>
                <c:pt idx="1878">
                  <c:v>42563</c:v>
                </c:pt>
                <c:pt idx="1879">
                  <c:v>42564</c:v>
                </c:pt>
                <c:pt idx="1880">
                  <c:v>42565</c:v>
                </c:pt>
                <c:pt idx="1881">
                  <c:v>42566</c:v>
                </c:pt>
                <c:pt idx="1882">
                  <c:v>42569</c:v>
                </c:pt>
                <c:pt idx="1883">
                  <c:v>42570</c:v>
                </c:pt>
                <c:pt idx="1884">
                  <c:v>42571</c:v>
                </c:pt>
                <c:pt idx="1885">
                  <c:v>42572</c:v>
                </c:pt>
                <c:pt idx="1886">
                  <c:v>42573</c:v>
                </c:pt>
                <c:pt idx="1887">
                  <c:v>42576</c:v>
                </c:pt>
                <c:pt idx="1888">
                  <c:v>42577</c:v>
                </c:pt>
                <c:pt idx="1889">
                  <c:v>42578</c:v>
                </c:pt>
                <c:pt idx="1890">
                  <c:v>42579</c:v>
                </c:pt>
                <c:pt idx="1891">
                  <c:v>42580</c:v>
                </c:pt>
                <c:pt idx="1892">
                  <c:v>42583</c:v>
                </c:pt>
                <c:pt idx="1893">
                  <c:v>42584</c:v>
                </c:pt>
                <c:pt idx="1894">
                  <c:v>42585</c:v>
                </c:pt>
                <c:pt idx="1895">
                  <c:v>42586</c:v>
                </c:pt>
                <c:pt idx="1896">
                  <c:v>42587</c:v>
                </c:pt>
                <c:pt idx="1897">
                  <c:v>42590</c:v>
                </c:pt>
                <c:pt idx="1898">
                  <c:v>42591</c:v>
                </c:pt>
                <c:pt idx="1899">
                  <c:v>42592</c:v>
                </c:pt>
                <c:pt idx="1900">
                  <c:v>42593</c:v>
                </c:pt>
                <c:pt idx="1901">
                  <c:v>42594</c:v>
                </c:pt>
                <c:pt idx="1902">
                  <c:v>42597</c:v>
                </c:pt>
                <c:pt idx="1903">
                  <c:v>42598</c:v>
                </c:pt>
                <c:pt idx="1904">
                  <c:v>42599</c:v>
                </c:pt>
                <c:pt idx="1905">
                  <c:v>42600</c:v>
                </c:pt>
                <c:pt idx="1906">
                  <c:v>42601</c:v>
                </c:pt>
                <c:pt idx="1907">
                  <c:v>42604</c:v>
                </c:pt>
                <c:pt idx="1908">
                  <c:v>42605</c:v>
                </c:pt>
                <c:pt idx="1909">
                  <c:v>42606</c:v>
                </c:pt>
                <c:pt idx="1910">
                  <c:v>42607</c:v>
                </c:pt>
                <c:pt idx="1911">
                  <c:v>42608</c:v>
                </c:pt>
                <c:pt idx="1912">
                  <c:v>42611</c:v>
                </c:pt>
                <c:pt idx="1913">
                  <c:v>42612</c:v>
                </c:pt>
                <c:pt idx="1914">
                  <c:v>42613</c:v>
                </c:pt>
                <c:pt idx="1915">
                  <c:v>42614</c:v>
                </c:pt>
                <c:pt idx="1916">
                  <c:v>42615</c:v>
                </c:pt>
                <c:pt idx="1917">
                  <c:v>42618</c:v>
                </c:pt>
                <c:pt idx="1918">
                  <c:v>42619</c:v>
                </c:pt>
                <c:pt idx="1919">
                  <c:v>42620</c:v>
                </c:pt>
                <c:pt idx="1920">
                  <c:v>42621</c:v>
                </c:pt>
                <c:pt idx="1921">
                  <c:v>42622</c:v>
                </c:pt>
                <c:pt idx="1922">
                  <c:v>42625</c:v>
                </c:pt>
                <c:pt idx="1923">
                  <c:v>42626</c:v>
                </c:pt>
                <c:pt idx="1924">
                  <c:v>42627</c:v>
                </c:pt>
                <c:pt idx="1925">
                  <c:v>42628</c:v>
                </c:pt>
                <c:pt idx="1926">
                  <c:v>42629</c:v>
                </c:pt>
                <c:pt idx="1927">
                  <c:v>42632</c:v>
                </c:pt>
                <c:pt idx="1928">
                  <c:v>42633</c:v>
                </c:pt>
                <c:pt idx="1929">
                  <c:v>42634</c:v>
                </c:pt>
                <c:pt idx="1930">
                  <c:v>42635</c:v>
                </c:pt>
                <c:pt idx="1931">
                  <c:v>42636</c:v>
                </c:pt>
                <c:pt idx="1932">
                  <c:v>42639</c:v>
                </c:pt>
                <c:pt idx="1933">
                  <c:v>42640</c:v>
                </c:pt>
                <c:pt idx="1934">
                  <c:v>42641</c:v>
                </c:pt>
                <c:pt idx="1935">
                  <c:v>42642</c:v>
                </c:pt>
                <c:pt idx="1936">
                  <c:v>42643</c:v>
                </c:pt>
                <c:pt idx="1937">
                  <c:v>42646</c:v>
                </c:pt>
                <c:pt idx="1938">
                  <c:v>42647</c:v>
                </c:pt>
                <c:pt idx="1939">
                  <c:v>42648</c:v>
                </c:pt>
                <c:pt idx="1940">
                  <c:v>42649</c:v>
                </c:pt>
                <c:pt idx="1941">
                  <c:v>42650</c:v>
                </c:pt>
                <c:pt idx="1942">
                  <c:v>42653</c:v>
                </c:pt>
                <c:pt idx="1943">
                  <c:v>42654</c:v>
                </c:pt>
                <c:pt idx="1944">
                  <c:v>42655</c:v>
                </c:pt>
                <c:pt idx="1945">
                  <c:v>42656</c:v>
                </c:pt>
                <c:pt idx="1946">
                  <c:v>42657</c:v>
                </c:pt>
                <c:pt idx="1947">
                  <c:v>42660</c:v>
                </c:pt>
                <c:pt idx="1948">
                  <c:v>42661</c:v>
                </c:pt>
                <c:pt idx="1949">
                  <c:v>42662</c:v>
                </c:pt>
                <c:pt idx="1950">
                  <c:v>42663</c:v>
                </c:pt>
                <c:pt idx="1951">
                  <c:v>42664</c:v>
                </c:pt>
                <c:pt idx="1952">
                  <c:v>42667</c:v>
                </c:pt>
                <c:pt idx="1953">
                  <c:v>42668</c:v>
                </c:pt>
                <c:pt idx="1954">
                  <c:v>42669</c:v>
                </c:pt>
                <c:pt idx="1955">
                  <c:v>42670</c:v>
                </c:pt>
                <c:pt idx="1956">
                  <c:v>42671</c:v>
                </c:pt>
                <c:pt idx="1957">
                  <c:v>42674</c:v>
                </c:pt>
                <c:pt idx="1958">
                  <c:v>42675</c:v>
                </c:pt>
                <c:pt idx="1959">
                  <c:v>42676</c:v>
                </c:pt>
                <c:pt idx="1960">
                  <c:v>42677</c:v>
                </c:pt>
                <c:pt idx="1961">
                  <c:v>42678</c:v>
                </c:pt>
                <c:pt idx="1962">
                  <c:v>42681</c:v>
                </c:pt>
                <c:pt idx="1963">
                  <c:v>42682</c:v>
                </c:pt>
                <c:pt idx="1964">
                  <c:v>42683</c:v>
                </c:pt>
                <c:pt idx="1965">
                  <c:v>42684</c:v>
                </c:pt>
                <c:pt idx="1966">
                  <c:v>42685</c:v>
                </c:pt>
                <c:pt idx="1967">
                  <c:v>42688</c:v>
                </c:pt>
                <c:pt idx="1968">
                  <c:v>42689</c:v>
                </c:pt>
                <c:pt idx="1969">
                  <c:v>42690</c:v>
                </c:pt>
                <c:pt idx="1970">
                  <c:v>42691</c:v>
                </c:pt>
                <c:pt idx="1971">
                  <c:v>42692</c:v>
                </c:pt>
                <c:pt idx="1972">
                  <c:v>42695</c:v>
                </c:pt>
                <c:pt idx="1973">
                  <c:v>42696</c:v>
                </c:pt>
                <c:pt idx="1974">
                  <c:v>42697</c:v>
                </c:pt>
                <c:pt idx="1975">
                  <c:v>42698</c:v>
                </c:pt>
                <c:pt idx="1976">
                  <c:v>42699</c:v>
                </c:pt>
                <c:pt idx="1977">
                  <c:v>42702</c:v>
                </c:pt>
                <c:pt idx="1978">
                  <c:v>42703</c:v>
                </c:pt>
                <c:pt idx="1979">
                  <c:v>42704</c:v>
                </c:pt>
                <c:pt idx="1980">
                  <c:v>42705</c:v>
                </c:pt>
                <c:pt idx="1981">
                  <c:v>42706</c:v>
                </c:pt>
                <c:pt idx="1982">
                  <c:v>42709</c:v>
                </c:pt>
                <c:pt idx="1983">
                  <c:v>42710</c:v>
                </c:pt>
                <c:pt idx="1984">
                  <c:v>42711</c:v>
                </c:pt>
                <c:pt idx="1985">
                  <c:v>42712</c:v>
                </c:pt>
                <c:pt idx="1986">
                  <c:v>42713</c:v>
                </c:pt>
                <c:pt idx="1987">
                  <c:v>42716</c:v>
                </c:pt>
                <c:pt idx="1988">
                  <c:v>42717</c:v>
                </c:pt>
                <c:pt idx="1989">
                  <c:v>42718</c:v>
                </c:pt>
                <c:pt idx="1990">
                  <c:v>42719</c:v>
                </c:pt>
                <c:pt idx="1991">
                  <c:v>42720</c:v>
                </c:pt>
                <c:pt idx="1992">
                  <c:v>42723</c:v>
                </c:pt>
                <c:pt idx="1993">
                  <c:v>42724</c:v>
                </c:pt>
                <c:pt idx="1994">
                  <c:v>42725</c:v>
                </c:pt>
                <c:pt idx="1995">
                  <c:v>42726</c:v>
                </c:pt>
                <c:pt idx="1996">
                  <c:v>42727</c:v>
                </c:pt>
                <c:pt idx="1997">
                  <c:v>42730</c:v>
                </c:pt>
                <c:pt idx="1998">
                  <c:v>42731</c:v>
                </c:pt>
                <c:pt idx="1999">
                  <c:v>42732</c:v>
                </c:pt>
                <c:pt idx="2000">
                  <c:v>42733</c:v>
                </c:pt>
                <c:pt idx="2001">
                  <c:v>42734</c:v>
                </c:pt>
                <c:pt idx="2002">
                  <c:v>42737</c:v>
                </c:pt>
                <c:pt idx="2003">
                  <c:v>42738</c:v>
                </c:pt>
                <c:pt idx="2004">
                  <c:v>42739</c:v>
                </c:pt>
                <c:pt idx="2005">
                  <c:v>42740</c:v>
                </c:pt>
                <c:pt idx="2006">
                  <c:v>42741</c:v>
                </c:pt>
                <c:pt idx="2007">
                  <c:v>42744</c:v>
                </c:pt>
                <c:pt idx="2008">
                  <c:v>42745</c:v>
                </c:pt>
                <c:pt idx="2009">
                  <c:v>42746</c:v>
                </c:pt>
                <c:pt idx="2010">
                  <c:v>42747</c:v>
                </c:pt>
                <c:pt idx="2011">
                  <c:v>42748</c:v>
                </c:pt>
                <c:pt idx="2012">
                  <c:v>42751</c:v>
                </c:pt>
                <c:pt idx="2013">
                  <c:v>42752</c:v>
                </c:pt>
                <c:pt idx="2014">
                  <c:v>42753</c:v>
                </c:pt>
                <c:pt idx="2015">
                  <c:v>42754</c:v>
                </c:pt>
                <c:pt idx="2016">
                  <c:v>42755</c:v>
                </c:pt>
                <c:pt idx="2017">
                  <c:v>42758</c:v>
                </c:pt>
                <c:pt idx="2018">
                  <c:v>42759</c:v>
                </c:pt>
                <c:pt idx="2019">
                  <c:v>42760</c:v>
                </c:pt>
                <c:pt idx="2020">
                  <c:v>42761</c:v>
                </c:pt>
                <c:pt idx="2021">
                  <c:v>42762</c:v>
                </c:pt>
                <c:pt idx="2022">
                  <c:v>42765</c:v>
                </c:pt>
                <c:pt idx="2023">
                  <c:v>42766</c:v>
                </c:pt>
                <c:pt idx="2024">
                  <c:v>42767</c:v>
                </c:pt>
                <c:pt idx="2025">
                  <c:v>42768</c:v>
                </c:pt>
                <c:pt idx="2026">
                  <c:v>42769</c:v>
                </c:pt>
                <c:pt idx="2027">
                  <c:v>42772</c:v>
                </c:pt>
                <c:pt idx="2028">
                  <c:v>42773</c:v>
                </c:pt>
                <c:pt idx="2029">
                  <c:v>42774</c:v>
                </c:pt>
                <c:pt idx="2030">
                  <c:v>42775</c:v>
                </c:pt>
                <c:pt idx="2031">
                  <c:v>42776</c:v>
                </c:pt>
                <c:pt idx="2032">
                  <c:v>42779</c:v>
                </c:pt>
                <c:pt idx="2033">
                  <c:v>42780</c:v>
                </c:pt>
                <c:pt idx="2034">
                  <c:v>42781</c:v>
                </c:pt>
                <c:pt idx="2035">
                  <c:v>42782</c:v>
                </c:pt>
                <c:pt idx="2036">
                  <c:v>42783</c:v>
                </c:pt>
                <c:pt idx="2037">
                  <c:v>42786</c:v>
                </c:pt>
                <c:pt idx="2038">
                  <c:v>42787</c:v>
                </c:pt>
                <c:pt idx="2039">
                  <c:v>42788</c:v>
                </c:pt>
                <c:pt idx="2040">
                  <c:v>42789</c:v>
                </c:pt>
                <c:pt idx="2041">
                  <c:v>42790</c:v>
                </c:pt>
                <c:pt idx="2042">
                  <c:v>42793</c:v>
                </c:pt>
                <c:pt idx="2043">
                  <c:v>42794</c:v>
                </c:pt>
                <c:pt idx="2044">
                  <c:v>42795</c:v>
                </c:pt>
                <c:pt idx="2045">
                  <c:v>42796</c:v>
                </c:pt>
                <c:pt idx="2046">
                  <c:v>42797</c:v>
                </c:pt>
                <c:pt idx="2047">
                  <c:v>42800</c:v>
                </c:pt>
                <c:pt idx="2048">
                  <c:v>42801</c:v>
                </c:pt>
                <c:pt idx="2049">
                  <c:v>42802</c:v>
                </c:pt>
                <c:pt idx="2050">
                  <c:v>42803</c:v>
                </c:pt>
                <c:pt idx="2051">
                  <c:v>42804</c:v>
                </c:pt>
                <c:pt idx="2052">
                  <c:v>42807</c:v>
                </c:pt>
                <c:pt idx="2053">
                  <c:v>42808</c:v>
                </c:pt>
                <c:pt idx="2054">
                  <c:v>42809</c:v>
                </c:pt>
                <c:pt idx="2055">
                  <c:v>42810</c:v>
                </c:pt>
                <c:pt idx="2056">
                  <c:v>42811</c:v>
                </c:pt>
                <c:pt idx="2057">
                  <c:v>42814</c:v>
                </c:pt>
                <c:pt idx="2058">
                  <c:v>42815</c:v>
                </c:pt>
                <c:pt idx="2059">
                  <c:v>42816</c:v>
                </c:pt>
                <c:pt idx="2060">
                  <c:v>42817</c:v>
                </c:pt>
                <c:pt idx="2061">
                  <c:v>42818</c:v>
                </c:pt>
                <c:pt idx="2062">
                  <c:v>42821</c:v>
                </c:pt>
                <c:pt idx="2063">
                  <c:v>42822</c:v>
                </c:pt>
                <c:pt idx="2064">
                  <c:v>42823</c:v>
                </c:pt>
                <c:pt idx="2065">
                  <c:v>42824</c:v>
                </c:pt>
                <c:pt idx="2066">
                  <c:v>42825</c:v>
                </c:pt>
                <c:pt idx="2067">
                  <c:v>42828</c:v>
                </c:pt>
                <c:pt idx="2068">
                  <c:v>42829</c:v>
                </c:pt>
                <c:pt idx="2069">
                  <c:v>42830</c:v>
                </c:pt>
                <c:pt idx="2070">
                  <c:v>42831</c:v>
                </c:pt>
                <c:pt idx="2071">
                  <c:v>42832</c:v>
                </c:pt>
                <c:pt idx="2072">
                  <c:v>42835</c:v>
                </c:pt>
                <c:pt idx="2073">
                  <c:v>42836</c:v>
                </c:pt>
                <c:pt idx="2074">
                  <c:v>42837</c:v>
                </c:pt>
                <c:pt idx="2075">
                  <c:v>42838</c:v>
                </c:pt>
                <c:pt idx="2076">
                  <c:v>42839</c:v>
                </c:pt>
                <c:pt idx="2077">
                  <c:v>42842</c:v>
                </c:pt>
                <c:pt idx="2078">
                  <c:v>42843</c:v>
                </c:pt>
                <c:pt idx="2079">
                  <c:v>42844</c:v>
                </c:pt>
                <c:pt idx="2080">
                  <c:v>42845</c:v>
                </c:pt>
                <c:pt idx="2081">
                  <c:v>42846</c:v>
                </c:pt>
                <c:pt idx="2082">
                  <c:v>42849</c:v>
                </c:pt>
                <c:pt idx="2083">
                  <c:v>42850</c:v>
                </c:pt>
                <c:pt idx="2084">
                  <c:v>42851</c:v>
                </c:pt>
                <c:pt idx="2085">
                  <c:v>42852</c:v>
                </c:pt>
                <c:pt idx="2086">
                  <c:v>42853</c:v>
                </c:pt>
                <c:pt idx="2087">
                  <c:v>42856</c:v>
                </c:pt>
                <c:pt idx="2088">
                  <c:v>42857</c:v>
                </c:pt>
                <c:pt idx="2089">
                  <c:v>42858</c:v>
                </c:pt>
                <c:pt idx="2090">
                  <c:v>42859</c:v>
                </c:pt>
                <c:pt idx="2091">
                  <c:v>42860</c:v>
                </c:pt>
                <c:pt idx="2092">
                  <c:v>42863</c:v>
                </c:pt>
                <c:pt idx="2093">
                  <c:v>42864</c:v>
                </c:pt>
                <c:pt idx="2094">
                  <c:v>42865</c:v>
                </c:pt>
                <c:pt idx="2095">
                  <c:v>42866</c:v>
                </c:pt>
                <c:pt idx="2096">
                  <c:v>42867</c:v>
                </c:pt>
                <c:pt idx="2097">
                  <c:v>42870</c:v>
                </c:pt>
                <c:pt idx="2098">
                  <c:v>42871</c:v>
                </c:pt>
                <c:pt idx="2099">
                  <c:v>42872</c:v>
                </c:pt>
                <c:pt idx="2100">
                  <c:v>42873</c:v>
                </c:pt>
                <c:pt idx="2101">
                  <c:v>42874</c:v>
                </c:pt>
                <c:pt idx="2102">
                  <c:v>42877</c:v>
                </c:pt>
                <c:pt idx="2103">
                  <c:v>42878</c:v>
                </c:pt>
                <c:pt idx="2104">
                  <c:v>42879</c:v>
                </c:pt>
                <c:pt idx="2105">
                  <c:v>42880</c:v>
                </c:pt>
                <c:pt idx="2106">
                  <c:v>42881</c:v>
                </c:pt>
                <c:pt idx="2107">
                  <c:v>42884</c:v>
                </c:pt>
                <c:pt idx="2108">
                  <c:v>42885</c:v>
                </c:pt>
                <c:pt idx="2109">
                  <c:v>42886</c:v>
                </c:pt>
                <c:pt idx="2110">
                  <c:v>42887</c:v>
                </c:pt>
                <c:pt idx="2111">
                  <c:v>42888</c:v>
                </c:pt>
                <c:pt idx="2112">
                  <c:v>42891</c:v>
                </c:pt>
                <c:pt idx="2113">
                  <c:v>42892</c:v>
                </c:pt>
                <c:pt idx="2114">
                  <c:v>42893</c:v>
                </c:pt>
                <c:pt idx="2115">
                  <c:v>42894</c:v>
                </c:pt>
                <c:pt idx="2116">
                  <c:v>42895</c:v>
                </c:pt>
                <c:pt idx="2117">
                  <c:v>42898</c:v>
                </c:pt>
                <c:pt idx="2118">
                  <c:v>42899</c:v>
                </c:pt>
                <c:pt idx="2119">
                  <c:v>42900</c:v>
                </c:pt>
                <c:pt idx="2120">
                  <c:v>42901</c:v>
                </c:pt>
                <c:pt idx="2121">
                  <c:v>42902</c:v>
                </c:pt>
                <c:pt idx="2122">
                  <c:v>42905</c:v>
                </c:pt>
                <c:pt idx="2123">
                  <c:v>42906</c:v>
                </c:pt>
                <c:pt idx="2124">
                  <c:v>42907</c:v>
                </c:pt>
                <c:pt idx="2125">
                  <c:v>42908</c:v>
                </c:pt>
                <c:pt idx="2126">
                  <c:v>42909</c:v>
                </c:pt>
                <c:pt idx="2127">
                  <c:v>42912</c:v>
                </c:pt>
                <c:pt idx="2128">
                  <c:v>42913</c:v>
                </c:pt>
                <c:pt idx="2129">
                  <c:v>42914</c:v>
                </c:pt>
                <c:pt idx="2130">
                  <c:v>42915</c:v>
                </c:pt>
                <c:pt idx="2131">
                  <c:v>42916</c:v>
                </c:pt>
                <c:pt idx="2132">
                  <c:v>42919</c:v>
                </c:pt>
                <c:pt idx="2133">
                  <c:v>42920</c:v>
                </c:pt>
                <c:pt idx="2134">
                  <c:v>42921</c:v>
                </c:pt>
                <c:pt idx="2135">
                  <c:v>42922</c:v>
                </c:pt>
                <c:pt idx="2136">
                  <c:v>42923</c:v>
                </c:pt>
                <c:pt idx="2137">
                  <c:v>42926</c:v>
                </c:pt>
                <c:pt idx="2138">
                  <c:v>42927</c:v>
                </c:pt>
                <c:pt idx="2139">
                  <c:v>42928</c:v>
                </c:pt>
                <c:pt idx="2140">
                  <c:v>42929</c:v>
                </c:pt>
                <c:pt idx="2141">
                  <c:v>42930</c:v>
                </c:pt>
                <c:pt idx="2142">
                  <c:v>42933</c:v>
                </c:pt>
                <c:pt idx="2143">
                  <c:v>42934</c:v>
                </c:pt>
                <c:pt idx="2144">
                  <c:v>42935</c:v>
                </c:pt>
                <c:pt idx="2145">
                  <c:v>42936</c:v>
                </c:pt>
                <c:pt idx="2146">
                  <c:v>42937</c:v>
                </c:pt>
                <c:pt idx="2147">
                  <c:v>42940</c:v>
                </c:pt>
                <c:pt idx="2148">
                  <c:v>42941</c:v>
                </c:pt>
                <c:pt idx="2149">
                  <c:v>42942</c:v>
                </c:pt>
                <c:pt idx="2150">
                  <c:v>42943</c:v>
                </c:pt>
                <c:pt idx="2151">
                  <c:v>42944</c:v>
                </c:pt>
                <c:pt idx="2152">
                  <c:v>42947</c:v>
                </c:pt>
                <c:pt idx="2153">
                  <c:v>42948</c:v>
                </c:pt>
                <c:pt idx="2154">
                  <c:v>42949</c:v>
                </c:pt>
                <c:pt idx="2155">
                  <c:v>42950</c:v>
                </c:pt>
                <c:pt idx="2156">
                  <c:v>42951</c:v>
                </c:pt>
                <c:pt idx="2157">
                  <c:v>42954</c:v>
                </c:pt>
                <c:pt idx="2158">
                  <c:v>42955</c:v>
                </c:pt>
                <c:pt idx="2159">
                  <c:v>42956</c:v>
                </c:pt>
                <c:pt idx="2160">
                  <c:v>42957</c:v>
                </c:pt>
                <c:pt idx="2161">
                  <c:v>42958</c:v>
                </c:pt>
                <c:pt idx="2162">
                  <c:v>42961</c:v>
                </c:pt>
                <c:pt idx="2163">
                  <c:v>42962</c:v>
                </c:pt>
                <c:pt idx="2164">
                  <c:v>42963</c:v>
                </c:pt>
                <c:pt idx="2165">
                  <c:v>42964</c:v>
                </c:pt>
                <c:pt idx="2166">
                  <c:v>42965</c:v>
                </c:pt>
                <c:pt idx="2167">
                  <c:v>42968</c:v>
                </c:pt>
                <c:pt idx="2168">
                  <c:v>42969</c:v>
                </c:pt>
                <c:pt idx="2169">
                  <c:v>42970</c:v>
                </c:pt>
                <c:pt idx="2170">
                  <c:v>42971</c:v>
                </c:pt>
                <c:pt idx="2171">
                  <c:v>42972</c:v>
                </c:pt>
                <c:pt idx="2172">
                  <c:v>42975</c:v>
                </c:pt>
                <c:pt idx="2173">
                  <c:v>42976</c:v>
                </c:pt>
                <c:pt idx="2174">
                  <c:v>42977</c:v>
                </c:pt>
                <c:pt idx="2175">
                  <c:v>42978</c:v>
                </c:pt>
                <c:pt idx="2176">
                  <c:v>42979</c:v>
                </c:pt>
                <c:pt idx="2177">
                  <c:v>42982</c:v>
                </c:pt>
                <c:pt idx="2178">
                  <c:v>42983</c:v>
                </c:pt>
                <c:pt idx="2179">
                  <c:v>42984</c:v>
                </c:pt>
                <c:pt idx="2180">
                  <c:v>42985</c:v>
                </c:pt>
                <c:pt idx="2181">
                  <c:v>42986</c:v>
                </c:pt>
                <c:pt idx="2182">
                  <c:v>42989</c:v>
                </c:pt>
                <c:pt idx="2183">
                  <c:v>42990</c:v>
                </c:pt>
                <c:pt idx="2184">
                  <c:v>42991</c:v>
                </c:pt>
                <c:pt idx="2185">
                  <c:v>42992</c:v>
                </c:pt>
                <c:pt idx="2186">
                  <c:v>42993</c:v>
                </c:pt>
                <c:pt idx="2187">
                  <c:v>42996</c:v>
                </c:pt>
                <c:pt idx="2188">
                  <c:v>42997</c:v>
                </c:pt>
                <c:pt idx="2189">
                  <c:v>42998</c:v>
                </c:pt>
                <c:pt idx="2190">
                  <c:v>42999</c:v>
                </c:pt>
                <c:pt idx="2191">
                  <c:v>43000</c:v>
                </c:pt>
                <c:pt idx="2192">
                  <c:v>43003</c:v>
                </c:pt>
                <c:pt idx="2193">
                  <c:v>43004</c:v>
                </c:pt>
                <c:pt idx="2194">
                  <c:v>43005</c:v>
                </c:pt>
                <c:pt idx="2195">
                  <c:v>43006</c:v>
                </c:pt>
                <c:pt idx="2196">
                  <c:v>43007</c:v>
                </c:pt>
                <c:pt idx="2197">
                  <c:v>43010</c:v>
                </c:pt>
                <c:pt idx="2198">
                  <c:v>43011</c:v>
                </c:pt>
                <c:pt idx="2199">
                  <c:v>43012</c:v>
                </c:pt>
                <c:pt idx="2200">
                  <c:v>43013</c:v>
                </c:pt>
                <c:pt idx="2201">
                  <c:v>43014</c:v>
                </c:pt>
                <c:pt idx="2202">
                  <c:v>43017</c:v>
                </c:pt>
                <c:pt idx="2203">
                  <c:v>43018</c:v>
                </c:pt>
                <c:pt idx="2204">
                  <c:v>43019</c:v>
                </c:pt>
                <c:pt idx="2205">
                  <c:v>43020</c:v>
                </c:pt>
                <c:pt idx="2206">
                  <c:v>43021</c:v>
                </c:pt>
                <c:pt idx="2207">
                  <c:v>43024</c:v>
                </c:pt>
                <c:pt idx="2208">
                  <c:v>43025</c:v>
                </c:pt>
                <c:pt idx="2209">
                  <c:v>43026</c:v>
                </c:pt>
                <c:pt idx="2210">
                  <c:v>43027</c:v>
                </c:pt>
                <c:pt idx="2211">
                  <c:v>43028</c:v>
                </c:pt>
                <c:pt idx="2212">
                  <c:v>43031</c:v>
                </c:pt>
                <c:pt idx="2213">
                  <c:v>43032</c:v>
                </c:pt>
                <c:pt idx="2214">
                  <c:v>43033</c:v>
                </c:pt>
                <c:pt idx="2215">
                  <c:v>43034</c:v>
                </c:pt>
                <c:pt idx="2216">
                  <c:v>43035</c:v>
                </c:pt>
                <c:pt idx="2217">
                  <c:v>43038</c:v>
                </c:pt>
                <c:pt idx="2218">
                  <c:v>43039</c:v>
                </c:pt>
                <c:pt idx="2219">
                  <c:v>43040</c:v>
                </c:pt>
                <c:pt idx="2220">
                  <c:v>43041</c:v>
                </c:pt>
                <c:pt idx="2221">
                  <c:v>43042</c:v>
                </c:pt>
                <c:pt idx="2222">
                  <c:v>43045</c:v>
                </c:pt>
                <c:pt idx="2223">
                  <c:v>43046</c:v>
                </c:pt>
                <c:pt idx="2224">
                  <c:v>43047</c:v>
                </c:pt>
                <c:pt idx="2225">
                  <c:v>43048</c:v>
                </c:pt>
                <c:pt idx="2226">
                  <c:v>43049</c:v>
                </c:pt>
                <c:pt idx="2227">
                  <c:v>43052</c:v>
                </c:pt>
                <c:pt idx="2228">
                  <c:v>43053</c:v>
                </c:pt>
                <c:pt idx="2229">
                  <c:v>43054</c:v>
                </c:pt>
                <c:pt idx="2230">
                  <c:v>43055</c:v>
                </c:pt>
                <c:pt idx="2231">
                  <c:v>43056</c:v>
                </c:pt>
                <c:pt idx="2232">
                  <c:v>43059</c:v>
                </c:pt>
                <c:pt idx="2233">
                  <c:v>43060</c:v>
                </c:pt>
                <c:pt idx="2234">
                  <c:v>43061</c:v>
                </c:pt>
                <c:pt idx="2235">
                  <c:v>43062</c:v>
                </c:pt>
                <c:pt idx="2236">
                  <c:v>43063</c:v>
                </c:pt>
                <c:pt idx="2237">
                  <c:v>43066</c:v>
                </c:pt>
                <c:pt idx="2238">
                  <c:v>43067</c:v>
                </c:pt>
                <c:pt idx="2239">
                  <c:v>43068</c:v>
                </c:pt>
                <c:pt idx="2240">
                  <c:v>43069</c:v>
                </c:pt>
                <c:pt idx="2241">
                  <c:v>43070</c:v>
                </c:pt>
                <c:pt idx="2242">
                  <c:v>43073</c:v>
                </c:pt>
                <c:pt idx="2243">
                  <c:v>43074</c:v>
                </c:pt>
                <c:pt idx="2244">
                  <c:v>43075</c:v>
                </c:pt>
                <c:pt idx="2245">
                  <c:v>43076</c:v>
                </c:pt>
                <c:pt idx="2246">
                  <c:v>43077</c:v>
                </c:pt>
                <c:pt idx="2247">
                  <c:v>43080</c:v>
                </c:pt>
                <c:pt idx="2248">
                  <c:v>43081</c:v>
                </c:pt>
                <c:pt idx="2249">
                  <c:v>43082</c:v>
                </c:pt>
                <c:pt idx="2250">
                  <c:v>43083</c:v>
                </c:pt>
                <c:pt idx="2251">
                  <c:v>43084</c:v>
                </c:pt>
                <c:pt idx="2252">
                  <c:v>43087</c:v>
                </c:pt>
                <c:pt idx="2253">
                  <c:v>43088</c:v>
                </c:pt>
                <c:pt idx="2254">
                  <c:v>43089</c:v>
                </c:pt>
                <c:pt idx="2255">
                  <c:v>43090</c:v>
                </c:pt>
                <c:pt idx="2256">
                  <c:v>43091</c:v>
                </c:pt>
                <c:pt idx="2257">
                  <c:v>43094</c:v>
                </c:pt>
                <c:pt idx="2258">
                  <c:v>43095</c:v>
                </c:pt>
                <c:pt idx="2259">
                  <c:v>43096</c:v>
                </c:pt>
                <c:pt idx="2260">
                  <c:v>43097</c:v>
                </c:pt>
                <c:pt idx="2261">
                  <c:v>43098</c:v>
                </c:pt>
                <c:pt idx="2262">
                  <c:v>43101</c:v>
                </c:pt>
                <c:pt idx="2263">
                  <c:v>43102</c:v>
                </c:pt>
                <c:pt idx="2264">
                  <c:v>43103</c:v>
                </c:pt>
                <c:pt idx="2265">
                  <c:v>43104</c:v>
                </c:pt>
                <c:pt idx="2266">
                  <c:v>43105</c:v>
                </c:pt>
                <c:pt idx="2267">
                  <c:v>43108</c:v>
                </c:pt>
                <c:pt idx="2268">
                  <c:v>43109</c:v>
                </c:pt>
                <c:pt idx="2269">
                  <c:v>43110</c:v>
                </c:pt>
                <c:pt idx="2270">
                  <c:v>43111</c:v>
                </c:pt>
                <c:pt idx="2271">
                  <c:v>43112</c:v>
                </c:pt>
                <c:pt idx="2272">
                  <c:v>43115</c:v>
                </c:pt>
                <c:pt idx="2273">
                  <c:v>43116</c:v>
                </c:pt>
                <c:pt idx="2274">
                  <c:v>43117</c:v>
                </c:pt>
                <c:pt idx="2275">
                  <c:v>43118</c:v>
                </c:pt>
                <c:pt idx="2276">
                  <c:v>43119</c:v>
                </c:pt>
                <c:pt idx="2277">
                  <c:v>43122</c:v>
                </c:pt>
                <c:pt idx="2278">
                  <c:v>43123</c:v>
                </c:pt>
                <c:pt idx="2279">
                  <c:v>43124</c:v>
                </c:pt>
                <c:pt idx="2280">
                  <c:v>43125</c:v>
                </c:pt>
                <c:pt idx="2281">
                  <c:v>43126</c:v>
                </c:pt>
                <c:pt idx="2282">
                  <c:v>43129</c:v>
                </c:pt>
                <c:pt idx="2283">
                  <c:v>43130</c:v>
                </c:pt>
                <c:pt idx="2284">
                  <c:v>43131</c:v>
                </c:pt>
              </c:numCache>
            </c:numRef>
          </c:cat>
          <c:val>
            <c:numRef>
              <c:f>'Amundi Fds Europe MinVar BRUT'!$E$5:$E$2289</c:f>
              <c:numCache>
                <c:formatCode>#,##0.00_);[Red]\(#,##0.00\)</c:formatCode>
                <c:ptCount val="2285"/>
                <c:pt idx="0">
                  <c:v>100</c:v>
                </c:pt>
                <c:pt idx="1">
                  <c:v>100</c:v>
                </c:pt>
                <c:pt idx="2">
                  <c:v>101.87380686241141</c:v>
                </c:pt>
                <c:pt idx="3">
                  <c:v>102.55799320119448</c:v>
                </c:pt>
                <c:pt idx="4">
                  <c:v>104.09258449268559</c:v>
                </c:pt>
                <c:pt idx="5">
                  <c:v>103.31064506805177</c:v>
                </c:pt>
                <c:pt idx="6">
                  <c:v>104.97905534623672</c:v>
                </c:pt>
                <c:pt idx="7">
                  <c:v>103.52397103473281</c:v>
                </c:pt>
                <c:pt idx="8">
                  <c:v>103.42195484003565</c:v>
                </c:pt>
                <c:pt idx="9">
                  <c:v>100.87436362442736</c:v>
                </c:pt>
                <c:pt idx="10">
                  <c:v>101.32395108338343</c:v>
                </c:pt>
                <c:pt idx="11">
                  <c:v>101.89363031854784</c:v>
                </c:pt>
                <c:pt idx="12">
                  <c:v>104.51586857005944</c:v>
                </c:pt>
                <c:pt idx="13">
                  <c:v>105.99844993362252</c:v>
                </c:pt>
                <c:pt idx="14">
                  <c:v>106.58991365499313</c:v>
                </c:pt>
                <c:pt idx="15">
                  <c:v>106.58991365499313</c:v>
                </c:pt>
                <c:pt idx="16">
                  <c:v>104.21894303889721</c:v>
                </c:pt>
                <c:pt idx="17">
                  <c:v>104.4068182457641</c:v>
                </c:pt>
                <c:pt idx="18">
                  <c:v>105.25253377874269</c:v>
                </c:pt>
                <c:pt idx="19">
                  <c:v>106.0096192788008</c:v>
                </c:pt>
                <c:pt idx="20">
                  <c:v>104.81697194789086</c:v>
                </c:pt>
                <c:pt idx="21">
                  <c:v>104.97538907262877</c:v>
                </c:pt>
                <c:pt idx="22">
                  <c:v>104.97538907262877</c:v>
                </c:pt>
                <c:pt idx="23">
                  <c:v>108.04619163697396</c:v>
                </c:pt>
                <c:pt idx="24">
                  <c:v>105.93096492058169</c:v>
                </c:pt>
                <c:pt idx="25">
                  <c:v>105.70843063879218</c:v>
                </c:pt>
                <c:pt idx="26">
                  <c:v>106.36439519701031</c:v>
                </c:pt>
                <c:pt idx="27">
                  <c:v>105.63617094384368</c:v>
                </c:pt>
                <c:pt idx="28">
                  <c:v>106.13704360222403</c:v>
                </c:pt>
                <c:pt idx="29">
                  <c:v>107.40945369965277</c:v>
                </c:pt>
                <c:pt idx="30">
                  <c:v>108.39687497069048</c:v>
                </c:pt>
                <c:pt idx="31">
                  <c:v>108.12531493716521</c:v>
                </c:pt>
                <c:pt idx="32">
                  <c:v>105.40016523809825</c:v>
                </c:pt>
                <c:pt idx="33">
                  <c:v>105.28983598114978</c:v>
                </c:pt>
                <c:pt idx="34">
                  <c:v>103.25368993386166</c:v>
                </c:pt>
                <c:pt idx="35">
                  <c:v>103.77634707844821</c:v>
                </c:pt>
                <c:pt idx="36">
                  <c:v>105.1501765353367</c:v>
                </c:pt>
                <c:pt idx="37">
                  <c:v>102.25625035703449</c:v>
                </c:pt>
                <c:pt idx="38">
                  <c:v>102.25625035703449</c:v>
                </c:pt>
                <c:pt idx="39">
                  <c:v>104.13265771584248</c:v>
                </c:pt>
                <c:pt idx="40">
                  <c:v>103.27185077754804</c:v>
                </c:pt>
                <c:pt idx="41">
                  <c:v>103.14331804582409</c:v>
                </c:pt>
                <c:pt idx="42">
                  <c:v>104.96856809847412</c:v>
                </c:pt>
                <c:pt idx="43">
                  <c:v>103.85845455483276</c:v>
                </c:pt>
                <c:pt idx="44">
                  <c:v>105.73916765357625</c:v>
                </c:pt>
                <c:pt idx="45">
                  <c:v>103.02373784267904</c:v>
                </c:pt>
                <c:pt idx="46">
                  <c:v>103.00830538865434</c:v>
                </c:pt>
                <c:pt idx="47">
                  <c:v>101.81446438726749</c:v>
                </c:pt>
                <c:pt idx="48">
                  <c:v>101.04893793169273</c:v>
                </c:pt>
                <c:pt idx="49">
                  <c:v>99.961717282557899</c:v>
                </c:pt>
                <c:pt idx="50">
                  <c:v>100.67924113251978</c:v>
                </c:pt>
                <c:pt idx="51">
                  <c:v>99.62220329401876</c:v>
                </c:pt>
                <c:pt idx="52">
                  <c:v>101.41309268936416</c:v>
                </c:pt>
                <c:pt idx="53">
                  <c:v>102.74488789302596</c:v>
                </c:pt>
                <c:pt idx="54">
                  <c:v>105.56442282195545</c:v>
                </c:pt>
                <c:pt idx="55">
                  <c:v>105.97790174898232</c:v>
                </c:pt>
                <c:pt idx="56">
                  <c:v>106.38907859723159</c:v>
                </c:pt>
                <c:pt idx="57">
                  <c:v>107.6443083660094</c:v>
                </c:pt>
                <c:pt idx="58">
                  <c:v>108.53866597092679</c:v>
                </c:pt>
                <c:pt idx="59">
                  <c:v>108.86172435931785</c:v>
                </c:pt>
                <c:pt idx="60">
                  <c:v>110.96531278855868</c:v>
                </c:pt>
                <c:pt idx="61">
                  <c:v>110.92528219648989</c:v>
                </c:pt>
                <c:pt idx="62">
                  <c:v>111.43429739276714</c:v>
                </c:pt>
                <c:pt idx="63">
                  <c:v>110.42671161688618</c:v>
                </c:pt>
                <c:pt idx="64">
                  <c:v>111.38156273633533</c:v>
                </c:pt>
                <c:pt idx="65">
                  <c:v>113.82189413336464</c:v>
                </c:pt>
                <c:pt idx="66">
                  <c:v>113.53835476398113</c:v>
                </c:pt>
                <c:pt idx="67">
                  <c:v>115.32131477687287</c:v>
                </c:pt>
                <c:pt idx="68">
                  <c:v>114.97574717377084</c:v>
                </c:pt>
                <c:pt idx="69">
                  <c:v>114.49687215703823</c:v>
                </c:pt>
                <c:pt idx="70">
                  <c:v>114.98082027329821</c:v>
                </c:pt>
                <c:pt idx="71">
                  <c:v>116.42128212145843</c:v>
                </c:pt>
                <c:pt idx="72">
                  <c:v>115.8171569668139</c:v>
                </c:pt>
                <c:pt idx="73">
                  <c:v>114.21525118663538</c:v>
                </c:pt>
                <c:pt idx="74">
                  <c:v>115.46954307146689</c:v>
                </c:pt>
                <c:pt idx="75">
                  <c:v>116.32647058071186</c:v>
                </c:pt>
                <c:pt idx="76">
                  <c:v>115.40077912577193</c:v>
                </c:pt>
                <c:pt idx="77">
                  <c:v>113.15002817914865</c:v>
                </c:pt>
                <c:pt idx="78">
                  <c:v>114.676519563832</c:v>
                </c:pt>
                <c:pt idx="79">
                  <c:v>114.4078584443228</c:v>
                </c:pt>
                <c:pt idx="80">
                  <c:v>115.99271178911567</c:v>
                </c:pt>
                <c:pt idx="81">
                  <c:v>118.67071150433948</c:v>
                </c:pt>
                <c:pt idx="82">
                  <c:v>119.60902176146422</c:v>
                </c:pt>
                <c:pt idx="83">
                  <c:v>120.12021114325377</c:v>
                </c:pt>
                <c:pt idx="84">
                  <c:v>119.44676783876493</c:v>
                </c:pt>
                <c:pt idx="85">
                  <c:v>118.83432962187011</c:v>
                </c:pt>
                <c:pt idx="86">
                  <c:v>119.97607543315272</c:v>
                </c:pt>
                <c:pt idx="87">
                  <c:v>119.24844801522354</c:v>
                </c:pt>
                <c:pt idx="88">
                  <c:v>117.07059622987632</c:v>
                </c:pt>
                <c:pt idx="89">
                  <c:v>116.60561894798367</c:v>
                </c:pt>
                <c:pt idx="90">
                  <c:v>116.58507076334249</c:v>
                </c:pt>
                <c:pt idx="91">
                  <c:v>118.14310915349084</c:v>
                </c:pt>
                <c:pt idx="92">
                  <c:v>119.81620885140727</c:v>
                </c:pt>
                <c:pt idx="93">
                  <c:v>120.17473630540194</c:v>
                </c:pt>
                <c:pt idx="94">
                  <c:v>121.30271227510991</c:v>
                </c:pt>
                <c:pt idx="95">
                  <c:v>121.45626945576198</c:v>
                </c:pt>
                <c:pt idx="96">
                  <c:v>122.06576612755262</c:v>
                </c:pt>
                <c:pt idx="97">
                  <c:v>121.70284767144624</c:v>
                </c:pt>
                <c:pt idx="98">
                  <c:v>121.88876184824431</c:v>
                </c:pt>
                <c:pt idx="99">
                  <c:v>123.62555239232829</c:v>
                </c:pt>
                <c:pt idx="100">
                  <c:v>124.24753997303944</c:v>
                </c:pt>
                <c:pt idx="101">
                  <c:v>123.70881090810062</c:v>
                </c:pt>
                <c:pt idx="102">
                  <c:v>122.75370400212084</c:v>
                </c:pt>
                <c:pt idx="103">
                  <c:v>123.39888289495664</c:v>
                </c:pt>
                <c:pt idx="104">
                  <c:v>123.65569257187288</c:v>
                </c:pt>
                <c:pt idx="105">
                  <c:v>121.27811413706486</c:v>
                </c:pt>
                <c:pt idx="106">
                  <c:v>120.76483583194022</c:v>
                </c:pt>
                <c:pt idx="107">
                  <c:v>122.9239299383626</c:v>
                </c:pt>
                <c:pt idx="108">
                  <c:v>123.09496586528637</c:v>
                </c:pt>
                <c:pt idx="109">
                  <c:v>122.50414161024332</c:v>
                </c:pt>
                <c:pt idx="110">
                  <c:v>120.54741728076617</c:v>
                </c:pt>
                <c:pt idx="111">
                  <c:v>118.29585634346292</c:v>
                </c:pt>
                <c:pt idx="112">
                  <c:v>119.28634705286912</c:v>
                </c:pt>
                <c:pt idx="113">
                  <c:v>121.84455340950532</c:v>
                </c:pt>
                <c:pt idx="114">
                  <c:v>121.38584289761695</c:v>
                </c:pt>
                <c:pt idx="115">
                  <c:v>122.9445207540919</c:v>
                </c:pt>
                <c:pt idx="116">
                  <c:v>122.58092020056984</c:v>
                </c:pt>
                <c:pt idx="117">
                  <c:v>123.40642859761508</c:v>
                </c:pt>
                <c:pt idx="118">
                  <c:v>122.21663754963213</c:v>
                </c:pt>
                <c:pt idx="119">
                  <c:v>124.78742007736602</c:v>
                </c:pt>
                <c:pt idx="120">
                  <c:v>124.92580059052503</c:v>
                </c:pt>
                <c:pt idx="121">
                  <c:v>124.10280742769892</c:v>
                </c:pt>
                <c:pt idx="122">
                  <c:v>126.05514075506335</c:v>
                </c:pt>
                <c:pt idx="123">
                  <c:v>125.4808147312566</c:v>
                </c:pt>
                <c:pt idx="124">
                  <c:v>126.05198605451764</c:v>
                </c:pt>
                <c:pt idx="125">
                  <c:v>124.57068362360768</c:v>
                </c:pt>
                <c:pt idx="126">
                  <c:v>123.89297721027144</c:v>
                </c:pt>
                <c:pt idx="127">
                  <c:v>122.39419603309078</c:v>
                </c:pt>
                <c:pt idx="128">
                  <c:v>122.69163313731426</c:v>
                </c:pt>
                <c:pt idx="129">
                  <c:v>120.30633847549434</c:v>
                </c:pt>
                <c:pt idx="130">
                  <c:v>122.42714986447427</c:v>
                </c:pt>
                <c:pt idx="131">
                  <c:v>119.95608145266191</c:v>
                </c:pt>
                <c:pt idx="132">
                  <c:v>120.34837272872103</c:v>
                </c:pt>
                <c:pt idx="133">
                  <c:v>118.98677839422245</c:v>
                </c:pt>
                <c:pt idx="134">
                  <c:v>121.08853368665879</c:v>
                </c:pt>
                <c:pt idx="135">
                  <c:v>121.80294546716371</c:v>
                </c:pt>
                <c:pt idx="136">
                  <c:v>122.02722762358049</c:v>
                </c:pt>
                <c:pt idx="137">
                  <c:v>124.42318005751642</c:v>
                </c:pt>
                <c:pt idx="138">
                  <c:v>124.20435468042395</c:v>
                </c:pt>
                <c:pt idx="139">
                  <c:v>124.72245029854436</c:v>
                </c:pt>
                <c:pt idx="140">
                  <c:v>124.90307822037252</c:v>
                </c:pt>
                <c:pt idx="141">
                  <c:v>125.51393908699451</c:v>
                </c:pt>
                <c:pt idx="142">
                  <c:v>127.31723412908391</c:v>
                </c:pt>
                <c:pt idx="143">
                  <c:v>126.86496091155426</c:v>
                </c:pt>
                <c:pt idx="144">
                  <c:v>126.58939355571322</c:v>
                </c:pt>
                <c:pt idx="145">
                  <c:v>124.52673097139933</c:v>
                </c:pt>
                <c:pt idx="146">
                  <c:v>123.55124640513277</c:v>
                </c:pt>
                <c:pt idx="147">
                  <c:v>126.06856954793014</c:v>
                </c:pt>
                <c:pt idx="148">
                  <c:v>125.2285665808065</c:v>
                </c:pt>
                <c:pt idx="149">
                  <c:v>125.79317271644351</c:v>
                </c:pt>
                <c:pt idx="150">
                  <c:v>121.64691568337962</c:v>
                </c:pt>
                <c:pt idx="151">
                  <c:v>123.03941755701568</c:v>
                </c:pt>
                <c:pt idx="152">
                  <c:v>121.31371109593378</c:v>
                </c:pt>
                <c:pt idx="153">
                  <c:v>124.57217571170331</c:v>
                </c:pt>
                <c:pt idx="154">
                  <c:v>125.16056999470442</c:v>
                </c:pt>
                <c:pt idx="155">
                  <c:v>124.90785290228119</c:v>
                </c:pt>
                <c:pt idx="156">
                  <c:v>126.29234013128567</c:v>
                </c:pt>
                <c:pt idx="157">
                  <c:v>125.68800182119864</c:v>
                </c:pt>
                <c:pt idx="158">
                  <c:v>123.71533346463556</c:v>
                </c:pt>
                <c:pt idx="159">
                  <c:v>122.45656531551612</c:v>
                </c:pt>
                <c:pt idx="160">
                  <c:v>123.72462704192127</c:v>
                </c:pt>
                <c:pt idx="161">
                  <c:v>124.34435517494389</c:v>
                </c:pt>
                <c:pt idx="162">
                  <c:v>125.35415776742624</c:v>
                </c:pt>
                <c:pt idx="163">
                  <c:v>125.42790955047138</c:v>
                </c:pt>
                <c:pt idx="164">
                  <c:v>127.03812839290021</c:v>
                </c:pt>
                <c:pt idx="165">
                  <c:v>125.38399952935212</c:v>
                </c:pt>
                <c:pt idx="166">
                  <c:v>124.87566643048957</c:v>
                </c:pt>
                <c:pt idx="167">
                  <c:v>126.63782247220949</c:v>
                </c:pt>
                <c:pt idx="168">
                  <c:v>127.47978646940292</c:v>
                </c:pt>
                <c:pt idx="169">
                  <c:v>127.8754882325394</c:v>
                </c:pt>
                <c:pt idx="170">
                  <c:v>127.8754882325394</c:v>
                </c:pt>
                <c:pt idx="171">
                  <c:v>127.8754882325394</c:v>
                </c:pt>
                <c:pt idx="172">
                  <c:v>128.54343212661678</c:v>
                </c:pt>
                <c:pt idx="173">
                  <c:v>128.96893302059001</c:v>
                </c:pt>
                <c:pt idx="174">
                  <c:v>128.46111149478975</c:v>
                </c:pt>
                <c:pt idx="175">
                  <c:v>128.85826271493372</c:v>
                </c:pt>
                <c:pt idx="176">
                  <c:v>128.85826271493372</c:v>
                </c:pt>
                <c:pt idx="177">
                  <c:v>130.73518164680397</c:v>
                </c:pt>
                <c:pt idx="178">
                  <c:v>130.70482831181582</c:v>
                </c:pt>
                <c:pt idx="179">
                  <c:v>130.83621732646671</c:v>
                </c:pt>
                <c:pt idx="180">
                  <c:v>130.8390309783056</c:v>
                </c:pt>
                <c:pt idx="181">
                  <c:v>131.36462966799633</c:v>
                </c:pt>
                <c:pt idx="182">
                  <c:v>131.23157804089536</c:v>
                </c:pt>
                <c:pt idx="183">
                  <c:v>130.00580635424751</c:v>
                </c:pt>
                <c:pt idx="184">
                  <c:v>130.26014342803271</c:v>
                </c:pt>
                <c:pt idx="185">
                  <c:v>131.22006764701024</c:v>
                </c:pt>
                <c:pt idx="186">
                  <c:v>129.97519723272976</c:v>
                </c:pt>
                <c:pt idx="187">
                  <c:v>130.88937829378355</c:v>
                </c:pt>
                <c:pt idx="188">
                  <c:v>131.95485708780092</c:v>
                </c:pt>
                <c:pt idx="189">
                  <c:v>129.92527622813682</c:v>
                </c:pt>
                <c:pt idx="190">
                  <c:v>128.0969141060292</c:v>
                </c:pt>
                <c:pt idx="191">
                  <c:v>126.67512467461661</c:v>
                </c:pt>
                <c:pt idx="192">
                  <c:v>125.7982458159709</c:v>
                </c:pt>
                <c:pt idx="193">
                  <c:v>126.41690817178193</c:v>
                </c:pt>
                <c:pt idx="194">
                  <c:v>125.33744638074742</c:v>
                </c:pt>
                <c:pt idx="195">
                  <c:v>123.92414053593954</c:v>
                </c:pt>
                <c:pt idx="196">
                  <c:v>125.15187325265717</c:v>
                </c:pt>
                <c:pt idx="197">
                  <c:v>125.90516458584202</c:v>
                </c:pt>
                <c:pt idx="198">
                  <c:v>127.07184958387656</c:v>
                </c:pt>
                <c:pt idx="199">
                  <c:v>126.40974614891944</c:v>
                </c:pt>
                <c:pt idx="200">
                  <c:v>123.01481941897062</c:v>
                </c:pt>
                <c:pt idx="201">
                  <c:v>120.39637533433327</c:v>
                </c:pt>
                <c:pt idx="202">
                  <c:v>121.19762664204126</c:v>
                </c:pt>
                <c:pt idx="203">
                  <c:v>121.35693901963735</c:v>
                </c:pt>
                <c:pt idx="204">
                  <c:v>122.29405560628521</c:v>
                </c:pt>
                <c:pt idx="205">
                  <c:v>122.72697430965256</c:v>
                </c:pt>
                <c:pt idx="206">
                  <c:v>122.37249680906179</c:v>
                </c:pt>
                <c:pt idx="207">
                  <c:v>122.85742544035618</c:v>
                </c:pt>
                <c:pt idx="208">
                  <c:v>124.11175995627579</c:v>
                </c:pt>
                <c:pt idx="209">
                  <c:v>125.79999369059718</c:v>
                </c:pt>
                <c:pt idx="210">
                  <c:v>126.56556277726101</c:v>
                </c:pt>
                <c:pt idx="211">
                  <c:v>127.15715439189592</c:v>
                </c:pt>
                <c:pt idx="212">
                  <c:v>126.81602042199471</c:v>
                </c:pt>
                <c:pt idx="213">
                  <c:v>125.30768988099774</c:v>
                </c:pt>
                <c:pt idx="214">
                  <c:v>125.65824532144995</c:v>
                </c:pt>
                <c:pt idx="215">
                  <c:v>123.65015053037234</c:v>
                </c:pt>
                <c:pt idx="216">
                  <c:v>124.92371166718992</c:v>
                </c:pt>
                <c:pt idx="217">
                  <c:v>126.3745328698464</c:v>
                </c:pt>
                <c:pt idx="218">
                  <c:v>127.4309312420216</c:v>
                </c:pt>
                <c:pt idx="219">
                  <c:v>128.47479607418714</c:v>
                </c:pt>
                <c:pt idx="220">
                  <c:v>128.70150820264587</c:v>
                </c:pt>
                <c:pt idx="221">
                  <c:v>130.77768484200377</c:v>
                </c:pt>
                <c:pt idx="222">
                  <c:v>130.68338487431745</c:v>
                </c:pt>
                <c:pt idx="223">
                  <c:v>130.61589986127663</c:v>
                </c:pt>
                <c:pt idx="224">
                  <c:v>131.43923407281056</c:v>
                </c:pt>
                <c:pt idx="225">
                  <c:v>131.12632188347428</c:v>
                </c:pt>
                <c:pt idx="226">
                  <c:v>131.48489196855706</c:v>
                </c:pt>
                <c:pt idx="227">
                  <c:v>130.61538828821537</c:v>
                </c:pt>
                <c:pt idx="228">
                  <c:v>131.81745708967631</c:v>
                </c:pt>
                <c:pt idx="229">
                  <c:v>133.03905092965499</c:v>
                </c:pt>
                <c:pt idx="230">
                  <c:v>132.974379568453</c:v>
                </c:pt>
                <c:pt idx="231">
                  <c:v>132.46608910067857</c:v>
                </c:pt>
                <c:pt idx="232">
                  <c:v>132.40525453743896</c:v>
                </c:pt>
                <c:pt idx="233">
                  <c:v>133.26525148505243</c:v>
                </c:pt>
                <c:pt idx="234">
                  <c:v>133.44485626075812</c:v>
                </c:pt>
                <c:pt idx="235">
                  <c:v>134.74578655637052</c:v>
                </c:pt>
                <c:pt idx="236">
                  <c:v>134.13935932294839</c:v>
                </c:pt>
                <c:pt idx="237">
                  <c:v>134.30472531510628</c:v>
                </c:pt>
                <c:pt idx="238">
                  <c:v>134.30775212238768</c:v>
                </c:pt>
                <c:pt idx="239">
                  <c:v>134.16046171173895</c:v>
                </c:pt>
                <c:pt idx="240">
                  <c:v>136.20287452903136</c:v>
                </c:pt>
                <c:pt idx="241">
                  <c:v>136.20287452903136</c:v>
                </c:pt>
                <c:pt idx="242">
                  <c:v>136.20287452903136</c:v>
                </c:pt>
                <c:pt idx="243">
                  <c:v>137.05677523099493</c:v>
                </c:pt>
                <c:pt idx="244">
                  <c:v>136.67914904936762</c:v>
                </c:pt>
                <c:pt idx="245">
                  <c:v>135.50005840458977</c:v>
                </c:pt>
                <c:pt idx="246">
                  <c:v>137.27807321121946</c:v>
                </c:pt>
                <c:pt idx="247">
                  <c:v>137.12609338084022</c:v>
                </c:pt>
                <c:pt idx="248">
                  <c:v>136.82669524654699</c:v>
                </c:pt>
                <c:pt idx="249">
                  <c:v>137.76965229231507</c:v>
                </c:pt>
                <c:pt idx="250">
                  <c:v>138.66912562784796</c:v>
                </c:pt>
                <c:pt idx="251">
                  <c:v>136.51911194326874</c:v>
                </c:pt>
                <c:pt idx="252">
                  <c:v>135.72506528951033</c:v>
                </c:pt>
                <c:pt idx="253">
                  <c:v>137.56898775890798</c:v>
                </c:pt>
                <c:pt idx="254">
                  <c:v>136.78530045964686</c:v>
                </c:pt>
                <c:pt idx="255">
                  <c:v>135.29073976022451</c:v>
                </c:pt>
                <c:pt idx="256">
                  <c:v>136.38542084984019</c:v>
                </c:pt>
                <c:pt idx="257">
                  <c:v>137.72898223391871</c:v>
                </c:pt>
                <c:pt idx="258">
                  <c:v>133.44523994055407</c:v>
                </c:pt>
                <c:pt idx="259">
                  <c:v>131.89385200020692</c:v>
                </c:pt>
                <c:pt idx="260">
                  <c:v>133.6764709643908</c:v>
                </c:pt>
                <c:pt idx="261">
                  <c:v>132.84282002944769</c:v>
                </c:pt>
                <c:pt idx="262">
                  <c:v>133.24427698952721</c:v>
                </c:pt>
                <c:pt idx="263">
                  <c:v>129.46677887168997</c:v>
                </c:pt>
                <c:pt idx="264">
                  <c:v>128.43595915259428</c:v>
                </c:pt>
                <c:pt idx="265">
                  <c:v>126.61433274246512</c:v>
                </c:pt>
                <c:pt idx="266">
                  <c:v>121.82741571194147</c:v>
                </c:pt>
                <c:pt idx="267">
                  <c:v>130.44490656544198</c:v>
                </c:pt>
                <c:pt idx="268">
                  <c:v>129.90063545900264</c:v>
                </c:pt>
                <c:pt idx="269">
                  <c:v>131.75078206731649</c:v>
                </c:pt>
                <c:pt idx="270">
                  <c:v>131.75078206731649</c:v>
                </c:pt>
                <c:pt idx="271">
                  <c:v>127.62758845311191</c:v>
                </c:pt>
                <c:pt idx="272">
                  <c:v>127.51504237956304</c:v>
                </c:pt>
                <c:pt idx="273">
                  <c:v>129.17126016644721</c:v>
                </c:pt>
                <c:pt idx="274">
                  <c:v>125.41064395964221</c:v>
                </c:pt>
                <c:pt idx="275">
                  <c:v>122.78640204697271</c:v>
                </c:pt>
                <c:pt idx="276">
                  <c:v>122.14156420284374</c:v>
                </c:pt>
                <c:pt idx="277">
                  <c:v>122.14156420284374</c:v>
                </c:pt>
                <c:pt idx="278">
                  <c:v>119.73060562576718</c:v>
                </c:pt>
                <c:pt idx="279">
                  <c:v>122.57299081811448</c:v>
                </c:pt>
                <c:pt idx="280">
                  <c:v>126.26906355698281</c:v>
                </c:pt>
                <c:pt idx="281">
                  <c:v>125.88794162610198</c:v>
                </c:pt>
                <c:pt idx="282">
                  <c:v>126.41597028783463</c:v>
                </c:pt>
                <c:pt idx="283">
                  <c:v>126.6078101859292</c:v>
                </c:pt>
                <c:pt idx="284">
                  <c:v>126.75301167324284</c:v>
                </c:pt>
                <c:pt idx="285">
                  <c:v>128.5683286822796</c:v>
                </c:pt>
                <c:pt idx="286">
                  <c:v>126.31740721130289</c:v>
                </c:pt>
                <c:pt idx="287">
                  <c:v>125.38493741329742</c:v>
                </c:pt>
                <c:pt idx="288">
                  <c:v>124.0218083596141</c:v>
                </c:pt>
                <c:pt idx="289">
                  <c:v>126.34341217526641</c:v>
                </c:pt>
                <c:pt idx="290">
                  <c:v>128.28427773983481</c:v>
                </c:pt>
                <c:pt idx="291">
                  <c:v>128.81379848966415</c:v>
                </c:pt>
                <c:pt idx="292">
                  <c:v>130.39796973704136</c:v>
                </c:pt>
                <c:pt idx="293">
                  <c:v>131.28751002896198</c:v>
                </c:pt>
                <c:pt idx="294">
                  <c:v>131.45799175173536</c:v>
                </c:pt>
                <c:pt idx="295">
                  <c:v>131.66893037746257</c:v>
                </c:pt>
                <c:pt idx="296">
                  <c:v>131.89240254319836</c:v>
                </c:pt>
                <c:pt idx="297">
                  <c:v>133.34403373653686</c:v>
                </c:pt>
                <c:pt idx="298">
                  <c:v>132.67813613470548</c:v>
                </c:pt>
                <c:pt idx="299">
                  <c:v>132.67813613470548</c:v>
                </c:pt>
                <c:pt idx="300">
                  <c:v>128.99549218870391</c:v>
                </c:pt>
                <c:pt idx="301">
                  <c:v>128.24497187626883</c:v>
                </c:pt>
                <c:pt idx="302">
                  <c:v>129.8237289754108</c:v>
                </c:pt>
                <c:pt idx="303">
                  <c:v>125.94570675097205</c:v>
                </c:pt>
                <c:pt idx="304">
                  <c:v>125.69712487412991</c:v>
                </c:pt>
                <c:pt idx="305">
                  <c:v>122.56651089266765</c:v>
                </c:pt>
                <c:pt idx="306">
                  <c:v>122.53658386856455</c:v>
                </c:pt>
                <c:pt idx="307">
                  <c:v>122.2072587101692</c:v>
                </c:pt>
                <c:pt idx="308">
                  <c:v>125.33940741081622</c:v>
                </c:pt>
                <c:pt idx="309">
                  <c:v>127.03143531201087</c:v>
                </c:pt>
                <c:pt idx="310">
                  <c:v>128.35218906375968</c:v>
                </c:pt>
                <c:pt idx="311">
                  <c:v>129.14175945322916</c:v>
                </c:pt>
                <c:pt idx="312">
                  <c:v>129.72060437241296</c:v>
                </c:pt>
                <c:pt idx="313">
                  <c:v>132.22744026744869</c:v>
                </c:pt>
                <c:pt idx="314">
                  <c:v>132.22223927465598</c:v>
                </c:pt>
                <c:pt idx="315">
                  <c:v>130.71041298440446</c:v>
                </c:pt>
                <c:pt idx="316">
                  <c:v>128.19684137739128</c:v>
                </c:pt>
                <c:pt idx="317">
                  <c:v>127.22890251378315</c:v>
                </c:pt>
                <c:pt idx="318">
                  <c:v>127.34191752930519</c:v>
                </c:pt>
                <c:pt idx="319">
                  <c:v>128.80224546468992</c:v>
                </c:pt>
                <c:pt idx="320">
                  <c:v>131.46958740779772</c:v>
                </c:pt>
                <c:pt idx="321">
                  <c:v>132.24487638263128</c:v>
                </c:pt>
                <c:pt idx="322">
                  <c:v>132.82423287487731</c:v>
                </c:pt>
                <c:pt idx="323">
                  <c:v>133.35494729518351</c:v>
                </c:pt>
                <c:pt idx="324">
                  <c:v>132.91738180317381</c:v>
                </c:pt>
                <c:pt idx="325">
                  <c:v>132.41446285254645</c:v>
                </c:pt>
                <c:pt idx="326">
                  <c:v>131.95033819242289</c:v>
                </c:pt>
                <c:pt idx="327">
                  <c:v>135.47430922715589</c:v>
                </c:pt>
                <c:pt idx="328">
                  <c:v>135.49426057655762</c:v>
                </c:pt>
                <c:pt idx="329">
                  <c:v>135.65732448993887</c:v>
                </c:pt>
                <c:pt idx="330">
                  <c:v>135.24329135876164</c:v>
                </c:pt>
                <c:pt idx="331">
                  <c:v>133.80419370543274</c:v>
                </c:pt>
                <c:pt idx="332">
                  <c:v>135.65323190544589</c:v>
                </c:pt>
                <c:pt idx="333">
                  <c:v>134.49485996966166</c:v>
                </c:pt>
                <c:pt idx="334">
                  <c:v>131.86268867453782</c:v>
                </c:pt>
                <c:pt idx="335">
                  <c:v>132.06629475304908</c:v>
                </c:pt>
                <c:pt idx="336">
                  <c:v>132.3857721300094</c:v>
                </c:pt>
                <c:pt idx="337">
                  <c:v>132.40120458403408</c:v>
                </c:pt>
                <c:pt idx="338">
                  <c:v>133.8646872199655</c:v>
                </c:pt>
                <c:pt idx="339">
                  <c:v>133.4611413365509</c:v>
                </c:pt>
                <c:pt idx="340">
                  <c:v>131.49269345774613</c:v>
                </c:pt>
                <c:pt idx="341">
                  <c:v>130.62178295148499</c:v>
                </c:pt>
                <c:pt idx="342">
                  <c:v>131.47568365344858</c:v>
                </c:pt>
                <c:pt idx="343">
                  <c:v>129.25635181902405</c:v>
                </c:pt>
                <c:pt idx="344">
                  <c:v>128.27549573561038</c:v>
                </c:pt>
                <c:pt idx="345">
                  <c:v>129.38731452278992</c:v>
                </c:pt>
                <c:pt idx="346">
                  <c:v>130.22301174997904</c:v>
                </c:pt>
                <c:pt idx="347">
                  <c:v>130.19764625234208</c:v>
                </c:pt>
                <c:pt idx="348">
                  <c:v>130.26939437422934</c:v>
                </c:pt>
                <c:pt idx="349">
                  <c:v>133.84742162913636</c:v>
                </c:pt>
                <c:pt idx="350">
                  <c:v>133.80913891169484</c:v>
                </c:pt>
                <c:pt idx="351">
                  <c:v>134.97271184027178</c:v>
                </c:pt>
                <c:pt idx="352">
                  <c:v>135.24610501060053</c:v>
                </c:pt>
                <c:pt idx="353">
                  <c:v>134.64764979072183</c:v>
                </c:pt>
                <c:pt idx="354">
                  <c:v>136.04667422089386</c:v>
                </c:pt>
                <c:pt idx="355">
                  <c:v>137.46726998182854</c:v>
                </c:pt>
                <c:pt idx="356">
                  <c:v>137.24955301303578</c:v>
                </c:pt>
                <c:pt idx="357">
                  <c:v>138.13781437230227</c:v>
                </c:pt>
                <c:pt idx="358">
                  <c:v>138.10000059683293</c:v>
                </c:pt>
                <c:pt idx="359">
                  <c:v>137.66072986128506</c:v>
                </c:pt>
                <c:pt idx="360">
                  <c:v>136.62381389653945</c:v>
                </c:pt>
                <c:pt idx="361">
                  <c:v>136.25599286525909</c:v>
                </c:pt>
                <c:pt idx="362">
                  <c:v>138.06184577265674</c:v>
                </c:pt>
                <c:pt idx="363">
                  <c:v>137.37906625979412</c:v>
                </c:pt>
                <c:pt idx="364">
                  <c:v>135.42703135004842</c:v>
                </c:pt>
                <c:pt idx="365">
                  <c:v>135.38145871647811</c:v>
                </c:pt>
                <c:pt idx="366">
                  <c:v>136.87222524902717</c:v>
                </c:pt>
                <c:pt idx="367">
                  <c:v>136.28442780126556</c:v>
                </c:pt>
                <c:pt idx="368">
                  <c:v>135.98971908670373</c:v>
                </c:pt>
                <c:pt idx="369">
                  <c:v>135.28630612702369</c:v>
                </c:pt>
                <c:pt idx="370">
                  <c:v>134.61115757899572</c:v>
                </c:pt>
                <c:pt idx="371">
                  <c:v>134.31141839599462</c:v>
                </c:pt>
                <c:pt idx="372">
                  <c:v>133.57858998527374</c:v>
                </c:pt>
                <c:pt idx="373">
                  <c:v>135.35993001680353</c:v>
                </c:pt>
                <c:pt idx="374">
                  <c:v>136.04901893075959</c:v>
                </c:pt>
                <c:pt idx="375">
                  <c:v>135.95066900966935</c:v>
                </c:pt>
                <c:pt idx="376">
                  <c:v>135.9159246725705</c:v>
                </c:pt>
                <c:pt idx="377">
                  <c:v>136.39522600018714</c:v>
                </c:pt>
                <c:pt idx="378">
                  <c:v>136.02488973468763</c:v>
                </c:pt>
                <c:pt idx="379">
                  <c:v>137.97551781851388</c:v>
                </c:pt>
                <c:pt idx="380">
                  <c:v>137.69057162321093</c:v>
                </c:pt>
                <c:pt idx="381">
                  <c:v>137.8084039517297</c:v>
                </c:pt>
                <c:pt idx="382">
                  <c:v>138.24507419088127</c:v>
                </c:pt>
                <c:pt idx="383">
                  <c:v>137.49894488055889</c:v>
                </c:pt>
                <c:pt idx="384">
                  <c:v>137.97389783715192</c:v>
                </c:pt>
                <c:pt idx="385">
                  <c:v>138.69368113480394</c:v>
                </c:pt>
                <c:pt idx="386">
                  <c:v>138.25142622306277</c:v>
                </c:pt>
                <c:pt idx="387">
                  <c:v>138.60807790916488</c:v>
                </c:pt>
                <c:pt idx="388">
                  <c:v>138.34581145292532</c:v>
                </c:pt>
                <c:pt idx="389">
                  <c:v>137.34768977868347</c:v>
                </c:pt>
                <c:pt idx="390">
                  <c:v>137.90530441581137</c:v>
                </c:pt>
                <c:pt idx="391">
                  <c:v>137.94520711461485</c:v>
                </c:pt>
                <c:pt idx="392">
                  <c:v>137.94520711461485</c:v>
                </c:pt>
                <c:pt idx="393">
                  <c:v>138.78576428588886</c:v>
                </c:pt>
                <c:pt idx="394">
                  <c:v>138.30859451269438</c:v>
                </c:pt>
                <c:pt idx="395">
                  <c:v>140.57264635891914</c:v>
                </c:pt>
                <c:pt idx="396">
                  <c:v>141.16577269273981</c:v>
                </c:pt>
                <c:pt idx="397">
                  <c:v>141.16978001505561</c:v>
                </c:pt>
                <c:pt idx="398">
                  <c:v>141.96540401908683</c:v>
                </c:pt>
                <c:pt idx="399">
                  <c:v>141.00160037105886</c:v>
                </c:pt>
                <c:pt idx="400">
                  <c:v>141.02150908937244</c:v>
                </c:pt>
                <c:pt idx="401">
                  <c:v>140.45771294441644</c:v>
                </c:pt>
                <c:pt idx="402">
                  <c:v>141.56113340716846</c:v>
                </c:pt>
                <c:pt idx="403">
                  <c:v>138.22921542597254</c:v>
                </c:pt>
                <c:pt idx="404">
                  <c:v>139.00800015005962</c:v>
                </c:pt>
                <c:pt idx="405">
                  <c:v>140.99055891914688</c:v>
                </c:pt>
                <c:pt idx="406">
                  <c:v>140.09875917953673</c:v>
                </c:pt>
                <c:pt idx="407">
                  <c:v>139.15844526125409</c:v>
                </c:pt>
                <c:pt idx="408">
                  <c:v>137.02070933015281</c:v>
                </c:pt>
                <c:pt idx="409">
                  <c:v>138.43431359257949</c:v>
                </c:pt>
                <c:pt idx="410">
                  <c:v>139.14987641247217</c:v>
                </c:pt>
                <c:pt idx="411">
                  <c:v>138.56058687661385</c:v>
                </c:pt>
                <c:pt idx="412">
                  <c:v>136.25437288389713</c:v>
                </c:pt>
                <c:pt idx="413">
                  <c:v>136.10917139658346</c:v>
                </c:pt>
                <c:pt idx="414">
                  <c:v>138.85802398083834</c:v>
                </c:pt>
                <c:pt idx="415">
                  <c:v>141.12680787788165</c:v>
                </c:pt>
                <c:pt idx="416">
                  <c:v>140.74905380298901</c:v>
                </c:pt>
                <c:pt idx="417">
                  <c:v>140.98280006104594</c:v>
                </c:pt>
                <c:pt idx="418">
                  <c:v>142.26215902589465</c:v>
                </c:pt>
                <c:pt idx="419">
                  <c:v>142.84509652957144</c:v>
                </c:pt>
                <c:pt idx="420">
                  <c:v>143.32499469242754</c:v>
                </c:pt>
                <c:pt idx="421">
                  <c:v>143.48537284723423</c:v>
                </c:pt>
                <c:pt idx="422">
                  <c:v>143.89181764466397</c:v>
                </c:pt>
                <c:pt idx="423">
                  <c:v>144.24940721471233</c:v>
                </c:pt>
                <c:pt idx="424">
                  <c:v>143.63598848278315</c:v>
                </c:pt>
                <c:pt idx="425">
                  <c:v>144.18200746384872</c:v>
                </c:pt>
                <c:pt idx="426">
                  <c:v>143.52843024658441</c:v>
                </c:pt>
                <c:pt idx="427">
                  <c:v>144.53733758620862</c:v>
                </c:pt>
                <c:pt idx="428">
                  <c:v>145.97745838566098</c:v>
                </c:pt>
                <c:pt idx="429">
                  <c:v>146.14853694367284</c:v>
                </c:pt>
                <c:pt idx="430">
                  <c:v>146.32272757114225</c:v>
                </c:pt>
                <c:pt idx="431">
                  <c:v>146.18626545696495</c:v>
                </c:pt>
                <c:pt idx="432">
                  <c:v>144.96667527814421</c:v>
                </c:pt>
                <c:pt idx="433">
                  <c:v>145.25997716678657</c:v>
                </c:pt>
                <c:pt idx="434">
                  <c:v>145.71429667656321</c:v>
                </c:pt>
                <c:pt idx="435">
                  <c:v>143.81022174134168</c:v>
                </c:pt>
                <c:pt idx="436">
                  <c:v>143.15395876550377</c:v>
                </c:pt>
                <c:pt idx="437">
                  <c:v>144.24319025861377</c:v>
                </c:pt>
                <c:pt idx="438">
                  <c:v>145.56245309795517</c:v>
                </c:pt>
                <c:pt idx="439">
                  <c:v>145.63570732312257</c:v>
                </c:pt>
                <c:pt idx="440">
                  <c:v>146.1668766159666</c:v>
                </c:pt>
                <c:pt idx="441">
                  <c:v>145.94968506217981</c:v>
                </c:pt>
                <c:pt idx="442">
                  <c:v>144.68133602596052</c:v>
                </c:pt>
                <c:pt idx="443">
                  <c:v>146.45575834668065</c:v>
                </c:pt>
                <c:pt idx="444">
                  <c:v>148.44372982362907</c:v>
                </c:pt>
                <c:pt idx="445">
                  <c:v>147.49860345498186</c:v>
                </c:pt>
                <c:pt idx="446">
                  <c:v>147.33966485403533</c:v>
                </c:pt>
                <c:pt idx="447">
                  <c:v>147.52665511717893</c:v>
                </c:pt>
                <c:pt idx="448">
                  <c:v>148.91948215210786</c:v>
                </c:pt>
                <c:pt idx="449">
                  <c:v>146.89650503485092</c:v>
                </c:pt>
                <c:pt idx="450">
                  <c:v>145.16894396628933</c:v>
                </c:pt>
                <c:pt idx="451">
                  <c:v>146.15829451513562</c:v>
                </c:pt>
                <c:pt idx="452">
                  <c:v>146.57497145241095</c:v>
                </c:pt>
                <c:pt idx="453">
                  <c:v>145.57544154489875</c:v>
                </c:pt>
                <c:pt idx="454">
                  <c:v>146.86264186425436</c:v>
                </c:pt>
                <c:pt idx="455">
                  <c:v>147.05585140186386</c:v>
                </c:pt>
                <c:pt idx="456">
                  <c:v>145.78996379764692</c:v>
                </c:pt>
                <c:pt idx="457">
                  <c:v>145.59571841060014</c:v>
                </c:pt>
                <c:pt idx="458">
                  <c:v>147.81388476651821</c:v>
                </c:pt>
                <c:pt idx="459">
                  <c:v>148.13005058723633</c:v>
                </c:pt>
                <c:pt idx="460">
                  <c:v>148.30748075045648</c:v>
                </c:pt>
                <c:pt idx="461">
                  <c:v>148.6863364792255</c:v>
                </c:pt>
                <c:pt idx="462">
                  <c:v>150.150799080696</c:v>
                </c:pt>
                <c:pt idx="463">
                  <c:v>150.05701433503464</c:v>
                </c:pt>
                <c:pt idx="464">
                  <c:v>149.49955374425446</c:v>
                </c:pt>
                <c:pt idx="465">
                  <c:v>149.24896659730976</c:v>
                </c:pt>
                <c:pt idx="466">
                  <c:v>149.87430994263377</c:v>
                </c:pt>
                <c:pt idx="467">
                  <c:v>150.41407689664589</c:v>
                </c:pt>
                <c:pt idx="468">
                  <c:v>150.63826314120521</c:v>
                </c:pt>
                <c:pt idx="469">
                  <c:v>151.32923597652385</c:v>
                </c:pt>
                <c:pt idx="470">
                  <c:v>151.59230933392232</c:v>
                </c:pt>
                <c:pt idx="471">
                  <c:v>151.56407133137321</c:v>
                </c:pt>
                <c:pt idx="472">
                  <c:v>149.56237640541778</c:v>
                </c:pt>
                <c:pt idx="473">
                  <c:v>148.669704782102</c:v>
                </c:pt>
                <c:pt idx="474">
                  <c:v>147.13084817150875</c:v>
                </c:pt>
                <c:pt idx="475">
                  <c:v>146.26292647761053</c:v>
                </c:pt>
                <c:pt idx="476">
                  <c:v>148.05828235284318</c:v>
                </c:pt>
                <c:pt idx="477">
                  <c:v>149.26490592342788</c:v>
                </c:pt>
                <c:pt idx="478">
                  <c:v>148.3048083373501</c:v>
                </c:pt>
                <c:pt idx="479">
                  <c:v>147.3377981679167</c:v>
                </c:pt>
                <c:pt idx="480">
                  <c:v>147.85624311322013</c:v>
                </c:pt>
                <c:pt idx="481">
                  <c:v>146.96012366049135</c:v>
                </c:pt>
                <c:pt idx="482">
                  <c:v>146.31924427885426</c:v>
                </c:pt>
                <c:pt idx="483">
                  <c:v>146.87809775417884</c:v>
                </c:pt>
                <c:pt idx="484">
                  <c:v>146.59179686505951</c:v>
                </c:pt>
                <c:pt idx="485">
                  <c:v>144.86130478339703</c:v>
                </c:pt>
                <c:pt idx="486">
                  <c:v>143.62476256608073</c:v>
                </c:pt>
                <c:pt idx="487">
                  <c:v>142.07550427585625</c:v>
                </c:pt>
                <c:pt idx="488">
                  <c:v>138.85413082792505</c:v>
                </c:pt>
                <c:pt idx="489">
                  <c:v>136.75679005485893</c:v>
                </c:pt>
                <c:pt idx="490">
                  <c:v>139.31436992770662</c:v>
                </c:pt>
                <c:pt idx="491">
                  <c:v>139.5828483490013</c:v>
                </c:pt>
                <c:pt idx="492">
                  <c:v>142.00911872405567</c:v>
                </c:pt>
                <c:pt idx="493">
                  <c:v>141.76694716103222</c:v>
                </c:pt>
                <c:pt idx="494">
                  <c:v>142.49155150978069</c:v>
                </c:pt>
                <c:pt idx="495">
                  <c:v>143.88862357489896</c:v>
                </c:pt>
                <c:pt idx="496">
                  <c:v>144.0374448027373</c:v>
                </c:pt>
                <c:pt idx="497">
                  <c:v>144.1563709588184</c:v>
                </c:pt>
                <c:pt idx="498">
                  <c:v>144.33985358117576</c:v>
                </c:pt>
                <c:pt idx="499">
                  <c:v>145.45299666395564</c:v>
                </c:pt>
                <c:pt idx="500">
                  <c:v>144.07056977394072</c:v>
                </c:pt>
                <c:pt idx="501">
                  <c:v>146.25611940612265</c:v>
                </c:pt>
                <c:pt idx="502">
                  <c:v>146.42354874954563</c:v>
                </c:pt>
                <c:pt idx="503">
                  <c:v>146.76455875695061</c:v>
                </c:pt>
                <c:pt idx="504">
                  <c:v>147.11293715897833</c:v>
                </c:pt>
                <c:pt idx="505">
                  <c:v>146.73620594896281</c:v>
                </c:pt>
                <c:pt idx="506">
                  <c:v>147.25003297021675</c:v>
                </c:pt>
                <c:pt idx="507">
                  <c:v>146.91796802446754</c:v>
                </c:pt>
                <c:pt idx="508">
                  <c:v>144.37865321508374</c:v>
                </c:pt>
                <c:pt idx="509">
                  <c:v>145.45960733416089</c:v>
                </c:pt>
                <c:pt idx="510">
                  <c:v>144.84500317855188</c:v>
                </c:pt>
                <c:pt idx="511">
                  <c:v>145.25476369567662</c:v>
                </c:pt>
                <c:pt idx="512">
                  <c:v>142.85035648797714</c:v>
                </c:pt>
                <c:pt idx="513">
                  <c:v>143.56187429571878</c:v>
                </c:pt>
                <c:pt idx="514">
                  <c:v>146.10674039352753</c:v>
                </c:pt>
                <c:pt idx="515">
                  <c:v>146.88111402939589</c:v>
                </c:pt>
                <c:pt idx="516">
                  <c:v>146.88111402939589</c:v>
                </c:pt>
                <c:pt idx="517">
                  <c:v>146.88111402939589</c:v>
                </c:pt>
                <c:pt idx="518">
                  <c:v>147.3218411499104</c:v>
                </c:pt>
                <c:pt idx="519">
                  <c:v>147.87204133053709</c:v>
                </c:pt>
                <c:pt idx="520">
                  <c:v>148.31276209902373</c:v>
                </c:pt>
                <c:pt idx="521">
                  <c:v>148.83707316311131</c:v>
                </c:pt>
                <c:pt idx="522">
                  <c:v>148.97123578706436</c:v>
                </c:pt>
                <c:pt idx="523">
                  <c:v>148.25312738834529</c:v>
                </c:pt>
                <c:pt idx="524">
                  <c:v>146.24126845090484</c:v>
                </c:pt>
                <c:pt idx="525">
                  <c:v>145.93616057231876</c:v>
                </c:pt>
                <c:pt idx="526">
                  <c:v>147.92582505645615</c:v>
                </c:pt>
                <c:pt idx="527">
                  <c:v>147.46140542727585</c:v>
                </c:pt>
                <c:pt idx="528">
                  <c:v>148.80019167100744</c:v>
                </c:pt>
                <c:pt idx="529">
                  <c:v>149.33847412633307</c:v>
                </c:pt>
                <c:pt idx="530">
                  <c:v>148.32928790060069</c:v>
                </c:pt>
                <c:pt idx="531">
                  <c:v>147.65800021190475</c:v>
                </c:pt>
                <c:pt idx="532">
                  <c:v>147.5564019607485</c:v>
                </c:pt>
                <c:pt idx="533">
                  <c:v>146.05289702675796</c:v>
                </c:pt>
                <c:pt idx="534">
                  <c:v>146.6210624039895</c:v>
                </c:pt>
                <c:pt idx="535">
                  <c:v>147.56657658736759</c:v>
                </c:pt>
                <c:pt idx="536">
                  <c:v>147.4553672069116</c:v>
                </c:pt>
                <c:pt idx="537">
                  <c:v>145.04904735681345</c:v>
                </c:pt>
                <c:pt idx="538">
                  <c:v>145.36563130294459</c:v>
                </c:pt>
                <c:pt idx="539">
                  <c:v>146.4569984415142</c:v>
                </c:pt>
                <c:pt idx="540">
                  <c:v>146.37291831506224</c:v>
                </c:pt>
                <c:pt idx="541">
                  <c:v>147.37870326449755</c:v>
                </c:pt>
                <c:pt idx="542">
                  <c:v>147.24884083532206</c:v>
                </c:pt>
                <c:pt idx="543">
                  <c:v>148.5206106728638</c:v>
                </c:pt>
                <c:pt idx="544">
                  <c:v>147.16487474694924</c:v>
                </c:pt>
                <c:pt idx="545">
                  <c:v>147.16487474694924</c:v>
                </c:pt>
                <c:pt idx="546">
                  <c:v>144.59762555340859</c:v>
                </c:pt>
                <c:pt idx="547">
                  <c:v>143.81669564456359</c:v>
                </c:pt>
                <c:pt idx="548">
                  <c:v>143.65781080138035</c:v>
                </c:pt>
                <c:pt idx="549">
                  <c:v>142.2000272929626</c:v>
                </c:pt>
                <c:pt idx="550">
                  <c:v>143.70051914906568</c:v>
                </c:pt>
                <c:pt idx="551">
                  <c:v>141.80471132918376</c:v>
                </c:pt>
                <c:pt idx="552">
                  <c:v>141.80471132918376</c:v>
                </c:pt>
                <c:pt idx="553">
                  <c:v>143.22215771460037</c:v>
                </c:pt>
                <c:pt idx="554">
                  <c:v>141.7027961587446</c:v>
                </c:pt>
                <c:pt idx="555">
                  <c:v>141.10863457575869</c:v>
                </c:pt>
                <c:pt idx="556">
                  <c:v>141.32654847018455</c:v>
                </c:pt>
                <c:pt idx="557">
                  <c:v>140.66072906724477</c:v>
                </c:pt>
                <c:pt idx="558">
                  <c:v>142.69255123369621</c:v>
                </c:pt>
                <c:pt idx="559">
                  <c:v>141.88147119147655</c:v>
                </c:pt>
                <c:pt idx="560">
                  <c:v>141.88147119147655</c:v>
                </c:pt>
                <c:pt idx="561">
                  <c:v>139.73360630578577</c:v>
                </c:pt>
                <c:pt idx="562">
                  <c:v>139.7682627124704</c:v>
                </c:pt>
                <c:pt idx="563">
                  <c:v>140.43174878973625</c:v>
                </c:pt>
                <c:pt idx="564">
                  <c:v>142.82446020942118</c:v>
                </c:pt>
                <c:pt idx="565">
                  <c:v>144.45444411606957</c:v>
                </c:pt>
                <c:pt idx="566">
                  <c:v>145.50938182227029</c:v>
                </c:pt>
                <c:pt idx="567">
                  <c:v>145.82768699735183</c:v>
                </c:pt>
                <c:pt idx="568">
                  <c:v>145.9140370997265</c:v>
                </c:pt>
                <c:pt idx="569">
                  <c:v>145.51404148212598</c:v>
                </c:pt>
                <c:pt idx="570">
                  <c:v>146.1332853036248</c:v>
                </c:pt>
                <c:pt idx="571">
                  <c:v>145.03004076873444</c:v>
                </c:pt>
                <c:pt idx="572">
                  <c:v>143.06838292839637</c:v>
                </c:pt>
                <c:pt idx="573">
                  <c:v>142.1083378637816</c:v>
                </c:pt>
                <c:pt idx="574">
                  <c:v>143.07816564770303</c:v>
                </c:pt>
                <c:pt idx="575">
                  <c:v>141.92781528627555</c:v>
                </c:pt>
                <c:pt idx="576">
                  <c:v>141.56708300059725</c:v>
                </c:pt>
                <c:pt idx="577">
                  <c:v>139.10328783078049</c:v>
                </c:pt>
                <c:pt idx="578">
                  <c:v>140.21585675847746</c:v>
                </c:pt>
                <c:pt idx="579">
                  <c:v>142.03836495111648</c:v>
                </c:pt>
                <c:pt idx="580">
                  <c:v>143.4986491973718</c:v>
                </c:pt>
                <c:pt idx="581">
                  <c:v>144.30131753509562</c:v>
                </c:pt>
                <c:pt idx="582">
                  <c:v>143.94518838048933</c:v>
                </c:pt>
                <c:pt idx="583">
                  <c:v>143.34110684882202</c:v>
                </c:pt>
                <c:pt idx="584">
                  <c:v>141.75084400375997</c:v>
                </c:pt>
                <c:pt idx="585">
                  <c:v>141.80531894964702</c:v>
                </c:pt>
                <c:pt idx="586">
                  <c:v>140.80404888499595</c:v>
                </c:pt>
                <c:pt idx="587">
                  <c:v>139.14124000189548</c:v>
                </c:pt>
                <c:pt idx="588">
                  <c:v>136.60956800325252</c:v>
                </c:pt>
                <c:pt idx="589">
                  <c:v>134.01730311828092</c:v>
                </c:pt>
                <c:pt idx="590">
                  <c:v>129.3694943985474</c:v>
                </c:pt>
                <c:pt idx="591">
                  <c:v>127.02413508501911</c:v>
                </c:pt>
                <c:pt idx="592">
                  <c:v>121.89359989420569</c:v>
                </c:pt>
                <c:pt idx="593">
                  <c:v>123.53541140409978</c:v>
                </c:pt>
                <c:pt idx="594">
                  <c:v>118.93539870772526</c:v>
                </c:pt>
                <c:pt idx="595">
                  <c:v>121.9384266644032</c:v>
                </c:pt>
                <c:pt idx="596">
                  <c:v>126.39884805532266</c:v>
                </c:pt>
                <c:pt idx="597">
                  <c:v>126.39884805532266</c:v>
                </c:pt>
                <c:pt idx="598">
                  <c:v>126.46147448572805</c:v>
                </c:pt>
                <c:pt idx="599">
                  <c:v>126.79243145029082</c:v>
                </c:pt>
                <c:pt idx="600">
                  <c:v>120.79823076510512</c:v>
                </c:pt>
                <c:pt idx="601">
                  <c:v>118.88631535432201</c:v>
                </c:pt>
                <c:pt idx="602">
                  <c:v>119.82109742474015</c:v>
                </c:pt>
                <c:pt idx="603">
                  <c:v>120.77133291248229</c:v>
                </c:pt>
                <c:pt idx="604">
                  <c:v>122.44665260415711</c:v>
                </c:pt>
                <c:pt idx="605">
                  <c:v>120.92164763416116</c:v>
                </c:pt>
                <c:pt idx="606">
                  <c:v>120.10543374683273</c:v>
                </c:pt>
                <c:pt idx="607">
                  <c:v>121.51929115140676</c:v>
                </c:pt>
                <c:pt idx="608">
                  <c:v>122.81585661885957</c:v>
                </c:pt>
                <c:pt idx="609">
                  <c:v>126.44988553114327</c:v>
                </c:pt>
                <c:pt idx="610">
                  <c:v>127.24936267842214</c:v>
                </c:pt>
                <c:pt idx="611">
                  <c:v>124.14634583564175</c:v>
                </c:pt>
                <c:pt idx="612">
                  <c:v>118.98451058130688</c:v>
                </c:pt>
                <c:pt idx="613">
                  <c:v>118.31906496747906</c:v>
                </c:pt>
                <c:pt idx="614">
                  <c:v>122.05254749030527</c:v>
                </c:pt>
                <c:pt idx="615">
                  <c:v>122.93270783610608</c:v>
                </c:pt>
                <c:pt idx="616">
                  <c:v>119.80225846197985</c:v>
                </c:pt>
                <c:pt idx="617">
                  <c:v>116.82906717250982</c:v>
                </c:pt>
                <c:pt idx="618">
                  <c:v>117.87533964731645</c:v>
                </c:pt>
                <c:pt idx="619">
                  <c:v>119.64851799377563</c:v>
                </c:pt>
                <c:pt idx="620">
                  <c:v>122.06401648109424</c:v>
                </c:pt>
                <c:pt idx="621">
                  <c:v>122.81717008174357</c:v>
                </c:pt>
                <c:pt idx="622">
                  <c:v>120.10926214369687</c:v>
                </c:pt>
                <c:pt idx="623">
                  <c:v>122.38385978473327</c:v>
                </c:pt>
                <c:pt idx="624">
                  <c:v>120.3338683041729</c:v>
                </c:pt>
                <c:pt idx="625">
                  <c:v>114.73357641681827</c:v>
                </c:pt>
                <c:pt idx="626">
                  <c:v>115.4640473106622</c:v>
                </c:pt>
                <c:pt idx="627">
                  <c:v>117.65854763180063</c:v>
                </c:pt>
                <c:pt idx="628">
                  <c:v>122.7886572367662</c:v>
                </c:pt>
                <c:pt idx="629">
                  <c:v>121.42442123217378</c:v>
                </c:pt>
                <c:pt idx="630">
                  <c:v>122.19327917655158</c:v>
                </c:pt>
                <c:pt idx="631">
                  <c:v>120.80329060269813</c:v>
                </c:pt>
                <c:pt idx="632">
                  <c:v>119.39917993681854</c:v>
                </c:pt>
                <c:pt idx="633">
                  <c:v>116.15728551774995</c:v>
                </c:pt>
                <c:pt idx="634">
                  <c:v>119.75877742637586</c:v>
                </c:pt>
                <c:pt idx="635">
                  <c:v>123.01434392402788</c:v>
                </c:pt>
                <c:pt idx="636">
                  <c:v>123.91533926133627</c:v>
                </c:pt>
                <c:pt idx="637">
                  <c:v>126.03284375727659</c:v>
                </c:pt>
                <c:pt idx="638">
                  <c:v>125.69074601843762</c:v>
                </c:pt>
                <c:pt idx="639">
                  <c:v>127.74908231536355</c:v>
                </c:pt>
                <c:pt idx="640">
                  <c:v>126.38285313830512</c:v>
                </c:pt>
                <c:pt idx="641">
                  <c:v>127.45588644951593</c:v>
                </c:pt>
                <c:pt idx="642">
                  <c:v>126.35333543667035</c:v>
                </c:pt>
                <c:pt idx="643">
                  <c:v>125.85233132596298</c:v>
                </c:pt>
                <c:pt idx="644">
                  <c:v>126.63196951376328</c:v>
                </c:pt>
                <c:pt idx="645">
                  <c:v>124.7392017572279</c:v>
                </c:pt>
                <c:pt idx="646">
                  <c:v>127.89239620739707</c:v>
                </c:pt>
                <c:pt idx="647">
                  <c:v>129.45999113863121</c:v>
                </c:pt>
                <c:pt idx="648">
                  <c:v>128.56249342381082</c:v>
                </c:pt>
                <c:pt idx="649">
                  <c:v>128.87509281551465</c:v>
                </c:pt>
                <c:pt idx="650">
                  <c:v>133.40764804477624</c:v>
                </c:pt>
                <c:pt idx="651">
                  <c:v>133.20165954924036</c:v>
                </c:pt>
                <c:pt idx="652">
                  <c:v>130.26199703235196</c:v>
                </c:pt>
                <c:pt idx="653">
                  <c:v>130.26199703235196</c:v>
                </c:pt>
                <c:pt idx="654">
                  <c:v>127.12112423675426</c:v>
                </c:pt>
                <c:pt idx="655">
                  <c:v>129.66711788340422</c:v>
                </c:pt>
                <c:pt idx="656">
                  <c:v>128.3694105857048</c:v>
                </c:pt>
                <c:pt idx="657">
                  <c:v>127.75815838225945</c:v>
                </c:pt>
                <c:pt idx="658">
                  <c:v>128.85955076822214</c:v>
                </c:pt>
                <c:pt idx="659">
                  <c:v>126.6568826775011</c:v>
                </c:pt>
                <c:pt idx="660">
                  <c:v>126.19153556703155</c:v>
                </c:pt>
                <c:pt idx="661">
                  <c:v>129.1658145453041</c:v>
                </c:pt>
                <c:pt idx="662">
                  <c:v>127.87263534801679</c:v>
                </c:pt>
                <c:pt idx="663">
                  <c:v>127.12069323676178</c:v>
                </c:pt>
                <c:pt idx="664">
                  <c:v>127.19795120033244</c:v>
                </c:pt>
                <c:pt idx="665">
                  <c:v>125.59307344821873</c:v>
                </c:pt>
                <c:pt idx="666">
                  <c:v>124.62714968865723</c:v>
                </c:pt>
                <c:pt idx="667">
                  <c:v>120.66207761181226</c:v>
                </c:pt>
                <c:pt idx="668">
                  <c:v>119.8832464299324</c:v>
                </c:pt>
                <c:pt idx="669">
                  <c:v>118.34065120348296</c:v>
                </c:pt>
                <c:pt idx="670">
                  <c:v>118.10028178315707</c:v>
                </c:pt>
                <c:pt idx="671">
                  <c:v>118.9538857511061</c:v>
                </c:pt>
                <c:pt idx="672">
                  <c:v>123.36548017180087</c:v>
                </c:pt>
                <c:pt idx="673">
                  <c:v>124.31267794090462</c:v>
                </c:pt>
                <c:pt idx="674">
                  <c:v>128.88060982856828</c:v>
                </c:pt>
                <c:pt idx="675">
                  <c:v>128.04010732249682</c:v>
                </c:pt>
                <c:pt idx="676">
                  <c:v>129.28796122199856</c:v>
                </c:pt>
                <c:pt idx="677">
                  <c:v>130.35222660359742</c:v>
                </c:pt>
                <c:pt idx="678">
                  <c:v>129.92190870841182</c:v>
                </c:pt>
                <c:pt idx="679">
                  <c:v>129.68365907479262</c:v>
                </c:pt>
                <c:pt idx="680">
                  <c:v>127.73525979177853</c:v>
                </c:pt>
                <c:pt idx="681">
                  <c:v>129.24722971908557</c:v>
                </c:pt>
                <c:pt idx="682">
                  <c:v>126.92301455749393</c:v>
                </c:pt>
                <c:pt idx="683">
                  <c:v>127.66158403071437</c:v>
                </c:pt>
                <c:pt idx="684">
                  <c:v>125.06370433704184</c:v>
                </c:pt>
                <c:pt idx="685">
                  <c:v>126.25585359780196</c:v>
                </c:pt>
                <c:pt idx="686">
                  <c:v>125.70968260632054</c:v>
                </c:pt>
                <c:pt idx="687">
                  <c:v>125.77517721164959</c:v>
                </c:pt>
                <c:pt idx="688">
                  <c:v>128.27263070983074</c:v>
                </c:pt>
                <c:pt idx="689">
                  <c:v>127.63060169646482</c:v>
                </c:pt>
                <c:pt idx="690">
                  <c:v>129.00098049540495</c:v>
                </c:pt>
                <c:pt idx="691">
                  <c:v>130.10923801635539</c:v>
                </c:pt>
                <c:pt idx="692">
                  <c:v>130.10923801635539</c:v>
                </c:pt>
                <c:pt idx="693">
                  <c:v>130.12450684119966</c:v>
                </c:pt>
                <c:pt idx="694">
                  <c:v>129.21307699834605</c:v>
                </c:pt>
                <c:pt idx="695">
                  <c:v>130.47376715191547</c:v>
                </c:pt>
                <c:pt idx="696">
                  <c:v>131.58321420726585</c:v>
                </c:pt>
                <c:pt idx="697">
                  <c:v>132.95806611255355</c:v>
                </c:pt>
                <c:pt idx="698">
                  <c:v>135.02143811789352</c:v>
                </c:pt>
                <c:pt idx="699">
                  <c:v>134.30893020383957</c:v>
                </c:pt>
                <c:pt idx="700">
                  <c:v>133.13138668445436</c:v>
                </c:pt>
                <c:pt idx="701">
                  <c:v>133.21139959485856</c:v>
                </c:pt>
                <c:pt idx="702">
                  <c:v>132.60028278765182</c:v>
                </c:pt>
                <c:pt idx="703">
                  <c:v>134.99052748908301</c:v>
                </c:pt>
                <c:pt idx="704">
                  <c:v>134.42204698307424</c:v>
                </c:pt>
                <c:pt idx="705">
                  <c:v>134.05019033607527</c:v>
                </c:pt>
                <c:pt idx="706">
                  <c:v>133.85421148496596</c:v>
                </c:pt>
                <c:pt idx="707">
                  <c:v>134.91418374854237</c:v>
                </c:pt>
                <c:pt idx="708">
                  <c:v>136.04306263677125</c:v>
                </c:pt>
                <c:pt idx="709">
                  <c:v>136.15282652595798</c:v>
                </c:pt>
                <c:pt idx="710">
                  <c:v>137.75649197868731</c:v>
                </c:pt>
                <c:pt idx="711">
                  <c:v>137.33475494803247</c:v>
                </c:pt>
                <c:pt idx="712">
                  <c:v>138.00801291631677</c:v>
                </c:pt>
                <c:pt idx="713">
                  <c:v>137.56983449357966</c:v>
                </c:pt>
                <c:pt idx="714">
                  <c:v>136.97758039463335</c:v>
                </c:pt>
                <c:pt idx="715">
                  <c:v>138.50532858792178</c:v>
                </c:pt>
                <c:pt idx="716">
                  <c:v>137.13591947501683</c:v>
                </c:pt>
                <c:pt idx="717">
                  <c:v>135.65284688219614</c:v>
                </c:pt>
                <c:pt idx="718">
                  <c:v>136.59976870046364</c:v>
                </c:pt>
                <c:pt idx="719">
                  <c:v>139.272511643309</c:v>
                </c:pt>
                <c:pt idx="720">
                  <c:v>139.52394105205721</c:v>
                </c:pt>
                <c:pt idx="721">
                  <c:v>141.89281446327675</c:v>
                </c:pt>
                <c:pt idx="722">
                  <c:v>141.72811210071447</c:v>
                </c:pt>
                <c:pt idx="723">
                  <c:v>141.37441474952522</c:v>
                </c:pt>
                <c:pt idx="724">
                  <c:v>141.10736029081562</c:v>
                </c:pt>
                <c:pt idx="725">
                  <c:v>141.4493614276781</c:v>
                </c:pt>
                <c:pt idx="726">
                  <c:v>140.18342211198814</c:v>
                </c:pt>
                <c:pt idx="727">
                  <c:v>141.22829628810678</c:v>
                </c:pt>
                <c:pt idx="728">
                  <c:v>140.93011199168723</c:v>
                </c:pt>
                <c:pt idx="729">
                  <c:v>141.94972816144261</c:v>
                </c:pt>
                <c:pt idx="730">
                  <c:v>142.06880190624506</c:v>
                </c:pt>
                <c:pt idx="731">
                  <c:v>142.87229536808965</c:v>
                </c:pt>
                <c:pt idx="732">
                  <c:v>144.0044850268805</c:v>
                </c:pt>
                <c:pt idx="733">
                  <c:v>143.300538963907</c:v>
                </c:pt>
                <c:pt idx="734">
                  <c:v>142.13104265347366</c:v>
                </c:pt>
                <c:pt idx="735">
                  <c:v>141.89627704303479</c:v>
                </c:pt>
                <c:pt idx="736">
                  <c:v>142.21857696136649</c:v>
                </c:pt>
                <c:pt idx="737">
                  <c:v>141.8574312823221</c:v>
                </c:pt>
                <c:pt idx="738">
                  <c:v>142.08432233959155</c:v>
                </c:pt>
                <c:pt idx="739">
                  <c:v>142.14219139975779</c:v>
                </c:pt>
                <c:pt idx="740">
                  <c:v>143.60336096518594</c:v>
                </c:pt>
                <c:pt idx="741">
                  <c:v>143.67397598684079</c:v>
                </c:pt>
                <c:pt idx="742">
                  <c:v>142.80889305243502</c:v>
                </c:pt>
                <c:pt idx="743">
                  <c:v>139.07084354967273</c:v>
                </c:pt>
                <c:pt idx="744">
                  <c:v>139.98349899280143</c:v>
                </c:pt>
                <c:pt idx="745">
                  <c:v>142.20232011913157</c:v>
                </c:pt>
                <c:pt idx="746">
                  <c:v>142.90746270799923</c:v>
                </c:pt>
                <c:pt idx="747">
                  <c:v>142.55101463045119</c:v>
                </c:pt>
                <c:pt idx="748">
                  <c:v>145.07077743000451</c:v>
                </c:pt>
                <c:pt idx="749">
                  <c:v>145.5420467617308</c:v>
                </c:pt>
                <c:pt idx="750">
                  <c:v>145.92958068173624</c:v>
                </c:pt>
                <c:pt idx="751">
                  <c:v>146.69146870398572</c:v>
                </c:pt>
                <c:pt idx="752">
                  <c:v>146.53971441675429</c:v>
                </c:pt>
                <c:pt idx="753">
                  <c:v>144.89385091009913</c:v>
                </c:pt>
                <c:pt idx="754">
                  <c:v>144.76668979788823</c:v>
                </c:pt>
                <c:pt idx="755">
                  <c:v>143.07576952647932</c:v>
                </c:pt>
                <c:pt idx="756">
                  <c:v>143.16415654078608</c:v>
                </c:pt>
                <c:pt idx="757">
                  <c:v>144.45321877158105</c:v>
                </c:pt>
                <c:pt idx="758">
                  <c:v>143.79727822098175</c:v>
                </c:pt>
                <c:pt idx="759">
                  <c:v>142.33125276494098</c:v>
                </c:pt>
                <c:pt idx="760">
                  <c:v>140.5509488503624</c:v>
                </c:pt>
                <c:pt idx="761">
                  <c:v>141.94888568648301</c:v>
                </c:pt>
                <c:pt idx="762">
                  <c:v>144.14014336148901</c:v>
                </c:pt>
                <c:pt idx="763">
                  <c:v>142.51988850164489</c:v>
                </c:pt>
                <c:pt idx="764">
                  <c:v>139.61327046852296</c:v>
                </c:pt>
                <c:pt idx="765">
                  <c:v>139.84607287612855</c:v>
                </c:pt>
                <c:pt idx="766">
                  <c:v>139.84607287612855</c:v>
                </c:pt>
                <c:pt idx="767">
                  <c:v>139.84607287612855</c:v>
                </c:pt>
                <c:pt idx="768">
                  <c:v>136.3651967629194</c:v>
                </c:pt>
                <c:pt idx="769">
                  <c:v>137.39261266833839</c:v>
                </c:pt>
                <c:pt idx="770">
                  <c:v>138.89840198754828</c:v>
                </c:pt>
                <c:pt idx="771">
                  <c:v>136.84930946809982</c:v>
                </c:pt>
                <c:pt idx="772">
                  <c:v>137.36579743470458</c:v>
                </c:pt>
                <c:pt idx="773">
                  <c:v>140.15355304517641</c:v>
                </c:pt>
                <c:pt idx="774">
                  <c:v>139.26563414531381</c:v>
                </c:pt>
                <c:pt idx="775">
                  <c:v>138.6113883497778</c:v>
                </c:pt>
                <c:pt idx="776">
                  <c:v>139.39738440561126</c:v>
                </c:pt>
                <c:pt idx="777">
                  <c:v>136.29847988253923</c:v>
                </c:pt>
                <c:pt idx="778">
                  <c:v>137.7034837117053</c:v>
                </c:pt>
                <c:pt idx="779">
                  <c:v>139.14904651589617</c:v>
                </c:pt>
                <c:pt idx="780">
                  <c:v>139.40650391355533</c:v>
                </c:pt>
                <c:pt idx="781">
                  <c:v>140.42215062027685</c:v>
                </c:pt>
                <c:pt idx="782">
                  <c:v>139.53943833673856</c:v>
                </c:pt>
                <c:pt idx="783">
                  <c:v>139.53943833673856</c:v>
                </c:pt>
                <c:pt idx="784">
                  <c:v>139.65858216699991</c:v>
                </c:pt>
                <c:pt idx="785">
                  <c:v>139.77025737702218</c:v>
                </c:pt>
                <c:pt idx="786">
                  <c:v>137.50847011300124</c:v>
                </c:pt>
                <c:pt idx="787">
                  <c:v>138.5044801872445</c:v>
                </c:pt>
                <c:pt idx="788">
                  <c:v>136.25339775230631</c:v>
                </c:pt>
                <c:pt idx="789">
                  <c:v>135.99545917789987</c:v>
                </c:pt>
                <c:pt idx="790">
                  <c:v>136.77717004508838</c:v>
                </c:pt>
                <c:pt idx="791">
                  <c:v>137.29707825881206</c:v>
                </c:pt>
                <c:pt idx="792">
                  <c:v>134.84397811293297</c:v>
                </c:pt>
                <c:pt idx="793">
                  <c:v>133.98941366725697</c:v>
                </c:pt>
                <c:pt idx="794">
                  <c:v>133.27881545405847</c:v>
                </c:pt>
                <c:pt idx="795">
                  <c:v>133.27881545405847</c:v>
                </c:pt>
                <c:pt idx="796">
                  <c:v>130.4120283853901</c:v>
                </c:pt>
                <c:pt idx="797">
                  <c:v>131.17777396414644</c:v>
                </c:pt>
                <c:pt idx="798">
                  <c:v>133.69917319947666</c:v>
                </c:pt>
                <c:pt idx="799">
                  <c:v>130.82464812491588</c:v>
                </c:pt>
                <c:pt idx="800">
                  <c:v>132.19954892802673</c:v>
                </c:pt>
                <c:pt idx="801">
                  <c:v>132.5989212795661</c:v>
                </c:pt>
                <c:pt idx="802">
                  <c:v>132.5989212795661</c:v>
                </c:pt>
                <c:pt idx="803">
                  <c:v>133.50023102092351</c:v>
                </c:pt>
                <c:pt idx="804">
                  <c:v>131.5510144579053</c:v>
                </c:pt>
                <c:pt idx="805">
                  <c:v>131.06356915506083</c:v>
                </c:pt>
                <c:pt idx="806">
                  <c:v>128.61004150493784</c:v>
                </c:pt>
                <c:pt idx="807">
                  <c:v>127.93457209317236</c:v>
                </c:pt>
                <c:pt idx="808">
                  <c:v>128.32813204105935</c:v>
                </c:pt>
                <c:pt idx="809">
                  <c:v>131.39116704807239</c:v>
                </c:pt>
                <c:pt idx="810">
                  <c:v>132.83907430464336</c:v>
                </c:pt>
                <c:pt idx="811">
                  <c:v>132.50334168111834</c:v>
                </c:pt>
                <c:pt idx="812">
                  <c:v>132.57106320500179</c:v>
                </c:pt>
                <c:pt idx="813">
                  <c:v>133.52962470881238</c:v>
                </c:pt>
                <c:pt idx="814">
                  <c:v>133.11521348435454</c:v>
                </c:pt>
                <c:pt idx="815">
                  <c:v>132.69004921508753</c:v>
                </c:pt>
                <c:pt idx="816">
                  <c:v>133.9149102668411</c:v>
                </c:pt>
                <c:pt idx="817">
                  <c:v>134.06769362517068</c:v>
                </c:pt>
                <c:pt idx="818">
                  <c:v>136.23073891889331</c:v>
                </c:pt>
                <c:pt idx="819">
                  <c:v>136.96252361666862</c:v>
                </c:pt>
                <c:pt idx="820">
                  <c:v>136.2263903804961</c:v>
                </c:pt>
                <c:pt idx="821">
                  <c:v>135.23570906055647</c:v>
                </c:pt>
                <c:pt idx="822">
                  <c:v>133.22320115052733</c:v>
                </c:pt>
                <c:pt idx="823">
                  <c:v>133.13184803775832</c:v>
                </c:pt>
                <c:pt idx="824">
                  <c:v>134.98210397578421</c:v>
                </c:pt>
                <c:pt idx="825">
                  <c:v>134.36891751599521</c:v>
                </c:pt>
                <c:pt idx="826">
                  <c:v>137.82942621513541</c:v>
                </c:pt>
                <c:pt idx="827">
                  <c:v>139.83711532357211</c:v>
                </c:pt>
                <c:pt idx="828">
                  <c:v>141.26617692430651</c:v>
                </c:pt>
                <c:pt idx="829">
                  <c:v>141.28631076280976</c:v>
                </c:pt>
                <c:pt idx="830">
                  <c:v>141.11379225162742</c:v>
                </c:pt>
                <c:pt idx="831">
                  <c:v>139.75941374121706</c:v>
                </c:pt>
                <c:pt idx="832">
                  <c:v>139.22542883754377</c:v>
                </c:pt>
                <c:pt idx="833">
                  <c:v>140.41330991944938</c:v>
                </c:pt>
                <c:pt idx="834">
                  <c:v>140.47574651375615</c:v>
                </c:pt>
                <c:pt idx="835">
                  <c:v>139.00219028139384</c:v>
                </c:pt>
                <c:pt idx="836">
                  <c:v>140.85809730714988</c:v>
                </c:pt>
                <c:pt idx="837">
                  <c:v>141.11078245633152</c:v>
                </c:pt>
                <c:pt idx="838">
                  <c:v>140.74824308275271</c:v>
                </c:pt>
                <c:pt idx="839">
                  <c:v>142.32954598791966</c:v>
                </c:pt>
                <c:pt idx="840">
                  <c:v>143.86277048160261</c:v>
                </c:pt>
                <c:pt idx="841">
                  <c:v>141.85439509840089</c:v>
                </c:pt>
                <c:pt idx="842">
                  <c:v>138.39625787973046</c:v>
                </c:pt>
                <c:pt idx="843">
                  <c:v>137.7293868538622</c:v>
                </c:pt>
                <c:pt idx="844">
                  <c:v>137.65750308930316</c:v>
                </c:pt>
                <c:pt idx="845">
                  <c:v>140.94752243033926</c:v>
                </c:pt>
                <c:pt idx="846">
                  <c:v>142.7347142022596</c:v>
                </c:pt>
                <c:pt idx="847">
                  <c:v>145.02041156386474</c:v>
                </c:pt>
                <c:pt idx="848">
                  <c:v>143.62796437165878</c:v>
                </c:pt>
                <c:pt idx="849">
                  <c:v>144.34008152943875</c:v>
                </c:pt>
                <c:pt idx="850">
                  <c:v>142.58551104277666</c:v>
                </c:pt>
                <c:pt idx="851">
                  <c:v>146.052843098469</c:v>
                </c:pt>
                <c:pt idx="852">
                  <c:v>146.66142126882789</c:v>
                </c:pt>
                <c:pt idx="853">
                  <c:v>147.75353833033176</c:v>
                </c:pt>
                <c:pt idx="854">
                  <c:v>148.22446605939371</c:v>
                </c:pt>
                <c:pt idx="855">
                  <c:v>148.8305641679778</c:v>
                </c:pt>
                <c:pt idx="856">
                  <c:v>148.60265235266544</c:v>
                </c:pt>
                <c:pt idx="857">
                  <c:v>147.97735901357254</c:v>
                </c:pt>
                <c:pt idx="858">
                  <c:v>148.96209261888205</c:v>
                </c:pt>
                <c:pt idx="859">
                  <c:v>148.96209261888205</c:v>
                </c:pt>
                <c:pt idx="860">
                  <c:v>149.41994877043837</c:v>
                </c:pt>
                <c:pt idx="861">
                  <c:v>150.26486316465923</c:v>
                </c:pt>
                <c:pt idx="862">
                  <c:v>149.55103522253827</c:v>
                </c:pt>
                <c:pt idx="863">
                  <c:v>150.08810559163464</c:v>
                </c:pt>
                <c:pt idx="864">
                  <c:v>148.27060343619394</c:v>
                </c:pt>
                <c:pt idx="865">
                  <c:v>147.39770230687785</c:v>
                </c:pt>
                <c:pt idx="866">
                  <c:v>147.60856506701231</c:v>
                </c:pt>
                <c:pt idx="867">
                  <c:v>148.282722550611</c:v>
                </c:pt>
                <c:pt idx="868">
                  <c:v>147.25343386283302</c:v>
                </c:pt>
                <c:pt idx="869">
                  <c:v>147.03973843944752</c:v>
                </c:pt>
                <c:pt idx="870">
                  <c:v>145.93005384384315</c:v>
                </c:pt>
                <c:pt idx="871">
                  <c:v>146.52148264814599</c:v>
                </c:pt>
                <c:pt idx="872">
                  <c:v>147.77566887967905</c:v>
                </c:pt>
                <c:pt idx="873">
                  <c:v>146.0536568400961</c:v>
                </c:pt>
                <c:pt idx="874">
                  <c:v>146.13054352978662</c:v>
                </c:pt>
                <c:pt idx="875">
                  <c:v>149.54250005850099</c:v>
                </c:pt>
                <c:pt idx="876">
                  <c:v>149.86774944918133</c:v>
                </c:pt>
                <c:pt idx="877">
                  <c:v>149.51384145793747</c:v>
                </c:pt>
                <c:pt idx="878">
                  <c:v>150.01635368493714</c:v>
                </c:pt>
                <c:pt idx="879">
                  <c:v>150.17031502464931</c:v>
                </c:pt>
                <c:pt idx="880">
                  <c:v>149.93219038529168</c:v>
                </c:pt>
                <c:pt idx="881">
                  <c:v>151.81236151693304</c:v>
                </c:pt>
                <c:pt idx="882">
                  <c:v>151.31453772575293</c:v>
                </c:pt>
                <c:pt idx="883">
                  <c:v>150.68022617010894</c:v>
                </c:pt>
                <c:pt idx="884">
                  <c:v>151.31389574465749</c:v>
                </c:pt>
                <c:pt idx="885">
                  <c:v>151.0627861114715</c:v>
                </c:pt>
                <c:pt idx="886">
                  <c:v>151.75550933538327</c:v>
                </c:pt>
                <c:pt idx="887">
                  <c:v>151.25153298734188</c:v>
                </c:pt>
                <c:pt idx="888">
                  <c:v>151.85841665842401</c:v>
                </c:pt>
                <c:pt idx="889">
                  <c:v>149.11726983898802</c:v>
                </c:pt>
                <c:pt idx="890">
                  <c:v>149.59863936350638</c:v>
                </c:pt>
                <c:pt idx="891">
                  <c:v>147.78995314024888</c:v>
                </c:pt>
                <c:pt idx="892">
                  <c:v>149.9251427893773</c:v>
                </c:pt>
                <c:pt idx="893">
                  <c:v>149.51055183237986</c:v>
                </c:pt>
                <c:pt idx="894">
                  <c:v>149.39295891999262</c:v>
                </c:pt>
                <c:pt idx="895">
                  <c:v>149.29195443420642</c:v>
                </c:pt>
                <c:pt idx="896">
                  <c:v>150.816015552588</c:v>
                </c:pt>
                <c:pt idx="897">
                  <c:v>149.36273379858849</c:v>
                </c:pt>
                <c:pt idx="898">
                  <c:v>148.7002119932132</c:v>
                </c:pt>
                <c:pt idx="899">
                  <c:v>147.93455564126032</c:v>
                </c:pt>
                <c:pt idx="900">
                  <c:v>149.08645692056092</c:v>
                </c:pt>
                <c:pt idx="901">
                  <c:v>148.29881500748729</c:v>
                </c:pt>
                <c:pt idx="902">
                  <c:v>149.0468495560043</c:v>
                </c:pt>
                <c:pt idx="903">
                  <c:v>151.01480809612855</c:v>
                </c:pt>
                <c:pt idx="904">
                  <c:v>151.76614147851134</c:v>
                </c:pt>
                <c:pt idx="905">
                  <c:v>152.01505258542707</c:v>
                </c:pt>
                <c:pt idx="906">
                  <c:v>150.84770952708172</c:v>
                </c:pt>
                <c:pt idx="907">
                  <c:v>150.23721428069422</c:v>
                </c:pt>
                <c:pt idx="908">
                  <c:v>147.73438364195837</c:v>
                </c:pt>
                <c:pt idx="909">
                  <c:v>148.43672890872085</c:v>
                </c:pt>
                <c:pt idx="910">
                  <c:v>148.77611019657144</c:v>
                </c:pt>
                <c:pt idx="911">
                  <c:v>148.97097991545593</c:v>
                </c:pt>
                <c:pt idx="912">
                  <c:v>148.41065741651809</c:v>
                </c:pt>
                <c:pt idx="913">
                  <c:v>149.70744452283938</c:v>
                </c:pt>
                <c:pt idx="914">
                  <c:v>148.85767278854948</c:v>
                </c:pt>
                <c:pt idx="915">
                  <c:v>148.85767278854948</c:v>
                </c:pt>
                <c:pt idx="916">
                  <c:v>151.40268204144868</c:v>
                </c:pt>
                <c:pt idx="917">
                  <c:v>150.52204401464721</c:v>
                </c:pt>
                <c:pt idx="918">
                  <c:v>151.38528251634671</c:v>
                </c:pt>
                <c:pt idx="919">
                  <c:v>149.37613474364431</c:v>
                </c:pt>
                <c:pt idx="920">
                  <c:v>149.12878619288193</c:v>
                </c:pt>
                <c:pt idx="921">
                  <c:v>148.98857801602304</c:v>
                </c:pt>
                <c:pt idx="922">
                  <c:v>148.61186940046923</c:v>
                </c:pt>
                <c:pt idx="923">
                  <c:v>149.26471983885938</c:v>
                </c:pt>
                <c:pt idx="924">
                  <c:v>147.93980245867166</c:v>
                </c:pt>
                <c:pt idx="925">
                  <c:v>146.50512306506278</c:v>
                </c:pt>
                <c:pt idx="926">
                  <c:v>144.9937960993669</c:v>
                </c:pt>
                <c:pt idx="927">
                  <c:v>148.20180620283458</c:v>
                </c:pt>
                <c:pt idx="928">
                  <c:v>148.67714113062854</c:v>
                </c:pt>
                <c:pt idx="929">
                  <c:v>149.10255896942522</c:v>
                </c:pt>
                <c:pt idx="930">
                  <c:v>149.93736835354434</c:v>
                </c:pt>
                <c:pt idx="931">
                  <c:v>150.83271349837446</c:v>
                </c:pt>
                <c:pt idx="932">
                  <c:v>150.10620464975997</c:v>
                </c:pt>
                <c:pt idx="933">
                  <c:v>150.55686595772892</c:v>
                </c:pt>
                <c:pt idx="934">
                  <c:v>150.74006444408695</c:v>
                </c:pt>
                <c:pt idx="935">
                  <c:v>152.46013233692034</c:v>
                </c:pt>
                <c:pt idx="936">
                  <c:v>152.16175799124699</c:v>
                </c:pt>
                <c:pt idx="937">
                  <c:v>152.33772079346431</c:v>
                </c:pt>
                <c:pt idx="938">
                  <c:v>152.40479939836902</c:v>
                </c:pt>
                <c:pt idx="939">
                  <c:v>152.78694351639541</c:v>
                </c:pt>
                <c:pt idx="940">
                  <c:v>153.8524414897615</c:v>
                </c:pt>
                <c:pt idx="941">
                  <c:v>154.0459861501142</c:v>
                </c:pt>
                <c:pt idx="942">
                  <c:v>154.29176361851179</c:v>
                </c:pt>
                <c:pt idx="943">
                  <c:v>154.79861666768733</c:v>
                </c:pt>
                <c:pt idx="944">
                  <c:v>154.89700352127551</c:v>
                </c:pt>
                <c:pt idx="945">
                  <c:v>154.33072456834205</c:v>
                </c:pt>
                <c:pt idx="946">
                  <c:v>154.1670499126844</c:v>
                </c:pt>
                <c:pt idx="947">
                  <c:v>154.0996307282615</c:v>
                </c:pt>
                <c:pt idx="948">
                  <c:v>154.79053556704386</c:v>
                </c:pt>
                <c:pt idx="949">
                  <c:v>155.41315858195208</c:v>
                </c:pt>
                <c:pt idx="950">
                  <c:v>155.47653075744833</c:v>
                </c:pt>
                <c:pt idx="951">
                  <c:v>155.0358798612645</c:v>
                </c:pt>
                <c:pt idx="952">
                  <c:v>155.0358798612645</c:v>
                </c:pt>
                <c:pt idx="953">
                  <c:v>155.0358798612645</c:v>
                </c:pt>
                <c:pt idx="954">
                  <c:v>155.0358798612645</c:v>
                </c:pt>
                <c:pt idx="955">
                  <c:v>154.84532760273652</c:v>
                </c:pt>
                <c:pt idx="956">
                  <c:v>153.84459579781796</c:v>
                </c:pt>
                <c:pt idx="957">
                  <c:v>154.32982722721121</c:v>
                </c:pt>
                <c:pt idx="958">
                  <c:v>154.32982722721121</c:v>
                </c:pt>
                <c:pt idx="959">
                  <c:v>157.40312834709314</c:v>
                </c:pt>
                <c:pt idx="960">
                  <c:v>158.27190564631695</c:v>
                </c:pt>
                <c:pt idx="961">
                  <c:v>158.85365468531748</c:v>
                </c:pt>
                <c:pt idx="962">
                  <c:v>158.1393528989918</c:v>
                </c:pt>
                <c:pt idx="963">
                  <c:v>157.91126147903415</c:v>
                </c:pt>
                <c:pt idx="964">
                  <c:v>159.00910397683228</c:v>
                </c:pt>
                <c:pt idx="965">
                  <c:v>158.57281671044009</c:v>
                </c:pt>
                <c:pt idx="966">
                  <c:v>158.38241455586532</c:v>
                </c:pt>
                <c:pt idx="967">
                  <c:v>157.82417049150874</c:v>
                </c:pt>
                <c:pt idx="968">
                  <c:v>157.85356315625245</c:v>
                </c:pt>
                <c:pt idx="969">
                  <c:v>157.92441026138425</c:v>
                </c:pt>
                <c:pt idx="970">
                  <c:v>158.60743815965762</c:v>
                </c:pt>
                <c:pt idx="971">
                  <c:v>158.41297377686851</c:v>
                </c:pt>
                <c:pt idx="972">
                  <c:v>158.84283070242893</c:v>
                </c:pt>
                <c:pt idx="973">
                  <c:v>158.79389127147567</c:v>
                </c:pt>
                <c:pt idx="974">
                  <c:v>159.13233599762208</c:v>
                </c:pt>
                <c:pt idx="975">
                  <c:v>159.53096528982815</c:v>
                </c:pt>
                <c:pt idx="976">
                  <c:v>160.00590157460206</c:v>
                </c:pt>
                <c:pt idx="977">
                  <c:v>159.82195917628931</c:v>
                </c:pt>
                <c:pt idx="978">
                  <c:v>160.42800766232205</c:v>
                </c:pt>
                <c:pt idx="979">
                  <c:v>159.51865812981524</c:v>
                </c:pt>
                <c:pt idx="980">
                  <c:v>158.66503109846485</c:v>
                </c:pt>
                <c:pt idx="981">
                  <c:v>159.10471077389431</c:v>
                </c:pt>
                <c:pt idx="982">
                  <c:v>156.72820520969947</c:v>
                </c:pt>
                <c:pt idx="983">
                  <c:v>157.64922759471281</c:v>
                </c:pt>
                <c:pt idx="984">
                  <c:v>157.02805139263592</c:v>
                </c:pt>
                <c:pt idx="985">
                  <c:v>156.6191586306881</c:v>
                </c:pt>
                <c:pt idx="986">
                  <c:v>158.50309642942236</c:v>
                </c:pt>
                <c:pt idx="987">
                  <c:v>157.57472364009345</c:v>
                </c:pt>
                <c:pt idx="988">
                  <c:v>158.33092536135811</c:v>
                </c:pt>
                <c:pt idx="989">
                  <c:v>159.0618123769552</c:v>
                </c:pt>
                <c:pt idx="990">
                  <c:v>158.83619816249112</c:v>
                </c:pt>
                <c:pt idx="991">
                  <c:v>158.51440265483373</c:v>
                </c:pt>
                <c:pt idx="992">
                  <c:v>158.2347063823097</c:v>
                </c:pt>
                <c:pt idx="993">
                  <c:v>160.00264754597691</c:v>
                </c:pt>
                <c:pt idx="994">
                  <c:v>159.54033751468043</c:v>
                </c:pt>
                <c:pt idx="995">
                  <c:v>157.21388793146812</c:v>
                </c:pt>
                <c:pt idx="996">
                  <c:v>159.24210061153696</c:v>
                </c:pt>
                <c:pt idx="997">
                  <c:v>159.16898596045252</c:v>
                </c:pt>
                <c:pt idx="998">
                  <c:v>157.16553045708204</c:v>
                </c:pt>
                <c:pt idx="999">
                  <c:v>158.63299014979364</c:v>
                </c:pt>
                <c:pt idx="1000">
                  <c:v>160.18334861972033</c:v>
                </c:pt>
                <c:pt idx="1001">
                  <c:v>159.63408751603075</c:v>
                </c:pt>
                <c:pt idx="1002">
                  <c:v>159.59767799236496</c:v>
                </c:pt>
                <c:pt idx="1003">
                  <c:v>162.45971459702557</c:v>
                </c:pt>
                <c:pt idx="1004">
                  <c:v>162.12908235322797</c:v>
                </c:pt>
                <c:pt idx="1005">
                  <c:v>162.11631810301722</c:v>
                </c:pt>
                <c:pt idx="1006">
                  <c:v>163.45000260282691</c:v>
                </c:pt>
                <c:pt idx="1007">
                  <c:v>163.29235239770219</c:v>
                </c:pt>
                <c:pt idx="1008">
                  <c:v>163.32590406316044</c:v>
                </c:pt>
                <c:pt idx="1009">
                  <c:v>163.41644309325397</c:v>
                </c:pt>
                <c:pt idx="1010">
                  <c:v>165.20293264639346</c:v>
                </c:pt>
                <c:pt idx="1011">
                  <c:v>164.57518320417992</c:v>
                </c:pt>
                <c:pt idx="1012">
                  <c:v>164.20999699612997</c:v>
                </c:pt>
                <c:pt idx="1013">
                  <c:v>163.52576413101389</c:v>
                </c:pt>
                <c:pt idx="1014">
                  <c:v>164.13373182462828</c:v>
                </c:pt>
                <c:pt idx="1015">
                  <c:v>163.05388440780595</c:v>
                </c:pt>
                <c:pt idx="1016">
                  <c:v>162.84630445226054</c:v>
                </c:pt>
                <c:pt idx="1017">
                  <c:v>162.39193842012597</c:v>
                </c:pt>
                <c:pt idx="1018">
                  <c:v>162.67553117131223</c:v>
                </c:pt>
                <c:pt idx="1019">
                  <c:v>162.05310639082182</c:v>
                </c:pt>
                <c:pt idx="1020">
                  <c:v>162.74694578108307</c:v>
                </c:pt>
                <c:pt idx="1021">
                  <c:v>162.74694578108307</c:v>
                </c:pt>
                <c:pt idx="1022">
                  <c:v>162.74694578108307</c:v>
                </c:pt>
                <c:pt idx="1023">
                  <c:v>164.832180655359</c:v>
                </c:pt>
                <c:pt idx="1024">
                  <c:v>163.31844853065593</c:v>
                </c:pt>
                <c:pt idx="1025">
                  <c:v>161.650036903445</c:v>
                </c:pt>
                <c:pt idx="1026">
                  <c:v>159.20084189033378</c:v>
                </c:pt>
                <c:pt idx="1027">
                  <c:v>159.54258191196888</c:v>
                </c:pt>
                <c:pt idx="1028">
                  <c:v>159.76596831262572</c:v>
                </c:pt>
                <c:pt idx="1029">
                  <c:v>162.57814938753651</c:v>
                </c:pt>
                <c:pt idx="1030">
                  <c:v>163.54224840994075</c:v>
                </c:pt>
                <c:pt idx="1031">
                  <c:v>162.18346982018483</c:v>
                </c:pt>
                <c:pt idx="1032">
                  <c:v>161.21869070451882</c:v>
                </c:pt>
                <c:pt idx="1033">
                  <c:v>159.98674620413189</c:v>
                </c:pt>
                <c:pt idx="1034">
                  <c:v>157.54615904101163</c:v>
                </c:pt>
                <c:pt idx="1035">
                  <c:v>157.53947739009558</c:v>
                </c:pt>
                <c:pt idx="1036">
                  <c:v>158.44025978527159</c:v>
                </c:pt>
                <c:pt idx="1037">
                  <c:v>158.72630471752063</c:v>
                </c:pt>
                <c:pt idx="1038">
                  <c:v>162.62654301305957</c:v>
                </c:pt>
                <c:pt idx="1039">
                  <c:v>163.91484683734132</c:v>
                </c:pt>
                <c:pt idx="1040">
                  <c:v>165.17059323768811</c:v>
                </c:pt>
                <c:pt idx="1041">
                  <c:v>164.68946798912941</c:v>
                </c:pt>
                <c:pt idx="1042">
                  <c:v>165.67658096165675</c:v>
                </c:pt>
                <c:pt idx="1043">
                  <c:v>165.39275292966292</c:v>
                </c:pt>
                <c:pt idx="1044">
                  <c:v>165.39275292966292</c:v>
                </c:pt>
                <c:pt idx="1045">
                  <c:v>166.14254029674416</c:v>
                </c:pt>
                <c:pt idx="1046">
                  <c:v>167.91337487291992</c:v>
                </c:pt>
                <c:pt idx="1047">
                  <c:v>167.9690842863408</c:v>
                </c:pt>
                <c:pt idx="1048">
                  <c:v>168.42014419469842</c:v>
                </c:pt>
                <c:pt idx="1049">
                  <c:v>169.63451233635743</c:v>
                </c:pt>
                <c:pt idx="1050">
                  <c:v>169.63451233635743</c:v>
                </c:pt>
                <c:pt idx="1051">
                  <c:v>170.45449506496132</c:v>
                </c:pt>
                <c:pt idx="1052">
                  <c:v>170.16063159675159</c:v>
                </c:pt>
                <c:pt idx="1053">
                  <c:v>170.90911696870336</c:v>
                </c:pt>
                <c:pt idx="1054">
                  <c:v>172.26140510783631</c:v>
                </c:pt>
                <c:pt idx="1055">
                  <c:v>172.180704601104</c:v>
                </c:pt>
                <c:pt idx="1056">
                  <c:v>172.69029746308721</c:v>
                </c:pt>
                <c:pt idx="1057">
                  <c:v>172.69029746308721</c:v>
                </c:pt>
                <c:pt idx="1058">
                  <c:v>173.53634452187697</c:v>
                </c:pt>
                <c:pt idx="1059">
                  <c:v>173.96770009963601</c:v>
                </c:pt>
                <c:pt idx="1060">
                  <c:v>170.28940953445317</c:v>
                </c:pt>
                <c:pt idx="1061">
                  <c:v>169.94740839759069</c:v>
                </c:pt>
                <c:pt idx="1062">
                  <c:v>170.49395027927343</c:v>
                </c:pt>
                <c:pt idx="1063">
                  <c:v>172.63548219346853</c:v>
                </c:pt>
                <c:pt idx="1064">
                  <c:v>169.45914726419741</c:v>
                </c:pt>
                <c:pt idx="1065">
                  <c:v>170.08803785455981</c:v>
                </c:pt>
                <c:pt idx="1066">
                  <c:v>168.55102277776115</c:v>
                </c:pt>
                <c:pt idx="1067">
                  <c:v>167.26936117066802</c:v>
                </c:pt>
                <c:pt idx="1068">
                  <c:v>167.81431717700949</c:v>
                </c:pt>
                <c:pt idx="1069">
                  <c:v>165.38041332741676</c:v>
                </c:pt>
                <c:pt idx="1070">
                  <c:v>163.47883347549316</c:v>
                </c:pt>
                <c:pt idx="1071">
                  <c:v>165.56353703889945</c:v>
                </c:pt>
                <c:pt idx="1072">
                  <c:v>165.48215064108192</c:v>
                </c:pt>
                <c:pt idx="1073">
                  <c:v>163.59246046322457</c:v>
                </c:pt>
                <c:pt idx="1074">
                  <c:v>163.09021919922776</c:v>
                </c:pt>
                <c:pt idx="1075">
                  <c:v>162.98560040974829</c:v>
                </c:pt>
                <c:pt idx="1076">
                  <c:v>163.24898360967359</c:v>
                </c:pt>
                <c:pt idx="1077">
                  <c:v>164.44601694017538</c:v>
                </c:pt>
                <c:pt idx="1078">
                  <c:v>164.30317872548167</c:v>
                </c:pt>
                <c:pt idx="1079">
                  <c:v>163.939557588817</c:v>
                </c:pt>
                <c:pt idx="1080">
                  <c:v>159.09632788799479</c:v>
                </c:pt>
                <c:pt idx="1081">
                  <c:v>157.28289465384472</c:v>
                </c:pt>
                <c:pt idx="1082">
                  <c:v>154.75618380189559</c:v>
                </c:pt>
                <c:pt idx="1083">
                  <c:v>156.99836376360469</c:v>
                </c:pt>
                <c:pt idx="1084">
                  <c:v>159.71331311606255</c:v>
                </c:pt>
                <c:pt idx="1085">
                  <c:v>160.73188900275082</c:v>
                </c:pt>
                <c:pt idx="1086">
                  <c:v>159.95017741083512</c:v>
                </c:pt>
                <c:pt idx="1087">
                  <c:v>161.75880471797126</c:v>
                </c:pt>
                <c:pt idx="1088">
                  <c:v>161.08722278971595</c:v>
                </c:pt>
                <c:pt idx="1089">
                  <c:v>160.15871562729356</c:v>
                </c:pt>
                <c:pt idx="1090">
                  <c:v>163.9152206264533</c:v>
                </c:pt>
                <c:pt idx="1091">
                  <c:v>161.72111447207368</c:v>
                </c:pt>
                <c:pt idx="1092">
                  <c:v>164.00051134704773</c:v>
                </c:pt>
                <c:pt idx="1093">
                  <c:v>165.24454550379204</c:v>
                </c:pt>
                <c:pt idx="1094">
                  <c:v>165.4702132628633</c:v>
                </c:pt>
                <c:pt idx="1095">
                  <c:v>166.41247341761621</c:v>
                </c:pt>
                <c:pt idx="1096">
                  <c:v>166.21092149361218</c:v>
                </c:pt>
                <c:pt idx="1097">
                  <c:v>166.91909208123701</c:v>
                </c:pt>
                <c:pt idx="1098">
                  <c:v>165.76683027108169</c:v>
                </c:pt>
                <c:pt idx="1099">
                  <c:v>166.75972124399675</c:v>
                </c:pt>
                <c:pt idx="1100">
                  <c:v>168.21787376684924</c:v>
                </c:pt>
                <c:pt idx="1101">
                  <c:v>168.26398403029802</c:v>
                </c:pt>
                <c:pt idx="1102">
                  <c:v>168.50716479834691</c:v>
                </c:pt>
                <c:pt idx="1103">
                  <c:v>168.03022459807968</c:v>
                </c:pt>
                <c:pt idx="1104">
                  <c:v>168.99343715027265</c:v>
                </c:pt>
                <c:pt idx="1105">
                  <c:v>168.17533624181226</c:v>
                </c:pt>
                <c:pt idx="1106">
                  <c:v>167.76903127032091</c:v>
                </c:pt>
                <c:pt idx="1107">
                  <c:v>167.84253927817412</c:v>
                </c:pt>
                <c:pt idx="1108">
                  <c:v>167.96604038619921</c:v>
                </c:pt>
                <c:pt idx="1109">
                  <c:v>168.10559856732229</c:v>
                </c:pt>
                <c:pt idx="1110">
                  <c:v>170.05553329313722</c:v>
                </c:pt>
                <c:pt idx="1111">
                  <c:v>170.48809221775798</c:v>
                </c:pt>
                <c:pt idx="1112">
                  <c:v>170.75420470061974</c:v>
                </c:pt>
                <c:pt idx="1113">
                  <c:v>170.08410816630379</c:v>
                </c:pt>
                <c:pt idx="1114">
                  <c:v>169.80041190690866</c:v>
                </c:pt>
                <c:pt idx="1115">
                  <c:v>170.51982835436715</c:v>
                </c:pt>
                <c:pt idx="1116">
                  <c:v>171.53829395451041</c:v>
                </c:pt>
                <c:pt idx="1117">
                  <c:v>171.65197649050884</c:v>
                </c:pt>
                <c:pt idx="1118">
                  <c:v>172.63079516447385</c:v>
                </c:pt>
                <c:pt idx="1119">
                  <c:v>173.20926058889526</c:v>
                </c:pt>
                <c:pt idx="1120">
                  <c:v>173.20926058889526</c:v>
                </c:pt>
                <c:pt idx="1121">
                  <c:v>171.99030449282048</c:v>
                </c:pt>
                <c:pt idx="1122">
                  <c:v>171.04366881421114</c:v>
                </c:pt>
                <c:pt idx="1123">
                  <c:v>169.65320042780493</c:v>
                </c:pt>
                <c:pt idx="1124">
                  <c:v>168.76906162381721</c:v>
                </c:pt>
                <c:pt idx="1125">
                  <c:v>170.42153533173595</c:v>
                </c:pt>
                <c:pt idx="1126">
                  <c:v>171.08699526959961</c:v>
                </c:pt>
                <c:pt idx="1127">
                  <c:v>170.99113119410518</c:v>
                </c:pt>
                <c:pt idx="1128">
                  <c:v>168.01136973393491</c:v>
                </c:pt>
                <c:pt idx="1129">
                  <c:v>167.48173477548278</c:v>
                </c:pt>
                <c:pt idx="1130">
                  <c:v>168.68191346804474</c:v>
                </c:pt>
                <c:pt idx="1131">
                  <c:v>167.12558707636686</c:v>
                </c:pt>
                <c:pt idx="1132">
                  <c:v>170.19750737629391</c:v>
                </c:pt>
                <c:pt idx="1133">
                  <c:v>169.50390326683927</c:v>
                </c:pt>
                <c:pt idx="1134">
                  <c:v>169.89060187390203</c:v>
                </c:pt>
                <c:pt idx="1135">
                  <c:v>171.14004429187213</c:v>
                </c:pt>
                <c:pt idx="1136">
                  <c:v>171.98196308693872</c:v>
                </c:pt>
                <c:pt idx="1137">
                  <c:v>171.77300648928176</c:v>
                </c:pt>
                <c:pt idx="1138">
                  <c:v>173.94588212120155</c:v>
                </c:pt>
                <c:pt idx="1139">
                  <c:v>174.60734258376715</c:v>
                </c:pt>
                <c:pt idx="1140">
                  <c:v>174.54943912033733</c:v>
                </c:pt>
                <c:pt idx="1141">
                  <c:v>174.96117106808882</c:v>
                </c:pt>
                <c:pt idx="1142">
                  <c:v>176.0655441749665</c:v>
                </c:pt>
                <c:pt idx="1143">
                  <c:v>175.23334611364888</c:v>
                </c:pt>
                <c:pt idx="1144">
                  <c:v>176.03259083640143</c:v>
                </c:pt>
                <c:pt idx="1145">
                  <c:v>177.0475007079244</c:v>
                </c:pt>
                <c:pt idx="1146">
                  <c:v>176.551621276649</c:v>
                </c:pt>
                <c:pt idx="1147">
                  <c:v>175.70947649434589</c:v>
                </c:pt>
                <c:pt idx="1148">
                  <c:v>176.00140822144286</c:v>
                </c:pt>
                <c:pt idx="1149">
                  <c:v>175.92226119044898</c:v>
                </c:pt>
                <c:pt idx="1150">
                  <c:v>175.95319373162351</c:v>
                </c:pt>
                <c:pt idx="1151">
                  <c:v>175.4792859637443</c:v>
                </c:pt>
                <c:pt idx="1152">
                  <c:v>174.49861062195987</c:v>
                </c:pt>
                <c:pt idx="1153">
                  <c:v>175.77467954587215</c:v>
                </c:pt>
                <c:pt idx="1154">
                  <c:v>174.58545869771913</c:v>
                </c:pt>
                <c:pt idx="1155">
                  <c:v>173.88609389608513</c:v>
                </c:pt>
                <c:pt idx="1156">
                  <c:v>174.06649002987319</c:v>
                </c:pt>
                <c:pt idx="1157">
                  <c:v>173.67228490356112</c:v>
                </c:pt>
                <c:pt idx="1158">
                  <c:v>172.3391960875185</c:v>
                </c:pt>
                <c:pt idx="1159">
                  <c:v>171.41150053517015</c:v>
                </c:pt>
                <c:pt idx="1160">
                  <c:v>174.27078820397568</c:v>
                </c:pt>
                <c:pt idx="1161">
                  <c:v>175.04521781442327</c:v>
                </c:pt>
                <c:pt idx="1162">
                  <c:v>175.36181595669694</c:v>
                </c:pt>
                <c:pt idx="1163">
                  <c:v>176.8247875369284</c:v>
                </c:pt>
                <c:pt idx="1164">
                  <c:v>177.28422223128433</c:v>
                </c:pt>
                <c:pt idx="1165">
                  <c:v>177.51483915772377</c:v>
                </c:pt>
                <c:pt idx="1166">
                  <c:v>178.90187489137429</c:v>
                </c:pt>
                <c:pt idx="1167">
                  <c:v>179.48799672584317</c:v>
                </c:pt>
                <c:pt idx="1168">
                  <c:v>180.37974137944371</c:v>
                </c:pt>
                <c:pt idx="1169">
                  <c:v>179.31144612660387</c:v>
                </c:pt>
                <c:pt idx="1170">
                  <c:v>180.1166441486539</c:v>
                </c:pt>
                <c:pt idx="1171">
                  <c:v>180.00450558166676</c:v>
                </c:pt>
                <c:pt idx="1172">
                  <c:v>179.73821941987634</c:v>
                </c:pt>
                <c:pt idx="1173">
                  <c:v>180.39740444974316</c:v>
                </c:pt>
                <c:pt idx="1174">
                  <c:v>180.42566513201479</c:v>
                </c:pt>
                <c:pt idx="1175">
                  <c:v>181.1913921236301</c:v>
                </c:pt>
                <c:pt idx="1176">
                  <c:v>181.1913921236301</c:v>
                </c:pt>
                <c:pt idx="1177">
                  <c:v>181.35176355442252</c:v>
                </c:pt>
                <c:pt idx="1178">
                  <c:v>181.01803467586518</c:v>
                </c:pt>
                <c:pt idx="1179">
                  <c:v>181.8212889348454</c:v>
                </c:pt>
                <c:pt idx="1180">
                  <c:v>181.83988136219966</c:v>
                </c:pt>
                <c:pt idx="1181">
                  <c:v>181.59202145190216</c:v>
                </c:pt>
                <c:pt idx="1182">
                  <c:v>182.0673021103598</c:v>
                </c:pt>
                <c:pt idx="1183">
                  <c:v>181.02092058530846</c:v>
                </c:pt>
                <c:pt idx="1184">
                  <c:v>180.0980205153646</c:v>
                </c:pt>
                <c:pt idx="1185">
                  <c:v>181.5824425408552</c:v>
                </c:pt>
                <c:pt idx="1186">
                  <c:v>181.97623846726603</c:v>
                </c:pt>
                <c:pt idx="1187">
                  <c:v>182.95634040009344</c:v>
                </c:pt>
                <c:pt idx="1188">
                  <c:v>181.74660124420188</c:v>
                </c:pt>
                <c:pt idx="1189">
                  <c:v>182.06970962930976</c:v>
                </c:pt>
                <c:pt idx="1190">
                  <c:v>181.76947013303803</c:v>
                </c:pt>
                <c:pt idx="1191">
                  <c:v>181.92738010434911</c:v>
                </c:pt>
                <c:pt idx="1192">
                  <c:v>182.67406045608334</c:v>
                </c:pt>
                <c:pt idx="1193">
                  <c:v>181.47606766090433</c:v>
                </c:pt>
                <c:pt idx="1194">
                  <c:v>182.44873670293256</c:v>
                </c:pt>
                <c:pt idx="1195">
                  <c:v>183.08186237006723</c:v>
                </c:pt>
                <c:pt idx="1196">
                  <c:v>183.05388025788125</c:v>
                </c:pt>
                <c:pt idx="1197">
                  <c:v>182.45597171724489</c:v>
                </c:pt>
                <c:pt idx="1198">
                  <c:v>179.7059171813759</c:v>
                </c:pt>
                <c:pt idx="1199">
                  <c:v>178.6552086761055</c:v>
                </c:pt>
                <c:pt idx="1200">
                  <c:v>177.0405012895491</c:v>
                </c:pt>
                <c:pt idx="1201">
                  <c:v>178.24779110191253</c:v>
                </c:pt>
                <c:pt idx="1202">
                  <c:v>178.58838810770948</c:v>
                </c:pt>
                <c:pt idx="1203">
                  <c:v>177.27287173500412</c:v>
                </c:pt>
                <c:pt idx="1204">
                  <c:v>176.37382629529813</c:v>
                </c:pt>
                <c:pt idx="1205">
                  <c:v>174.71886840594311</c:v>
                </c:pt>
                <c:pt idx="1206">
                  <c:v>174.42732732823353</c:v>
                </c:pt>
                <c:pt idx="1207">
                  <c:v>176.68218809629383</c:v>
                </c:pt>
                <c:pt idx="1208">
                  <c:v>175.35847825019746</c:v>
                </c:pt>
                <c:pt idx="1209">
                  <c:v>176.85812021877172</c:v>
                </c:pt>
                <c:pt idx="1210">
                  <c:v>179.91195943184698</c:v>
                </c:pt>
                <c:pt idx="1211">
                  <c:v>180.87925507678833</c:v>
                </c:pt>
                <c:pt idx="1212">
                  <c:v>182.18713763132087</c:v>
                </c:pt>
                <c:pt idx="1213">
                  <c:v>182.18713763132087</c:v>
                </c:pt>
                <c:pt idx="1214">
                  <c:v>182.18713763132087</c:v>
                </c:pt>
                <c:pt idx="1215">
                  <c:v>182.18713763132087</c:v>
                </c:pt>
                <c:pt idx="1216">
                  <c:v>184.61716969760016</c:v>
                </c:pt>
                <c:pt idx="1217">
                  <c:v>184.26445579005798</c:v>
                </c:pt>
                <c:pt idx="1218">
                  <c:v>184.92321849694284</c:v>
                </c:pt>
                <c:pt idx="1219">
                  <c:v>184.92321849694284</c:v>
                </c:pt>
                <c:pt idx="1220">
                  <c:v>183.45034583031716</c:v>
                </c:pt>
                <c:pt idx="1221">
                  <c:v>184.44356135854792</c:v>
                </c:pt>
                <c:pt idx="1222">
                  <c:v>184.03094656442209</c:v>
                </c:pt>
                <c:pt idx="1223">
                  <c:v>185.39408071102633</c:v>
                </c:pt>
                <c:pt idx="1224">
                  <c:v>185.58516409710884</c:v>
                </c:pt>
                <c:pt idx="1225">
                  <c:v>184.80311870814424</c:v>
                </c:pt>
                <c:pt idx="1226">
                  <c:v>185.64986797880664</c:v>
                </c:pt>
                <c:pt idx="1227">
                  <c:v>186.08388006935667</c:v>
                </c:pt>
                <c:pt idx="1228">
                  <c:v>186.38966751965413</c:v>
                </c:pt>
                <c:pt idx="1229">
                  <c:v>188.32364291301758</c:v>
                </c:pt>
                <c:pt idx="1230">
                  <c:v>188.12069599994098</c:v>
                </c:pt>
                <c:pt idx="1231">
                  <c:v>189.13407661877051</c:v>
                </c:pt>
                <c:pt idx="1232">
                  <c:v>188.96222196568638</c:v>
                </c:pt>
                <c:pt idx="1233">
                  <c:v>189.15400469294684</c:v>
                </c:pt>
                <c:pt idx="1234">
                  <c:v>189.34070396720546</c:v>
                </c:pt>
                <c:pt idx="1235">
                  <c:v>187.45404500954177</c:v>
                </c:pt>
                <c:pt idx="1236">
                  <c:v>183.01721824481984</c:v>
                </c:pt>
                <c:pt idx="1237">
                  <c:v>181.50562420801293</c:v>
                </c:pt>
                <c:pt idx="1238">
                  <c:v>182.62090912891406</c:v>
                </c:pt>
                <c:pt idx="1239">
                  <c:v>181.63987732851575</c:v>
                </c:pt>
                <c:pt idx="1240">
                  <c:v>182.1266297334133</c:v>
                </c:pt>
                <c:pt idx="1241">
                  <c:v>181.65240821177173</c:v>
                </c:pt>
                <c:pt idx="1242">
                  <c:v>179.20988799874709</c:v>
                </c:pt>
                <c:pt idx="1243">
                  <c:v>178.80112292940487</c:v>
                </c:pt>
                <c:pt idx="1244">
                  <c:v>179.07023505186578</c:v>
                </c:pt>
                <c:pt idx="1245">
                  <c:v>181.68587904402656</c:v>
                </c:pt>
                <c:pt idx="1246">
                  <c:v>182.99493807384937</c:v>
                </c:pt>
                <c:pt idx="1247">
                  <c:v>183.11536374287081</c:v>
                </c:pt>
                <c:pt idx="1248">
                  <c:v>185.52223815361319</c:v>
                </c:pt>
                <c:pt idx="1249">
                  <c:v>186.95548353293668</c:v>
                </c:pt>
                <c:pt idx="1250">
                  <c:v>186.69821404527391</c:v>
                </c:pt>
                <c:pt idx="1251">
                  <c:v>187.70171403673973</c:v>
                </c:pt>
                <c:pt idx="1252">
                  <c:v>188.38184966543366</c:v>
                </c:pt>
                <c:pt idx="1253">
                  <c:v>188.42841482105484</c:v>
                </c:pt>
                <c:pt idx="1254">
                  <c:v>188.75800259043248</c:v>
                </c:pt>
                <c:pt idx="1255">
                  <c:v>188.67934235671439</c:v>
                </c:pt>
                <c:pt idx="1256">
                  <c:v>189.40014455722439</c:v>
                </c:pt>
                <c:pt idx="1257">
                  <c:v>190.56590254557835</c:v>
                </c:pt>
                <c:pt idx="1258">
                  <c:v>190.60036715811606</c:v>
                </c:pt>
                <c:pt idx="1259">
                  <c:v>190.23839012623404</c:v>
                </c:pt>
                <c:pt idx="1260">
                  <c:v>189.99819506130936</c:v>
                </c:pt>
                <c:pt idx="1261">
                  <c:v>190.31735921515508</c:v>
                </c:pt>
                <c:pt idx="1262">
                  <c:v>186.05024096512554</c:v>
                </c:pt>
                <c:pt idx="1263">
                  <c:v>189.83987789197883</c:v>
                </c:pt>
                <c:pt idx="1264">
                  <c:v>189.8305332329501</c:v>
                </c:pt>
                <c:pt idx="1265">
                  <c:v>189.98728777327889</c:v>
                </c:pt>
                <c:pt idx="1266">
                  <c:v>187.59334981277956</c:v>
                </c:pt>
                <c:pt idx="1267">
                  <c:v>186.69990863370165</c:v>
                </c:pt>
                <c:pt idx="1268">
                  <c:v>186.71206469087704</c:v>
                </c:pt>
                <c:pt idx="1269">
                  <c:v>184.87271144010015</c:v>
                </c:pt>
                <c:pt idx="1270">
                  <c:v>182.90552592056466</c:v>
                </c:pt>
                <c:pt idx="1271">
                  <c:v>181.6384243370313</c:v>
                </c:pt>
                <c:pt idx="1272">
                  <c:v>183.57617594675824</c:v>
                </c:pt>
                <c:pt idx="1273">
                  <c:v>184.77020353054317</c:v>
                </c:pt>
                <c:pt idx="1274">
                  <c:v>184.62457424388487</c:v>
                </c:pt>
                <c:pt idx="1275">
                  <c:v>184.71708349173664</c:v>
                </c:pt>
                <c:pt idx="1276">
                  <c:v>184.99442389029153</c:v>
                </c:pt>
                <c:pt idx="1277">
                  <c:v>183.10752633039641</c:v>
                </c:pt>
                <c:pt idx="1278">
                  <c:v>185.47408427726285</c:v>
                </c:pt>
                <c:pt idx="1279">
                  <c:v>186.78331345389347</c:v>
                </c:pt>
                <c:pt idx="1280">
                  <c:v>187.11184256677302</c:v>
                </c:pt>
                <c:pt idx="1281">
                  <c:v>188.51474099114822</c:v>
                </c:pt>
                <c:pt idx="1282">
                  <c:v>188.77029502757233</c:v>
                </c:pt>
                <c:pt idx="1283">
                  <c:v>189.86741707100225</c:v>
                </c:pt>
                <c:pt idx="1284">
                  <c:v>190.19930131737863</c:v>
                </c:pt>
                <c:pt idx="1285">
                  <c:v>190.45128796299133</c:v>
                </c:pt>
                <c:pt idx="1286">
                  <c:v>191.60574862607288</c:v>
                </c:pt>
                <c:pt idx="1287">
                  <c:v>189.28026359047033</c:v>
                </c:pt>
                <c:pt idx="1288">
                  <c:v>188.89075208707288</c:v>
                </c:pt>
                <c:pt idx="1289">
                  <c:v>189.58285411590657</c:v>
                </c:pt>
                <c:pt idx="1290">
                  <c:v>188.62912218674478</c:v>
                </c:pt>
                <c:pt idx="1291">
                  <c:v>186.11128657798241</c:v>
                </c:pt>
                <c:pt idx="1292">
                  <c:v>187.11671776828888</c:v>
                </c:pt>
                <c:pt idx="1293">
                  <c:v>185.38962709376185</c:v>
                </c:pt>
                <c:pt idx="1294">
                  <c:v>187.71012679345765</c:v>
                </c:pt>
                <c:pt idx="1295">
                  <c:v>188.58634702322058</c:v>
                </c:pt>
                <c:pt idx="1296">
                  <c:v>188.58634702322058</c:v>
                </c:pt>
                <c:pt idx="1297">
                  <c:v>188.58634702322058</c:v>
                </c:pt>
                <c:pt idx="1298">
                  <c:v>191.14564245888371</c:v>
                </c:pt>
                <c:pt idx="1299">
                  <c:v>190.17178525747241</c:v>
                </c:pt>
                <c:pt idx="1300">
                  <c:v>190.86386347939592</c:v>
                </c:pt>
                <c:pt idx="1301">
                  <c:v>189.46574076628374</c:v>
                </c:pt>
                <c:pt idx="1302">
                  <c:v>189.91889733370553</c:v>
                </c:pt>
                <c:pt idx="1303">
                  <c:v>192.22863248767948</c:v>
                </c:pt>
                <c:pt idx="1304">
                  <c:v>192.32089846021103</c:v>
                </c:pt>
                <c:pt idx="1305">
                  <c:v>192.32089846021103</c:v>
                </c:pt>
                <c:pt idx="1306">
                  <c:v>192.27217774661486</c:v>
                </c:pt>
                <c:pt idx="1307">
                  <c:v>191.92645358296625</c:v>
                </c:pt>
                <c:pt idx="1308">
                  <c:v>191.40958480759832</c:v>
                </c:pt>
                <c:pt idx="1309">
                  <c:v>191.62123059860141</c:v>
                </c:pt>
                <c:pt idx="1310">
                  <c:v>193.70652907907615</c:v>
                </c:pt>
                <c:pt idx="1311">
                  <c:v>193.19637070732645</c:v>
                </c:pt>
                <c:pt idx="1312">
                  <c:v>194.66132434533614</c:v>
                </c:pt>
                <c:pt idx="1313">
                  <c:v>195.27483578346789</c:v>
                </c:pt>
                <c:pt idx="1314">
                  <c:v>195.36712666002319</c:v>
                </c:pt>
                <c:pt idx="1315">
                  <c:v>193.85688947293258</c:v>
                </c:pt>
                <c:pt idx="1316">
                  <c:v>194.39622718402683</c:v>
                </c:pt>
                <c:pt idx="1317">
                  <c:v>194.18590934355802</c:v>
                </c:pt>
                <c:pt idx="1318">
                  <c:v>193.99961106007774</c:v>
                </c:pt>
                <c:pt idx="1319">
                  <c:v>195.13613455485935</c:v>
                </c:pt>
                <c:pt idx="1320">
                  <c:v>195.42618907848188</c:v>
                </c:pt>
                <c:pt idx="1321">
                  <c:v>195.83638924234853</c:v>
                </c:pt>
                <c:pt idx="1322">
                  <c:v>196.93617157722548</c:v>
                </c:pt>
                <c:pt idx="1323">
                  <c:v>197.31998585055453</c:v>
                </c:pt>
                <c:pt idx="1324">
                  <c:v>197.18506593345444</c:v>
                </c:pt>
                <c:pt idx="1325">
                  <c:v>197.18506593345444</c:v>
                </c:pt>
                <c:pt idx="1326">
                  <c:v>197.16961810527587</c:v>
                </c:pt>
                <c:pt idx="1327">
                  <c:v>197.67936955600936</c:v>
                </c:pt>
                <c:pt idx="1328">
                  <c:v>196.84095137365659</c:v>
                </c:pt>
                <c:pt idx="1329">
                  <c:v>196.88568881598627</c:v>
                </c:pt>
                <c:pt idx="1330">
                  <c:v>197.64305334822143</c:v>
                </c:pt>
                <c:pt idx="1331">
                  <c:v>198.88294267701897</c:v>
                </c:pt>
                <c:pt idx="1332">
                  <c:v>198.88294267701897</c:v>
                </c:pt>
                <c:pt idx="1333">
                  <c:v>200.30074219145243</c:v>
                </c:pt>
                <c:pt idx="1334">
                  <c:v>199.33170304164653</c:v>
                </c:pt>
                <c:pt idx="1335">
                  <c:v>199.39934899631211</c:v>
                </c:pt>
                <c:pt idx="1336">
                  <c:v>199.10037903298695</c:v>
                </c:pt>
                <c:pt idx="1337">
                  <c:v>198.26073046121937</c:v>
                </c:pt>
                <c:pt idx="1338">
                  <c:v>198.84746841046586</c:v>
                </c:pt>
                <c:pt idx="1339">
                  <c:v>198.70628171937631</c:v>
                </c:pt>
                <c:pt idx="1340">
                  <c:v>199.83814028753949</c:v>
                </c:pt>
                <c:pt idx="1341">
                  <c:v>199.8231083289447</c:v>
                </c:pt>
                <c:pt idx="1342">
                  <c:v>199.8231083289447</c:v>
                </c:pt>
                <c:pt idx="1343">
                  <c:v>198.51980055471446</c:v>
                </c:pt>
                <c:pt idx="1344">
                  <c:v>196.44163761278671</c:v>
                </c:pt>
                <c:pt idx="1345">
                  <c:v>196.30566969201092</c:v>
                </c:pt>
                <c:pt idx="1346">
                  <c:v>196.38360018119491</c:v>
                </c:pt>
                <c:pt idx="1347">
                  <c:v>196.30507107852412</c:v>
                </c:pt>
                <c:pt idx="1348">
                  <c:v>198.04162222861231</c:v>
                </c:pt>
                <c:pt idx="1349">
                  <c:v>198.47995355353197</c:v>
                </c:pt>
                <c:pt idx="1350">
                  <c:v>200.32322451500332</c:v>
                </c:pt>
                <c:pt idx="1351">
                  <c:v>199.77806341386724</c:v>
                </c:pt>
                <c:pt idx="1352">
                  <c:v>198.01303847318147</c:v>
                </c:pt>
                <c:pt idx="1353">
                  <c:v>195.33104636443187</c:v>
                </c:pt>
                <c:pt idx="1354">
                  <c:v>195.37066760254328</c:v>
                </c:pt>
                <c:pt idx="1355">
                  <c:v>193.35592562143418</c:v>
                </c:pt>
                <c:pt idx="1356">
                  <c:v>193.66307357320281</c:v>
                </c:pt>
                <c:pt idx="1357">
                  <c:v>195.30619598756456</c:v>
                </c:pt>
                <c:pt idx="1358">
                  <c:v>194.62071094529682</c:v>
                </c:pt>
                <c:pt idx="1359">
                  <c:v>197.24830855507696</c:v>
                </c:pt>
                <c:pt idx="1360">
                  <c:v>195.36117041056232</c:v>
                </c:pt>
                <c:pt idx="1361">
                  <c:v>195.35070382025683</c:v>
                </c:pt>
                <c:pt idx="1362">
                  <c:v>194.3586880898954</c:v>
                </c:pt>
                <c:pt idx="1363">
                  <c:v>196.9118777762456</c:v>
                </c:pt>
                <c:pt idx="1364">
                  <c:v>197.15763796230371</c:v>
                </c:pt>
                <c:pt idx="1365">
                  <c:v>197.96262507092098</c:v>
                </c:pt>
                <c:pt idx="1366">
                  <c:v>196.59674172896905</c:v>
                </c:pt>
                <c:pt idx="1367">
                  <c:v>196.24816388927536</c:v>
                </c:pt>
                <c:pt idx="1368">
                  <c:v>196.78766870280592</c:v>
                </c:pt>
                <c:pt idx="1369">
                  <c:v>195.732330791111</c:v>
                </c:pt>
                <c:pt idx="1370">
                  <c:v>193.28199153239362</c:v>
                </c:pt>
                <c:pt idx="1371">
                  <c:v>190.92817697448004</c:v>
                </c:pt>
                <c:pt idx="1372">
                  <c:v>190.50207996555838</c:v>
                </c:pt>
                <c:pt idx="1373">
                  <c:v>191.11335410672251</c:v>
                </c:pt>
                <c:pt idx="1374">
                  <c:v>189.65585985168676</c:v>
                </c:pt>
                <c:pt idx="1375">
                  <c:v>188.35184293415165</c:v>
                </c:pt>
                <c:pt idx="1376">
                  <c:v>187.18088440045591</c:v>
                </c:pt>
                <c:pt idx="1377">
                  <c:v>189.65676412416784</c:v>
                </c:pt>
                <c:pt idx="1378">
                  <c:v>189.25991742019102</c:v>
                </c:pt>
                <c:pt idx="1379">
                  <c:v>190.17603043323962</c:v>
                </c:pt>
                <c:pt idx="1380">
                  <c:v>190.72193053716566</c:v>
                </c:pt>
                <c:pt idx="1381">
                  <c:v>190.72193053716566</c:v>
                </c:pt>
                <c:pt idx="1382">
                  <c:v>192.20809525031851</c:v>
                </c:pt>
                <c:pt idx="1383">
                  <c:v>193.27718979339738</c:v>
                </c:pt>
                <c:pt idx="1384">
                  <c:v>193.28873192223011</c:v>
                </c:pt>
                <c:pt idx="1385">
                  <c:v>194.51190502815251</c:v>
                </c:pt>
                <c:pt idx="1386">
                  <c:v>194.03289483849375</c:v>
                </c:pt>
                <c:pt idx="1387">
                  <c:v>196.17978904729631</c:v>
                </c:pt>
                <c:pt idx="1388">
                  <c:v>197.60619904061238</c:v>
                </c:pt>
                <c:pt idx="1389">
                  <c:v>197.82133916699988</c:v>
                </c:pt>
                <c:pt idx="1390">
                  <c:v>196.57026827831257</c:v>
                </c:pt>
                <c:pt idx="1391">
                  <c:v>197.15809890976317</c:v>
                </c:pt>
                <c:pt idx="1392">
                  <c:v>197.6086914971377</c:v>
                </c:pt>
                <c:pt idx="1393">
                  <c:v>197.56380514052847</c:v>
                </c:pt>
                <c:pt idx="1394">
                  <c:v>198.88519700424268</c:v>
                </c:pt>
                <c:pt idx="1395">
                  <c:v>201.14445640899237</c:v>
                </c:pt>
                <c:pt idx="1396">
                  <c:v>200.36690175044026</c:v>
                </c:pt>
                <c:pt idx="1397">
                  <c:v>199.55972274708992</c:v>
                </c:pt>
                <c:pt idx="1398">
                  <c:v>198.82719351709224</c:v>
                </c:pt>
                <c:pt idx="1399">
                  <c:v>198.80525842559109</c:v>
                </c:pt>
                <c:pt idx="1400">
                  <c:v>198.54881699315789</c:v>
                </c:pt>
                <c:pt idx="1401">
                  <c:v>198.49241849022107</c:v>
                </c:pt>
                <c:pt idx="1402">
                  <c:v>198.33686676074112</c:v>
                </c:pt>
                <c:pt idx="1403">
                  <c:v>197.78818939623415</c:v>
                </c:pt>
                <c:pt idx="1404">
                  <c:v>198.63729271690084</c:v>
                </c:pt>
                <c:pt idx="1405">
                  <c:v>200.60239094161756</c:v>
                </c:pt>
                <c:pt idx="1406">
                  <c:v>200.99806162843436</c:v>
                </c:pt>
                <c:pt idx="1407">
                  <c:v>199.9674801279553</c:v>
                </c:pt>
                <c:pt idx="1408">
                  <c:v>197.24459041900496</c:v>
                </c:pt>
                <c:pt idx="1409">
                  <c:v>198.69000734880268</c:v>
                </c:pt>
                <c:pt idx="1410">
                  <c:v>196.95183009907143</c:v>
                </c:pt>
                <c:pt idx="1411">
                  <c:v>197.47008707623752</c:v>
                </c:pt>
                <c:pt idx="1412">
                  <c:v>196.7260156370194</c:v>
                </c:pt>
                <c:pt idx="1413">
                  <c:v>197.85963485889414</c:v>
                </c:pt>
                <c:pt idx="1414">
                  <c:v>196.21747108227802</c:v>
                </c:pt>
                <c:pt idx="1415">
                  <c:v>191.48050081468259</c:v>
                </c:pt>
                <c:pt idx="1416">
                  <c:v>193.25766679282665</c:v>
                </c:pt>
                <c:pt idx="1417">
                  <c:v>193.7126444733448</c:v>
                </c:pt>
                <c:pt idx="1418">
                  <c:v>190.83245398051088</c:v>
                </c:pt>
                <c:pt idx="1419">
                  <c:v>189.26655772461081</c:v>
                </c:pt>
                <c:pt idx="1420">
                  <c:v>188.52947620875423</c:v>
                </c:pt>
                <c:pt idx="1421">
                  <c:v>185.5518976018484</c:v>
                </c:pt>
                <c:pt idx="1422">
                  <c:v>185.60033686219873</c:v>
                </c:pt>
                <c:pt idx="1423">
                  <c:v>185.54552474444921</c:v>
                </c:pt>
                <c:pt idx="1424">
                  <c:v>179.66307630085745</c:v>
                </c:pt>
                <c:pt idx="1425">
                  <c:v>178.86161399993907</c:v>
                </c:pt>
                <c:pt idx="1426">
                  <c:v>183.81794240869615</c:v>
                </c:pt>
                <c:pt idx="1427">
                  <c:v>182.8129449199443</c:v>
                </c:pt>
                <c:pt idx="1428">
                  <c:v>186.6325261099347</c:v>
                </c:pt>
                <c:pt idx="1429">
                  <c:v>187.95347055701183</c:v>
                </c:pt>
                <c:pt idx="1430">
                  <c:v>189.3073078986547</c:v>
                </c:pt>
                <c:pt idx="1431">
                  <c:v>188.67783714279389</c:v>
                </c:pt>
                <c:pt idx="1432">
                  <c:v>187.51668121856932</c:v>
                </c:pt>
                <c:pt idx="1433">
                  <c:v>189.27862745186138</c:v>
                </c:pt>
                <c:pt idx="1434">
                  <c:v>189.66382003352956</c:v>
                </c:pt>
                <c:pt idx="1435">
                  <c:v>190.76381193048417</c:v>
                </c:pt>
                <c:pt idx="1436">
                  <c:v>194.23462501408994</c:v>
                </c:pt>
                <c:pt idx="1437">
                  <c:v>192.66782881188013</c:v>
                </c:pt>
                <c:pt idx="1438">
                  <c:v>190.63876209560306</c:v>
                </c:pt>
                <c:pt idx="1439">
                  <c:v>193.8302496893545</c:v>
                </c:pt>
                <c:pt idx="1440">
                  <c:v>194.40994727331983</c:v>
                </c:pt>
                <c:pt idx="1441">
                  <c:v>193.4610604253981</c:v>
                </c:pt>
                <c:pt idx="1442">
                  <c:v>194.83572160264742</c:v>
                </c:pt>
                <c:pt idx="1443">
                  <c:v>195.55380172746933</c:v>
                </c:pt>
                <c:pt idx="1444">
                  <c:v>193.35948430973323</c:v>
                </c:pt>
                <c:pt idx="1445">
                  <c:v>193.84059173780349</c:v>
                </c:pt>
                <c:pt idx="1446">
                  <c:v>193.70571226937872</c:v>
                </c:pt>
                <c:pt idx="1447">
                  <c:v>194.63932592298536</c:v>
                </c:pt>
                <c:pt idx="1448">
                  <c:v>195.81321560565951</c:v>
                </c:pt>
                <c:pt idx="1449">
                  <c:v>195.78101636565296</c:v>
                </c:pt>
                <c:pt idx="1450">
                  <c:v>195.33835473173519</c:v>
                </c:pt>
                <c:pt idx="1451">
                  <c:v>199.4023774634899</c:v>
                </c:pt>
                <c:pt idx="1452">
                  <c:v>199.64239749165861</c:v>
                </c:pt>
                <c:pt idx="1453">
                  <c:v>199.95814783499711</c:v>
                </c:pt>
                <c:pt idx="1454">
                  <c:v>199.97755983086586</c:v>
                </c:pt>
                <c:pt idx="1455">
                  <c:v>200.55359957299447</c:v>
                </c:pt>
                <c:pt idx="1456">
                  <c:v>200.39726447698663</c:v>
                </c:pt>
                <c:pt idx="1457">
                  <c:v>199.46445088648483</c:v>
                </c:pt>
                <c:pt idx="1458">
                  <c:v>200.53343560503012</c:v>
                </c:pt>
                <c:pt idx="1459">
                  <c:v>201.60274887377935</c:v>
                </c:pt>
                <c:pt idx="1460">
                  <c:v>198.94351170106262</c:v>
                </c:pt>
                <c:pt idx="1461">
                  <c:v>202.44807489537848</c:v>
                </c:pt>
                <c:pt idx="1462">
                  <c:v>200.99912792305625</c:v>
                </c:pt>
                <c:pt idx="1463">
                  <c:v>196.39485385183417</c:v>
                </c:pt>
                <c:pt idx="1464">
                  <c:v>195.63674413043665</c:v>
                </c:pt>
                <c:pt idx="1465">
                  <c:v>195.70299707960586</c:v>
                </c:pt>
                <c:pt idx="1466">
                  <c:v>190.54770092163665</c:v>
                </c:pt>
                <c:pt idx="1467">
                  <c:v>186.32047505872259</c:v>
                </c:pt>
                <c:pt idx="1468">
                  <c:v>189.6527936458111</c:v>
                </c:pt>
                <c:pt idx="1469">
                  <c:v>189.93323114245618</c:v>
                </c:pt>
                <c:pt idx="1470">
                  <c:v>195.51321513926842</c:v>
                </c:pt>
                <c:pt idx="1471">
                  <c:v>196.28771922296434</c:v>
                </c:pt>
                <c:pt idx="1472">
                  <c:v>197.27493331213478</c:v>
                </c:pt>
                <c:pt idx="1473">
                  <c:v>198.50476416864996</c:v>
                </c:pt>
                <c:pt idx="1474">
                  <c:v>198.50476416864996</c:v>
                </c:pt>
                <c:pt idx="1475">
                  <c:v>198.50476416864996</c:v>
                </c:pt>
                <c:pt idx="1476">
                  <c:v>198.50476416864996</c:v>
                </c:pt>
                <c:pt idx="1477">
                  <c:v>198.69695953589738</c:v>
                </c:pt>
                <c:pt idx="1478">
                  <c:v>196.72482256671151</c:v>
                </c:pt>
                <c:pt idx="1479">
                  <c:v>197.57110876002741</c:v>
                </c:pt>
                <c:pt idx="1480">
                  <c:v>197.57110876002741</c:v>
                </c:pt>
                <c:pt idx="1481">
                  <c:v>196.83459826643323</c:v>
                </c:pt>
                <c:pt idx="1482">
                  <c:v>192.44601084860483</c:v>
                </c:pt>
                <c:pt idx="1483">
                  <c:v>191.14040978905129</c:v>
                </c:pt>
                <c:pt idx="1484">
                  <c:v>192.08344165813136</c:v>
                </c:pt>
                <c:pt idx="1485">
                  <c:v>197.45487851367548</c:v>
                </c:pt>
                <c:pt idx="1486">
                  <c:v>194.78828356256517</c:v>
                </c:pt>
                <c:pt idx="1487">
                  <c:v>195.8999067407745</c:v>
                </c:pt>
                <c:pt idx="1488">
                  <c:v>198.67682019142143</c:v>
                </c:pt>
                <c:pt idx="1489">
                  <c:v>195.66366915689198</c:v>
                </c:pt>
                <c:pt idx="1490">
                  <c:v>200.94747251620348</c:v>
                </c:pt>
                <c:pt idx="1491">
                  <c:v>203.31139637605</c:v>
                </c:pt>
                <c:pt idx="1492">
                  <c:v>203.69602116628357</c:v>
                </c:pt>
                <c:pt idx="1493">
                  <c:v>205.32097544200761</c:v>
                </c:pt>
                <c:pt idx="1494">
                  <c:v>206.66027101730168</c:v>
                </c:pt>
                <c:pt idx="1495">
                  <c:v>210.13024514907039</c:v>
                </c:pt>
                <c:pt idx="1496">
                  <c:v>213.8568214473211</c:v>
                </c:pt>
                <c:pt idx="1497">
                  <c:v>215.04460352324801</c:v>
                </c:pt>
                <c:pt idx="1498">
                  <c:v>212.92363307161301</c:v>
                </c:pt>
                <c:pt idx="1499">
                  <c:v>213.17532328288115</c:v>
                </c:pt>
                <c:pt idx="1500">
                  <c:v>212.90135613647254</c:v>
                </c:pt>
                <c:pt idx="1501">
                  <c:v>211.85023805715338</c:v>
                </c:pt>
                <c:pt idx="1502">
                  <c:v>212.09856469922133</c:v>
                </c:pt>
                <c:pt idx="1503">
                  <c:v>213.85263927182351</c:v>
                </c:pt>
                <c:pt idx="1504">
                  <c:v>214.86550571692803</c:v>
                </c:pt>
                <c:pt idx="1505">
                  <c:v>215.1212130809559</c:v>
                </c:pt>
                <c:pt idx="1506">
                  <c:v>215.59008404183436</c:v>
                </c:pt>
                <c:pt idx="1507">
                  <c:v>214.08285300655416</c:v>
                </c:pt>
                <c:pt idx="1508">
                  <c:v>215.33061324523749</c:v>
                </c:pt>
                <c:pt idx="1509">
                  <c:v>214.79030644000986</c:v>
                </c:pt>
                <c:pt idx="1510">
                  <c:v>216.37467281462918</c:v>
                </c:pt>
                <c:pt idx="1511">
                  <c:v>217.72719371290762</c:v>
                </c:pt>
                <c:pt idx="1512">
                  <c:v>217.43768240738697</c:v>
                </c:pt>
                <c:pt idx="1513">
                  <c:v>217.77260378164999</c:v>
                </c:pt>
                <c:pt idx="1514">
                  <c:v>219.63935478201648</c:v>
                </c:pt>
                <c:pt idx="1515">
                  <c:v>220.26029272230835</c:v>
                </c:pt>
                <c:pt idx="1516">
                  <c:v>220.76440985683217</c:v>
                </c:pt>
                <c:pt idx="1517">
                  <c:v>222.34105913672471</c:v>
                </c:pt>
                <c:pt idx="1518">
                  <c:v>223.59102546015751</c:v>
                </c:pt>
                <c:pt idx="1519">
                  <c:v>223.31397963960023</c:v>
                </c:pt>
                <c:pt idx="1520">
                  <c:v>225.60226864220931</c:v>
                </c:pt>
                <c:pt idx="1521">
                  <c:v>226.51610845546463</c:v>
                </c:pt>
                <c:pt idx="1522">
                  <c:v>225.9725705104394</c:v>
                </c:pt>
                <c:pt idx="1523">
                  <c:v>223.98384580009534</c:v>
                </c:pt>
                <c:pt idx="1524">
                  <c:v>225.72375782549886</c:v>
                </c:pt>
                <c:pt idx="1525">
                  <c:v>227.70233188283959</c:v>
                </c:pt>
                <c:pt idx="1526">
                  <c:v>227.89440820185175</c:v>
                </c:pt>
                <c:pt idx="1527">
                  <c:v>227.35467161475464</c:v>
                </c:pt>
                <c:pt idx="1528">
                  <c:v>225.20226493617898</c:v>
                </c:pt>
                <c:pt idx="1529">
                  <c:v>228.59770064839063</c:v>
                </c:pt>
                <c:pt idx="1530">
                  <c:v>228.5908839224457</c:v>
                </c:pt>
                <c:pt idx="1531">
                  <c:v>229.25302333368595</c:v>
                </c:pt>
                <c:pt idx="1532">
                  <c:v>231.39516692237453</c:v>
                </c:pt>
                <c:pt idx="1533">
                  <c:v>229.84238735563198</c:v>
                </c:pt>
                <c:pt idx="1534">
                  <c:v>230.65451889517487</c:v>
                </c:pt>
                <c:pt idx="1535">
                  <c:v>232.0276755714585</c:v>
                </c:pt>
                <c:pt idx="1536">
                  <c:v>234.02910302822661</c:v>
                </c:pt>
                <c:pt idx="1537">
                  <c:v>232.49806784879664</c:v>
                </c:pt>
                <c:pt idx="1538">
                  <c:v>233.13942133111993</c:v>
                </c:pt>
                <c:pt idx="1539">
                  <c:v>230.54023023727419</c:v>
                </c:pt>
                <c:pt idx="1540">
                  <c:v>228.71647346588065</c:v>
                </c:pt>
                <c:pt idx="1541">
                  <c:v>229.32960553205416</c:v>
                </c:pt>
                <c:pt idx="1542">
                  <c:v>231.85292752643753</c:v>
                </c:pt>
                <c:pt idx="1543">
                  <c:v>230.28137151392011</c:v>
                </c:pt>
                <c:pt idx="1544">
                  <c:v>231.039654936348</c:v>
                </c:pt>
                <c:pt idx="1545">
                  <c:v>230.66409470304734</c:v>
                </c:pt>
                <c:pt idx="1546">
                  <c:v>230.66409470304734</c:v>
                </c:pt>
                <c:pt idx="1547">
                  <c:v>230.66409470304734</c:v>
                </c:pt>
                <c:pt idx="1548">
                  <c:v>234.60331536465392</c:v>
                </c:pt>
                <c:pt idx="1549">
                  <c:v>234.55351636108776</c:v>
                </c:pt>
                <c:pt idx="1550">
                  <c:v>237.16027886003829</c:v>
                </c:pt>
                <c:pt idx="1551">
                  <c:v>239.38633044261474</c:v>
                </c:pt>
                <c:pt idx="1552">
                  <c:v>239.77761921632404</c:v>
                </c:pt>
                <c:pt idx="1553">
                  <c:v>238.75021032695111</c:v>
                </c:pt>
                <c:pt idx="1554">
                  <c:v>240.24485544671958</c:v>
                </c:pt>
                <c:pt idx="1555">
                  <c:v>238.5473971149236</c:v>
                </c:pt>
                <c:pt idx="1556">
                  <c:v>234.39702882281074</c:v>
                </c:pt>
                <c:pt idx="1557">
                  <c:v>236.39880304039224</c:v>
                </c:pt>
                <c:pt idx="1558">
                  <c:v>237.65865622044555</c:v>
                </c:pt>
                <c:pt idx="1559">
                  <c:v>237.59815027611114</c:v>
                </c:pt>
                <c:pt idx="1560">
                  <c:v>236.72452120950928</c:v>
                </c:pt>
                <c:pt idx="1561">
                  <c:v>237.45677350144371</c:v>
                </c:pt>
                <c:pt idx="1562">
                  <c:v>239.83610143011705</c:v>
                </c:pt>
                <c:pt idx="1563">
                  <c:v>236.24818902546741</c:v>
                </c:pt>
                <c:pt idx="1564">
                  <c:v>231.05165284460276</c:v>
                </c:pt>
                <c:pt idx="1565">
                  <c:v>230.29714834573568</c:v>
                </c:pt>
                <c:pt idx="1566">
                  <c:v>230.29714834573568</c:v>
                </c:pt>
                <c:pt idx="1567">
                  <c:v>231.01312311273125</c:v>
                </c:pt>
                <c:pt idx="1568">
                  <c:v>227.80670863697918</c:v>
                </c:pt>
                <c:pt idx="1569">
                  <c:v>226.51319426592204</c:v>
                </c:pt>
                <c:pt idx="1570">
                  <c:v>226.64766648330655</c:v>
                </c:pt>
                <c:pt idx="1571">
                  <c:v>233.13772153902065</c:v>
                </c:pt>
                <c:pt idx="1572">
                  <c:v>234.01963950781987</c:v>
                </c:pt>
                <c:pt idx="1573">
                  <c:v>231.03807684379836</c:v>
                </c:pt>
                <c:pt idx="1574">
                  <c:v>230.59891653544719</c:v>
                </c:pt>
                <c:pt idx="1575">
                  <c:v>230.59891653544719</c:v>
                </c:pt>
                <c:pt idx="1576">
                  <c:v>231.15765070197477</c:v>
                </c:pt>
                <c:pt idx="1577">
                  <c:v>232.2780662490473</c:v>
                </c:pt>
                <c:pt idx="1578">
                  <c:v>236.10978360732267</c:v>
                </c:pt>
                <c:pt idx="1579">
                  <c:v>237.15932378647261</c:v>
                </c:pt>
                <c:pt idx="1580">
                  <c:v>238.15054561944189</c:v>
                </c:pt>
                <c:pt idx="1581">
                  <c:v>238.13280501719612</c:v>
                </c:pt>
                <c:pt idx="1582">
                  <c:v>238.13280501719612</c:v>
                </c:pt>
                <c:pt idx="1583">
                  <c:v>235.6491733033053</c:v>
                </c:pt>
                <c:pt idx="1584">
                  <c:v>238.78422201472995</c:v>
                </c:pt>
                <c:pt idx="1585">
                  <c:v>237.66625318776607</c:v>
                </c:pt>
                <c:pt idx="1586">
                  <c:v>233.56651852656523</c:v>
                </c:pt>
                <c:pt idx="1587">
                  <c:v>233.88656398657383</c:v>
                </c:pt>
                <c:pt idx="1588">
                  <c:v>231.50517989233114</c:v>
                </c:pt>
                <c:pt idx="1589">
                  <c:v>231.21538141924108</c:v>
                </c:pt>
                <c:pt idx="1590">
                  <c:v>229.33079322140753</c:v>
                </c:pt>
                <c:pt idx="1591">
                  <c:v>227.26836684446818</c:v>
                </c:pt>
                <c:pt idx="1592">
                  <c:v>225.2042762301825</c:v>
                </c:pt>
                <c:pt idx="1593">
                  <c:v>224.27381006502998</c:v>
                </c:pt>
                <c:pt idx="1594">
                  <c:v>228.38183637498383</c:v>
                </c:pt>
                <c:pt idx="1595">
                  <c:v>229.70937605920736</c:v>
                </c:pt>
                <c:pt idx="1596">
                  <c:v>227.58270369851596</c:v>
                </c:pt>
                <c:pt idx="1597">
                  <c:v>223.91225409788703</c:v>
                </c:pt>
                <c:pt idx="1598">
                  <c:v>225.33720412599499</c:v>
                </c:pt>
                <c:pt idx="1599">
                  <c:v>224.32834020192911</c:v>
                </c:pt>
                <c:pt idx="1600">
                  <c:v>224.67345927743793</c:v>
                </c:pt>
                <c:pt idx="1601">
                  <c:v>225.44122010061457</c:v>
                </c:pt>
                <c:pt idx="1602">
                  <c:v>230.61142967954638</c:v>
                </c:pt>
                <c:pt idx="1603">
                  <c:v>230.61142967954638</c:v>
                </c:pt>
                <c:pt idx="1604">
                  <c:v>232.41736294040248</c:v>
                </c:pt>
                <c:pt idx="1605">
                  <c:v>231.78319338132223</c:v>
                </c:pt>
                <c:pt idx="1606">
                  <c:v>232.05147064741172</c:v>
                </c:pt>
                <c:pt idx="1607">
                  <c:v>225.77719741099696</c:v>
                </c:pt>
                <c:pt idx="1608">
                  <c:v>222.76342995290364</c:v>
                </c:pt>
                <c:pt idx="1609">
                  <c:v>226.09243757787979</c:v>
                </c:pt>
                <c:pt idx="1610">
                  <c:v>225.2462242362831</c:v>
                </c:pt>
                <c:pt idx="1611">
                  <c:v>224.05145562045851</c:v>
                </c:pt>
                <c:pt idx="1612">
                  <c:v>221.26951565439717</c:v>
                </c:pt>
                <c:pt idx="1613">
                  <c:v>217.7684239433234</c:v>
                </c:pt>
                <c:pt idx="1614">
                  <c:v>218.03891124414599</c:v>
                </c:pt>
                <c:pt idx="1615">
                  <c:v>222.83113201472386</c:v>
                </c:pt>
                <c:pt idx="1616">
                  <c:v>227.36915867629256</c:v>
                </c:pt>
                <c:pt idx="1617">
                  <c:v>231.78077756168841</c:v>
                </c:pt>
                <c:pt idx="1618">
                  <c:v>232.9464379032471</c:v>
                </c:pt>
                <c:pt idx="1619">
                  <c:v>233.86603459483956</c:v>
                </c:pt>
                <c:pt idx="1620">
                  <c:v>237.0545801842355</c:v>
                </c:pt>
                <c:pt idx="1621">
                  <c:v>237.12524848015951</c:v>
                </c:pt>
                <c:pt idx="1622">
                  <c:v>237.77436435659868</c:v>
                </c:pt>
                <c:pt idx="1623">
                  <c:v>235.3849614431692</c:v>
                </c:pt>
                <c:pt idx="1624">
                  <c:v>233.89353001483627</c:v>
                </c:pt>
                <c:pt idx="1625">
                  <c:v>232.66450786806635</c:v>
                </c:pt>
                <c:pt idx="1626">
                  <c:v>230.57969885985358</c:v>
                </c:pt>
                <c:pt idx="1627">
                  <c:v>225.53262089995437</c:v>
                </c:pt>
                <c:pt idx="1628">
                  <c:v>227.89507173368713</c:v>
                </c:pt>
                <c:pt idx="1629">
                  <c:v>230.21927355999784</c:v>
                </c:pt>
                <c:pt idx="1630">
                  <c:v>231.65441455584204</c:v>
                </c:pt>
                <c:pt idx="1631">
                  <c:v>231.66535675566814</c:v>
                </c:pt>
                <c:pt idx="1632">
                  <c:v>233.48950284817383</c:v>
                </c:pt>
                <c:pt idx="1633">
                  <c:v>233.05239153421576</c:v>
                </c:pt>
                <c:pt idx="1634">
                  <c:v>236.17084885645454</c:v>
                </c:pt>
                <c:pt idx="1635">
                  <c:v>234.43768849059143</c:v>
                </c:pt>
                <c:pt idx="1636">
                  <c:v>232.410988634663</c:v>
                </c:pt>
                <c:pt idx="1637">
                  <c:v>233.99610991851287</c:v>
                </c:pt>
                <c:pt idx="1638">
                  <c:v>230.23532621535944</c:v>
                </c:pt>
                <c:pt idx="1639">
                  <c:v>224.02992310077451</c:v>
                </c:pt>
                <c:pt idx="1640">
                  <c:v>226.42776051217325</c:v>
                </c:pt>
                <c:pt idx="1641">
                  <c:v>226.05639873409427</c:v>
                </c:pt>
                <c:pt idx="1642">
                  <c:v>226.63649168484835</c:v>
                </c:pt>
                <c:pt idx="1643">
                  <c:v>227.03660888659175</c:v>
                </c:pt>
                <c:pt idx="1644">
                  <c:v>222.96121899638504</c:v>
                </c:pt>
                <c:pt idx="1645">
                  <c:v>218.5274121342772</c:v>
                </c:pt>
                <c:pt idx="1646">
                  <c:v>211.39295694643653</c:v>
                </c:pt>
                <c:pt idx="1647">
                  <c:v>200.04795338151879</c:v>
                </c:pt>
                <c:pt idx="1648">
                  <c:v>208.36875020991275</c:v>
                </c:pt>
                <c:pt idx="1649">
                  <c:v>204.60064452816403</c:v>
                </c:pt>
                <c:pt idx="1650">
                  <c:v>211.81580190770813</c:v>
                </c:pt>
                <c:pt idx="1651">
                  <c:v>212.469084521311</c:v>
                </c:pt>
                <c:pt idx="1652">
                  <c:v>212.16338837119912</c:v>
                </c:pt>
                <c:pt idx="1653">
                  <c:v>206.25635649718794</c:v>
                </c:pt>
                <c:pt idx="1654">
                  <c:v>206.76252933471466</c:v>
                </c:pt>
                <c:pt idx="1655">
                  <c:v>211.67236583015475</c:v>
                </c:pt>
                <c:pt idx="1656">
                  <c:v>206.24040875400502</c:v>
                </c:pt>
                <c:pt idx="1657">
                  <c:v>207.22968384710319</c:v>
                </c:pt>
                <c:pt idx="1658">
                  <c:v>209.68455073586497</c:v>
                </c:pt>
                <c:pt idx="1659">
                  <c:v>212.51227710200959</c:v>
                </c:pt>
                <c:pt idx="1660">
                  <c:v>209.89529666790526</c:v>
                </c:pt>
                <c:pt idx="1661">
                  <c:v>207.76829762464223</c:v>
                </c:pt>
                <c:pt idx="1662">
                  <c:v>206.52376182829903</c:v>
                </c:pt>
                <c:pt idx="1663">
                  <c:v>208.23171567940358</c:v>
                </c:pt>
                <c:pt idx="1664">
                  <c:v>211.50318295255474</c:v>
                </c:pt>
                <c:pt idx="1665">
                  <c:v>211.07082328385584</c:v>
                </c:pt>
                <c:pt idx="1666">
                  <c:v>207.15087789185307</c:v>
                </c:pt>
                <c:pt idx="1667">
                  <c:v>208.91936665038918</c:v>
                </c:pt>
                <c:pt idx="1668">
                  <c:v>202.30768323457986</c:v>
                </c:pt>
                <c:pt idx="1669">
                  <c:v>202.47761950501183</c:v>
                </c:pt>
                <c:pt idx="1670">
                  <c:v>198.12847833138832</c:v>
                </c:pt>
                <c:pt idx="1671">
                  <c:v>203.80229096658815</c:v>
                </c:pt>
                <c:pt idx="1672">
                  <c:v>199.20100534421786</c:v>
                </c:pt>
                <c:pt idx="1673">
                  <c:v>197.9542636140043</c:v>
                </c:pt>
                <c:pt idx="1674">
                  <c:v>203.02941240440205</c:v>
                </c:pt>
                <c:pt idx="1675">
                  <c:v>202.13431991992223</c:v>
                </c:pt>
                <c:pt idx="1676">
                  <c:v>203.13171942246058</c:v>
                </c:pt>
                <c:pt idx="1677">
                  <c:v>209.40843321783444</c:v>
                </c:pt>
                <c:pt idx="1678">
                  <c:v>210.74383005890999</c:v>
                </c:pt>
                <c:pt idx="1679">
                  <c:v>211.2854745550849</c:v>
                </c:pt>
                <c:pt idx="1680">
                  <c:v>211.7308666715401</c:v>
                </c:pt>
                <c:pt idx="1681">
                  <c:v>212.58113404737483</c:v>
                </c:pt>
                <c:pt idx="1682">
                  <c:v>211.99168385509731</c:v>
                </c:pt>
                <c:pt idx="1683">
                  <c:v>210.0286668141365</c:v>
                </c:pt>
                <c:pt idx="1684">
                  <c:v>208.44406390877288</c:v>
                </c:pt>
                <c:pt idx="1685">
                  <c:v>211.44713773577101</c:v>
                </c:pt>
                <c:pt idx="1686">
                  <c:v>212.72529602041493</c:v>
                </c:pt>
                <c:pt idx="1687">
                  <c:v>213.27853884507729</c:v>
                </c:pt>
                <c:pt idx="1688">
                  <c:v>212.28170983979382</c:v>
                </c:pt>
                <c:pt idx="1689">
                  <c:v>212.24587186096983</c:v>
                </c:pt>
                <c:pt idx="1690">
                  <c:v>216.75255731913273</c:v>
                </c:pt>
                <c:pt idx="1691">
                  <c:v>221.00734771584101</c:v>
                </c:pt>
                <c:pt idx="1692">
                  <c:v>220.15065749768766</c:v>
                </c:pt>
                <c:pt idx="1693">
                  <c:v>217.79176397532208</c:v>
                </c:pt>
                <c:pt idx="1694">
                  <c:v>220.13989026510123</c:v>
                </c:pt>
                <c:pt idx="1695">
                  <c:v>220.04088454647962</c:v>
                </c:pt>
                <c:pt idx="1696">
                  <c:v>219.85174062796261</c:v>
                </c:pt>
                <c:pt idx="1697">
                  <c:v>220.59500959724065</c:v>
                </c:pt>
                <c:pt idx="1698">
                  <c:v>221.62801422148425</c:v>
                </c:pt>
                <c:pt idx="1699">
                  <c:v>222.79697880476402</c:v>
                </c:pt>
                <c:pt idx="1700">
                  <c:v>221.8632755945959</c:v>
                </c:pt>
                <c:pt idx="1701">
                  <c:v>222.44849739572419</c:v>
                </c:pt>
                <c:pt idx="1702">
                  <c:v>220.01120995290125</c:v>
                </c:pt>
                <c:pt idx="1703">
                  <c:v>220.19572045834713</c:v>
                </c:pt>
                <c:pt idx="1704">
                  <c:v>221.58244957987154</c:v>
                </c:pt>
                <c:pt idx="1705">
                  <c:v>218.07354343859794</c:v>
                </c:pt>
                <c:pt idx="1706">
                  <c:v>216.25246419648843</c:v>
                </c:pt>
                <c:pt idx="1707">
                  <c:v>216.8742547236092</c:v>
                </c:pt>
                <c:pt idx="1708">
                  <c:v>222.34690353401533</c:v>
                </c:pt>
                <c:pt idx="1709">
                  <c:v>222.10447682047948</c:v>
                </c:pt>
                <c:pt idx="1710">
                  <c:v>223.14515917628879</c:v>
                </c:pt>
                <c:pt idx="1711">
                  <c:v>223.63009975873288</c:v>
                </c:pt>
                <c:pt idx="1712">
                  <c:v>222.80060309172538</c:v>
                </c:pt>
                <c:pt idx="1713">
                  <c:v>220.13183467704783</c:v>
                </c:pt>
                <c:pt idx="1714">
                  <c:v>223.15915413740001</c:v>
                </c:pt>
                <c:pt idx="1715">
                  <c:v>225.29687322849554</c:v>
                </c:pt>
                <c:pt idx="1716">
                  <c:v>224.80760129130547</c:v>
                </c:pt>
                <c:pt idx="1717">
                  <c:v>225.73282925856918</c:v>
                </c:pt>
                <c:pt idx="1718">
                  <c:v>224.96817820375742</c:v>
                </c:pt>
                <c:pt idx="1719">
                  <c:v>224.91708899154</c:v>
                </c:pt>
                <c:pt idx="1720">
                  <c:v>217.72113550732169</c:v>
                </c:pt>
                <c:pt idx="1721">
                  <c:v>216.761750249551</c:v>
                </c:pt>
                <c:pt idx="1722">
                  <c:v>217.78450312618091</c:v>
                </c:pt>
                <c:pt idx="1723">
                  <c:v>213.85975976394059</c:v>
                </c:pt>
                <c:pt idx="1724">
                  <c:v>212.97471567353</c:v>
                </c:pt>
                <c:pt idx="1725">
                  <c:v>212.37866505338786</c:v>
                </c:pt>
                <c:pt idx="1726">
                  <c:v>207.88955475291681</c:v>
                </c:pt>
                <c:pt idx="1727">
                  <c:v>204.13025406083122</c:v>
                </c:pt>
                <c:pt idx="1728">
                  <c:v>210.05444724544699</c:v>
                </c:pt>
                <c:pt idx="1729">
                  <c:v>210.58288734893367</c:v>
                </c:pt>
                <c:pt idx="1730">
                  <c:v>213.21814346752225</c:v>
                </c:pt>
                <c:pt idx="1731">
                  <c:v>211.03156654648862</c:v>
                </c:pt>
                <c:pt idx="1732">
                  <c:v>208.67210181594245</c:v>
                </c:pt>
                <c:pt idx="1733">
                  <c:v>208.57989892787933</c:v>
                </c:pt>
                <c:pt idx="1734">
                  <c:v>214.28019861862541</c:v>
                </c:pt>
                <c:pt idx="1735">
                  <c:v>214.28019861862541</c:v>
                </c:pt>
                <c:pt idx="1736">
                  <c:v>214.28019861862541</c:v>
                </c:pt>
                <c:pt idx="1737">
                  <c:v>213.21929478455536</c:v>
                </c:pt>
                <c:pt idx="1738">
                  <c:v>216.21935021673968</c:v>
                </c:pt>
                <c:pt idx="1739">
                  <c:v>214.96994613199325</c:v>
                </c:pt>
                <c:pt idx="1740">
                  <c:v>213.81968892275017</c:v>
                </c:pt>
                <c:pt idx="1741">
                  <c:v>213.81968892275017</c:v>
                </c:pt>
                <c:pt idx="1742">
                  <c:v>208.42490675480821</c:v>
                </c:pt>
                <c:pt idx="1743">
                  <c:v>209.72704298809174</c:v>
                </c:pt>
                <c:pt idx="1744">
                  <c:v>207.06152032470823</c:v>
                </c:pt>
                <c:pt idx="1745">
                  <c:v>202.47321271360138</c:v>
                </c:pt>
                <c:pt idx="1746">
                  <c:v>199.33265374903459</c:v>
                </c:pt>
                <c:pt idx="1747">
                  <c:v>198.67907228756869</c:v>
                </c:pt>
                <c:pt idx="1748">
                  <c:v>200.50928285617954</c:v>
                </c:pt>
                <c:pt idx="1749">
                  <c:v>201.36429940720402</c:v>
                </c:pt>
                <c:pt idx="1750">
                  <c:v>198.49428675669142</c:v>
                </c:pt>
                <c:pt idx="1751">
                  <c:v>192.86168799705584</c:v>
                </c:pt>
                <c:pt idx="1752">
                  <c:v>192.2562322884792</c:v>
                </c:pt>
                <c:pt idx="1753">
                  <c:v>194.73889006620007</c:v>
                </c:pt>
                <c:pt idx="1754">
                  <c:v>188.4728718616208</c:v>
                </c:pt>
                <c:pt idx="1755">
                  <c:v>192.23129682082535</c:v>
                </c:pt>
                <c:pt idx="1756">
                  <c:v>198.03474719906043</c:v>
                </c:pt>
                <c:pt idx="1757">
                  <c:v>196.75682372124623</c:v>
                </c:pt>
                <c:pt idx="1758">
                  <c:v>198.48397694454579</c:v>
                </c:pt>
                <c:pt idx="1759">
                  <c:v>199.24705871842889</c:v>
                </c:pt>
                <c:pt idx="1760">
                  <c:v>196.1610256400634</c:v>
                </c:pt>
                <c:pt idx="1761">
                  <c:v>200.51008717289821</c:v>
                </c:pt>
                <c:pt idx="1762">
                  <c:v>200.0707224897634</c:v>
                </c:pt>
                <c:pt idx="1763">
                  <c:v>195.83609338489623</c:v>
                </c:pt>
                <c:pt idx="1764">
                  <c:v>192.8451609983409</c:v>
                </c:pt>
                <c:pt idx="1765">
                  <c:v>192.64519899320501</c:v>
                </c:pt>
                <c:pt idx="1766">
                  <c:v>191.0797215367194</c:v>
                </c:pt>
                <c:pt idx="1767">
                  <c:v>184.517333914689</c:v>
                </c:pt>
                <c:pt idx="1768">
                  <c:v>181.52636222864771</c:v>
                </c:pt>
                <c:pt idx="1769">
                  <c:v>184.81346722842312</c:v>
                </c:pt>
                <c:pt idx="1770">
                  <c:v>177.97745703542657</c:v>
                </c:pt>
                <c:pt idx="1771">
                  <c:v>183.29200511700822</c:v>
                </c:pt>
                <c:pt idx="1772">
                  <c:v>188.72545482631375</c:v>
                </c:pt>
                <c:pt idx="1773">
                  <c:v>187.91687260878049</c:v>
                </c:pt>
                <c:pt idx="1774">
                  <c:v>192.90039169427953</c:v>
                </c:pt>
                <c:pt idx="1775">
                  <c:v>192.96779396639425</c:v>
                </c:pt>
                <c:pt idx="1776">
                  <c:v>191.4268339443486</c:v>
                </c:pt>
                <c:pt idx="1777">
                  <c:v>194.79112308978418</c:v>
                </c:pt>
                <c:pt idx="1778">
                  <c:v>192.29175233820857</c:v>
                </c:pt>
                <c:pt idx="1779">
                  <c:v>187.8070632417907</c:v>
                </c:pt>
                <c:pt idx="1780">
                  <c:v>191.66781918041011</c:v>
                </c:pt>
                <c:pt idx="1781">
                  <c:v>194.69492537485911</c:v>
                </c:pt>
                <c:pt idx="1782">
                  <c:v>196.10247050992703</c:v>
                </c:pt>
                <c:pt idx="1783">
                  <c:v>198.88164114350394</c:v>
                </c:pt>
                <c:pt idx="1784">
                  <c:v>200.33640984025945</c:v>
                </c:pt>
                <c:pt idx="1785">
                  <c:v>199.67187209012855</c:v>
                </c:pt>
                <c:pt idx="1786">
                  <c:v>201.09271201109999</c:v>
                </c:pt>
                <c:pt idx="1787">
                  <c:v>200.5984631166107</c:v>
                </c:pt>
                <c:pt idx="1788">
                  <c:v>198.61095256247492</c:v>
                </c:pt>
                <c:pt idx="1789">
                  <c:v>199.64157605006864</c:v>
                </c:pt>
                <c:pt idx="1790">
                  <c:v>196.25430127872377</c:v>
                </c:pt>
                <c:pt idx="1791">
                  <c:v>201.40604941184162</c:v>
                </c:pt>
                <c:pt idx="1792">
                  <c:v>202.81125578935138</c:v>
                </c:pt>
                <c:pt idx="1793">
                  <c:v>200.51166736343683</c:v>
                </c:pt>
                <c:pt idx="1794">
                  <c:v>200.62359217222831</c:v>
                </c:pt>
                <c:pt idx="1795">
                  <c:v>200.5695250581629</c:v>
                </c:pt>
                <c:pt idx="1796">
                  <c:v>201.16525099331005</c:v>
                </c:pt>
                <c:pt idx="1797">
                  <c:v>200.72563497436508</c:v>
                </c:pt>
                <c:pt idx="1798">
                  <c:v>200.39663824128345</c:v>
                </c:pt>
                <c:pt idx="1799">
                  <c:v>200.26319141838641</c:v>
                </c:pt>
                <c:pt idx="1800">
                  <c:v>197.3145280097828</c:v>
                </c:pt>
                <c:pt idx="1801">
                  <c:v>197.3145280097828</c:v>
                </c:pt>
                <c:pt idx="1802">
                  <c:v>197.3145280097828</c:v>
                </c:pt>
                <c:pt idx="1803">
                  <c:v>198.25873207604849</c:v>
                </c:pt>
                <c:pt idx="1804">
                  <c:v>200.90750773948818</c:v>
                </c:pt>
                <c:pt idx="1805">
                  <c:v>198.71886463857012</c:v>
                </c:pt>
                <c:pt idx="1806">
                  <c:v>196.15759153513122</c:v>
                </c:pt>
                <c:pt idx="1807">
                  <c:v>196.96951321716062</c:v>
                </c:pt>
                <c:pt idx="1808">
                  <c:v>193.21331339845719</c:v>
                </c:pt>
                <c:pt idx="1809">
                  <c:v>194.71617373652506</c:v>
                </c:pt>
                <c:pt idx="1810">
                  <c:v>193.45181797824603</c:v>
                </c:pt>
                <c:pt idx="1811">
                  <c:v>195.75287429838716</c:v>
                </c:pt>
                <c:pt idx="1812">
                  <c:v>196.50158873221704</c:v>
                </c:pt>
                <c:pt idx="1813">
                  <c:v>197.63319853985101</c:v>
                </c:pt>
                <c:pt idx="1814">
                  <c:v>202.73140761279845</c:v>
                </c:pt>
                <c:pt idx="1815">
                  <c:v>203.45936428878309</c:v>
                </c:pt>
                <c:pt idx="1816">
                  <c:v>202.79711416423564</c:v>
                </c:pt>
                <c:pt idx="1817">
                  <c:v>203.64094003124603</c:v>
                </c:pt>
                <c:pt idx="1818">
                  <c:v>206.7203000601944</c:v>
                </c:pt>
                <c:pt idx="1819">
                  <c:v>207.7339679884771</c:v>
                </c:pt>
                <c:pt idx="1820">
                  <c:v>207.15920278697411</c:v>
                </c:pt>
                <c:pt idx="1821">
                  <c:v>206.49378137062749</c:v>
                </c:pt>
                <c:pt idx="1822">
                  <c:v>205.28842027008176</c:v>
                </c:pt>
                <c:pt idx="1823">
                  <c:v>205.74037172960908</c:v>
                </c:pt>
                <c:pt idx="1824">
                  <c:v>206.42791011161785</c:v>
                </c:pt>
                <c:pt idx="1825">
                  <c:v>206.95881888009424</c:v>
                </c:pt>
                <c:pt idx="1826">
                  <c:v>202.54254836030236</c:v>
                </c:pt>
                <c:pt idx="1827">
                  <c:v>202.54300567489264</c:v>
                </c:pt>
                <c:pt idx="1828">
                  <c:v>199.11101057375896</c:v>
                </c:pt>
                <c:pt idx="1829">
                  <c:v>196.80871699972406</c:v>
                </c:pt>
                <c:pt idx="1830">
                  <c:v>196.80871699972406</c:v>
                </c:pt>
                <c:pt idx="1831">
                  <c:v>197.04971406091602</c:v>
                </c:pt>
                <c:pt idx="1832">
                  <c:v>197.92016149176669</c:v>
                </c:pt>
                <c:pt idx="1833">
                  <c:v>199.8075314781392</c:v>
                </c:pt>
                <c:pt idx="1834">
                  <c:v>198.94992413618908</c:v>
                </c:pt>
                <c:pt idx="1835">
                  <c:v>198.09482778533859</c:v>
                </c:pt>
                <c:pt idx="1836">
                  <c:v>199.13684662140668</c:v>
                </c:pt>
                <c:pt idx="1837">
                  <c:v>199.13684662140668</c:v>
                </c:pt>
                <c:pt idx="1838">
                  <c:v>199.26131795191887</c:v>
                </c:pt>
                <c:pt idx="1839">
                  <c:v>200.93568952581799</c:v>
                </c:pt>
                <c:pt idx="1840">
                  <c:v>198.82864824228449</c:v>
                </c:pt>
                <c:pt idx="1841">
                  <c:v>201.26568646317477</c:v>
                </c:pt>
                <c:pt idx="1842">
                  <c:v>200.4633648490111</c:v>
                </c:pt>
                <c:pt idx="1843">
                  <c:v>204.9310626278961</c:v>
                </c:pt>
                <c:pt idx="1844">
                  <c:v>207.71406056906483</c:v>
                </c:pt>
                <c:pt idx="1845">
                  <c:v>208.02700005319758</c:v>
                </c:pt>
                <c:pt idx="1846">
                  <c:v>208.47578868747613</c:v>
                </c:pt>
                <c:pt idx="1847">
                  <c:v>208.79100225804882</c:v>
                </c:pt>
                <c:pt idx="1848">
                  <c:v>207.15791826652458</c:v>
                </c:pt>
                <c:pt idx="1849">
                  <c:v>205.19921167010122</c:v>
                </c:pt>
                <c:pt idx="1850">
                  <c:v>205.44582874811383</c:v>
                </c:pt>
                <c:pt idx="1851">
                  <c:v>203.63088379715438</c:v>
                </c:pt>
                <c:pt idx="1852">
                  <c:v>204.37920001649647</c:v>
                </c:pt>
                <c:pt idx="1853">
                  <c:v>206.74453446506394</c:v>
                </c:pt>
                <c:pt idx="1854">
                  <c:v>205.82969768514437</c:v>
                </c:pt>
                <c:pt idx="1855">
                  <c:v>203.92819036929347</c:v>
                </c:pt>
                <c:pt idx="1856">
                  <c:v>199.02201532087932</c:v>
                </c:pt>
                <c:pt idx="1857">
                  <c:v>195.46589361957209</c:v>
                </c:pt>
                <c:pt idx="1858">
                  <c:v>191.746217014932</c:v>
                </c:pt>
                <c:pt idx="1859">
                  <c:v>193.58414846161682</c:v>
                </c:pt>
                <c:pt idx="1860">
                  <c:v>192.35960214885947</c:v>
                </c:pt>
                <c:pt idx="1861">
                  <c:v>194.95192300447715</c:v>
                </c:pt>
                <c:pt idx="1862">
                  <c:v>202.0134549314368</c:v>
                </c:pt>
                <c:pt idx="1863">
                  <c:v>203.489311330834</c:v>
                </c:pt>
                <c:pt idx="1864">
                  <c:v>204.25530164584433</c:v>
                </c:pt>
                <c:pt idx="1865">
                  <c:v>204.25530164584433</c:v>
                </c:pt>
                <c:pt idx="1866">
                  <c:v>193.13058587482189</c:v>
                </c:pt>
                <c:pt idx="1867">
                  <c:v>185.62805353078195</c:v>
                </c:pt>
                <c:pt idx="1868">
                  <c:v>190.28316399302079</c:v>
                </c:pt>
                <c:pt idx="1869">
                  <c:v>196.24872740870148</c:v>
                </c:pt>
                <c:pt idx="1870">
                  <c:v>198.35281514165331</c:v>
                </c:pt>
                <c:pt idx="1871">
                  <c:v>199.74319755670766</c:v>
                </c:pt>
                <c:pt idx="1872">
                  <c:v>198.38431420640313</c:v>
                </c:pt>
                <c:pt idx="1873">
                  <c:v>195.24445671457627</c:v>
                </c:pt>
                <c:pt idx="1874">
                  <c:v>191.96540426230686</c:v>
                </c:pt>
                <c:pt idx="1875">
                  <c:v>193.98170931267043</c:v>
                </c:pt>
                <c:pt idx="1876">
                  <c:v>197.02687412885982</c:v>
                </c:pt>
                <c:pt idx="1877">
                  <c:v>200.13596210790649</c:v>
                </c:pt>
                <c:pt idx="1878">
                  <c:v>202.2462006577336</c:v>
                </c:pt>
                <c:pt idx="1879">
                  <c:v>201.98413464222739</c:v>
                </c:pt>
                <c:pt idx="1880">
                  <c:v>203.55355480105516</c:v>
                </c:pt>
                <c:pt idx="1881">
                  <c:v>203.24436244620259</c:v>
                </c:pt>
                <c:pt idx="1882">
                  <c:v>203.65156442584365</c:v>
                </c:pt>
                <c:pt idx="1883">
                  <c:v>202.79703406978484</c:v>
                </c:pt>
                <c:pt idx="1884">
                  <c:v>204.85594109959649</c:v>
                </c:pt>
                <c:pt idx="1885">
                  <c:v>204.72002178975526</c:v>
                </c:pt>
                <c:pt idx="1886">
                  <c:v>204.63716759507039</c:v>
                </c:pt>
                <c:pt idx="1887">
                  <c:v>204.85734033595872</c:v>
                </c:pt>
                <c:pt idx="1888">
                  <c:v>205.11409706831384</c:v>
                </c:pt>
                <c:pt idx="1889">
                  <c:v>205.94904062506077</c:v>
                </c:pt>
                <c:pt idx="1890">
                  <c:v>203.88250056832464</c:v>
                </c:pt>
                <c:pt idx="1891">
                  <c:v>205.30826853325669</c:v>
                </c:pt>
                <c:pt idx="1892">
                  <c:v>204.0712851534019</c:v>
                </c:pt>
                <c:pt idx="1893">
                  <c:v>201.32388893569106</c:v>
                </c:pt>
                <c:pt idx="1894">
                  <c:v>201.44283168901484</c:v>
                </c:pt>
                <c:pt idx="1895">
                  <c:v>202.94123841496742</c:v>
                </c:pt>
                <c:pt idx="1896">
                  <c:v>205.0645800255034</c:v>
                </c:pt>
                <c:pt idx="1897">
                  <c:v>205.1636474799854</c:v>
                </c:pt>
                <c:pt idx="1898">
                  <c:v>207.0420528682514</c:v>
                </c:pt>
                <c:pt idx="1899">
                  <c:v>206.62932480675616</c:v>
                </c:pt>
                <c:pt idx="1900">
                  <c:v>208.56954961305991</c:v>
                </c:pt>
                <c:pt idx="1901">
                  <c:v>208.18622913249197</c:v>
                </c:pt>
                <c:pt idx="1902">
                  <c:v>208.18622913249197</c:v>
                </c:pt>
                <c:pt idx="1903">
                  <c:v>206.58578046331235</c:v>
                </c:pt>
                <c:pt idx="1904">
                  <c:v>204.90784700655755</c:v>
                </c:pt>
                <c:pt idx="1905">
                  <c:v>206.37768599037645</c:v>
                </c:pt>
                <c:pt idx="1906">
                  <c:v>204.73551925142252</c:v>
                </c:pt>
                <c:pt idx="1907">
                  <c:v>204.81110017656084</c:v>
                </c:pt>
                <c:pt idx="1908">
                  <c:v>206.6908063309763</c:v>
                </c:pt>
                <c:pt idx="1909">
                  <c:v>207.45458812497696</c:v>
                </c:pt>
                <c:pt idx="1910">
                  <c:v>205.75113531807693</c:v>
                </c:pt>
                <c:pt idx="1911">
                  <c:v>206.81927889269306</c:v>
                </c:pt>
                <c:pt idx="1912">
                  <c:v>206.51932287433169</c:v>
                </c:pt>
                <c:pt idx="1913">
                  <c:v>207.4755928823167</c:v>
                </c:pt>
                <c:pt idx="1914">
                  <c:v>206.74604943266579</c:v>
                </c:pt>
                <c:pt idx="1915">
                  <c:v>206.70645964965669</c:v>
                </c:pt>
                <c:pt idx="1916">
                  <c:v>210.86513306461302</c:v>
                </c:pt>
                <c:pt idx="1917">
                  <c:v>210.96648982627855</c:v>
                </c:pt>
                <c:pt idx="1918">
                  <c:v>210.15973091626185</c:v>
                </c:pt>
                <c:pt idx="1919">
                  <c:v>210.84565225904984</c:v>
                </c:pt>
                <c:pt idx="1920">
                  <c:v>210.14881379620741</c:v>
                </c:pt>
                <c:pt idx="1921">
                  <c:v>207.86074344122406</c:v>
                </c:pt>
                <c:pt idx="1922">
                  <c:v>205.90759740826411</c:v>
                </c:pt>
                <c:pt idx="1923">
                  <c:v>203.7868064851229</c:v>
                </c:pt>
                <c:pt idx="1924">
                  <c:v>203.56288299902579</c:v>
                </c:pt>
                <c:pt idx="1925">
                  <c:v>204.70070953800783</c:v>
                </c:pt>
                <c:pt idx="1926">
                  <c:v>203.13501722150482</c:v>
                </c:pt>
                <c:pt idx="1927">
                  <c:v>205.27540022428812</c:v>
                </c:pt>
                <c:pt idx="1928">
                  <c:v>205.11630128184984</c:v>
                </c:pt>
                <c:pt idx="1929">
                  <c:v>206.0336979911115</c:v>
                </c:pt>
                <c:pt idx="1930">
                  <c:v>209.35570357573891</c:v>
                </c:pt>
                <c:pt idx="1931">
                  <c:v>207.88908981265416</c:v>
                </c:pt>
                <c:pt idx="1932">
                  <c:v>204.63257509160792</c:v>
                </c:pt>
                <c:pt idx="1933">
                  <c:v>204.76220926393913</c:v>
                </c:pt>
                <c:pt idx="1934">
                  <c:v>206.15783155328421</c:v>
                </c:pt>
                <c:pt idx="1935">
                  <c:v>206.54858340680769</c:v>
                </c:pt>
                <c:pt idx="1936">
                  <c:v>206.68210149725414</c:v>
                </c:pt>
                <c:pt idx="1937">
                  <c:v>206.84809407321984</c:v>
                </c:pt>
                <c:pt idx="1938">
                  <c:v>208.69146527553312</c:v>
                </c:pt>
                <c:pt idx="1939">
                  <c:v>207.61759654430105</c:v>
                </c:pt>
                <c:pt idx="1940">
                  <c:v>206.83796804639297</c:v>
                </c:pt>
                <c:pt idx="1941">
                  <c:v>205.02924960117562</c:v>
                </c:pt>
                <c:pt idx="1942">
                  <c:v>206.51900310040259</c:v>
                </c:pt>
                <c:pt idx="1943">
                  <c:v>205.43768121008515</c:v>
                </c:pt>
                <c:pt idx="1944">
                  <c:v>204.46934322228492</c:v>
                </c:pt>
                <c:pt idx="1945">
                  <c:v>202.64283739326223</c:v>
                </c:pt>
                <c:pt idx="1946">
                  <c:v>205.26293694843835</c:v>
                </c:pt>
                <c:pt idx="1947">
                  <c:v>203.70525769827628</c:v>
                </c:pt>
                <c:pt idx="1948">
                  <c:v>206.73422330773144</c:v>
                </c:pt>
                <c:pt idx="1949">
                  <c:v>207.44248951303584</c:v>
                </c:pt>
                <c:pt idx="1950">
                  <c:v>208.02323282165784</c:v>
                </c:pt>
                <c:pt idx="1951">
                  <c:v>208.00109614184203</c:v>
                </c:pt>
                <c:pt idx="1952">
                  <c:v>207.9960902408713</c:v>
                </c:pt>
                <c:pt idx="1953">
                  <c:v>207.38701096640932</c:v>
                </c:pt>
                <c:pt idx="1954">
                  <c:v>206.55462147962606</c:v>
                </c:pt>
                <c:pt idx="1955">
                  <c:v>206.71773744655977</c:v>
                </c:pt>
                <c:pt idx="1956">
                  <c:v>206.12013583469704</c:v>
                </c:pt>
                <c:pt idx="1957">
                  <c:v>204.98496865353388</c:v>
                </c:pt>
                <c:pt idx="1958">
                  <c:v>204.98496865353388</c:v>
                </c:pt>
                <c:pt idx="1959">
                  <c:v>200.48882868875961</c:v>
                </c:pt>
                <c:pt idx="1960">
                  <c:v>200.41957544696453</c:v>
                </c:pt>
                <c:pt idx="1961">
                  <c:v>198.83820971898788</c:v>
                </c:pt>
                <c:pt idx="1962">
                  <c:v>201.91589599666165</c:v>
                </c:pt>
                <c:pt idx="1963">
                  <c:v>202.65074872447144</c:v>
                </c:pt>
                <c:pt idx="1964">
                  <c:v>205.5681011207453</c:v>
                </c:pt>
                <c:pt idx="1965">
                  <c:v>205.08957351421478</c:v>
                </c:pt>
                <c:pt idx="1966">
                  <c:v>204.20366432866598</c:v>
                </c:pt>
                <c:pt idx="1967">
                  <c:v>204.66406310902622</c:v>
                </c:pt>
                <c:pt idx="1968">
                  <c:v>205.30520804373174</c:v>
                </c:pt>
                <c:pt idx="1969">
                  <c:v>204.87586741368307</c:v>
                </c:pt>
                <c:pt idx="1970">
                  <c:v>206.1756427974685</c:v>
                </c:pt>
                <c:pt idx="1971">
                  <c:v>205.3772082593124</c:v>
                </c:pt>
                <c:pt idx="1972">
                  <c:v>206.01025859073002</c:v>
                </c:pt>
                <c:pt idx="1973">
                  <c:v>206.49180482138698</c:v>
                </c:pt>
                <c:pt idx="1974">
                  <c:v>206.37289475454156</c:v>
                </c:pt>
                <c:pt idx="1975">
                  <c:v>207.09657144049976</c:v>
                </c:pt>
                <c:pt idx="1976">
                  <c:v>207.4848363290331</c:v>
                </c:pt>
                <c:pt idx="1977">
                  <c:v>205.84255935479288</c:v>
                </c:pt>
                <c:pt idx="1978">
                  <c:v>206.42886771678107</c:v>
                </c:pt>
                <c:pt idx="1979">
                  <c:v>207.21814720382147</c:v>
                </c:pt>
                <c:pt idx="1980">
                  <c:v>206.65145156562903</c:v>
                </c:pt>
                <c:pt idx="1981">
                  <c:v>205.73964620551774</c:v>
                </c:pt>
                <c:pt idx="1982">
                  <c:v>206.92529501316227</c:v>
                </c:pt>
                <c:pt idx="1983">
                  <c:v>208.96668976749478</c:v>
                </c:pt>
                <c:pt idx="1984">
                  <c:v>210.92068075132292</c:v>
                </c:pt>
                <c:pt idx="1985">
                  <c:v>213.54086449847563</c:v>
                </c:pt>
                <c:pt idx="1986">
                  <c:v>215.5354850834895</c:v>
                </c:pt>
                <c:pt idx="1987">
                  <c:v>214.62972036073111</c:v>
                </c:pt>
                <c:pt idx="1988">
                  <c:v>216.91515663342375</c:v>
                </c:pt>
                <c:pt idx="1989">
                  <c:v>215.85665662993455</c:v>
                </c:pt>
                <c:pt idx="1990">
                  <c:v>217.73308662497863</c:v>
                </c:pt>
                <c:pt idx="1991">
                  <c:v>218.49447636031707</c:v>
                </c:pt>
                <c:pt idx="1992">
                  <c:v>218.24014372294488</c:v>
                </c:pt>
                <c:pt idx="1993">
                  <c:v>219.32691350079696</c:v>
                </c:pt>
                <c:pt idx="1994">
                  <c:v>218.85795002976448</c:v>
                </c:pt>
                <c:pt idx="1995">
                  <c:v>218.37156703718591</c:v>
                </c:pt>
                <c:pt idx="1996">
                  <c:v>218.43801184842536</c:v>
                </c:pt>
                <c:pt idx="1997">
                  <c:v>218.43801184842536</c:v>
                </c:pt>
                <c:pt idx="1998">
                  <c:v>218.71180665447497</c:v>
                </c:pt>
                <c:pt idx="1999">
                  <c:v>219.37662092617325</c:v>
                </c:pt>
                <c:pt idx="2000">
                  <c:v>218.60465096100944</c:v>
                </c:pt>
                <c:pt idx="2001">
                  <c:v>219.32903399606727</c:v>
                </c:pt>
                <c:pt idx="2002">
                  <c:v>220.34965118075189</c:v>
                </c:pt>
                <c:pt idx="2003">
                  <c:v>221.88754553471082</c:v>
                </c:pt>
                <c:pt idx="2004">
                  <c:v>221.63503202803088</c:v>
                </c:pt>
                <c:pt idx="2005">
                  <c:v>221.8016273874965</c:v>
                </c:pt>
                <c:pt idx="2006">
                  <c:v>221.70098452509049</c:v>
                </c:pt>
                <c:pt idx="2007">
                  <c:v>220.62285354399967</c:v>
                </c:pt>
                <c:pt idx="2008">
                  <c:v>220.88641164792446</c:v>
                </c:pt>
                <c:pt idx="2009">
                  <c:v>221.44014078309536</c:v>
                </c:pt>
                <c:pt idx="2010">
                  <c:v>220.00333128497363</c:v>
                </c:pt>
                <c:pt idx="2011">
                  <c:v>222.08847956574095</c:v>
                </c:pt>
                <c:pt idx="2012">
                  <c:v>220.31016077382986</c:v>
                </c:pt>
                <c:pt idx="2013">
                  <c:v>219.92242336359928</c:v>
                </c:pt>
                <c:pt idx="2014">
                  <c:v>220.30760187185101</c:v>
                </c:pt>
                <c:pt idx="2015">
                  <c:v>220.16904395851222</c:v>
                </c:pt>
                <c:pt idx="2016">
                  <c:v>220.05173850117603</c:v>
                </c:pt>
                <c:pt idx="2017">
                  <c:v>219.07716795846781</c:v>
                </c:pt>
                <c:pt idx="2018">
                  <c:v>219.69716005351682</c:v>
                </c:pt>
                <c:pt idx="2019">
                  <c:v>222.55323202821003</c:v>
                </c:pt>
                <c:pt idx="2020">
                  <c:v>223.06701251691968</c:v>
                </c:pt>
                <c:pt idx="2021">
                  <c:v>222.32142502487352</c:v>
                </c:pt>
                <c:pt idx="2022">
                  <c:v>220.01731436366151</c:v>
                </c:pt>
                <c:pt idx="2023">
                  <c:v>218.50886716110688</c:v>
                </c:pt>
                <c:pt idx="2024">
                  <c:v>220.27662247906963</c:v>
                </c:pt>
                <c:pt idx="2025">
                  <c:v>219.61057130855042</c:v>
                </c:pt>
                <c:pt idx="2026">
                  <c:v>220.87446944109979</c:v>
                </c:pt>
                <c:pt idx="2027">
                  <c:v>219.40475677421557</c:v>
                </c:pt>
                <c:pt idx="2028">
                  <c:v>220.00200296109989</c:v>
                </c:pt>
                <c:pt idx="2029">
                  <c:v>220.64875185077523</c:v>
                </c:pt>
                <c:pt idx="2030">
                  <c:v>222.49254732118243</c:v>
                </c:pt>
                <c:pt idx="2031">
                  <c:v>222.89044272083802</c:v>
                </c:pt>
                <c:pt idx="2032">
                  <c:v>224.55704714008945</c:v>
                </c:pt>
                <c:pt idx="2033">
                  <c:v>224.5742330118623</c:v>
                </c:pt>
                <c:pt idx="2034">
                  <c:v>225.36398820679557</c:v>
                </c:pt>
                <c:pt idx="2035">
                  <c:v>224.71565163406768</c:v>
                </c:pt>
                <c:pt idx="2036">
                  <c:v>224.78902574718239</c:v>
                </c:pt>
                <c:pt idx="2037">
                  <c:v>225.19772185733621</c:v>
                </c:pt>
                <c:pt idx="2038">
                  <c:v>226.62531621562678</c:v>
                </c:pt>
                <c:pt idx="2039">
                  <c:v>226.62912977518101</c:v>
                </c:pt>
                <c:pt idx="2040">
                  <c:v>226.527462914414</c:v>
                </c:pt>
                <c:pt idx="2041">
                  <c:v>224.82535044713057</c:v>
                </c:pt>
                <c:pt idx="2042">
                  <c:v>224.48659916028285</c:v>
                </c:pt>
                <c:pt idx="2043">
                  <c:v>224.88545969051268</c:v>
                </c:pt>
                <c:pt idx="2044">
                  <c:v>228.29699866375103</c:v>
                </c:pt>
                <c:pt idx="2045">
                  <c:v>228.4222951899844</c:v>
                </c:pt>
                <c:pt idx="2046">
                  <c:v>228.2450233109634</c:v>
                </c:pt>
                <c:pt idx="2047">
                  <c:v>227.04461472982672</c:v>
                </c:pt>
                <c:pt idx="2048">
                  <c:v>226.47790470419434</c:v>
                </c:pt>
                <c:pt idx="2049">
                  <c:v>226.61659942208269</c:v>
                </c:pt>
                <c:pt idx="2050">
                  <c:v>226.78726684933986</c:v>
                </c:pt>
                <c:pt idx="2051">
                  <c:v>226.99595537786146</c:v>
                </c:pt>
                <c:pt idx="2052">
                  <c:v>227.84705421464335</c:v>
                </c:pt>
                <c:pt idx="2053">
                  <c:v>227.09943964247407</c:v>
                </c:pt>
                <c:pt idx="2054">
                  <c:v>228.10066898725779</c:v>
                </c:pt>
                <c:pt idx="2055">
                  <c:v>229.92473061948999</c:v>
                </c:pt>
                <c:pt idx="2056">
                  <c:v>230.35080872352705</c:v>
                </c:pt>
                <c:pt idx="2057">
                  <c:v>229.95334569563065</c:v>
                </c:pt>
                <c:pt idx="2058">
                  <c:v>228.78179809484652</c:v>
                </c:pt>
                <c:pt idx="2059">
                  <c:v>227.83974185868701</c:v>
                </c:pt>
                <c:pt idx="2060">
                  <c:v>229.69693994662376</c:v>
                </c:pt>
                <c:pt idx="2061">
                  <c:v>229.28771614659701</c:v>
                </c:pt>
                <c:pt idx="2062">
                  <c:v>228.4074685558179</c:v>
                </c:pt>
                <c:pt idx="2063">
                  <c:v>229.84866073503474</c:v>
                </c:pt>
                <c:pt idx="2064">
                  <c:v>230.67345649444255</c:v>
                </c:pt>
                <c:pt idx="2065">
                  <c:v>231.9760689021345</c:v>
                </c:pt>
                <c:pt idx="2066">
                  <c:v>232.39625974812114</c:v>
                </c:pt>
                <c:pt idx="2067">
                  <c:v>231.27627358988235</c:v>
                </c:pt>
                <c:pt idx="2068">
                  <c:v>231.74564185499511</c:v>
                </c:pt>
                <c:pt idx="2069">
                  <c:v>231.76260487239992</c:v>
                </c:pt>
                <c:pt idx="2070">
                  <c:v>232.24663842087878</c:v>
                </c:pt>
                <c:pt idx="2071">
                  <c:v>232.6148562970393</c:v>
                </c:pt>
                <c:pt idx="2072">
                  <c:v>232.69121874073181</c:v>
                </c:pt>
                <c:pt idx="2073">
                  <c:v>232.65285761647081</c:v>
                </c:pt>
                <c:pt idx="2074">
                  <c:v>233.00828214239181</c:v>
                </c:pt>
                <c:pt idx="2075">
                  <c:v>232.17468565384394</c:v>
                </c:pt>
                <c:pt idx="2076">
                  <c:v>232.17468565384394</c:v>
                </c:pt>
                <c:pt idx="2077">
                  <c:v>232.17468565384394</c:v>
                </c:pt>
                <c:pt idx="2078">
                  <c:v>229.56287320563126</c:v>
                </c:pt>
                <c:pt idx="2079">
                  <c:v>230.04657477036767</c:v>
                </c:pt>
                <c:pt idx="2080">
                  <c:v>230.55962847078689</c:v>
                </c:pt>
                <c:pt idx="2081">
                  <c:v>230.63519056030395</c:v>
                </c:pt>
                <c:pt idx="2082">
                  <c:v>235.57417446629242</c:v>
                </c:pt>
                <c:pt idx="2083">
                  <c:v>236.11902244042815</c:v>
                </c:pt>
                <c:pt idx="2084">
                  <c:v>237.20974797875107</c:v>
                </c:pt>
                <c:pt idx="2085">
                  <c:v>236.71334580075566</c:v>
                </c:pt>
                <c:pt idx="2086">
                  <c:v>236.31550135080164</c:v>
                </c:pt>
                <c:pt idx="2087">
                  <c:v>236.31550135080164</c:v>
                </c:pt>
                <c:pt idx="2088">
                  <c:v>237.85812968891668</c:v>
                </c:pt>
                <c:pt idx="2089">
                  <c:v>237.87973770178698</c:v>
                </c:pt>
                <c:pt idx="2090">
                  <c:v>239.63759692240689</c:v>
                </c:pt>
                <c:pt idx="2091">
                  <c:v>241.35427653104261</c:v>
                </c:pt>
                <c:pt idx="2092">
                  <c:v>241.20122421107388</c:v>
                </c:pt>
                <c:pt idx="2093">
                  <c:v>242.34235730821837</c:v>
                </c:pt>
                <c:pt idx="2094">
                  <c:v>242.8134563156629</c:v>
                </c:pt>
                <c:pt idx="2095">
                  <c:v>241.83359482737532</c:v>
                </c:pt>
                <c:pt idx="2096">
                  <c:v>242.67560462055943</c:v>
                </c:pt>
                <c:pt idx="2097">
                  <c:v>243.03013843640878</c:v>
                </c:pt>
                <c:pt idx="2098">
                  <c:v>243.15817763613632</c:v>
                </c:pt>
                <c:pt idx="2099">
                  <c:v>240.36570859322399</c:v>
                </c:pt>
                <c:pt idx="2100">
                  <c:v>239.20722254234605</c:v>
                </c:pt>
                <c:pt idx="2101">
                  <c:v>240.5717025108637</c:v>
                </c:pt>
                <c:pt idx="2102">
                  <c:v>240.44146904863916</c:v>
                </c:pt>
                <c:pt idx="2103">
                  <c:v>240.97988261136032</c:v>
                </c:pt>
                <c:pt idx="2104">
                  <c:v>241.22351618758117</c:v>
                </c:pt>
                <c:pt idx="2105">
                  <c:v>241.22351618758117</c:v>
                </c:pt>
                <c:pt idx="2106">
                  <c:v>240.56837357638986</c:v>
                </c:pt>
                <c:pt idx="2107">
                  <c:v>240.58133670117772</c:v>
                </c:pt>
                <c:pt idx="2108">
                  <c:v>240.15112626741285</c:v>
                </c:pt>
                <c:pt idx="2109">
                  <c:v>239.94165011760646</c:v>
                </c:pt>
                <c:pt idx="2110">
                  <c:v>241.03138754633861</c:v>
                </c:pt>
                <c:pt idx="2111">
                  <c:v>241.59703385396205</c:v>
                </c:pt>
                <c:pt idx="2112">
                  <c:v>241.59703385396205</c:v>
                </c:pt>
                <c:pt idx="2113">
                  <c:v>239.82934743011657</c:v>
                </c:pt>
                <c:pt idx="2114">
                  <c:v>239.65762097686297</c:v>
                </c:pt>
                <c:pt idx="2115">
                  <c:v>239.72934729533188</c:v>
                </c:pt>
                <c:pt idx="2116">
                  <c:v>240.60786320056283</c:v>
                </c:pt>
                <c:pt idx="2117">
                  <c:v>238.39715986721811</c:v>
                </c:pt>
                <c:pt idx="2118">
                  <c:v>239.60634722367553</c:v>
                </c:pt>
                <c:pt idx="2119">
                  <c:v>238.82428743822965</c:v>
                </c:pt>
                <c:pt idx="2120">
                  <c:v>238.08199221179714</c:v>
                </c:pt>
                <c:pt idx="2121">
                  <c:v>239.63369823860509</c:v>
                </c:pt>
                <c:pt idx="2122">
                  <c:v>241.74194315934696</c:v>
                </c:pt>
                <c:pt idx="2123">
                  <c:v>239.99985402519766</c:v>
                </c:pt>
                <c:pt idx="2124">
                  <c:v>239.52557033627028</c:v>
                </c:pt>
                <c:pt idx="2125">
                  <c:v>239.54397457238579</c:v>
                </c:pt>
                <c:pt idx="2126">
                  <c:v>239.54397457238579</c:v>
                </c:pt>
                <c:pt idx="2127">
                  <c:v>239.92553619130697</c:v>
                </c:pt>
                <c:pt idx="2128">
                  <c:v>238.15356389051252</c:v>
                </c:pt>
                <c:pt idx="2129">
                  <c:v>238.05373399114066</c:v>
                </c:pt>
                <c:pt idx="2130">
                  <c:v>234.90317610254587</c:v>
                </c:pt>
                <c:pt idx="2131">
                  <c:v>233.98139584803528</c:v>
                </c:pt>
                <c:pt idx="2132">
                  <c:v>236.57071125755715</c:v>
                </c:pt>
                <c:pt idx="2133">
                  <c:v>235.85788209831392</c:v>
                </c:pt>
                <c:pt idx="2134">
                  <c:v>236.24872291506415</c:v>
                </c:pt>
                <c:pt idx="2135">
                  <c:v>234.68551992641608</c:v>
                </c:pt>
                <c:pt idx="2136">
                  <c:v>234.5121850081747</c:v>
                </c:pt>
                <c:pt idx="2137">
                  <c:v>235.37103903018104</c:v>
                </c:pt>
                <c:pt idx="2138">
                  <c:v>233.86479840207519</c:v>
                </c:pt>
                <c:pt idx="2139">
                  <c:v>237.5173469786219</c:v>
                </c:pt>
                <c:pt idx="2140">
                  <c:v>238.23664175889579</c:v>
                </c:pt>
                <c:pt idx="2141">
                  <c:v>238.63124892499025</c:v>
                </c:pt>
                <c:pt idx="2142">
                  <c:v>238.56819573460584</c:v>
                </c:pt>
                <c:pt idx="2143">
                  <c:v>235.84942842759818</c:v>
                </c:pt>
                <c:pt idx="2144">
                  <c:v>237.67382001411613</c:v>
                </c:pt>
                <c:pt idx="2145">
                  <c:v>236.81867815201247</c:v>
                </c:pt>
                <c:pt idx="2146">
                  <c:v>234.37467919750537</c:v>
                </c:pt>
                <c:pt idx="2147">
                  <c:v>233.80006619749861</c:v>
                </c:pt>
                <c:pt idx="2148">
                  <c:v>234.85358003179221</c:v>
                </c:pt>
                <c:pt idx="2149">
                  <c:v>236.02365351721423</c:v>
                </c:pt>
                <c:pt idx="2150">
                  <c:v>235.72290857142053</c:v>
                </c:pt>
                <c:pt idx="2151">
                  <c:v>233.37024084287933</c:v>
                </c:pt>
                <c:pt idx="2152">
                  <c:v>233.10805965897831</c:v>
                </c:pt>
                <c:pt idx="2153">
                  <c:v>234.5767477023457</c:v>
                </c:pt>
                <c:pt idx="2154">
                  <c:v>233.60825086681558</c:v>
                </c:pt>
                <c:pt idx="2155">
                  <c:v>233.93869519898573</c:v>
                </c:pt>
                <c:pt idx="2156">
                  <c:v>236.23031522848845</c:v>
                </c:pt>
                <c:pt idx="2157">
                  <c:v>235.91469185695155</c:v>
                </c:pt>
                <c:pt idx="2158">
                  <c:v>236.37706107468742</c:v>
                </c:pt>
                <c:pt idx="2159">
                  <c:v>234.6319428401512</c:v>
                </c:pt>
                <c:pt idx="2160">
                  <c:v>232.5551604350199</c:v>
                </c:pt>
                <c:pt idx="2161">
                  <c:v>230.15532062113331</c:v>
                </c:pt>
                <c:pt idx="2162">
                  <c:v>232.58728958271831</c:v>
                </c:pt>
                <c:pt idx="2163">
                  <c:v>232.58728958271831</c:v>
                </c:pt>
                <c:pt idx="2164">
                  <c:v>234.35502303406361</c:v>
                </c:pt>
                <c:pt idx="2165">
                  <c:v>233.05345158037318</c:v>
                </c:pt>
                <c:pt idx="2166">
                  <c:v>231.4115550575342</c:v>
                </c:pt>
                <c:pt idx="2167">
                  <c:v>230.47276199321578</c:v>
                </c:pt>
                <c:pt idx="2168">
                  <c:v>232.37066134642589</c:v>
                </c:pt>
                <c:pt idx="2169">
                  <c:v>231.26333885454548</c:v>
                </c:pt>
                <c:pt idx="2170">
                  <c:v>231.69730814586177</c:v>
                </c:pt>
                <c:pt idx="2171">
                  <c:v>231.43959183350768</c:v>
                </c:pt>
                <c:pt idx="2172">
                  <c:v>230.35997249699071</c:v>
                </c:pt>
                <c:pt idx="2173">
                  <c:v>228.00099942653654</c:v>
                </c:pt>
                <c:pt idx="2174">
                  <c:v>229.56987986977322</c:v>
                </c:pt>
                <c:pt idx="2175">
                  <c:v>231.30142200487475</c:v>
                </c:pt>
                <c:pt idx="2176">
                  <c:v>232.70438072566836</c:v>
                </c:pt>
                <c:pt idx="2177">
                  <c:v>231.49613942995799</c:v>
                </c:pt>
                <c:pt idx="2178">
                  <c:v>231.17413980257447</c:v>
                </c:pt>
                <c:pt idx="2179">
                  <c:v>231.34878890411889</c:v>
                </c:pt>
                <c:pt idx="2180">
                  <c:v>232.01376808744834</c:v>
                </c:pt>
                <c:pt idx="2181">
                  <c:v>232.32960777549522</c:v>
                </c:pt>
                <c:pt idx="2182">
                  <c:v>234.7612843726794</c:v>
                </c:pt>
                <c:pt idx="2183">
                  <c:v>236.00143181223808</c:v>
                </c:pt>
                <c:pt idx="2184">
                  <c:v>235.98057722611284</c:v>
                </c:pt>
                <c:pt idx="2185">
                  <c:v>236.2148447609357</c:v>
                </c:pt>
                <c:pt idx="2186">
                  <c:v>235.49201738603722</c:v>
                </c:pt>
                <c:pt idx="2187">
                  <c:v>236.29592378370469</c:v>
                </c:pt>
                <c:pt idx="2188">
                  <c:v>236.38082947073406</c:v>
                </c:pt>
                <c:pt idx="2189">
                  <c:v>236.31563580013869</c:v>
                </c:pt>
                <c:pt idx="2190">
                  <c:v>236.96028658316757</c:v>
                </c:pt>
                <c:pt idx="2191">
                  <c:v>237.16022769576855</c:v>
                </c:pt>
                <c:pt idx="2192">
                  <c:v>237.66211152384389</c:v>
                </c:pt>
                <c:pt idx="2193">
                  <c:v>237.8370849914746</c:v>
                </c:pt>
                <c:pt idx="2194">
                  <c:v>238.77639181177307</c:v>
                </c:pt>
                <c:pt idx="2195">
                  <c:v>239.18947415426851</c:v>
                </c:pt>
                <c:pt idx="2196">
                  <c:v>240.28783421610575</c:v>
                </c:pt>
                <c:pt idx="2197">
                  <c:v>241.53156351079636</c:v>
                </c:pt>
                <c:pt idx="2198">
                  <c:v>241.88195299238845</c:v>
                </c:pt>
                <c:pt idx="2199">
                  <c:v>241.67985757320429</c:v>
                </c:pt>
                <c:pt idx="2200">
                  <c:v>242.18339478231675</c:v>
                </c:pt>
                <c:pt idx="2201">
                  <c:v>241.20877903088046</c:v>
                </c:pt>
                <c:pt idx="2202">
                  <c:v>241.67145878274425</c:v>
                </c:pt>
                <c:pt idx="2203">
                  <c:v>241.62850005190748</c:v>
                </c:pt>
                <c:pt idx="2204">
                  <c:v>241.64096216045627</c:v>
                </c:pt>
                <c:pt idx="2205">
                  <c:v>241.76266641255117</c:v>
                </c:pt>
                <c:pt idx="2206">
                  <c:v>242.44886990399118</c:v>
                </c:pt>
                <c:pt idx="2207">
                  <c:v>242.45736878309705</c:v>
                </c:pt>
                <c:pt idx="2208">
                  <c:v>241.91731206573292</c:v>
                </c:pt>
                <c:pt idx="2209">
                  <c:v>242.61536299435127</c:v>
                </c:pt>
                <c:pt idx="2210">
                  <c:v>241.23022710554753</c:v>
                </c:pt>
                <c:pt idx="2211">
                  <c:v>241.86631454159306</c:v>
                </c:pt>
                <c:pt idx="2212">
                  <c:v>242.24368074015871</c:v>
                </c:pt>
                <c:pt idx="2213">
                  <c:v>241.40883427404361</c:v>
                </c:pt>
                <c:pt idx="2214">
                  <c:v>239.97209538288223</c:v>
                </c:pt>
                <c:pt idx="2215">
                  <c:v>242.50977282349501</c:v>
                </c:pt>
                <c:pt idx="2216">
                  <c:v>243.9026723363157</c:v>
                </c:pt>
                <c:pt idx="2217">
                  <c:v>244.18637233202145</c:v>
                </c:pt>
                <c:pt idx="2218">
                  <c:v>244.99250506650995</c:v>
                </c:pt>
                <c:pt idx="2219">
                  <c:v>244.99250506650995</c:v>
                </c:pt>
                <c:pt idx="2220">
                  <c:v>244.91753177424727</c:v>
                </c:pt>
                <c:pt idx="2221">
                  <c:v>245.51127904734145</c:v>
                </c:pt>
                <c:pt idx="2222">
                  <c:v>245.91488137311788</c:v>
                </c:pt>
                <c:pt idx="2223">
                  <c:v>244.69810524257522</c:v>
                </c:pt>
                <c:pt idx="2224">
                  <c:v>244.67690110658657</c:v>
                </c:pt>
                <c:pt idx="2225">
                  <c:v>242.11108337413521</c:v>
                </c:pt>
                <c:pt idx="2226">
                  <c:v>241.21350477148752</c:v>
                </c:pt>
                <c:pt idx="2227">
                  <c:v>239.72877511947704</c:v>
                </c:pt>
                <c:pt idx="2228">
                  <c:v>238.21823469861303</c:v>
                </c:pt>
                <c:pt idx="2229">
                  <c:v>237.04786618755946</c:v>
                </c:pt>
                <c:pt idx="2230">
                  <c:v>238.81789474780084</c:v>
                </c:pt>
                <c:pt idx="2231">
                  <c:v>238.11926961920312</c:v>
                </c:pt>
                <c:pt idx="2232">
                  <c:v>239.73810288020002</c:v>
                </c:pt>
                <c:pt idx="2233">
                  <c:v>240.76496110001648</c:v>
                </c:pt>
                <c:pt idx="2234">
                  <c:v>240.11165206565934</c:v>
                </c:pt>
                <c:pt idx="2235">
                  <c:v>240.17385503802285</c:v>
                </c:pt>
                <c:pt idx="2236">
                  <c:v>239.86757781153622</c:v>
                </c:pt>
                <c:pt idx="2237">
                  <c:v>238.75240412416267</c:v>
                </c:pt>
                <c:pt idx="2238">
                  <c:v>240.20070061324779</c:v>
                </c:pt>
                <c:pt idx="2239">
                  <c:v>240.72906530936402</c:v>
                </c:pt>
                <c:pt idx="2240">
                  <c:v>239.88914149634485</c:v>
                </c:pt>
                <c:pt idx="2241">
                  <c:v>238.21119019470177</c:v>
                </c:pt>
                <c:pt idx="2242">
                  <c:v>240.38506111072664</c:v>
                </c:pt>
                <c:pt idx="2243">
                  <c:v>239.98813664851787</c:v>
                </c:pt>
                <c:pt idx="2244">
                  <c:v>239.94241599286582</c:v>
                </c:pt>
                <c:pt idx="2245">
                  <c:v>239.99774293061392</c:v>
                </c:pt>
                <c:pt idx="2246">
                  <c:v>241.72098041849486</c:v>
                </c:pt>
                <c:pt idx="2247">
                  <c:v>241.65521199904285</c:v>
                </c:pt>
                <c:pt idx="2248">
                  <c:v>243.34447035577597</c:v>
                </c:pt>
                <c:pt idx="2249">
                  <c:v>242.74540152265013</c:v>
                </c:pt>
                <c:pt idx="2250">
                  <c:v>241.60166252006289</c:v>
                </c:pt>
                <c:pt idx="2251">
                  <c:v>241.20633813689815</c:v>
                </c:pt>
                <c:pt idx="2252">
                  <c:v>243.97118742368411</c:v>
                </c:pt>
                <c:pt idx="2253">
                  <c:v>242.93323791008805</c:v>
                </c:pt>
                <c:pt idx="2254">
                  <c:v>241.2453869822175</c:v>
                </c:pt>
                <c:pt idx="2255">
                  <c:v>242.74339845728511</c:v>
                </c:pt>
                <c:pt idx="2256">
                  <c:v>242.47195286441539</c:v>
                </c:pt>
                <c:pt idx="2257">
                  <c:v>242.47195286441539</c:v>
                </c:pt>
                <c:pt idx="2258">
                  <c:v>242.47195286441539</c:v>
                </c:pt>
                <c:pt idx="2259">
                  <c:v>242.57363351369929</c:v>
                </c:pt>
                <c:pt idx="2260">
                  <c:v>241.98515893156056</c:v>
                </c:pt>
                <c:pt idx="2261">
                  <c:v>241.7925408697597</c:v>
                </c:pt>
                <c:pt idx="2262">
                  <c:v>241.7925408697597</c:v>
                </c:pt>
                <c:pt idx="2263">
                  <c:v>241.22708719338911</c:v>
                </c:pt>
                <c:pt idx="2264">
                  <c:v>242.36674575876859</c:v>
                </c:pt>
                <c:pt idx="2265">
                  <c:v>244.55495180740127</c:v>
                </c:pt>
                <c:pt idx="2266">
                  <c:v>246.8110658600061</c:v>
                </c:pt>
                <c:pt idx="2267">
                  <c:v>247.49810391530281</c:v>
                </c:pt>
                <c:pt idx="2268">
                  <c:v>248.57848025173109</c:v>
                </c:pt>
                <c:pt idx="2269">
                  <c:v>247.7483758397652</c:v>
                </c:pt>
                <c:pt idx="2270">
                  <c:v>246.93783532256924</c:v>
                </c:pt>
                <c:pt idx="2271">
                  <c:v>247.64691436276553</c:v>
                </c:pt>
                <c:pt idx="2272">
                  <c:v>247.27039192754239</c:v>
                </c:pt>
                <c:pt idx="2273">
                  <c:v>247.53401797649479</c:v>
                </c:pt>
                <c:pt idx="2274">
                  <c:v>247.27470387621807</c:v>
                </c:pt>
                <c:pt idx="2275">
                  <c:v>247.7724628675015</c:v>
                </c:pt>
                <c:pt idx="2276">
                  <c:v>249.08673904622395</c:v>
                </c:pt>
                <c:pt idx="2277">
                  <c:v>249.90994689748774</c:v>
                </c:pt>
                <c:pt idx="2278">
                  <c:v>250.28793594211555</c:v>
                </c:pt>
                <c:pt idx="2279">
                  <c:v>248.99831570116925</c:v>
                </c:pt>
                <c:pt idx="2280">
                  <c:v>247.61897990914937</c:v>
                </c:pt>
                <c:pt idx="2281">
                  <c:v>248.8269002156411</c:v>
                </c:pt>
                <c:pt idx="2282">
                  <c:v>248.39889163033527</c:v>
                </c:pt>
                <c:pt idx="2283">
                  <c:v>246.15875009500181</c:v>
                </c:pt>
                <c:pt idx="2284">
                  <c:v>245.66451289196354</c:v>
                </c:pt>
              </c:numCache>
            </c:numRef>
          </c:val>
          <c:smooth val="0"/>
          <c:extLst xmlns:c16r2="http://schemas.microsoft.com/office/drawing/2015/06/chart">
            <c:ext xmlns:c16="http://schemas.microsoft.com/office/drawing/2014/chart" uri="{C3380CC4-5D6E-409C-BE32-E72D297353CC}">
              <c16:uniqueId val="{00000002-7127-4EE7-81B7-88A877082DDF}"/>
            </c:ext>
          </c:extLst>
        </c:ser>
        <c:dLbls>
          <c:showLegendKey val="0"/>
          <c:showVal val="0"/>
          <c:showCatName val="0"/>
          <c:showSerName val="0"/>
          <c:showPercent val="0"/>
          <c:showBubbleSize val="0"/>
        </c:dLbls>
        <c:marker val="1"/>
        <c:smooth val="0"/>
        <c:axId val="336750464"/>
        <c:axId val="336752000"/>
      </c:lineChart>
      <c:dateAx>
        <c:axId val="336750464"/>
        <c:scaling>
          <c:orientation val="minMax"/>
        </c:scaling>
        <c:delete val="0"/>
        <c:axPos val="b"/>
        <c:numFmt formatCode="[$-409]mmm\-yy;@" sourceLinked="0"/>
        <c:majorTickMark val="out"/>
        <c:minorTickMark val="none"/>
        <c:tickLblPos val="low"/>
        <c:spPr>
          <a:ln>
            <a:solidFill>
              <a:srgbClr val="767A7E"/>
            </a:solidFill>
          </a:ln>
        </c:spPr>
        <c:crossAx val="336752000"/>
        <c:crosses val="autoZero"/>
        <c:auto val="1"/>
        <c:lblOffset val="100"/>
        <c:baseTimeUnit val="days"/>
      </c:dateAx>
      <c:valAx>
        <c:axId val="336752000"/>
        <c:scaling>
          <c:orientation val="minMax"/>
          <c:min val="50"/>
        </c:scaling>
        <c:delete val="0"/>
        <c:axPos val="l"/>
        <c:majorGridlines>
          <c:spPr>
            <a:ln>
              <a:solidFill>
                <a:srgbClr val="F2F2F2"/>
              </a:solidFill>
            </a:ln>
          </c:spPr>
        </c:majorGridlines>
        <c:numFmt formatCode="General" sourceLinked="0"/>
        <c:majorTickMark val="out"/>
        <c:minorTickMark val="none"/>
        <c:tickLblPos val="nextTo"/>
        <c:spPr>
          <a:ln>
            <a:solidFill>
              <a:srgbClr val="767A7E"/>
            </a:solidFill>
          </a:ln>
        </c:spPr>
        <c:crossAx val="336750464"/>
        <c:crosses val="autoZero"/>
        <c:crossBetween val="between"/>
      </c:valAx>
      <c:valAx>
        <c:axId val="336757888"/>
        <c:scaling>
          <c:orientation val="minMax"/>
        </c:scaling>
        <c:delete val="0"/>
        <c:axPos val="r"/>
        <c:numFmt formatCode="General" sourceLinked="0"/>
        <c:majorTickMark val="out"/>
        <c:minorTickMark val="none"/>
        <c:tickLblPos val="nextTo"/>
        <c:crossAx val="336759424"/>
        <c:crosses val="max"/>
        <c:crossBetween val="between"/>
      </c:valAx>
      <c:dateAx>
        <c:axId val="336759424"/>
        <c:scaling>
          <c:orientation val="minMax"/>
        </c:scaling>
        <c:delete val="1"/>
        <c:axPos val="b"/>
        <c:numFmt formatCode="m/d/yyyy" sourceLinked="1"/>
        <c:majorTickMark val="out"/>
        <c:minorTickMark val="none"/>
        <c:tickLblPos val="nextTo"/>
        <c:crossAx val="336757888"/>
        <c:crosses val="autoZero"/>
        <c:auto val="1"/>
        <c:lblOffset val="100"/>
        <c:baseTimeUnit val="days"/>
      </c:dateAx>
    </c:plotArea>
    <c:legend>
      <c:legendPos val="b"/>
      <c:layout>
        <c:manualLayout>
          <c:xMode val="edge"/>
          <c:yMode val="edge"/>
          <c:x val="0"/>
          <c:y val="0.81853275127263003"/>
          <c:w val="0.99716316503415892"/>
          <c:h val="0.18146724872736997"/>
        </c:manualLayout>
      </c:layout>
      <c:overlay val="0"/>
    </c:legend>
    <c:plotVisOnly val="1"/>
    <c:dispBlanksAs val="gap"/>
    <c:showDLblsOverMax val="0"/>
  </c:chart>
  <c:spPr>
    <a:ln w="9525">
      <a:noFill/>
    </a:ln>
  </c:spPr>
  <c:txPr>
    <a:bodyPr/>
    <a:lstStyle/>
    <a:p>
      <a:pPr>
        <a:defRPr>
          <a:solidFill>
            <a:srgbClr val="003C64"/>
          </a:solidFill>
        </a:defRPr>
      </a:pPr>
      <a:endParaRPr lang="en-US"/>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xMode val="edge"/>
          <c:yMode val="edge"/>
          <c:x val="3.0765023586518083E-2"/>
          <c:y val="2.5749967812540235E-2"/>
          <c:w val="0.96923497641348189"/>
          <c:h val="0.86906141367323286"/>
        </c:manualLayout>
      </c:layout>
      <c:barChart>
        <c:barDir val="bar"/>
        <c:grouping val="clustered"/>
        <c:varyColors val="0"/>
        <c:ser>
          <c:idx val="1"/>
          <c:order val="0"/>
          <c:tx>
            <c:strRef>
              <c:f>'Europe Min Var'!$N$22</c:f>
              <c:strCache>
                <c:ptCount val="1"/>
                <c:pt idx="0">
                  <c:v>MSCI Europe</c:v>
                </c:pt>
              </c:strCache>
            </c:strRef>
          </c:tx>
          <c:spPr>
            <a:solidFill>
              <a:srgbClr val="00A0E3"/>
            </a:solidFill>
            <a:ln>
              <a:noFill/>
              <a:round/>
            </a:ln>
            <a:effectLst/>
            <a:extLst>
              <a:ext uri="{91240B29-F687-4F45-9708-019B960494DF}">
                <a14:hiddenLine xmlns:a14="http://schemas.microsoft.com/office/drawing/2010/main">
                  <a:noFill/>
                  <a:round/>
                </a14:hiddenLine>
              </a:ext>
            </a:extLst>
          </c:spPr>
          <c:invertIfNegative val="0"/>
          <c:cat>
            <c:strRef>
              <c:f>'Europe Min Var'!$L$23:$L$33</c:f>
              <c:strCache>
                <c:ptCount val="11"/>
                <c:pt idx="0">
                  <c:v>Energy</c:v>
                </c:pt>
                <c:pt idx="1">
                  <c:v>Real Estate</c:v>
                </c:pt>
                <c:pt idx="2">
                  <c:v>Materials</c:v>
                </c:pt>
                <c:pt idx="3">
                  <c:v>Information Technology</c:v>
                </c:pt>
                <c:pt idx="4">
                  <c:v>Utilities</c:v>
                </c:pt>
                <c:pt idx="5">
                  <c:v>Telecommunication Services</c:v>
                </c:pt>
                <c:pt idx="6">
                  <c:v>Financials</c:v>
                </c:pt>
                <c:pt idx="7">
                  <c:v>Consumer Discretionary</c:v>
                </c:pt>
                <c:pt idx="8">
                  <c:v>Health Care</c:v>
                </c:pt>
                <c:pt idx="9">
                  <c:v>Industrials</c:v>
                </c:pt>
                <c:pt idx="10">
                  <c:v>Consumer Staples</c:v>
                </c:pt>
              </c:strCache>
            </c:strRef>
          </c:cat>
          <c:val>
            <c:numRef>
              <c:f>'Europe Min Var'!$N$23:$N$33</c:f>
              <c:numCache>
                <c:formatCode>0\.0%</c:formatCode>
                <c:ptCount val="11"/>
                <c:pt idx="0">
                  <c:v>7.3009750852088121E-2</c:v>
                </c:pt>
                <c:pt idx="1">
                  <c:v>1.3056668727974202E-2</c:v>
                </c:pt>
                <c:pt idx="2">
                  <c:v>8.513542918446361E-2</c:v>
                </c:pt>
                <c:pt idx="3">
                  <c:v>4.9141113611240177E-2</c:v>
                </c:pt>
                <c:pt idx="4">
                  <c:v>3.4140489630042355E-2</c:v>
                </c:pt>
                <c:pt idx="5">
                  <c:v>3.6674782442255215E-2</c:v>
                </c:pt>
                <c:pt idx="6">
                  <c:v>0.21639049741364372</c:v>
                </c:pt>
                <c:pt idx="7">
                  <c:v>0.10696844171888689</c:v>
                </c:pt>
                <c:pt idx="8">
                  <c:v>0.12113354371019694</c:v>
                </c:pt>
                <c:pt idx="9">
                  <c:v>0.13228563599829926</c:v>
                </c:pt>
                <c:pt idx="10">
                  <c:v>0.13206364671090959</c:v>
                </c:pt>
              </c:numCache>
            </c:numRef>
          </c:val>
        </c:ser>
        <c:ser>
          <c:idx val="0"/>
          <c:order val="1"/>
          <c:tx>
            <c:strRef>
              <c:f>'Europe Min Var'!$M$22</c:f>
              <c:strCache>
                <c:ptCount val="1"/>
                <c:pt idx="0">
                  <c:v>Amundi Fds Eq Europe Conservative</c:v>
                </c:pt>
              </c:strCache>
            </c:strRef>
          </c:tx>
          <c:spPr>
            <a:solidFill>
              <a:srgbClr val="003C64"/>
            </a:solidFill>
            <a:ln>
              <a:noFill/>
              <a:round/>
            </a:ln>
            <a:effectLst/>
            <a:extLst>
              <a:ext uri="{91240B29-F687-4F45-9708-019B960494DF}">
                <a14:hiddenLine xmlns:a14="http://schemas.microsoft.com/office/drawing/2010/main">
                  <a:noFill/>
                  <a:round/>
                </a14:hiddenLine>
              </a:ext>
            </a:extLst>
          </c:spPr>
          <c:invertIfNegative val="0"/>
          <c:cat>
            <c:strRef>
              <c:f>'Europe Min Var'!$L$23:$L$33</c:f>
              <c:strCache>
                <c:ptCount val="11"/>
                <c:pt idx="0">
                  <c:v>Energy</c:v>
                </c:pt>
                <c:pt idx="1">
                  <c:v>Real Estate</c:v>
                </c:pt>
                <c:pt idx="2">
                  <c:v>Materials</c:v>
                </c:pt>
                <c:pt idx="3">
                  <c:v>Information Technology</c:v>
                </c:pt>
                <c:pt idx="4">
                  <c:v>Utilities</c:v>
                </c:pt>
                <c:pt idx="5">
                  <c:v>Telecommunication Services</c:v>
                </c:pt>
                <c:pt idx="6">
                  <c:v>Financials</c:v>
                </c:pt>
                <c:pt idx="7">
                  <c:v>Consumer Discretionary</c:v>
                </c:pt>
                <c:pt idx="8">
                  <c:v>Health Care</c:v>
                </c:pt>
                <c:pt idx="9">
                  <c:v>Industrials</c:v>
                </c:pt>
                <c:pt idx="10">
                  <c:v>Consumer Staples</c:v>
                </c:pt>
              </c:strCache>
            </c:strRef>
          </c:cat>
          <c:val>
            <c:numRef>
              <c:f>'Europe Min Var'!$M$23:$M$33</c:f>
              <c:numCache>
                <c:formatCode>0\.0%</c:formatCode>
                <c:ptCount val="11"/>
                <c:pt idx="0">
                  <c:v>0</c:v>
                </c:pt>
                <c:pt idx="1">
                  <c:v>0</c:v>
                </c:pt>
                <c:pt idx="2">
                  <c:v>4.5110022376094461E-2</c:v>
                </c:pt>
                <c:pt idx="3">
                  <c:v>6.2555805528851108E-2</c:v>
                </c:pt>
                <c:pt idx="4">
                  <c:v>6.4763078616702288E-2</c:v>
                </c:pt>
                <c:pt idx="5">
                  <c:v>7.2997705645689609E-2</c:v>
                </c:pt>
                <c:pt idx="6">
                  <c:v>0.10588994167887818</c:v>
                </c:pt>
                <c:pt idx="7">
                  <c:v>0.12232384289318948</c:v>
                </c:pt>
                <c:pt idx="8">
                  <c:v>0.1660278844141119</c:v>
                </c:pt>
                <c:pt idx="9">
                  <c:v>0.17868824428806337</c:v>
                </c:pt>
                <c:pt idx="10">
                  <c:v>0.1816434745584197</c:v>
                </c:pt>
              </c:numCache>
            </c:numRef>
          </c:val>
        </c:ser>
        <c:dLbls>
          <c:showLegendKey val="0"/>
          <c:showVal val="0"/>
          <c:showCatName val="0"/>
          <c:showSerName val="0"/>
          <c:showPercent val="0"/>
          <c:showBubbleSize val="0"/>
        </c:dLbls>
        <c:gapWidth val="150"/>
        <c:axId val="459949952"/>
        <c:axId val="459951488"/>
      </c:barChart>
      <c:catAx>
        <c:axId val="459949952"/>
        <c:scaling>
          <c:orientation val="minMax"/>
        </c:scaling>
        <c:delete val="0"/>
        <c:axPos val="l"/>
        <c:majorTickMark val="out"/>
        <c:minorTickMark val="none"/>
        <c:tickLblPos val="low"/>
        <c:spPr>
          <a:ln>
            <a:solidFill>
              <a:srgbClr val="003C64"/>
            </a:solidFill>
          </a:ln>
        </c:spPr>
        <c:txPr>
          <a:bodyPr/>
          <a:lstStyle/>
          <a:p>
            <a:pPr>
              <a:defRPr sz="900" b="0" i="0" u="none">
                <a:solidFill>
                  <a:srgbClr val="003C64"/>
                </a:solidFill>
                <a:latin typeface="Arial(Corps)"/>
                <a:ea typeface="Arial(Corps)"/>
                <a:cs typeface="Arial(Corps)"/>
              </a:defRPr>
            </a:pPr>
            <a:endParaRPr lang="en-US"/>
          </a:p>
        </c:txPr>
        <c:crossAx val="459951488"/>
        <c:crosses val="autoZero"/>
        <c:auto val="1"/>
        <c:lblAlgn val="ctr"/>
        <c:lblOffset val="100"/>
        <c:noMultiLvlLbl val="0"/>
      </c:catAx>
      <c:valAx>
        <c:axId val="459951488"/>
        <c:scaling>
          <c:orientation val="minMax"/>
          <c:max val="0.23"/>
          <c:min val="0"/>
        </c:scaling>
        <c:delete val="0"/>
        <c:axPos val="b"/>
        <c:majorGridlines>
          <c:spPr>
            <a:ln w="3175">
              <a:solidFill>
                <a:srgbClr val="FFFFFF"/>
              </a:solidFill>
            </a:ln>
          </c:spPr>
        </c:majorGridlines>
        <c:numFmt formatCode="0%" sourceLinked="0"/>
        <c:majorTickMark val="out"/>
        <c:minorTickMark val="none"/>
        <c:tickLblPos val="nextTo"/>
        <c:spPr>
          <a:ln>
            <a:solidFill>
              <a:srgbClr val="003C64"/>
            </a:solidFill>
          </a:ln>
        </c:spPr>
        <c:txPr>
          <a:bodyPr/>
          <a:lstStyle/>
          <a:p>
            <a:pPr>
              <a:defRPr sz="900" b="0" i="0" u="none">
                <a:solidFill>
                  <a:srgbClr val="003C64"/>
                </a:solidFill>
                <a:latin typeface="Arial(Corps)"/>
                <a:ea typeface="Arial(Corps)"/>
                <a:cs typeface="Arial(Corps)"/>
              </a:defRPr>
            </a:pPr>
            <a:endParaRPr lang="en-US"/>
          </a:p>
        </c:txPr>
        <c:crossAx val="459949952"/>
        <c:crosses val="autoZero"/>
        <c:crossBetween val="between"/>
      </c:valAx>
    </c:plotArea>
    <c:legend>
      <c:legendPos val="b"/>
      <c:legendEntry>
        <c:idx val="0"/>
        <c:txPr>
          <a:bodyPr/>
          <a:lstStyle/>
          <a:p>
            <a:pPr>
              <a:defRPr sz="900" b="0" i="0" u="none">
                <a:solidFill>
                  <a:srgbClr val="003C64"/>
                </a:solidFill>
                <a:latin typeface="Arial(Corps)"/>
                <a:ea typeface="Arial(Corps)"/>
                <a:cs typeface="Arial(Corps)"/>
              </a:defRPr>
            </a:pPr>
            <a:endParaRPr lang="en-US"/>
          </a:p>
        </c:txPr>
      </c:legendEntry>
      <c:legendEntry>
        <c:idx val="1"/>
        <c:txPr>
          <a:bodyPr/>
          <a:lstStyle/>
          <a:p>
            <a:pPr>
              <a:defRPr sz="900" b="0" i="0" u="none">
                <a:solidFill>
                  <a:srgbClr val="00A0E3"/>
                </a:solidFill>
                <a:latin typeface="Arial(Corps)"/>
                <a:ea typeface="Arial(Corps)"/>
                <a:cs typeface="Arial(Corps)"/>
              </a:defRPr>
            </a:pPr>
            <a:endParaRPr lang="en-US"/>
          </a:p>
        </c:txPr>
      </c:legendEntry>
      <c:layout>
        <c:manualLayout>
          <c:xMode val="edge"/>
          <c:yMode val="edge"/>
          <c:x val="4.7856703356805905E-2"/>
          <c:y val="0.89732504468227681"/>
          <c:w val="0.95214329664319408"/>
          <c:h val="0.10267495531772318"/>
        </c:manualLayout>
      </c:layout>
      <c:overlay val="0"/>
      <c:txPr>
        <a:bodyPr/>
        <a:lstStyle/>
        <a:p>
          <a:pPr>
            <a:defRPr sz="900" b="0" i="0" u="none">
              <a:latin typeface="Arial(Corps)"/>
              <a:ea typeface="Arial(Corps)"/>
              <a:cs typeface="Arial(Corps)"/>
            </a:defRPr>
          </a:pPr>
          <a:endParaRPr lang="en-US"/>
        </a:p>
      </c:txPr>
    </c:legend>
    <c:plotVisOnly val="1"/>
    <c:dispBlanksAs val="gap"/>
    <c:showDLblsOverMax val="0"/>
  </c:chart>
  <c:spPr>
    <a:ln w="9525">
      <a:noFill/>
    </a:ln>
  </c:spPr>
  <c:txPr>
    <a:bodyPr/>
    <a:lstStyle/>
    <a:p>
      <a:pPr>
        <a:defRPr sz="9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6.3392446789964979E-3"/>
          <c:y val="0.11759384893713253"/>
          <c:w val="0.95088670184947466"/>
          <c:h val="0.79903512739333638"/>
        </c:manualLayout>
      </c:layout>
      <c:barChart>
        <c:barDir val="col"/>
        <c:grouping val="clustered"/>
        <c:varyColors val="0"/>
        <c:ser>
          <c:idx val="0"/>
          <c:order val="0"/>
          <c:tx>
            <c:strRef>
              <c:f>'Amundi Fds Europe MinVar BRUT'!$CD$4</c:f>
              <c:strCache>
                <c:ptCount val="1"/>
                <c:pt idx="0">
                  <c:v>AFE Europe Conservative</c:v>
                </c:pt>
              </c:strCache>
            </c:strRef>
          </c:tx>
          <c:spPr>
            <a:solidFill>
              <a:srgbClr val="003C64"/>
            </a:solidFill>
          </c:spPr>
          <c:invertIfNegative val="0"/>
          <c:cat>
            <c:strRef>
              <c:f>'Amundi Fds Europe MinVar BRUT'!$BY$6:$BY$39</c:f>
              <c:strCache>
                <c:ptCount val="34"/>
                <c:pt idx="0">
                  <c:v>Q3 2009</c:v>
                </c:pt>
                <c:pt idx="1">
                  <c:v>Q4 2009</c:v>
                </c:pt>
                <c:pt idx="2">
                  <c:v>Q1 2010</c:v>
                </c:pt>
                <c:pt idx="3">
                  <c:v>Q2 2010</c:v>
                </c:pt>
                <c:pt idx="4">
                  <c:v>Q3 2010</c:v>
                </c:pt>
                <c:pt idx="5">
                  <c:v>Q4 2010</c:v>
                </c:pt>
                <c:pt idx="6">
                  <c:v>Q1 2011</c:v>
                </c:pt>
                <c:pt idx="7">
                  <c:v>Q2 2011</c:v>
                </c:pt>
                <c:pt idx="8">
                  <c:v>Q3 2011</c:v>
                </c:pt>
                <c:pt idx="9">
                  <c:v>Q4 2011</c:v>
                </c:pt>
                <c:pt idx="10">
                  <c:v>Q1 2012</c:v>
                </c:pt>
                <c:pt idx="11">
                  <c:v>Q2 2012</c:v>
                </c:pt>
                <c:pt idx="12">
                  <c:v>Q3 2012</c:v>
                </c:pt>
                <c:pt idx="13">
                  <c:v>Q4 2012</c:v>
                </c:pt>
                <c:pt idx="14">
                  <c:v>Q1 2013</c:v>
                </c:pt>
                <c:pt idx="15">
                  <c:v>Q2 2013</c:v>
                </c:pt>
                <c:pt idx="16">
                  <c:v>Q3 2013</c:v>
                </c:pt>
                <c:pt idx="17">
                  <c:v>Q4 2013</c:v>
                </c:pt>
                <c:pt idx="18">
                  <c:v>Q1 2014</c:v>
                </c:pt>
                <c:pt idx="19">
                  <c:v>Q2 2014</c:v>
                </c:pt>
                <c:pt idx="20">
                  <c:v>Q3 2014</c:v>
                </c:pt>
                <c:pt idx="21">
                  <c:v>Q4 2014</c:v>
                </c:pt>
                <c:pt idx="22">
                  <c:v>Q1 2015</c:v>
                </c:pt>
                <c:pt idx="23">
                  <c:v>Q2 2015</c:v>
                </c:pt>
                <c:pt idx="24">
                  <c:v>Q3 2015</c:v>
                </c:pt>
                <c:pt idx="25">
                  <c:v>Q4 2015</c:v>
                </c:pt>
                <c:pt idx="26">
                  <c:v>Q1 2016</c:v>
                </c:pt>
                <c:pt idx="27">
                  <c:v>Q2 2016</c:v>
                </c:pt>
                <c:pt idx="28">
                  <c:v>Q3 2016</c:v>
                </c:pt>
                <c:pt idx="29">
                  <c:v>Q4 2016</c:v>
                </c:pt>
                <c:pt idx="30">
                  <c:v>Q1 2017</c:v>
                </c:pt>
                <c:pt idx="31">
                  <c:v>Q2 2017</c:v>
                </c:pt>
                <c:pt idx="32">
                  <c:v>Q3 2017</c:v>
                </c:pt>
                <c:pt idx="33">
                  <c:v>Q4 2017</c:v>
                </c:pt>
              </c:strCache>
            </c:strRef>
          </c:cat>
          <c:val>
            <c:numRef>
              <c:f>'Amundi Fds Europe MinVar BRUT'!$CD$6:$CD$39</c:f>
              <c:numCache>
                <c:formatCode>0.00%</c:formatCode>
                <c:ptCount val="34"/>
                <c:pt idx="0">
                  <c:v>-4.3738442333765087E-2</c:v>
                </c:pt>
                <c:pt idx="1">
                  <c:v>-3.6542575691001229E-2</c:v>
                </c:pt>
                <c:pt idx="2">
                  <c:v>-5.5371789592720377E-2</c:v>
                </c:pt>
                <c:pt idx="3">
                  <c:v>-8.4713104075055418E-2</c:v>
                </c:pt>
                <c:pt idx="4">
                  <c:v>-3.2345553617560148E-2</c:v>
                </c:pt>
                <c:pt idx="5">
                  <c:v>-2.267808220264424E-2</c:v>
                </c:pt>
                <c:pt idx="6">
                  <c:v>-8.4736656547505076E-2</c:v>
                </c:pt>
                <c:pt idx="7">
                  <c:v>-4.3384627372139384E-2</c:v>
                </c:pt>
                <c:pt idx="8">
                  <c:v>-0.13389611930393583</c:v>
                </c:pt>
                <c:pt idx="9">
                  <c:v>-7.1578682898572291E-2</c:v>
                </c:pt>
                <c:pt idx="10">
                  <c:v>-2.7231708475466465E-2</c:v>
                </c:pt>
                <c:pt idx="11">
                  <c:v>-5.2451642947558157E-2</c:v>
                </c:pt>
                <c:pt idx="12">
                  <c:v>-3.5080748991811128E-2</c:v>
                </c:pt>
                <c:pt idx="13">
                  <c:v>-3.5030997015875517E-2</c:v>
                </c:pt>
                <c:pt idx="14">
                  <c:v>-1.474554196939399E-2</c:v>
                </c:pt>
                <c:pt idx="15">
                  <c:v>-9.1079217809117596E-2</c:v>
                </c:pt>
                <c:pt idx="16">
                  <c:v>-2.775124922005991E-2</c:v>
                </c:pt>
                <c:pt idx="17">
                  <c:v>-4.3699012319725068E-2</c:v>
                </c:pt>
                <c:pt idx="18">
                  <c:v>-5.2990431105252422E-2</c:v>
                </c:pt>
                <c:pt idx="19">
                  <c:v>-2.6707762206924533E-2</c:v>
                </c:pt>
                <c:pt idx="20">
                  <c:v>-5.9500720936115983E-2</c:v>
                </c:pt>
                <c:pt idx="21">
                  <c:v>-7.8305497442959018E-2</c:v>
                </c:pt>
                <c:pt idx="22">
                  <c:v>-2.7658030854525961E-2</c:v>
                </c:pt>
                <c:pt idx="23">
                  <c:v>-6.1580107365591108E-2</c:v>
                </c:pt>
                <c:pt idx="24">
                  <c:v>-0.13898482150095931</c:v>
                </c:pt>
                <c:pt idx="25">
                  <c:v>-8.0073147066694189E-2</c:v>
                </c:pt>
                <c:pt idx="26">
                  <c:v>-0.14205264963070613</c:v>
                </c:pt>
                <c:pt idx="27">
                  <c:v>-0.10110289768872792</c:v>
                </c:pt>
                <c:pt idx="28">
                  <c:v>-3.0883391405129162E-2</c:v>
                </c:pt>
                <c:pt idx="29">
                  <c:v>-5.7908113477688414E-2</c:v>
                </c:pt>
                <c:pt idx="30">
                  <c:v>-1.7969938084562702E-2</c:v>
                </c:pt>
                <c:pt idx="31">
                  <c:v>-3.7142283144857777E-2</c:v>
                </c:pt>
                <c:pt idx="32">
                  <c:v>-3.900537709906865E-2</c:v>
                </c:pt>
                <c:pt idx="33">
                  <c:v>-3.2110520108621893E-2</c:v>
                </c:pt>
              </c:numCache>
            </c:numRef>
          </c:val>
          <c:extLst xmlns:c16r2="http://schemas.microsoft.com/office/drawing/2015/06/chart">
            <c:ext xmlns:c16="http://schemas.microsoft.com/office/drawing/2014/chart" uri="{C3380CC4-5D6E-409C-BE32-E72D297353CC}">
              <c16:uniqueId val="{00000000-1774-4897-ADC0-BE124BC5AA36}"/>
            </c:ext>
          </c:extLst>
        </c:ser>
        <c:ser>
          <c:idx val="1"/>
          <c:order val="1"/>
          <c:tx>
            <c:strRef>
              <c:f>'Amundi Fds Europe MinVar BRUT'!$CE$4</c:f>
              <c:strCache>
                <c:ptCount val="1"/>
                <c:pt idx="0">
                  <c:v>MSCI Europe </c:v>
                </c:pt>
              </c:strCache>
            </c:strRef>
          </c:tx>
          <c:spPr>
            <a:solidFill>
              <a:srgbClr val="009EE0"/>
            </a:solidFill>
          </c:spPr>
          <c:invertIfNegative val="0"/>
          <c:cat>
            <c:strRef>
              <c:f>'Amundi Fds Europe MinVar BRUT'!$BY$6:$BY$39</c:f>
              <c:strCache>
                <c:ptCount val="34"/>
                <c:pt idx="0">
                  <c:v>Q3 2009</c:v>
                </c:pt>
                <c:pt idx="1">
                  <c:v>Q4 2009</c:v>
                </c:pt>
                <c:pt idx="2">
                  <c:v>Q1 2010</c:v>
                </c:pt>
                <c:pt idx="3">
                  <c:v>Q2 2010</c:v>
                </c:pt>
                <c:pt idx="4">
                  <c:v>Q3 2010</c:v>
                </c:pt>
                <c:pt idx="5">
                  <c:v>Q4 2010</c:v>
                </c:pt>
                <c:pt idx="6">
                  <c:v>Q1 2011</c:v>
                </c:pt>
                <c:pt idx="7">
                  <c:v>Q2 2011</c:v>
                </c:pt>
                <c:pt idx="8">
                  <c:v>Q3 2011</c:v>
                </c:pt>
                <c:pt idx="9">
                  <c:v>Q4 2011</c:v>
                </c:pt>
                <c:pt idx="10">
                  <c:v>Q1 2012</c:v>
                </c:pt>
                <c:pt idx="11">
                  <c:v>Q2 2012</c:v>
                </c:pt>
                <c:pt idx="12">
                  <c:v>Q3 2012</c:v>
                </c:pt>
                <c:pt idx="13">
                  <c:v>Q4 2012</c:v>
                </c:pt>
                <c:pt idx="14">
                  <c:v>Q1 2013</c:v>
                </c:pt>
                <c:pt idx="15">
                  <c:v>Q2 2013</c:v>
                </c:pt>
                <c:pt idx="16">
                  <c:v>Q3 2013</c:v>
                </c:pt>
                <c:pt idx="17">
                  <c:v>Q4 2013</c:v>
                </c:pt>
                <c:pt idx="18">
                  <c:v>Q1 2014</c:v>
                </c:pt>
                <c:pt idx="19">
                  <c:v>Q2 2014</c:v>
                </c:pt>
                <c:pt idx="20">
                  <c:v>Q3 2014</c:v>
                </c:pt>
                <c:pt idx="21">
                  <c:v>Q4 2014</c:v>
                </c:pt>
                <c:pt idx="22">
                  <c:v>Q1 2015</c:v>
                </c:pt>
                <c:pt idx="23">
                  <c:v>Q2 2015</c:v>
                </c:pt>
                <c:pt idx="24">
                  <c:v>Q3 2015</c:v>
                </c:pt>
                <c:pt idx="25">
                  <c:v>Q4 2015</c:v>
                </c:pt>
                <c:pt idx="26">
                  <c:v>Q1 2016</c:v>
                </c:pt>
                <c:pt idx="27">
                  <c:v>Q2 2016</c:v>
                </c:pt>
                <c:pt idx="28">
                  <c:v>Q3 2016</c:v>
                </c:pt>
                <c:pt idx="29">
                  <c:v>Q4 2016</c:v>
                </c:pt>
                <c:pt idx="30">
                  <c:v>Q1 2017</c:v>
                </c:pt>
                <c:pt idx="31">
                  <c:v>Q2 2017</c:v>
                </c:pt>
                <c:pt idx="32">
                  <c:v>Q3 2017</c:v>
                </c:pt>
                <c:pt idx="33">
                  <c:v>Q4 2017</c:v>
                </c:pt>
              </c:strCache>
            </c:strRef>
          </c:cat>
          <c:val>
            <c:numRef>
              <c:f>'Amundi Fds Europe MinVar BRUT'!$CE$6:$CE$39</c:f>
              <c:numCache>
                <c:formatCode>0.00%</c:formatCode>
                <c:ptCount val="34"/>
                <c:pt idx="0">
                  <c:v>-5.7849560340761781E-2</c:v>
                </c:pt>
                <c:pt idx="1">
                  <c:v>-5.6073574774513697E-2</c:v>
                </c:pt>
                <c:pt idx="2">
                  <c:v>-8.759421220680641E-2</c:v>
                </c:pt>
                <c:pt idx="3">
                  <c:v>-0.13657344355734141</c:v>
                </c:pt>
                <c:pt idx="4">
                  <c:v>-5.441526126277077E-2</c:v>
                </c:pt>
                <c:pt idx="5">
                  <c:v>-4.125112496926376E-2</c:v>
                </c:pt>
                <c:pt idx="6">
                  <c:v>-9.7864590520777811E-2</c:v>
                </c:pt>
                <c:pt idx="7">
                  <c:v>-6.4316097219675947E-2</c:v>
                </c:pt>
                <c:pt idx="8">
                  <c:v>-0.21487034128854746</c:v>
                </c:pt>
                <c:pt idx="9">
                  <c:v>-0.11474129471558843</c:v>
                </c:pt>
                <c:pt idx="10">
                  <c:v>-4.1860102075973522E-2</c:v>
                </c:pt>
                <c:pt idx="11">
                  <c:v>-0.11242927119667628</c:v>
                </c:pt>
                <c:pt idx="12">
                  <c:v>-4.3133239903043477E-2</c:v>
                </c:pt>
                <c:pt idx="13">
                  <c:v>-4.6187902886225492E-2</c:v>
                </c:pt>
                <c:pt idx="14">
                  <c:v>-2.3741796006411933E-2</c:v>
                </c:pt>
                <c:pt idx="15">
                  <c:v>-0.11043151278505989</c:v>
                </c:pt>
                <c:pt idx="16">
                  <c:v>-3.512325779721296E-2</c:v>
                </c:pt>
                <c:pt idx="17">
                  <c:v>-4.7271395045895385E-2</c:v>
                </c:pt>
                <c:pt idx="18">
                  <c:v>-5.5664634264939061E-2</c:v>
                </c:pt>
                <c:pt idx="19">
                  <c:v>-3.2442249655265161E-2</c:v>
                </c:pt>
                <c:pt idx="20">
                  <c:v>-6.5605673762320585E-2</c:v>
                </c:pt>
                <c:pt idx="21">
                  <c:v>-8.8452149477868308E-2</c:v>
                </c:pt>
                <c:pt idx="22">
                  <c:v>-3.2548782113618342E-2</c:v>
                </c:pt>
                <c:pt idx="23">
                  <c:v>-7.2765035743680678E-2</c:v>
                </c:pt>
                <c:pt idx="24">
                  <c:v>-0.16747011752231941</c:v>
                </c:pt>
                <c:pt idx="25">
                  <c:v>-9.5699749428085873E-2</c:v>
                </c:pt>
                <c:pt idx="26">
                  <c:v>-0.16762830433390474</c:v>
                </c:pt>
                <c:pt idx="27">
                  <c:v>-0.11093844311662114</c:v>
                </c:pt>
                <c:pt idx="28">
                  <c:v>-3.8938964578218778E-2</c:v>
                </c:pt>
                <c:pt idx="29">
                  <c:v>-4.7214463435464822E-2</c:v>
                </c:pt>
                <c:pt idx="30">
                  <c:v>-2.0433973201066928E-2</c:v>
                </c:pt>
                <c:pt idx="31">
                  <c:v>-3.7739967774529232E-2</c:v>
                </c:pt>
                <c:pt idx="32">
                  <c:v>-4.4546762196241742E-2</c:v>
                </c:pt>
                <c:pt idx="33">
                  <c:v>-3.6057253371766504E-2</c:v>
                </c:pt>
              </c:numCache>
            </c:numRef>
          </c:val>
          <c:extLst xmlns:c16r2="http://schemas.microsoft.com/office/drawing/2015/06/chart">
            <c:ext xmlns:c16="http://schemas.microsoft.com/office/drawing/2014/chart" uri="{C3380CC4-5D6E-409C-BE32-E72D297353CC}">
              <c16:uniqueId val="{00000001-1774-4897-ADC0-BE124BC5AA36}"/>
            </c:ext>
          </c:extLst>
        </c:ser>
        <c:dLbls>
          <c:showLegendKey val="0"/>
          <c:showVal val="0"/>
          <c:showCatName val="0"/>
          <c:showSerName val="0"/>
          <c:showPercent val="0"/>
          <c:showBubbleSize val="0"/>
        </c:dLbls>
        <c:gapWidth val="150"/>
        <c:axId val="215370368"/>
        <c:axId val="215372160"/>
      </c:barChart>
      <c:catAx>
        <c:axId val="215370368"/>
        <c:scaling>
          <c:orientation val="minMax"/>
        </c:scaling>
        <c:delete val="0"/>
        <c:axPos val="b"/>
        <c:numFmt formatCode="m/d/yyyy" sourceLinked="0"/>
        <c:majorTickMark val="out"/>
        <c:minorTickMark val="none"/>
        <c:tickLblPos val="high"/>
        <c:txPr>
          <a:bodyPr rot="5400000"/>
          <a:lstStyle/>
          <a:p>
            <a:pPr>
              <a:defRPr sz="1000">
                <a:solidFill>
                  <a:srgbClr val="003C64"/>
                </a:solidFill>
              </a:defRPr>
            </a:pPr>
            <a:endParaRPr lang="en-US"/>
          </a:p>
        </c:txPr>
        <c:crossAx val="215372160"/>
        <c:crosses val="autoZero"/>
        <c:auto val="1"/>
        <c:lblAlgn val="ctr"/>
        <c:lblOffset val="100"/>
        <c:tickLblSkip val="1"/>
        <c:noMultiLvlLbl val="0"/>
      </c:catAx>
      <c:valAx>
        <c:axId val="215372160"/>
        <c:scaling>
          <c:orientation val="minMax"/>
        </c:scaling>
        <c:delete val="0"/>
        <c:axPos val="l"/>
        <c:majorGridlines>
          <c:spPr>
            <a:ln>
              <a:solidFill>
                <a:srgbClr val="FFFFFF"/>
              </a:solidFill>
            </a:ln>
          </c:spPr>
        </c:majorGridlines>
        <c:numFmt formatCode="0%" sourceLinked="0"/>
        <c:majorTickMark val="out"/>
        <c:minorTickMark val="none"/>
        <c:tickLblPos val="nextTo"/>
        <c:txPr>
          <a:bodyPr/>
          <a:lstStyle/>
          <a:p>
            <a:pPr algn="ctr">
              <a:defRPr lang="fr-FR" sz="1000" b="0" i="0" u="none" strike="noStrike" kern="1200" baseline="0">
                <a:solidFill>
                  <a:srgbClr val="003C64"/>
                </a:solidFill>
                <a:latin typeface="+mn-lt"/>
                <a:ea typeface="+mn-ea"/>
                <a:cs typeface="+mn-cs"/>
              </a:defRPr>
            </a:pPr>
            <a:endParaRPr lang="en-US"/>
          </a:p>
        </c:txPr>
        <c:crossAx val="215370368"/>
        <c:crosses val="autoZero"/>
        <c:crossBetween val="between"/>
      </c:valAx>
    </c:plotArea>
    <c:plotVisOnly val="1"/>
    <c:dispBlanksAs val="gap"/>
    <c:showDLblsOverMax val="0"/>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xMode val="edge"/>
          <c:yMode val="edge"/>
          <c:x val="1.3834607270086121E-2"/>
          <c:y val="1.2993762993762994E-2"/>
          <c:w val="0.98616539272991388"/>
          <c:h val="0.94204781704781704"/>
        </c:manualLayout>
      </c:layout>
      <c:barChart>
        <c:barDir val="bar"/>
        <c:grouping val="clustered"/>
        <c:varyColors val="0"/>
        <c:ser>
          <c:idx val="1"/>
          <c:order val="0"/>
          <c:tx>
            <c:strRef>
              <c:f>'Europe Min Var'!$M$37</c:f>
              <c:strCache>
                <c:ptCount val="1"/>
                <c:pt idx="0">
                  <c:v>Amundi Fds Eq Europe Conservative</c:v>
                </c:pt>
              </c:strCache>
            </c:strRef>
          </c:tx>
          <c:spPr>
            <a:solidFill>
              <a:schemeClr val="tx1"/>
            </a:solidFill>
            <a:ln>
              <a:noFill/>
              <a:round/>
            </a:ln>
            <a:effectLst/>
            <a:extLst>
              <a:ext uri="{91240B29-F687-4F45-9708-019B960494DF}">
                <a14:hiddenLine xmlns:a14="http://schemas.microsoft.com/office/drawing/2010/main">
                  <a:noFill/>
                  <a:round/>
                </a14:hiddenLine>
              </a:ext>
            </a:extLst>
          </c:spPr>
          <c:invertIfNegative val="0"/>
          <c:cat>
            <c:strRef>
              <c:f>'Europe Min Var'!$L$38:$L$52</c:f>
              <c:strCache>
                <c:ptCount val="15"/>
                <c:pt idx="0">
                  <c:v>UK</c:v>
                </c:pt>
                <c:pt idx="1">
                  <c:v>Germany</c:v>
                </c:pt>
                <c:pt idx="2">
                  <c:v>France</c:v>
                </c:pt>
                <c:pt idx="3">
                  <c:v>Switzerland</c:v>
                </c:pt>
                <c:pt idx="4">
                  <c:v>Denmark</c:v>
                </c:pt>
                <c:pt idx="5">
                  <c:v>Spain</c:v>
                </c:pt>
                <c:pt idx="6">
                  <c:v>Netherlands</c:v>
                </c:pt>
                <c:pt idx="7">
                  <c:v>Belgium</c:v>
                </c:pt>
                <c:pt idx="8">
                  <c:v>Italy</c:v>
                </c:pt>
                <c:pt idx="9">
                  <c:v>Sweden</c:v>
                </c:pt>
                <c:pt idx="10">
                  <c:v>Norway</c:v>
                </c:pt>
                <c:pt idx="11">
                  <c:v>Finland</c:v>
                </c:pt>
                <c:pt idx="12">
                  <c:v>Austria</c:v>
                </c:pt>
                <c:pt idx="13">
                  <c:v>Ireland</c:v>
                </c:pt>
                <c:pt idx="14">
                  <c:v>Portugal</c:v>
                </c:pt>
              </c:strCache>
            </c:strRef>
          </c:cat>
          <c:val>
            <c:numRef>
              <c:f>'Europe Min Var'!$M$38:$M$52</c:f>
              <c:numCache>
                <c:formatCode>0\.0%</c:formatCode>
                <c:ptCount val="15"/>
                <c:pt idx="0">
                  <c:v>0.18171458350615302</c:v>
                </c:pt>
                <c:pt idx="1">
                  <c:v>0.17797846428573294</c:v>
                </c:pt>
                <c:pt idx="2">
                  <c:v>0.16638640816950095</c:v>
                </c:pt>
                <c:pt idx="3">
                  <c:v>0.12509778124664125</c:v>
                </c:pt>
                <c:pt idx="4">
                  <c:v>6.5019719526124425E-2</c:v>
                </c:pt>
                <c:pt idx="5">
                  <c:v>5.4639473880264522E-2</c:v>
                </c:pt>
                <c:pt idx="6">
                  <c:v>5.2104722236589227E-2</c:v>
                </c:pt>
                <c:pt idx="7">
                  <c:v>4.6277031806979306E-2</c:v>
                </c:pt>
                <c:pt idx="8">
                  <c:v>3.8969335068105085E-2</c:v>
                </c:pt>
                <c:pt idx="9">
                  <c:v>3.6838146187754835E-2</c:v>
                </c:pt>
                <c:pt idx="10">
                  <c:v>3.0869370273611977E-2</c:v>
                </c:pt>
                <c:pt idx="11">
                  <c:v>1.7275302530782022E-2</c:v>
                </c:pt>
                <c:pt idx="12">
                  <c:v>6.8296612817604751E-3</c:v>
                </c:pt>
                <c:pt idx="13">
                  <c:v>0</c:v>
                </c:pt>
                <c:pt idx="14">
                  <c:v>0</c:v>
                </c:pt>
              </c:numCache>
            </c:numRef>
          </c:val>
        </c:ser>
        <c:ser>
          <c:idx val="0"/>
          <c:order val="1"/>
          <c:tx>
            <c:strRef>
              <c:f>'Europe Min Var'!$N$37</c:f>
              <c:strCache>
                <c:ptCount val="1"/>
                <c:pt idx="0">
                  <c:v>MSCI Europe</c:v>
                </c:pt>
              </c:strCache>
            </c:strRef>
          </c:tx>
          <c:spPr>
            <a:solidFill>
              <a:schemeClr val="accent1"/>
            </a:solidFill>
            <a:ln>
              <a:noFill/>
              <a:round/>
            </a:ln>
            <a:effectLst/>
            <a:extLst>
              <a:ext uri="{91240B29-F687-4F45-9708-019B960494DF}">
                <a14:hiddenLine xmlns:a14="http://schemas.microsoft.com/office/drawing/2010/main">
                  <a:noFill/>
                  <a:round/>
                </a14:hiddenLine>
              </a:ext>
            </a:extLst>
          </c:spPr>
          <c:invertIfNegative val="0"/>
          <c:cat>
            <c:strRef>
              <c:f>'Europe Min Var'!$L$38:$L$52</c:f>
              <c:strCache>
                <c:ptCount val="15"/>
                <c:pt idx="0">
                  <c:v>UK</c:v>
                </c:pt>
                <c:pt idx="1">
                  <c:v>Germany</c:v>
                </c:pt>
                <c:pt idx="2">
                  <c:v>France</c:v>
                </c:pt>
                <c:pt idx="3">
                  <c:v>Switzerland</c:v>
                </c:pt>
                <c:pt idx="4">
                  <c:v>Denmark</c:v>
                </c:pt>
                <c:pt idx="5">
                  <c:v>Spain</c:v>
                </c:pt>
                <c:pt idx="6">
                  <c:v>Netherlands</c:v>
                </c:pt>
                <c:pt idx="7">
                  <c:v>Belgium</c:v>
                </c:pt>
                <c:pt idx="8">
                  <c:v>Italy</c:v>
                </c:pt>
                <c:pt idx="9">
                  <c:v>Sweden</c:v>
                </c:pt>
                <c:pt idx="10">
                  <c:v>Norway</c:v>
                </c:pt>
                <c:pt idx="11">
                  <c:v>Finland</c:v>
                </c:pt>
                <c:pt idx="12">
                  <c:v>Austria</c:v>
                </c:pt>
                <c:pt idx="13">
                  <c:v>Ireland</c:v>
                </c:pt>
                <c:pt idx="14">
                  <c:v>Portugal</c:v>
                </c:pt>
              </c:strCache>
            </c:strRef>
          </c:cat>
          <c:val>
            <c:numRef>
              <c:f>'Europe Min Var'!$N$38:$N$52</c:f>
              <c:numCache>
                <c:formatCode>0\.0%</c:formatCode>
                <c:ptCount val="15"/>
                <c:pt idx="0">
                  <c:v>0.27340953307644517</c:v>
                </c:pt>
                <c:pt idx="1">
                  <c:v>0.15570874913440091</c:v>
                </c:pt>
                <c:pt idx="2">
                  <c:v>0.16994011716982846</c:v>
                </c:pt>
                <c:pt idx="3">
                  <c:v>0.12578578740688837</c:v>
                </c:pt>
                <c:pt idx="4">
                  <c:v>2.8343184368784548E-2</c:v>
                </c:pt>
                <c:pt idx="5">
                  <c:v>5.194140941440295E-2</c:v>
                </c:pt>
                <c:pt idx="6">
                  <c:v>5.65676510452892E-2</c:v>
                </c:pt>
                <c:pt idx="7">
                  <c:v>1.7369167655442337E-2</c:v>
                </c:pt>
                <c:pt idx="8">
                  <c:v>3.8771982775876401E-2</c:v>
                </c:pt>
                <c:pt idx="9">
                  <c:v>4.2737516221375275E-2</c:v>
                </c:pt>
                <c:pt idx="10">
                  <c:v>1.0428004484491053E-2</c:v>
                </c:pt>
                <c:pt idx="11">
                  <c:v>1.486760364452123E-2</c:v>
                </c:pt>
                <c:pt idx="12">
                  <c:v>4.2695570733858315E-3</c:v>
                </c:pt>
                <c:pt idx="13">
                  <c:v>7.5203457035545093E-3</c:v>
                </c:pt>
                <c:pt idx="14">
                  <c:v>2.3393908253136887E-3</c:v>
                </c:pt>
              </c:numCache>
            </c:numRef>
          </c:val>
        </c:ser>
        <c:dLbls>
          <c:showLegendKey val="0"/>
          <c:showVal val="0"/>
          <c:showCatName val="0"/>
          <c:showSerName val="0"/>
          <c:showPercent val="0"/>
          <c:showBubbleSize val="0"/>
        </c:dLbls>
        <c:gapWidth val="150"/>
        <c:axId val="459989760"/>
        <c:axId val="459991296"/>
      </c:barChart>
      <c:catAx>
        <c:axId val="459989760"/>
        <c:scaling>
          <c:orientation val="maxMin"/>
        </c:scaling>
        <c:delete val="0"/>
        <c:axPos val="l"/>
        <c:majorTickMark val="out"/>
        <c:minorTickMark val="none"/>
        <c:tickLblPos val="low"/>
        <c:spPr>
          <a:ln>
            <a:solidFill>
              <a:srgbClr val="003C64"/>
            </a:solidFill>
          </a:ln>
        </c:spPr>
        <c:txPr>
          <a:bodyPr/>
          <a:lstStyle/>
          <a:p>
            <a:pPr>
              <a:defRPr sz="900" b="0" i="0" u="none">
                <a:solidFill>
                  <a:srgbClr val="003C64"/>
                </a:solidFill>
                <a:latin typeface="Arial(Corps)"/>
                <a:ea typeface="Arial(Corps)"/>
                <a:cs typeface="Arial(Corps)"/>
              </a:defRPr>
            </a:pPr>
            <a:endParaRPr lang="en-US"/>
          </a:p>
        </c:txPr>
        <c:crossAx val="459991296"/>
        <c:crosses val="autoZero"/>
        <c:auto val="1"/>
        <c:lblAlgn val="ctr"/>
        <c:lblOffset val="100"/>
        <c:noMultiLvlLbl val="0"/>
      </c:catAx>
      <c:valAx>
        <c:axId val="459991296"/>
        <c:scaling>
          <c:orientation val="minMax"/>
        </c:scaling>
        <c:delete val="0"/>
        <c:axPos val="t"/>
        <c:majorGridlines>
          <c:spPr>
            <a:ln w="3175">
              <a:solidFill>
                <a:srgbClr val="FFFFFF"/>
              </a:solidFill>
            </a:ln>
          </c:spPr>
        </c:majorGridlines>
        <c:numFmt formatCode="0.0%" sourceLinked="0"/>
        <c:majorTickMark val="out"/>
        <c:minorTickMark val="none"/>
        <c:tickLblPos val="nextTo"/>
        <c:spPr>
          <a:ln>
            <a:solidFill>
              <a:srgbClr val="003C64"/>
            </a:solidFill>
          </a:ln>
        </c:spPr>
        <c:txPr>
          <a:bodyPr/>
          <a:lstStyle/>
          <a:p>
            <a:pPr>
              <a:defRPr sz="900" b="0" i="0" u="none">
                <a:solidFill>
                  <a:srgbClr val="003C64"/>
                </a:solidFill>
                <a:latin typeface="Arial(Corps)"/>
                <a:ea typeface="Arial(Corps)"/>
                <a:cs typeface="Arial(Corps)"/>
              </a:defRPr>
            </a:pPr>
            <a:endParaRPr lang="en-US"/>
          </a:p>
        </c:txPr>
        <c:crossAx val="459989760"/>
        <c:crosses val="autoZero"/>
        <c:crossBetween val="between"/>
      </c:valAx>
    </c:plotArea>
    <c:legend>
      <c:legendPos val="b"/>
      <c:legendEntry>
        <c:idx val="0"/>
        <c:txPr>
          <a:bodyPr/>
          <a:lstStyle/>
          <a:p>
            <a:pPr>
              <a:defRPr sz="900" b="0" i="0" u="none">
                <a:solidFill>
                  <a:srgbClr val="003C64"/>
                </a:solidFill>
                <a:latin typeface="Arial(Corps)"/>
                <a:ea typeface="Arial(Corps)"/>
                <a:cs typeface="Arial(Corps)"/>
              </a:defRPr>
            </a:pPr>
            <a:endParaRPr lang="en-US"/>
          </a:p>
        </c:txPr>
      </c:legendEntry>
      <c:legendEntry>
        <c:idx val="1"/>
        <c:txPr>
          <a:bodyPr/>
          <a:lstStyle/>
          <a:p>
            <a:pPr>
              <a:defRPr sz="900" b="0" i="0" u="none">
                <a:solidFill>
                  <a:srgbClr val="00A0E3"/>
                </a:solidFill>
                <a:latin typeface="Arial(Corps)"/>
                <a:ea typeface="Arial(Corps)"/>
                <a:cs typeface="Arial(Corps)"/>
              </a:defRPr>
            </a:pPr>
            <a:endParaRPr lang="en-US"/>
          </a:p>
        </c:txPr>
      </c:legendEntry>
      <c:layout>
        <c:manualLayout>
          <c:xMode val="edge"/>
          <c:yMode val="edge"/>
          <c:x val="1.3834607270086121E-2"/>
          <c:y val="0.9481889047587867"/>
          <c:w val="0.98616539272991388"/>
          <c:h val="5.1811095241213349E-2"/>
        </c:manualLayout>
      </c:layout>
      <c:overlay val="0"/>
      <c:txPr>
        <a:bodyPr/>
        <a:lstStyle/>
        <a:p>
          <a:pPr>
            <a:defRPr sz="900" b="0" i="0" u="none">
              <a:latin typeface="Arial(Corps)"/>
              <a:ea typeface="Arial(Corps)"/>
              <a:cs typeface="Arial(Corps)"/>
            </a:defRPr>
          </a:pPr>
          <a:endParaRPr lang="en-US"/>
        </a:p>
      </c:txPr>
    </c:legend>
    <c:plotVisOnly val="1"/>
    <c:dispBlanksAs val="gap"/>
    <c:showDLblsOverMax val="0"/>
  </c:chart>
  <c:spPr>
    <a:ln w="25400">
      <a:noFill/>
    </a:ln>
  </c:spPr>
  <c:txPr>
    <a:bodyPr/>
    <a:lstStyle/>
    <a:p>
      <a:pPr>
        <a:defRPr sz="9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xMode val="edge"/>
          <c:yMode val="edge"/>
          <c:x val="1.2678288431061807E-2"/>
          <c:y val="2.0600504712365453E-2"/>
          <c:w val="0.98732171156893822"/>
          <c:h val="0.7982695576041613"/>
        </c:manualLayout>
      </c:layout>
      <c:barChart>
        <c:barDir val="col"/>
        <c:grouping val="clustered"/>
        <c:varyColors val="0"/>
        <c:ser>
          <c:idx val="0"/>
          <c:order val="0"/>
          <c:tx>
            <c:strRef>
              <c:f>'Amundi Fds Global MV BRUT USD'!$U$105</c:f>
              <c:strCache>
                <c:ptCount val="1"/>
                <c:pt idx="0">
                  <c:v>Amundi Fds Global Conservative</c:v>
                </c:pt>
              </c:strCache>
            </c:strRef>
          </c:tx>
          <c:spPr>
            <a:solidFill>
              <a:srgbClr val="003C64"/>
            </a:solidFill>
            <a:ln>
              <a:noFill/>
              <a:round/>
            </a:ln>
            <a:effectLst/>
            <a:extLst>
              <a:ext uri="{91240B29-F687-4F45-9708-019B960494DF}">
                <a14:hiddenLine xmlns:a14="http://schemas.microsoft.com/office/drawing/2010/main">
                  <a:noFill/>
                  <a:round/>
                </a14:hiddenLine>
              </a:ext>
            </a:extLst>
          </c:spPr>
          <c:invertIfNegative val="0"/>
          <c:dLbls>
            <c:dLbl>
              <c:idx val="0"/>
              <c:layout>
                <c:manualLayout>
                  <c:x val="-9.5087163232963554E-3"/>
                  <c:y val="1.0300252356182727E-2"/>
                </c:manualLayout>
              </c:layout>
              <c:tx>
                <c:rich>
                  <a:bodyPr/>
                  <a:lstStyle/>
                  <a:p>
                    <a:r>
                      <a:rPr lang="en-US" smtClean="0"/>
                      <a:t>3.2</a:t>
                    </a:r>
                    <a:r>
                      <a:rPr lang="en-US"/>
                      <a:t>%</a:t>
                    </a:r>
                  </a:p>
                </c:rich>
              </c:tx>
              <c:showLegendKey val="0"/>
              <c:showVal val="1"/>
              <c:showCatName val="0"/>
              <c:showSerName val="0"/>
              <c:showPercent val="0"/>
              <c:showBubbleSize val="0"/>
            </c:dLbl>
            <c:dLbl>
              <c:idx val="1"/>
              <c:layout>
                <c:manualLayout>
                  <c:x val="-1.9017432646592711E-2"/>
                  <c:y val="-5.1501261780913634E-3"/>
                </c:manualLayout>
              </c:layout>
              <c:tx>
                <c:rich>
                  <a:bodyPr/>
                  <a:lstStyle/>
                  <a:p>
                    <a:r>
                      <a:rPr lang="en-US" smtClean="0"/>
                      <a:t>24.9</a:t>
                    </a:r>
                    <a:r>
                      <a:rPr lang="en-US" dirty="0"/>
                      <a:t>%</a:t>
                    </a:r>
                  </a:p>
                </c:rich>
              </c:tx>
              <c:showLegendKey val="0"/>
              <c:showVal val="1"/>
              <c:showCatName val="0"/>
              <c:showSerName val="0"/>
              <c:showPercent val="0"/>
              <c:showBubbleSize val="0"/>
            </c:dLbl>
            <c:dLbl>
              <c:idx val="2"/>
              <c:tx>
                <c:rich>
                  <a:bodyPr/>
                  <a:lstStyle/>
                  <a:p>
                    <a:r>
                      <a:rPr lang="en-US" smtClean="0"/>
                      <a:t>7.3</a:t>
                    </a:r>
                    <a:r>
                      <a:rPr lang="en-US"/>
                      <a:t>%</a:t>
                    </a:r>
                  </a:p>
                </c:rich>
              </c:tx>
              <c:showLegendKey val="0"/>
              <c:showVal val="1"/>
              <c:showCatName val="0"/>
              <c:showSerName val="0"/>
              <c:showPercent val="0"/>
              <c:showBubbleSize val="0"/>
            </c:dLbl>
            <c:dLbl>
              <c:idx val="3"/>
              <c:tx>
                <c:rich>
                  <a:bodyPr/>
                  <a:lstStyle/>
                  <a:p>
                    <a:r>
                      <a:rPr lang="en-US" smtClean="0"/>
                      <a:t>1.1</a:t>
                    </a:r>
                    <a:r>
                      <a:rPr lang="en-US"/>
                      <a:t>%</a:t>
                    </a:r>
                  </a:p>
                </c:rich>
              </c:tx>
              <c:showLegendKey val="0"/>
              <c:showVal val="1"/>
              <c:showCatName val="0"/>
              <c:showSerName val="0"/>
              <c:showPercent val="0"/>
              <c:showBubbleSize val="0"/>
            </c:dLbl>
            <c:dLbl>
              <c:idx val="4"/>
              <c:tx>
                <c:rich>
                  <a:bodyPr/>
                  <a:lstStyle/>
                  <a:p>
                    <a:r>
                      <a:rPr lang="en-US" smtClean="0"/>
                      <a:t>8.7</a:t>
                    </a:r>
                    <a:r>
                      <a:rPr lang="en-US"/>
                      <a:t>%</a:t>
                    </a:r>
                  </a:p>
                </c:rich>
              </c:tx>
              <c:showLegendKey val="0"/>
              <c:showVal val="1"/>
              <c:showCatName val="0"/>
              <c:showSerName val="0"/>
              <c:showPercent val="0"/>
              <c:showBubbleSize val="0"/>
            </c:dLbl>
            <c:dLbl>
              <c:idx val="5"/>
              <c:layout>
                <c:manualLayout>
                  <c:x val="-2.2187004754358162E-2"/>
                  <c:y val="0"/>
                </c:manualLayout>
              </c:layout>
              <c:tx>
                <c:rich>
                  <a:bodyPr/>
                  <a:lstStyle/>
                  <a:p>
                    <a:r>
                      <a:rPr lang="en-US" dirty="0" smtClean="0"/>
                      <a:t>17.4</a:t>
                    </a:r>
                    <a:r>
                      <a:rPr lang="en-US" dirty="0"/>
                      <a:t>%</a:t>
                    </a:r>
                  </a:p>
                </c:rich>
              </c:tx>
              <c:showLegendKey val="0"/>
              <c:showVal val="1"/>
              <c:showCatName val="0"/>
              <c:showSerName val="0"/>
              <c:showPercent val="0"/>
              <c:showBubbleSize val="0"/>
            </c:dLbl>
            <c:dLbl>
              <c:idx val="6"/>
              <c:layout>
                <c:manualLayout>
                  <c:x val="-1.2678288431061807E-2"/>
                  <c:y val="5.1501261780913634E-3"/>
                </c:manualLayout>
              </c:layout>
              <c:showLegendKey val="0"/>
              <c:showVal val="1"/>
              <c:showCatName val="0"/>
              <c:showSerName val="0"/>
              <c:showPercent val="0"/>
              <c:showBubbleSize val="0"/>
            </c:dLbl>
            <c:numFmt formatCode="0.0%" sourceLinked="0"/>
            <c:txPr>
              <a:bodyPr/>
              <a:lstStyle/>
              <a:p>
                <a:pPr>
                  <a:defRPr sz="900" b="0" i="0">
                    <a:solidFill>
                      <a:srgbClr val="003C64"/>
                    </a:solidFill>
                    <a:latin typeface="Arial(Corps)"/>
                    <a:ea typeface="Arial(Corps)"/>
                    <a:cs typeface="Arial(Corps)"/>
                  </a:defRPr>
                </a:pPr>
                <a:endParaRPr lang="en-US"/>
              </a:p>
            </c:txPr>
            <c:showLegendKey val="0"/>
            <c:showVal val="1"/>
            <c:showCatName val="0"/>
            <c:showSerName val="0"/>
            <c:showPercent val="0"/>
            <c:showBubbleSize val="0"/>
            <c:showLeaderLines val="0"/>
          </c:dLbls>
          <c:cat>
            <c:strRef>
              <c:f>'Amundi Fds Global MV BRUT USD'!$T$106:$T$112</c:f>
              <c:strCache>
                <c:ptCount val="7"/>
                <c:pt idx="0">
                  <c:v>2012 (partial)</c:v>
                </c:pt>
                <c:pt idx="1">
                  <c:v>2013</c:v>
                </c:pt>
                <c:pt idx="2">
                  <c:v>2014</c:v>
                </c:pt>
                <c:pt idx="3">
                  <c:v>2015</c:v>
                </c:pt>
                <c:pt idx="4">
                  <c:v>2016</c:v>
                </c:pt>
                <c:pt idx="5">
                  <c:v>2017</c:v>
                </c:pt>
                <c:pt idx="6">
                  <c:v>YTD</c:v>
                </c:pt>
              </c:strCache>
            </c:strRef>
          </c:cat>
          <c:val>
            <c:numRef>
              <c:f>'Amundi Fds Global MV BRUT USD'!$U$106:$U$112</c:f>
              <c:numCache>
                <c:formatCode>0\.0%</c:formatCode>
                <c:ptCount val="7"/>
                <c:pt idx="0">
                  <c:v>3.1701660911849894E-2</c:v>
                </c:pt>
                <c:pt idx="1">
                  <c:v>0.2490154461186147</c:v>
                </c:pt>
                <c:pt idx="2">
                  <c:v>7.2701031847993702E-2</c:v>
                </c:pt>
                <c:pt idx="3">
                  <c:v>1.1452947263892899E-2</c:v>
                </c:pt>
                <c:pt idx="4">
                  <c:v>8.7159732093854858E-2</c:v>
                </c:pt>
                <c:pt idx="5">
                  <c:v>0.17407724671098435</c:v>
                </c:pt>
                <c:pt idx="6">
                  <c:v>3.6661852506974846E-2</c:v>
                </c:pt>
              </c:numCache>
            </c:numRef>
          </c:val>
          <c:extLst xmlns:c16r2="http://schemas.microsoft.com/office/drawing/2015/06/chart">
            <c:ext xmlns:c16="http://schemas.microsoft.com/office/drawing/2014/chart" uri="{C3380CC4-5D6E-409C-BE32-E72D297353CC}">
              <c16:uniqueId val="{00000000-31FF-4D26-A666-58421E66A32B}"/>
            </c:ext>
          </c:extLst>
        </c:ser>
        <c:ser>
          <c:idx val="1"/>
          <c:order val="1"/>
          <c:tx>
            <c:strRef>
              <c:f>'Amundi Fds Global MV BRUT USD'!$V$105</c:f>
              <c:strCache>
                <c:ptCount val="1"/>
                <c:pt idx="0">
                  <c:v>MSCI World</c:v>
                </c:pt>
              </c:strCache>
            </c:strRef>
          </c:tx>
          <c:spPr>
            <a:solidFill>
              <a:srgbClr val="00A0E3"/>
            </a:solidFill>
            <a:ln>
              <a:noFill/>
              <a:round/>
            </a:ln>
            <a:effectLst/>
            <a:extLst>
              <a:ext uri="{91240B29-F687-4F45-9708-019B960494DF}">
                <a14:hiddenLine xmlns:a14="http://schemas.microsoft.com/office/drawing/2010/main">
                  <a:noFill/>
                  <a:round/>
                </a14:hiddenLine>
              </a:ext>
            </a:extLst>
          </c:spPr>
          <c:invertIfNegative val="0"/>
          <c:dLbls>
            <c:dLbl>
              <c:idx val="0"/>
              <c:layout>
                <c:manualLayout>
                  <c:x val="0"/>
                  <c:y val="1.5450378534274089E-2"/>
                </c:manualLayout>
              </c:layout>
              <c:tx>
                <c:rich>
                  <a:bodyPr/>
                  <a:lstStyle/>
                  <a:p>
                    <a:r>
                      <a:rPr lang="en-US" smtClean="0"/>
                      <a:t>10.4</a:t>
                    </a:r>
                    <a:r>
                      <a:rPr lang="en-US"/>
                      <a:t>%</a:t>
                    </a:r>
                  </a:p>
                </c:rich>
              </c:tx>
              <c:showLegendKey val="0"/>
              <c:showVal val="1"/>
              <c:showCatName val="0"/>
              <c:showSerName val="0"/>
              <c:showPercent val="0"/>
              <c:showBubbleSize val="0"/>
            </c:dLbl>
            <c:dLbl>
              <c:idx val="1"/>
              <c:layout>
                <c:manualLayout>
                  <c:x val="3.1695721077654518E-2"/>
                  <c:y val="2.0600504712365453E-2"/>
                </c:manualLayout>
              </c:layout>
              <c:tx>
                <c:rich>
                  <a:bodyPr/>
                  <a:lstStyle/>
                  <a:p>
                    <a:r>
                      <a:rPr lang="en-US" dirty="0" smtClean="0"/>
                      <a:t>26.7%</a:t>
                    </a:r>
                    <a:endParaRPr lang="en-US" dirty="0"/>
                  </a:p>
                </c:rich>
              </c:tx>
              <c:showLegendKey val="0"/>
              <c:showVal val="1"/>
              <c:showCatName val="0"/>
              <c:showSerName val="0"/>
              <c:showPercent val="0"/>
              <c:showBubbleSize val="0"/>
            </c:dLbl>
            <c:dLbl>
              <c:idx val="2"/>
              <c:layout>
                <c:manualLayout>
                  <c:x val="3.4865293185420025E-2"/>
                  <c:y val="-4.7208944604080936E-17"/>
                </c:manualLayout>
              </c:layout>
              <c:tx>
                <c:rich>
                  <a:bodyPr/>
                  <a:lstStyle/>
                  <a:p>
                    <a:r>
                      <a:rPr lang="en-US" dirty="0" smtClean="0"/>
                      <a:t>4.9</a:t>
                    </a:r>
                    <a:r>
                      <a:rPr lang="en-US" dirty="0"/>
                      <a:t>%</a:t>
                    </a:r>
                  </a:p>
                </c:rich>
              </c:tx>
              <c:showLegendKey val="0"/>
              <c:showVal val="1"/>
              <c:showCatName val="0"/>
              <c:showSerName val="0"/>
              <c:showPercent val="0"/>
              <c:showBubbleSize val="0"/>
            </c:dLbl>
            <c:dLbl>
              <c:idx val="3"/>
              <c:tx>
                <c:rich>
                  <a:bodyPr/>
                  <a:lstStyle/>
                  <a:p>
                    <a:r>
                      <a:rPr lang="en-US"/>
                      <a:t>-</a:t>
                    </a:r>
                    <a:r>
                      <a:rPr lang="en-US" smtClean="0"/>
                      <a:t>0.9</a:t>
                    </a:r>
                    <a:r>
                      <a:rPr lang="en-US"/>
                      <a:t>%</a:t>
                    </a:r>
                  </a:p>
                </c:rich>
              </c:tx>
              <c:showLegendKey val="0"/>
              <c:showVal val="1"/>
              <c:showCatName val="0"/>
              <c:showSerName val="0"/>
              <c:showPercent val="0"/>
              <c:showBubbleSize val="0"/>
            </c:dLbl>
            <c:dLbl>
              <c:idx val="4"/>
              <c:layout>
                <c:manualLayout>
                  <c:x val="2.8526148969889066E-2"/>
                  <c:y val="5.1501261780914102E-3"/>
                </c:manualLayout>
              </c:layout>
              <c:tx>
                <c:rich>
                  <a:bodyPr/>
                  <a:lstStyle/>
                  <a:p>
                    <a:r>
                      <a:rPr lang="en-US" dirty="0" smtClean="0"/>
                      <a:t>7.5</a:t>
                    </a:r>
                    <a:r>
                      <a:rPr lang="en-US" dirty="0"/>
                      <a:t>%</a:t>
                    </a:r>
                  </a:p>
                </c:rich>
              </c:tx>
              <c:showLegendKey val="0"/>
              <c:showVal val="1"/>
              <c:showCatName val="0"/>
              <c:showSerName val="0"/>
              <c:showPercent val="0"/>
              <c:showBubbleSize val="0"/>
            </c:dLbl>
            <c:dLbl>
              <c:idx val="5"/>
              <c:tx>
                <c:rich>
                  <a:bodyPr/>
                  <a:lstStyle/>
                  <a:p>
                    <a:r>
                      <a:rPr lang="en-US" smtClean="0"/>
                      <a:t>22.4</a:t>
                    </a:r>
                    <a:r>
                      <a:rPr lang="en-US"/>
                      <a:t>%</a:t>
                    </a:r>
                  </a:p>
                </c:rich>
              </c:tx>
              <c:showLegendKey val="0"/>
              <c:showVal val="1"/>
              <c:showCatName val="0"/>
              <c:showSerName val="0"/>
              <c:showPercent val="0"/>
              <c:showBubbleSize val="0"/>
            </c:dLbl>
            <c:numFmt formatCode="0.0%" sourceLinked="0"/>
            <c:txPr>
              <a:bodyPr/>
              <a:lstStyle/>
              <a:p>
                <a:pPr>
                  <a:defRPr sz="900" b="0" i="0">
                    <a:solidFill>
                      <a:srgbClr val="00A0E3"/>
                    </a:solidFill>
                    <a:latin typeface="Arial(Corps)"/>
                    <a:ea typeface="Arial(Corps)"/>
                    <a:cs typeface="Arial(Corps)"/>
                  </a:defRPr>
                </a:pPr>
                <a:endParaRPr lang="en-US"/>
              </a:p>
            </c:txPr>
            <c:showLegendKey val="0"/>
            <c:showVal val="1"/>
            <c:showCatName val="0"/>
            <c:showSerName val="0"/>
            <c:showPercent val="0"/>
            <c:showBubbleSize val="0"/>
            <c:showLeaderLines val="0"/>
          </c:dLbls>
          <c:cat>
            <c:strRef>
              <c:f>'Amundi Fds Global MV BRUT USD'!$T$106:$T$112</c:f>
              <c:strCache>
                <c:ptCount val="7"/>
                <c:pt idx="0">
                  <c:v>2012 (partial)</c:v>
                </c:pt>
                <c:pt idx="1">
                  <c:v>2013</c:v>
                </c:pt>
                <c:pt idx="2">
                  <c:v>2014</c:v>
                </c:pt>
                <c:pt idx="3">
                  <c:v>2015</c:v>
                </c:pt>
                <c:pt idx="4">
                  <c:v>2016</c:v>
                </c:pt>
                <c:pt idx="5">
                  <c:v>2017</c:v>
                </c:pt>
                <c:pt idx="6">
                  <c:v>YTD</c:v>
                </c:pt>
              </c:strCache>
            </c:strRef>
          </c:cat>
          <c:val>
            <c:numRef>
              <c:f>'Amundi Fds Global MV BRUT USD'!$V$106:$V$112</c:f>
              <c:numCache>
                <c:formatCode>0\.0%</c:formatCode>
                <c:ptCount val="7"/>
                <c:pt idx="0">
                  <c:v>0.10355993080592985</c:v>
                </c:pt>
                <c:pt idx="1">
                  <c:v>0.26676561025167511</c:v>
                </c:pt>
                <c:pt idx="2">
                  <c:v>4.9368221866487483E-2</c:v>
                </c:pt>
                <c:pt idx="3">
                  <c:v>-8.7123862310343192E-3</c:v>
                </c:pt>
                <c:pt idx="4">
                  <c:v>7.5105025828608341E-2</c:v>
                </c:pt>
                <c:pt idx="5">
                  <c:v>0.22400321345142737</c:v>
                </c:pt>
                <c:pt idx="6">
                  <c:v>5.2800205091036556E-2</c:v>
                </c:pt>
              </c:numCache>
            </c:numRef>
          </c:val>
          <c:extLst xmlns:c16r2="http://schemas.microsoft.com/office/drawing/2015/06/chart">
            <c:ext xmlns:c16="http://schemas.microsoft.com/office/drawing/2014/chart" uri="{C3380CC4-5D6E-409C-BE32-E72D297353CC}">
              <c16:uniqueId val="{00000001-31FF-4D26-A666-58421E66A32B}"/>
            </c:ext>
          </c:extLst>
        </c:ser>
        <c:dLbls>
          <c:showLegendKey val="0"/>
          <c:showVal val="0"/>
          <c:showCatName val="0"/>
          <c:showSerName val="0"/>
          <c:showPercent val="0"/>
          <c:showBubbleSize val="0"/>
        </c:dLbls>
        <c:gapWidth val="150"/>
        <c:axId val="460067584"/>
        <c:axId val="460069120"/>
      </c:barChart>
      <c:catAx>
        <c:axId val="460067584"/>
        <c:scaling>
          <c:orientation val="minMax"/>
        </c:scaling>
        <c:delete val="0"/>
        <c:axPos val="b"/>
        <c:numFmt formatCode="General" sourceLinked="0"/>
        <c:majorTickMark val="out"/>
        <c:minorTickMark val="none"/>
        <c:tickLblPos val="low"/>
        <c:spPr>
          <a:ln>
            <a:solidFill>
              <a:srgbClr val="003C64"/>
            </a:solidFill>
          </a:ln>
        </c:spPr>
        <c:txPr>
          <a:bodyPr/>
          <a:lstStyle/>
          <a:p>
            <a:pPr>
              <a:defRPr sz="900" b="0" i="0" u="none">
                <a:solidFill>
                  <a:srgbClr val="003C64"/>
                </a:solidFill>
                <a:latin typeface="Arial"/>
                <a:ea typeface="Arial"/>
                <a:cs typeface="Arial"/>
              </a:defRPr>
            </a:pPr>
            <a:endParaRPr lang="en-US"/>
          </a:p>
        </c:txPr>
        <c:crossAx val="460069120"/>
        <c:crosses val="autoZero"/>
        <c:auto val="1"/>
        <c:lblAlgn val="ctr"/>
        <c:lblOffset val="100"/>
        <c:noMultiLvlLbl val="0"/>
      </c:catAx>
      <c:valAx>
        <c:axId val="460069120"/>
        <c:scaling>
          <c:orientation val="minMax"/>
        </c:scaling>
        <c:delete val="1"/>
        <c:axPos val="l"/>
        <c:majorGridlines>
          <c:spPr>
            <a:ln>
              <a:solidFill>
                <a:srgbClr val="FFFFFF"/>
              </a:solidFill>
            </a:ln>
          </c:spPr>
        </c:majorGridlines>
        <c:numFmt formatCode="0\.0%" sourceLinked="1"/>
        <c:majorTickMark val="none"/>
        <c:minorTickMark val="none"/>
        <c:tickLblPos val="nextTo"/>
        <c:crossAx val="460067584"/>
        <c:crosses val="autoZero"/>
        <c:crossBetween val="between"/>
      </c:valAx>
    </c:plotArea>
    <c:legend>
      <c:legendPos val="b"/>
      <c:legendEntry>
        <c:idx val="0"/>
        <c:txPr>
          <a:bodyPr/>
          <a:lstStyle/>
          <a:p>
            <a:pPr>
              <a:defRPr sz="900" b="0" i="0" u="none">
                <a:solidFill>
                  <a:srgbClr val="003C64"/>
                </a:solidFill>
                <a:latin typeface="Arial"/>
                <a:ea typeface="Arial"/>
                <a:cs typeface="Arial"/>
              </a:defRPr>
            </a:pPr>
            <a:endParaRPr lang="en-US"/>
          </a:p>
        </c:txPr>
      </c:legendEntry>
      <c:legendEntry>
        <c:idx val="1"/>
        <c:txPr>
          <a:bodyPr/>
          <a:lstStyle/>
          <a:p>
            <a:pPr>
              <a:defRPr sz="900" b="0" i="0" u="none">
                <a:solidFill>
                  <a:srgbClr val="00A0E3"/>
                </a:solidFill>
                <a:latin typeface="Arial"/>
                <a:ea typeface="Arial"/>
                <a:cs typeface="Arial"/>
              </a:defRPr>
            </a:pPr>
            <a:endParaRPr lang="en-US"/>
          </a:p>
        </c:txPr>
      </c:legendEntry>
      <c:layout>
        <c:manualLayout>
          <c:xMode val="edge"/>
          <c:yMode val="edge"/>
          <c:x val="0.16121217415176511"/>
          <c:y val="0.80455514467191058"/>
          <c:w val="0.7536451327102337"/>
          <c:h val="8.2142079410079408E-2"/>
        </c:manualLayout>
      </c:layout>
      <c:overlay val="0"/>
      <c:txPr>
        <a:bodyPr/>
        <a:lstStyle/>
        <a:p>
          <a:pPr>
            <a:defRPr sz="900" b="0" i="0" u="none">
              <a:latin typeface="Arial"/>
              <a:ea typeface="Arial"/>
              <a:cs typeface="Arial"/>
            </a:defRPr>
          </a:pPr>
          <a:endParaRPr lang="en-US"/>
        </a:p>
      </c:txPr>
    </c:legend>
    <c:plotVisOnly val="1"/>
    <c:dispBlanksAs val="gap"/>
    <c:showDLblsOverMax val="0"/>
  </c:chart>
  <c:spPr>
    <a:ln w="25400">
      <a:noFill/>
    </a:ln>
  </c:sp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2"/>
          <c:order val="2"/>
          <c:tx>
            <c:strRef>
              <c:f>'Amundi Fds Global MV BRUT USD'!$H$4</c:f>
              <c:strCache>
                <c:ptCount val="1"/>
                <c:pt idx="0">
                  <c:v>Excess return</c:v>
                </c:pt>
              </c:strCache>
            </c:strRef>
          </c:tx>
          <c:spPr>
            <a:solidFill>
              <a:schemeClr val="bg1">
                <a:lumMod val="95000"/>
              </a:schemeClr>
            </a:solidFill>
            <a:ln>
              <a:noFill/>
            </a:ln>
          </c:spPr>
          <c:cat>
            <c:numRef>
              <c:f>'Amundi Fds Global MV BRUT USD'!$C$5:$C$1457</c:f>
              <c:numCache>
                <c:formatCode>m/d/yyyy</c:formatCode>
                <c:ptCount val="1453"/>
                <c:pt idx="0">
                  <c:v>41099</c:v>
                </c:pt>
                <c:pt idx="1">
                  <c:v>41100</c:v>
                </c:pt>
                <c:pt idx="2">
                  <c:v>41101</c:v>
                </c:pt>
                <c:pt idx="3">
                  <c:v>41102</c:v>
                </c:pt>
                <c:pt idx="4">
                  <c:v>41103</c:v>
                </c:pt>
                <c:pt idx="5">
                  <c:v>41106</c:v>
                </c:pt>
                <c:pt idx="6">
                  <c:v>41107</c:v>
                </c:pt>
                <c:pt idx="7">
                  <c:v>41108</c:v>
                </c:pt>
                <c:pt idx="8">
                  <c:v>41109</c:v>
                </c:pt>
                <c:pt idx="9">
                  <c:v>41110</c:v>
                </c:pt>
                <c:pt idx="10">
                  <c:v>41113</c:v>
                </c:pt>
                <c:pt idx="11">
                  <c:v>41114</c:v>
                </c:pt>
                <c:pt idx="12">
                  <c:v>41115</c:v>
                </c:pt>
                <c:pt idx="13">
                  <c:v>41116</c:v>
                </c:pt>
                <c:pt idx="14">
                  <c:v>41117</c:v>
                </c:pt>
                <c:pt idx="15">
                  <c:v>41120</c:v>
                </c:pt>
                <c:pt idx="16">
                  <c:v>41121</c:v>
                </c:pt>
                <c:pt idx="17">
                  <c:v>41122</c:v>
                </c:pt>
                <c:pt idx="18">
                  <c:v>41123</c:v>
                </c:pt>
                <c:pt idx="19">
                  <c:v>41124</c:v>
                </c:pt>
                <c:pt idx="20">
                  <c:v>41127</c:v>
                </c:pt>
                <c:pt idx="21">
                  <c:v>41128</c:v>
                </c:pt>
                <c:pt idx="22">
                  <c:v>41129</c:v>
                </c:pt>
                <c:pt idx="23">
                  <c:v>41130</c:v>
                </c:pt>
                <c:pt idx="24">
                  <c:v>41131</c:v>
                </c:pt>
                <c:pt idx="25">
                  <c:v>41134</c:v>
                </c:pt>
                <c:pt idx="26">
                  <c:v>41135</c:v>
                </c:pt>
                <c:pt idx="27">
                  <c:v>41136</c:v>
                </c:pt>
                <c:pt idx="28">
                  <c:v>41137</c:v>
                </c:pt>
                <c:pt idx="29">
                  <c:v>41138</c:v>
                </c:pt>
                <c:pt idx="30">
                  <c:v>41141</c:v>
                </c:pt>
                <c:pt idx="31">
                  <c:v>41142</c:v>
                </c:pt>
                <c:pt idx="32">
                  <c:v>41143</c:v>
                </c:pt>
                <c:pt idx="33">
                  <c:v>41144</c:v>
                </c:pt>
                <c:pt idx="34">
                  <c:v>41145</c:v>
                </c:pt>
                <c:pt idx="35">
                  <c:v>41148</c:v>
                </c:pt>
                <c:pt idx="36">
                  <c:v>41149</c:v>
                </c:pt>
                <c:pt idx="37">
                  <c:v>41150</c:v>
                </c:pt>
                <c:pt idx="38">
                  <c:v>41151</c:v>
                </c:pt>
                <c:pt idx="39">
                  <c:v>41152</c:v>
                </c:pt>
                <c:pt idx="40">
                  <c:v>41155</c:v>
                </c:pt>
                <c:pt idx="41">
                  <c:v>41156</c:v>
                </c:pt>
                <c:pt idx="42">
                  <c:v>41157</c:v>
                </c:pt>
                <c:pt idx="43">
                  <c:v>41158</c:v>
                </c:pt>
                <c:pt idx="44">
                  <c:v>41159</c:v>
                </c:pt>
                <c:pt idx="45">
                  <c:v>41162</c:v>
                </c:pt>
                <c:pt idx="46">
                  <c:v>41163</c:v>
                </c:pt>
                <c:pt idx="47">
                  <c:v>41164</c:v>
                </c:pt>
                <c:pt idx="48">
                  <c:v>41165</c:v>
                </c:pt>
                <c:pt idx="49">
                  <c:v>41166</c:v>
                </c:pt>
                <c:pt idx="50">
                  <c:v>41169</c:v>
                </c:pt>
                <c:pt idx="51">
                  <c:v>41170</c:v>
                </c:pt>
                <c:pt idx="52">
                  <c:v>41171</c:v>
                </c:pt>
                <c:pt idx="53">
                  <c:v>41172</c:v>
                </c:pt>
                <c:pt idx="54">
                  <c:v>41173</c:v>
                </c:pt>
                <c:pt idx="55">
                  <c:v>41176</c:v>
                </c:pt>
                <c:pt idx="56">
                  <c:v>41177</c:v>
                </c:pt>
                <c:pt idx="57">
                  <c:v>41178</c:v>
                </c:pt>
                <c:pt idx="58">
                  <c:v>41179</c:v>
                </c:pt>
                <c:pt idx="59">
                  <c:v>41180</c:v>
                </c:pt>
                <c:pt idx="60">
                  <c:v>41183</c:v>
                </c:pt>
                <c:pt idx="61">
                  <c:v>41184</c:v>
                </c:pt>
                <c:pt idx="62">
                  <c:v>41185</c:v>
                </c:pt>
                <c:pt idx="63">
                  <c:v>41186</c:v>
                </c:pt>
                <c:pt idx="64">
                  <c:v>41187</c:v>
                </c:pt>
                <c:pt idx="65">
                  <c:v>41190</c:v>
                </c:pt>
                <c:pt idx="66">
                  <c:v>41191</c:v>
                </c:pt>
                <c:pt idx="67">
                  <c:v>41192</c:v>
                </c:pt>
                <c:pt idx="68">
                  <c:v>41193</c:v>
                </c:pt>
                <c:pt idx="69">
                  <c:v>41194</c:v>
                </c:pt>
                <c:pt idx="70">
                  <c:v>41197</c:v>
                </c:pt>
                <c:pt idx="71">
                  <c:v>41198</c:v>
                </c:pt>
                <c:pt idx="72">
                  <c:v>41199</c:v>
                </c:pt>
                <c:pt idx="73">
                  <c:v>41200</c:v>
                </c:pt>
                <c:pt idx="74">
                  <c:v>41201</c:v>
                </c:pt>
                <c:pt idx="75">
                  <c:v>41204</c:v>
                </c:pt>
                <c:pt idx="76">
                  <c:v>41205</c:v>
                </c:pt>
                <c:pt idx="77">
                  <c:v>41206</c:v>
                </c:pt>
                <c:pt idx="78">
                  <c:v>41207</c:v>
                </c:pt>
                <c:pt idx="79">
                  <c:v>41208</c:v>
                </c:pt>
                <c:pt idx="80">
                  <c:v>41211</c:v>
                </c:pt>
                <c:pt idx="81">
                  <c:v>41212</c:v>
                </c:pt>
                <c:pt idx="82">
                  <c:v>41213</c:v>
                </c:pt>
                <c:pt idx="83">
                  <c:v>41214</c:v>
                </c:pt>
                <c:pt idx="84">
                  <c:v>41215</c:v>
                </c:pt>
                <c:pt idx="85">
                  <c:v>41218</c:v>
                </c:pt>
                <c:pt idx="86">
                  <c:v>41219</c:v>
                </c:pt>
                <c:pt idx="87">
                  <c:v>41220</c:v>
                </c:pt>
                <c:pt idx="88">
                  <c:v>41221</c:v>
                </c:pt>
                <c:pt idx="89">
                  <c:v>41222</c:v>
                </c:pt>
                <c:pt idx="90">
                  <c:v>41225</c:v>
                </c:pt>
                <c:pt idx="91">
                  <c:v>41226</c:v>
                </c:pt>
                <c:pt idx="92">
                  <c:v>41227</c:v>
                </c:pt>
                <c:pt idx="93">
                  <c:v>41228</c:v>
                </c:pt>
                <c:pt idx="94">
                  <c:v>41229</c:v>
                </c:pt>
                <c:pt idx="95">
                  <c:v>41232</c:v>
                </c:pt>
                <c:pt idx="96">
                  <c:v>41233</c:v>
                </c:pt>
                <c:pt idx="97">
                  <c:v>41234</c:v>
                </c:pt>
                <c:pt idx="98">
                  <c:v>41235</c:v>
                </c:pt>
                <c:pt idx="99">
                  <c:v>41236</c:v>
                </c:pt>
                <c:pt idx="100">
                  <c:v>41239</c:v>
                </c:pt>
                <c:pt idx="101">
                  <c:v>41240</c:v>
                </c:pt>
                <c:pt idx="102">
                  <c:v>41241</c:v>
                </c:pt>
                <c:pt idx="103">
                  <c:v>41242</c:v>
                </c:pt>
                <c:pt idx="104">
                  <c:v>41243</c:v>
                </c:pt>
                <c:pt idx="105">
                  <c:v>41246</c:v>
                </c:pt>
                <c:pt idx="106">
                  <c:v>41247</c:v>
                </c:pt>
                <c:pt idx="107">
                  <c:v>41248</c:v>
                </c:pt>
                <c:pt idx="108">
                  <c:v>41249</c:v>
                </c:pt>
                <c:pt idx="109">
                  <c:v>41250</c:v>
                </c:pt>
                <c:pt idx="110">
                  <c:v>41253</c:v>
                </c:pt>
                <c:pt idx="111">
                  <c:v>41254</c:v>
                </c:pt>
                <c:pt idx="112">
                  <c:v>41255</c:v>
                </c:pt>
                <c:pt idx="113">
                  <c:v>41256</c:v>
                </c:pt>
                <c:pt idx="114">
                  <c:v>41257</c:v>
                </c:pt>
                <c:pt idx="115">
                  <c:v>41260</c:v>
                </c:pt>
                <c:pt idx="116">
                  <c:v>41261</c:v>
                </c:pt>
                <c:pt idx="117">
                  <c:v>41262</c:v>
                </c:pt>
                <c:pt idx="118">
                  <c:v>41263</c:v>
                </c:pt>
                <c:pt idx="119">
                  <c:v>41264</c:v>
                </c:pt>
                <c:pt idx="120">
                  <c:v>41267</c:v>
                </c:pt>
                <c:pt idx="121">
                  <c:v>41268</c:v>
                </c:pt>
                <c:pt idx="122">
                  <c:v>41269</c:v>
                </c:pt>
                <c:pt idx="123">
                  <c:v>41270</c:v>
                </c:pt>
                <c:pt idx="124">
                  <c:v>41271</c:v>
                </c:pt>
                <c:pt idx="125">
                  <c:v>41274</c:v>
                </c:pt>
                <c:pt idx="126">
                  <c:v>41275</c:v>
                </c:pt>
                <c:pt idx="127">
                  <c:v>41276</c:v>
                </c:pt>
                <c:pt idx="128">
                  <c:v>41277</c:v>
                </c:pt>
                <c:pt idx="129">
                  <c:v>41278</c:v>
                </c:pt>
                <c:pt idx="130">
                  <c:v>41281</c:v>
                </c:pt>
                <c:pt idx="131">
                  <c:v>41282</c:v>
                </c:pt>
                <c:pt idx="132">
                  <c:v>41283</c:v>
                </c:pt>
                <c:pt idx="133">
                  <c:v>41284</c:v>
                </c:pt>
                <c:pt idx="134">
                  <c:v>41285</c:v>
                </c:pt>
                <c:pt idx="135">
                  <c:v>41288</c:v>
                </c:pt>
                <c:pt idx="136">
                  <c:v>41289</c:v>
                </c:pt>
                <c:pt idx="137">
                  <c:v>41290</c:v>
                </c:pt>
                <c:pt idx="138">
                  <c:v>41291</c:v>
                </c:pt>
                <c:pt idx="139">
                  <c:v>41292</c:v>
                </c:pt>
                <c:pt idx="140">
                  <c:v>41295</c:v>
                </c:pt>
                <c:pt idx="141">
                  <c:v>41296</c:v>
                </c:pt>
                <c:pt idx="142">
                  <c:v>41297</c:v>
                </c:pt>
                <c:pt idx="143">
                  <c:v>41298</c:v>
                </c:pt>
                <c:pt idx="144">
                  <c:v>41299</c:v>
                </c:pt>
                <c:pt idx="145">
                  <c:v>41302</c:v>
                </c:pt>
                <c:pt idx="146">
                  <c:v>41303</c:v>
                </c:pt>
                <c:pt idx="147">
                  <c:v>41304</c:v>
                </c:pt>
                <c:pt idx="148">
                  <c:v>41305</c:v>
                </c:pt>
                <c:pt idx="149">
                  <c:v>41306</c:v>
                </c:pt>
                <c:pt idx="150">
                  <c:v>41309</c:v>
                </c:pt>
                <c:pt idx="151">
                  <c:v>41310</c:v>
                </c:pt>
                <c:pt idx="152">
                  <c:v>41311</c:v>
                </c:pt>
                <c:pt idx="153">
                  <c:v>41312</c:v>
                </c:pt>
                <c:pt idx="154">
                  <c:v>41313</c:v>
                </c:pt>
                <c:pt idx="155">
                  <c:v>41316</c:v>
                </c:pt>
                <c:pt idx="156">
                  <c:v>41317</c:v>
                </c:pt>
                <c:pt idx="157">
                  <c:v>41318</c:v>
                </c:pt>
                <c:pt idx="158">
                  <c:v>41319</c:v>
                </c:pt>
                <c:pt idx="159">
                  <c:v>41320</c:v>
                </c:pt>
                <c:pt idx="160">
                  <c:v>41323</c:v>
                </c:pt>
                <c:pt idx="161">
                  <c:v>41324</c:v>
                </c:pt>
                <c:pt idx="162">
                  <c:v>41325</c:v>
                </c:pt>
                <c:pt idx="163">
                  <c:v>41326</c:v>
                </c:pt>
                <c:pt idx="164">
                  <c:v>41327</c:v>
                </c:pt>
                <c:pt idx="165">
                  <c:v>41330</c:v>
                </c:pt>
                <c:pt idx="166">
                  <c:v>41331</c:v>
                </c:pt>
                <c:pt idx="167">
                  <c:v>41332</c:v>
                </c:pt>
                <c:pt idx="168">
                  <c:v>41333</c:v>
                </c:pt>
                <c:pt idx="169">
                  <c:v>41334</c:v>
                </c:pt>
                <c:pt idx="170">
                  <c:v>41337</c:v>
                </c:pt>
                <c:pt idx="171">
                  <c:v>41338</c:v>
                </c:pt>
                <c:pt idx="172">
                  <c:v>41339</c:v>
                </c:pt>
                <c:pt idx="173">
                  <c:v>41340</c:v>
                </c:pt>
                <c:pt idx="174">
                  <c:v>41341</c:v>
                </c:pt>
                <c:pt idx="175">
                  <c:v>41344</c:v>
                </c:pt>
                <c:pt idx="176">
                  <c:v>41345</c:v>
                </c:pt>
                <c:pt idx="177">
                  <c:v>41346</c:v>
                </c:pt>
                <c:pt idx="178">
                  <c:v>41347</c:v>
                </c:pt>
                <c:pt idx="179">
                  <c:v>41348</c:v>
                </c:pt>
                <c:pt idx="180">
                  <c:v>41351</c:v>
                </c:pt>
                <c:pt idx="181">
                  <c:v>41352</c:v>
                </c:pt>
                <c:pt idx="182">
                  <c:v>41353</c:v>
                </c:pt>
                <c:pt idx="183">
                  <c:v>41354</c:v>
                </c:pt>
                <c:pt idx="184">
                  <c:v>41355</c:v>
                </c:pt>
                <c:pt idx="185">
                  <c:v>41358</c:v>
                </c:pt>
                <c:pt idx="186">
                  <c:v>41359</c:v>
                </c:pt>
                <c:pt idx="187">
                  <c:v>41360</c:v>
                </c:pt>
                <c:pt idx="188">
                  <c:v>41361</c:v>
                </c:pt>
                <c:pt idx="189">
                  <c:v>41362</c:v>
                </c:pt>
                <c:pt idx="190">
                  <c:v>41365</c:v>
                </c:pt>
                <c:pt idx="191">
                  <c:v>41366</c:v>
                </c:pt>
                <c:pt idx="192">
                  <c:v>41367</c:v>
                </c:pt>
                <c:pt idx="193">
                  <c:v>41368</c:v>
                </c:pt>
                <c:pt idx="194">
                  <c:v>41369</c:v>
                </c:pt>
                <c:pt idx="195">
                  <c:v>41372</c:v>
                </c:pt>
                <c:pt idx="196">
                  <c:v>41373</c:v>
                </c:pt>
                <c:pt idx="197">
                  <c:v>41374</c:v>
                </c:pt>
                <c:pt idx="198">
                  <c:v>41375</c:v>
                </c:pt>
                <c:pt idx="199">
                  <c:v>41376</c:v>
                </c:pt>
                <c:pt idx="200">
                  <c:v>41379</c:v>
                </c:pt>
                <c:pt idx="201">
                  <c:v>41380</c:v>
                </c:pt>
                <c:pt idx="202">
                  <c:v>41381</c:v>
                </c:pt>
                <c:pt idx="203">
                  <c:v>41382</c:v>
                </c:pt>
                <c:pt idx="204">
                  <c:v>41383</c:v>
                </c:pt>
                <c:pt idx="205">
                  <c:v>41386</c:v>
                </c:pt>
                <c:pt idx="206">
                  <c:v>41387</c:v>
                </c:pt>
                <c:pt idx="207">
                  <c:v>41388</c:v>
                </c:pt>
                <c:pt idx="208">
                  <c:v>41389</c:v>
                </c:pt>
                <c:pt idx="209">
                  <c:v>41390</c:v>
                </c:pt>
                <c:pt idx="210">
                  <c:v>41393</c:v>
                </c:pt>
                <c:pt idx="211">
                  <c:v>41394</c:v>
                </c:pt>
                <c:pt idx="212">
                  <c:v>41395</c:v>
                </c:pt>
                <c:pt idx="213">
                  <c:v>41396</c:v>
                </c:pt>
                <c:pt idx="214">
                  <c:v>41397</c:v>
                </c:pt>
                <c:pt idx="215">
                  <c:v>41400</c:v>
                </c:pt>
                <c:pt idx="216">
                  <c:v>41401</c:v>
                </c:pt>
                <c:pt idx="217">
                  <c:v>41402</c:v>
                </c:pt>
                <c:pt idx="218">
                  <c:v>41403</c:v>
                </c:pt>
                <c:pt idx="219">
                  <c:v>41404</c:v>
                </c:pt>
                <c:pt idx="220">
                  <c:v>41407</c:v>
                </c:pt>
                <c:pt idx="221">
                  <c:v>41408</c:v>
                </c:pt>
                <c:pt idx="222">
                  <c:v>41409</c:v>
                </c:pt>
                <c:pt idx="223">
                  <c:v>41410</c:v>
                </c:pt>
                <c:pt idx="224">
                  <c:v>41411</c:v>
                </c:pt>
                <c:pt idx="225">
                  <c:v>41414</c:v>
                </c:pt>
                <c:pt idx="226">
                  <c:v>41415</c:v>
                </c:pt>
                <c:pt idx="227">
                  <c:v>41416</c:v>
                </c:pt>
                <c:pt idx="228">
                  <c:v>41417</c:v>
                </c:pt>
                <c:pt idx="229">
                  <c:v>41418</c:v>
                </c:pt>
                <c:pt idx="230">
                  <c:v>41421</c:v>
                </c:pt>
                <c:pt idx="231">
                  <c:v>41422</c:v>
                </c:pt>
                <c:pt idx="232">
                  <c:v>41423</c:v>
                </c:pt>
                <c:pt idx="233">
                  <c:v>41424</c:v>
                </c:pt>
                <c:pt idx="234">
                  <c:v>41425</c:v>
                </c:pt>
                <c:pt idx="235">
                  <c:v>41428</c:v>
                </c:pt>
                <c:pt idx="236">
                  <c:v>41429</c:v>
                </c:pt>
                <c:pt idx="237">
                  <c:v>41430</c:v>
                </c:pt>
                <c:pt idx="238">
                  <c:v>41431</c:v>
                </c:pt>
                <c:pt idx="239">
                  <c:v>41432</c:v>
                </c:pt>
                <c:pt idx="240">
                  <c:v>41435</c:v>
                </c:pt>
                <c:pt idx="241">
                  <c:v>41436</c:v>
                </c:pt>
                <c:pt idx="242">
                  <c:v>41437</c:v>
                </c:pt>
                <c:pt idx="243">
                  <c:v>41438</c:v>
                </c:pt>
                <c:pt idx="244">
                  <c:v>41439</c:v>
                </c:pt>
                <c:pt idx="245">
                  <c:v>41442</c:v>
                </c:pt>
                <c:pt idx="246">
                  <c:v>41443</c:v>
                </c:pt>
                <c:pt idx="247">
                  <c:v>41444</c:v>
                </c:pt>
                <c:pt idx="248">
                  <c:v>41445</c:v>
                </c:pt>
                <c:pt idx="249">
                  <c:v>41446</c:v>
                </c:pt>
                <c:pt idx="250">
                  <c:v>41449</c:v>
                </c:pt>
                <c:pt idx="251">
                  <c:v>41450</c:v>
                </c:pt>
                <c:pt idx="252">
                  <c:v>41451</c:v>
                </c:pt>
                <c:pt idx="253">
                  <c:v>41452</c:v>
                </c:pt>
                <c:pt idx="254">
                  <c:v>41453</c:v>
                </c:pt>
                <c:pt idx="255">
                  <c:v>41456</c:v>
                </c:pt>
                <c:pt idx="256">
                  <c:v>41457</c:v>
                </c:pt>
                <c:pt idx="257">
                  <c:v>41458</c:v>
                </c:pt>
                <c:pt idx="258">
                  <c:v>41459</c:v>
                </c:pt>
                <c:pt idx="259">
                  <c:v>41460</c:v>
                </c:pt>
                <c:pt idx="260">
                  <c:v>41463</c:v>
                </c:pt>
                <c:pt idx="261">
                  <c:v>41464</c:v>
                </c:pt>
                <c:pt idx="262">
                  <c:v>41465</c:v>
                </c:pt>
                <c:pt idx="263">
                  <c:v>41466</c:v>
                </c:pt>
                <c:pt idx="264">
                  <c:v>41467</c:v>
                </c:pt>
                <c:pt idx="265">
                  <c:v>41470</c:v>
                </c:pt>
                <c:pt idx="266">
                  <c:v>41471</c:v>
                </c:pt>
                <c:pt idx="267">
                  <c:v>41472</c:v>
                </c:pt>
                <c:pt idx="268">
                  <c:v>41473</c:v>
                </c:pt>
                <c:pt idx="269">
                  <c:v>41474</c:v>
                </c:pt>
                <c:pt idx="270">
                  <c:v>41477</c:v>
                </c:pt>
                <c:pt idx="271">
                  <c:v>41478</c:v>
                </c:pt>
                <c:pt idx="272">
                  <c:v>41479</c:v>
                </c:pt>
                <c:pt idx="273">
                  <c:v>41480</c:v>
                </c:pt>
                <c:pt idx="274">
                  <c:v>41481</c:v>
                </c:pt>
                <c:pt idx="275">
                  <c:v>41484</c:v>
                </c:pt>
                <c:pt idx="276">
                  <c:v>41485</c:v>
                </c:pt>
                <c:pt idx="277">
                  <c:v>41486</c:v>
                </c:pt>
                <c:pt idx="278">
                  <c:v>41487</c:v>
                </c:pt>
                <c:pt idx="279">
                  <c:v>41488</c:v>
                </c:pt>
                <c:pt idx="280">
                  <c:v>41491</c:v>
                </c:pt>
                <c:pt idx="281">
                  <c:v>41492</c:v>
                </c:pt>
                <c:pt idx="282">
                  <c:v>41493</c:v>
                </c:pt>
                <c:pt idx="283">
                  <c:v>41494</c:v>
                </c:pt>
                <c:pt idx="284">
                  <c:v>41495</c:v>
                </c:pt>
                <c:pt idx="285">
                  <c:v>41498</c:v>
                </c:pt>
                <c:pt idx="286">
                  <c:v>41499</c:v>
                </c:pt>
                <c:pt idx="287">
                  <c:v>41500</c:v>
                </c:pt>
                <c:pt idx="288">
                  <c:v>41501</c:v>
                </c:pt>
                <c:pt idx="289">
                  <c:v>41502</c:v>
                </c:pt>
                <c:pt idx="290">
                  <c:v>41505</c:v>
                </c:pt>
                <c:pt idx="291">
                  <c:v>41506</c:v>
                </c:pt>
                <c:pt idx="292">
                  <c:v>41507</c:v>
                </c:pt>
                <c:pt idx="293">
                  <c:v>41508</c:v>
                </c:pt>
                <c:pt idx="294">
                  <c:v>41509</c:v>
                </c:pt>
                <c:pt idx="295">
                  <c:v>41512</c:v>
                </c:pt>
                <c:pt idx="296">
                  <c:v>41513</c:v>
                </c:pt>
                <c:pt idx="297">
                  <c:v>41514</c:v>
                </c:pt>
                <c:pt idx="298">
                  <c:v>41515</c:v>
                </c:pt>
                <c:pt idx="299">
                  <c:v>41516</c:v>
                </c:pt>
                <c:pt idx="300">
                  <c:v>41519</c:v>
                </c:pt>
                <c:pt idx="301">
                  <c:v>41520</c:v>
                </c:pt>
                <c:pt idx="302">
                  <c:v>41521</c:v>
                </c:pt>
                <c:pt idx="303">
                  <c:v>41522</c:v>
                </c:pt>
                <c:pt idx="304">
                  <c:v>41523</c:v>
                </c:pt>
                <c:pt idx="305">
                  <c:v>41526</c:v>
                </c:pt>
                <c:pt idx="306">
                  <c:v>41527</c:v>
                </c:pt>
                <c:pt idx="307">
                  <c:v>41528</c:v>
                </c:pt>
                <c:pt idx="308">
                  <c:v>41529</c:v>
                </c:pt>
                <c:pt idx="309">
                  <c:v>41530</c:v>
                </c:pt>
                <c:pt idx="310">
                  <c:v>41533</c:v>
                </c:pt>
                <c:pt idx="311">
                  <c:v>41534</c:v>
                </c:pt>
                <c:pt idx="312">
                  <c:v>41535</c:v>
                </c:pt>
                <c:pt idx="313">
                  <c:v>41536</c:v>
                </c:pt>
                <c:pt idx="314">
                  <c:v>41537</c:v>
                </c:pt>
                <c:pt idx="315">
                  <c:v>41540</c:v>
                </c:pt>
                <c:pt idx="316">
                  <c:v>41541</c:v>
                </c:pt>
                <c:pt idx="317">
                  <c:v>41542</c:v>
                </c:pt>
                <c:pt idx="318">
                  <c:v>41543</c:v>
                </c:pt>
                <c:pt idx="319">
                  <c:v>41544</c:v>
                </c:pt>
                <c:pt idx="320">
                  <c:v>41547</c:v>
                </c:pt>
                <c:pt idx="321">
                  <c:v>41548</c:v>
                </c:pt>
                <c:pt idx="322">
                  <c:v>41549</c:v>
                </c:pt>
                <c:pt idx="323">
                  <c:v>41550</c:v>
                </c:pt>
                <c:pt idx="324">
                  <c:v>41551</c:v>
                </c:pt>
                <c:pt idx="325">
                  <c:v>41554</c:v>
                </c:pt>
                <c:pt idx="326">
                  <c:v>41555</c:v>
                </c:pt>
                <c:pt idx="327">
                  <c:v>41556</c:v>
                </c:pt>
                <c:pt idx="328">
                  <c:v>41557</c:v>
                </c:pt>
                <c:pt idx="329">
                  <c:v>41558</c:v>
                </c:pt>
                <c:pt idx="330">
                  <c:v>41561</c:v>
                </c:pt>
                <c:pt idx="331">
                  <c:v>41562</c:v>
                </c:pt>
                <c:pt idx="332">
                  <c:v>41563</c:v>
                </c:pt>
                <c:pt idx="333">
                  <c:v>41564</c:v>
                </c:pt>
                <c:pt idx="334">
                  <c:v>41565</c:v>
                </c:pt>
                <c:pt idx="335">
                  <c:v>41568</c:v>
                </c:pt>
                <c:pt idx="336">
                  <c:v>41569</c:v>
                </c:pt>
                <c:pt idx="337">
                  <c:v>41570</c:v>
                </c:pt>
                <c:pt idx="338">
                  <c:v>41571</c:v>
                </c:pt>
                <c:pt idx="339">
                  <c:v>41572</c:v>
                </c:pt>
                <c:pt idx="340">
                  <c:v>41575</c:v>
                </c:pt>
                <c:pt idx="341">
                  <c:v>41576</c:v>
                </c:pt>
                <c:pt idx="342">
                  <c:v>41577</c:v>
                </c:pt>
                <c:pt idx="343">
                  <c:v>41578</c:v>
                </c:pt>
                <c:pt idx="344">
                  <c:v>41579</c:v>
                </c:pt>
                <c:pt idx="345">
                  <c:v>41582</c:v>
                </c:pt>
                <c:pt idx="346">
                  <c:v>41583</c:v>
                </c:pt>
                <c:pt idx="347">
                  <c:v>41584</c:v>
                </c:pt>
                <c:pt idx="348">
                  <c:v>41585</c:v>
                </c:pt>
                <c:pt idx="349">
                  <c:v>41586</c:v>
                </c:pt>
                <c:pt idx="350">
                  <c:v>41589</c:v>
                </c:pt>
                <c:pt idx="351">
                  <c:v>41590</c:v>
                </c:pt>
                <c:pt idx="352">
                  <c:v>41591</c:v>
                </c:pt>
                <c:pt idx="353">
                  <c:v>41592</c:v>
                </c:pt>
                <c:pt idx="354">
                  <c:v>41593</c:v>
                </c:pt>
                <c:pt idx="355">
                  <c:v>41596</c:v>
                </c:pt>
                <c:pt idx="356">
                  <c:v>41597</c:v>
                </c:pt>
                <c:pt idx="357">
                  <c:v>41598</c:v>
                </c:pt>
                <c:pt idx="358">
                  <c:v>41599</c:v>
                </c:pt>
                <c:pt idx="359">
                  <c:v>41600</c:v>
                </c:pt>
                <c:pt idx="360">
                  <c:v>41603</c:v>
                </c:pt>
                <c:pt idx="361">
                  <c:v>41604</c:v>
                </c:pt>
                <c:pt idx="362">
                  <c:v>41605</c:v>
                </c:pt>
                <c:pt idx="363">
                  <c:v>41606</c:v>
                </c:pt>
                <c:pt idx="364">
                  <c:v>41607</c:v>
                </c:pt>
                <c:pt idx="365">
                  <c:v>41610</c:v>
                </c:pt>
                <c:pt idx="366">
                  <c:v>41611</c:v>
                </c:pt>
                <c:pt idx="367">
                  <c:v>41612</c:v>
                </c:pt>
                <c:pt idx="368">
                  <c:v>41613</c:v>
                </c:pt>
                <c:pt idx="369">
                  <c:v>41614</c:v>
                </c:pt>
                <c:pt idx="370">
                  <c:v>41617</c:v>
                </c:pt>
                <c:pt idx="371">
                  <c:v>41618</c:v>
                </c:pt>
                <c:pt idx="372">
                  <c:v>41619</c:v>
                </c:pt>
                <c:pt idx="373">
                  <c:v>41620</c:v>
                </c:pt>
                <c:pt idx="374">
                  <c:v>41621</c:v>
                </c:pt>
                <c:pt idx="375">
                  <c:v>41624</c:v>
                </c:pt>
                <c:pt idx="376">
                  <c:v>41625</c:v>
                </c:pt>
                <c:pt idx="377">
                  <c:v>41626</c:v>
                </c:pt>
                <c:pt idx="378">
                  <c:v>41627</c:v>
                </c:pt>
                <c:pt idx="379">
                  <c:v>41628</c:v>
                </c:pt>
                <c:pt idx="380">
                  <c:v>41631</c:v>
                </c:pt>
                <c:pt idx="381">
                  <c:v>41632</c:v>
                </c:pt>
                <c:pt idx="382">
                  <c:v>41633</c:v>
                </c:pt>
                <c:pt idx="383">
                  <c:v>41634</c:v>
                </c:pt>
                <c:pt idx="384">
                  <c:v>41635</c:v>
                </c:pt>
                <c:pt idx="385">
                  <c:v>41638</c:v>
                </c:pt>
                <c:pt idx="386">
                  <c:v>41639</c:v>
                </c:pt>
                <c:pt idx="387">
                  <c:v>41640</c:v>
                </c:pt>
                <c:pt idx="388">
                  <c:v>41641</c:v>
                </c:pt>
                <c:pt idx="389">
                  <c:v>41642</c:v>
                </c:pt>
                <c:pt idx="390">
                  <c:v>41645</c:v>
                </c:pt>
                <c:pt idx="391">
                  <c:v>41646</c:v>
                </c:pt>
                <c:pt idx="392">
                  <c:v>41647</c:v>
                </c:pt>
                <c:pt idx="393">
                  <c:v>41648</c:v>
                </c:pt>
                <c:pt idx="394">
                  <c:v>41649</c:v>
                </c:pt>
                <c:pt idx="395">
                  <c:v>41652</c:v>
                </c:pt>
                <c:pt idx="396">
                  <c:v>41653</c:v>
                </c:pt>
                <c:pt idx="397">
                  <c:v>41654</c:v>
                </c:pt>
                <c:pt idx="398">
                  <c:v>41655</c:v>
                </c:pt>
                <c:pt idx="399">
                  <c:v>41656</c:v>
                </c:pt>
                <c:pt idx="400">
                  <c:v>41659</c:v>
                </c:pt>
                <c:pt idx="401">
                  <c:v>41660</c:v>
                </c:pt>
                <c:pt idx="402">
                  <c:v>41661</c:v>
                </c:pt>
                <c:pt idx="403">
                  <c:v>41662</c:v>
                </c:pt>
                <c:pt idx="404">
                  <c:v>41663</c:v>
                </c:pt>
                <c:pt idx="405">
                  <c:v>41666</c:v>
                </c:pt>
                <c:pt idx="406">
                  <c:v>41667</c:v>
                </c:pt>
                <c:pt idx="407">
                  <c:v>41668</c:v>
                </c:pt>
                <c:pt idx="408">
                  <c:v>41669</c:v>
                </c:pt>
                <c:pt idx="409">
                  <c:v>41670</c:v>
                </c:pt>
                <c:pt idx="410">
                  <c:v>41673</c:v>
                </c:pt>
                <c:pt idx="411">
                  <c:v>41674</c:v>
                </c:pt>
                <c:pt idx="412">
                  <c:v>41675</c:v>
                </c:pt>
                <c:pt idx="413">
                  <c:v>41676</c:v>
                </c:pt>
                <c:pt idx="414">
                  <c:v>41677</c:v>
                </c:pt>
                <c:pt idx="415">
                  <c:v>41680</c:v>
                </c:pt>
                <c:pt idx="416">
                  <c:v>41681</c:v>
                </c:pt>
                <c:pt idx="417">
                  <c:v>41682</c:v>
                </c:pt>
                <c:pt idx="418">
                  <c:v>41683</c:v>
                </c:pt>
                <c:pt idx="419">
                  <c:v>41684</c:v>
                </c:pt>
                <c:pt idx="420">
                  <c:v>41687</c:v>
                </c:pt>
                <c:pt idx="421">
                  <c:v>41688</c:v>
                </c:pt>
                <c:pt idx="422">
                  <c:v>41689</c:v>
                </c:pt>
                <c:pt idx="423">
                  <c:v>41690</c:v>
                </c:pt>
                <c:pt idx="424">
                  <c:v>41691</c:v>
                </c:pt>
                <c:pt idx="425">
                  <c:v>41694</c:v>
                </c:pt>
                <c:pt idx="426">
                  <c:v>41695</c:v>
                </c:pt>
                <c:pt idx="427">
                  <c:v>41696</c:v>
                </c:pt>
                <c:pt idx="428">
                  <c:v>41697</c:v>
                </c:pt>
                <c:pt idx="429">
                  <c:v>41698</c:v>
                </c:pt>
                <c:pt idx="430">
                  <c:v>41701</c:v>
                </c:pt>
                <c:pt idx="431">
                  <c:v>41702</c:v>
                </c:pt>
                <c:pt idx="432">
                  <c:v>41703</c:v>
                </c:pt>
                <c:pt idx="433">
                  <c:v>41704</c:v>
                </c:pt>
                <c:pt idx="434">
                  <c:v>41705</c:v>
                </c:pt>
                <c:pt idx="435">
                  <c:v>41708</c:v>
                </c:pt>
                <c:pt idx="436">
                  <c:v>41709</c:v>
                </c:pt>
                <c:pt idx="437">
                  <c:v>41710</c:v>
                </c:pt>
                <c:pt idx="438">
                  <c:v>41711</c:v>
                </c:pt>
                <c:pt idx="439">
                  <c:v>41712</c:v>
                </c:pt>
                <c:pt idx="440">
                  <c:v>41715</c:v>
                </c:pt>
                <c:pt idx="441">
                  <c:v>41716</c:v>
                </c:pt>
                <c:pt idx="442">
                  <c:v>41717</c:v>
                </c:pt>
                <c:pt idx="443">
                  <c:v>41718</c:v>
                </c:pt>
                <c:pt idx="444">
                  <c:v>41719</c:v>
                </c:pt>
                <c:pt idx="445">
                  <c:v>41722</c:v>
                </c:pt>
                <c:pt idx="446">
                  <c:v>41723</c:v>
                </c:pt>
                <c:pt idx="447">
                  <c:v>41724</c:v>
                </c:pt>
                <c:pt idx="448">
                  <c:v>41725</c:v>
                </c:pt>
                <c:pt idx="449">
                  <c:v>41726</c:v>
                </c:pt>
                <c:pt idx="450">
                  <c:v>41729</c:v>
                </c:pt>
                <c:pt idx="451">
                  <c:v>41730</c:v>
                </c:pt>
                <c:pt idx="452">
                  <c:v>41731</c:v>
                </c:pt>
                <c:pt idx="453">
                  <c:v>41732</c:v>
                </c:pt>
                <c:pt idx="454">
                  <c:v>41733</c:v>
                </c:pt>
                <c:pt idx="455">
                  <c:v>41736</c:v>
                </c:pt>
                <c:pt idx="456">
                  <c:v>41737</c:v>
                </c:pt>
                <c:pt idx="457">
                  <c:v>41738</c:v>
                </c:pt>
                <c:pt idx="458">
                  <c:v>41739</c:v>
                </c:pt>
                <c:pt idx="459">
                  <c:v>41740</c:v>
                </c:pt>
                <c:pt idx="460">
                  <c:v>41743</c:v>
                </c:pt>
                <c:pt idx="461">
                  <c:v>41744</c:v>
                </c:pt>
                <c:pt idx="462">
                  <c:v>41745</c:v>
                </c:pt>
                <c:pt idx="463">
                  <c:v>41746</c:v>
                </c:pt>
                <c:pt idx="464">
                  <c:v>41747</c:v>
                </c:pt>
                <c:pt idx="465">
                  <c:v>41750</c:v>
                </c:pt>
                <c:pt idx="466">
                  <c:v>41751</c:v>
                </c:pt>
                <c:pt idx="467">
                  <c:v>41752</c:v>
                </c:pt>
                <c:pt idx="468">
                  <c:v>41753</c:v>
                </c:pt>
                <c:pt idx="469">
                  <c:v>41754</c:v>
                </c:pt>
                <c:pt idx="470">
                  <c:v>41757</c:v>
                </c:pt>
                <c:pt idx="471">
                  <c:v>41758</c:v>
                </c:pt>
                <c:pt idx="472">
                  <c:v>41759</c:v>
                </c:pt>
                <c:pt idx="473">
                  <c:v>41760</c:v>
                </c:pt>
                <c:pt idx="474">
                  <c:v>41761</c:v>
                </c:pt>
                <c:pt idx="475">
                  <c:v>41764</c:v>
                </c:pt>
                <c:pt idx="476">
                  <c:v>41765</c:v>
                </c:pt>
                <c:pt idx="477">
                  <c:v>41766</c:v>
                </c:pt>
                <c:pt idx="478">
                  <c:v>41767</c:v>
                </c:pt>
                <c:pt idx="479">
                  <c:v>41768</c:v>
                </c:pt>
                <c:pt idx="480">
                  <c:v>41771</c:v>
                </c:pt>
                <c:pt idx="481">
                  <c:v>41772</c:v>
                </c:pt>
                <c:pt idx="482">
                  <c:v>41773</c:v>
                </c:pt>
                <c:pt idx="483">
                  <c:v>41774</c:v>
                </c:pt>
                <c:pt idx="484">
                  <c:v>41775</c:v>
                </c:pt>
                <c:pt idx="485">
                  <c:v>41778</c:v>
                </c:pt>
                <c:pt idx="486">
                  <c:v>41779</c:v>
                </c:pt>
                <c:pt idx="487">
                  <c:v>41780</c:v>
                </c:pt>
                <c:pt idx="488">
                  <c:v>41781</c:v>
                </c:pt>
                <c:pt idx="489">
                  <c:v>41782</c:v>
                </c:pt>
                <c:pt idx="490">
                  <c:v>41785</c:v>
                </c:pt>
                <c:pt idx="491">
                  <c:v>41786</c:v>
                </c:pt>
                <c:pt idx="492">
                  <c:v>41787</c:v>
                </c:pt>
                <c:pt idx="493">
                  <c:v>41788</c:v>
                </c:pt>
                <c:pt idx="494">
                  <c:v>41789</c:v>
                </c:pt>
                <c:pt idx="495">
                  <c:v>41792</c:v>
                </c:pt>
                <c:pt idx="496">
                  <c:v>41793</c:v>
                </c:pt>
                <c:pt idx="497">
                  <c:v>41794</c:v>
                </c:pt>
                <c:pt idx="498">
                  <c:v>41795</c:v>
                </c:pt>
                <c:pt idx="499">
                  <c:v>41796</c:v>
                </c:pt>
                <c:pt idx="500">
                  <c:v>41799</c:v>
                </c:pt>
                <c:pt idx="501">
                  <c:v>41800</c:v>
                </c:pt>
                <c:pt idx="502">
                  <c:v>41801</c:v>
                </c:pt>
                <c:pt idx="503">
                  <c:v>41802</c:v>
                </c:pt>
                <c:pt idx="504">
                  <c:v>41803</c:v>
                </c:pt>
                <c:pt idx="505">
                  <c:v>41806</c:v>
                </c:pt>
                <c:pt idx="506">
                  <c:v>41807</c:v>
                </c:pt>
                <c:pt idx="507">
                  <c:v>41808</c:v>
                </c:pt>
                <c:pt idx="508">
                  <c:v>41809</c:v>
                </c:pt>
                <c:pt idx="509">
                  <c:v>41810</c:v>
                </c:pt>
                <c:pt idx="510">
                  <c:v>41813</c:v>
                </c:pt>
                <c:pt idx="511">
                  <c:v>41814</c:v>
                </c:pt>
                <c:pt idx="512">
                  <c:v>41815</c:v>
                </c:pt>
                <c:pt idx="513">
                  <c:v>41816</c:v>
                </c:pt>
                <c:pt idx="514">
                  <c:v>41817</c:v>
                </c:pt>
                <c:pt idx="515">
                  <c:v>41820</c:v>
                </c:pt>
                <c:pt idx="516">
                  <c:v>41821</c:v>
                </c:pt>
                <c:pt idx="517">
                  <c:v>41822</c:v>
                </c:pt>
                <c:pt idx="518">
                  <c:v>41823</c:v>
                </c:pt>
                <c:pt idx="519">
                  <c:v>41824</c:v>
                </c:pt>
                <c:pt idx="520">
                  <c:v>41827</c:v>
                </c:pt>
                <c:pt idx="521">
                  <c:v>41828</c:v>
                </c:pt>
                <c:pt idx="522">
                  <c:v>41829</c:v>
                </c:pt>
                <c:pt idx="523">
                  <c:v>41830</c:v>
                </c:pt>
                <c:pt idx="524">
                  <c:v>41831</c:v>
                </c:pt>
                <c:pt idx="525">
                  <c:v>41834</c:v>
                </c:pt>
                <c:pt idx="526">
                  <c:v>41835</c:v>
                </c:pt>
                <c:pt idx="527">
                  <c:v>41836</c:v>
                </c:pt>
                <c:pt idx="528">
                  <c:v>41837</c:v>
                </c:pt>
                <c:pt idx="529">
                  <c:v>41838</c:v>
                </c:pt>
                <c:pt idx="530">
                  <c:v>41841</c:v>
                </c:pt>
                <c:pt idx="531">
                  <c:v>41842</c:v>
                </c:pt>
                <c:pt idx="532">
                  <c:v>41843</c:v>
                </c:pt>
                <c:pt idx="533">
                  <c:v>41844</c:v>
                </c:pt>
                <c:pt idx="534">
                  <c:v>41845</c:v>
                </c:pt>
                <c:pt idx="535">
                  <c:v>41848</c:v>
                </c:pt>
                <c:pt idx="536">
                  <c:v>41849</c:v>
                </c:pt>
                <c:pt idx="537">
                  <c:v>41850</c:v>
                </c:pt>
                <c:pt idx="538">
                  <c:v>41851</c:v>
                </c:pt>
                <c:pt idx="539">
                  <c:v>41852</c:v>
                </c:pt>
                <c:pt idx="540">
                  <c:v>41855</c:v>
                </c:pt>
                <c:pt idx="541">
                  <c:v>41856</c:v>
                </c:pt>
                <c:pt idx="542">
                  <c:v>41857</c:v>
                </c:pt>
                <c:pt idx="543">
                  <c:v>41858</c:v>
                </c:pt>
                <c:pt idx="544">
                  <c:v>41859</c:v>
                </c:pt>
                <c:pt idx="545">
                  <c:v>41862</c:v>
                </c:pt>
                <c:pt idx="546">
                  <c:v>41863</c:v>
                </c:pt>
                <c:pt idx="547">
                  <c:v>41864</c:v>
                </c:pt>
                <c:pt idx="548">
                  <c:v>41865</c:v>
                </c:pt>
                <c:pt idx="549">
                  <c:v>41866</c:v>
                </c:pt>
                <c:pt idx="550">
                  <c:v>41869</c:v>
                </c:pt>
                <c:pt idx="551">
                  <c:v>41870</c:v>
                </c:pt>
                <c:pt idx="552">
                  <c:v>41871</c:v>
                </c:pt>
                <c:pt idx="553">
                  <c:v>41872</c:v>
                </c:pt>
                <c:pt idx="554">
                  <c:v>41873</c:v>
                </c:pt>
                <c:pt idx="555">
                  <c:v>41876</c:v>
                </c:pt>
                <c:pt idx="556">
                  <c:v>41877</c:v>
                </c:pt>
                <c:pt idx="557">
                  <c:v>41878</c:v>
                </c:pt>
                <c:pt idx="558">
                  <c:v>41879</c:v>
                </c:pt>
                <c:pt idx="559">
                  <c:v>41880</c:v>
                </c:pt>
                <c:pt idx="560">
                  <c:v>41883</c:v>
                </c:pt>
                <c:pt idx="561">
                  <c:v>41884</c:v>
                </c:pt>
                <c:pt idx="562">
                  <c:v>41885</c:v>
                </c:pt>
                <c:pt idx="563">
                  <c:v>41886</c:v>
                </c:pt>
                <c:pt idx="564">
                  <c:v>41887</c:v>
                </c:pt>
                <c:pt idx="565">
                  <c:v>41890</c:v>
                </c:pt>
                <c:pt idx="566">
                  <c:v>41891</c:v>
                </c:pt>
                <c:pt idx="567">
                  <c:v>41892</c:v>
                </c:pt>
                <c:pt idx="568">
                  <c:v>41893</c:v>
                </c:pt>
                <c:pt idx="569">
                  <c:v>41894</c:v>
                </c:pt>
                <c:pt idx="570">
                  <c:v>41897</c:v>
                </c:pt>
                <c:pt idx="571">
                  <c:v>41898</c:v>
                </c:pt>
                <c:pt idx="572">
                  <c:v>41899</c:v>
                </c:pt>
                <c:pt idx="573">
                  <c:v>41900</c:v>
                </c:pt>
                <c:pt idx="574">
                  <c:v>41901</c:v>
                </c:pt>
                <c:pt idx="575">
                  <c:v>41904</c:v>
                </c:pt>
                <c:pt idx="576">
                  <c:v>41905</c:v>
                </c:pt>
                <c:pt idx="577">
                  <c:v>41906</c:v>
                </c:pt>
                <c:pt idx="578">
                  <c:v>41907</c:v>
                </c:pt>
                <c:pt idx="579">
                  <c:v>41908</c:v>
                </c:pt>
                <c:pt idx="580">
                  <c:v>41911</c:v>
                </c:pt>
                <c:pt idx="581">
                  <c:v>41912</c:v>
                </c:pt>
                <c:pt idx="582">
                  <c:v>41913</c:v>
                </c:pt>
                <c:pt idx="583">
                  <c:v>41914</c:v>
                </c:pt>
                <c:pt idx="584">
                  <c:v>41915</c:v>
                </c:pt>
                <c:pt idx="585">
                  <c:v>41918</c:v>
                </c:pt>
                <c:pt idx="586">
                  <c:v>41919</c:v>
                </c:pt>
                <c:pt idx="587">
                  <c:v>41920</c:v>
                </c:pt>
                <c:pt idx="588">
                  <c:v>41921</c:v>
                </c:pt>
                <c:pt idx="589">
                  <c:v>41922</c:v>
                </c:pt>
                <c:pt idx="590">
                  <c:v>41925</c:v>
                </c:pt>
                <c:pt idx="591">
                  <c:v>41926</c:v>
                </c:pt>
                <c:pt idx="592">
                  <c:v>41927</c:v>
                </c:pt>
                <c:pt idx="593">
                  <c:v>41928</c:v>
                </c:pt>
                <c:pt idx="594">
                  <c:v>41929</c:v>
                </c:pt>
                <c:pt idx="595">
                  <c:v>41932</c:v>
                </c:pt>
                <c:pt idx="596">
                  <c:v>41933</c:v>
                </c:pt>
                <c:pt idx="597">
                  <c:v>41934</c:v>
                </c:pt>
                <c:pt idx="598">
                  <c:v>41935</c:v>
                </c:pt>
                <c:pt idx="599">
                  <c:v>41936</c:v>
                </c:pt>
                <c:pt idx="600">
                  <c:v>41939</c:v>
                </c:pt>
                <c:pt idx="601">
                  <c:v>41940</c:v>
                </c:pt>
                <c:pt idx="602">
                  <c:v>41941</c:v>
                </c:pt>
                <c:pt idx="603">
                  <c:v>41942</c:v>
                </c:pt>
                <c:pt idx="604">
                  <c:v>41943</c:v>
                </c:pt>
                <c:pt idx="605">
                  <c:v>41946</c:v>
                </c:pt>
                <c:pt idx="606">
                  <c:v>41947</c:v>
                </c:pt>
                <c:pt idx="607">
                  <c:v>41948</c:v>
                </c:pt>
                <c:pt idx="608">
                  <c:v>41949</c:v>
                </c:pt>
                <c:pt idx="609">
                  <c:v>41950</c:v>
                </c:pt>
                <c:pt idx="610">
                  <c:v>41953</c:v>
                </c:pt>
                <c:pt idx="611">
                  <c:v>41954</c:v>
                </c:pt>
                <c:pt idx="612">
                  <c:v>41955</c:v>
                </c:pt>
                <c:pt idx="613">
                  <c:v>41956</c:v>
                </c:pt>
                <c:pt idx="614">
                  <c:v>41957</c:v>
                </c:pt>
                <c:pt idx="615">
                  <c:v>41960</c:v>
                </c:pt>
                <c:pt idx="616">
                  <c:v>41961</c:v>
                </c:pt>
                <c:pt idx="617">
                  <c:v>41962</c:v>
                </c:pt>
                <c:pt idx="618">
                  <c:v>41963</c:v>
                </c:pt>
                <c:pt idx="619">
                  <c:v>41964</c:v>
                </c:pt>
                <c:pt idx="620">
                  <c:v>41967</c:v>
                </c:pt>
                <c:pt idx="621">
                  <c:v>41968</c:v>
                </c:pt>
                <c:pt idx="622">
                  <c:v>41969</c:v>
                </c:pt>
                <c:pt idx="623">
                  <c:v>41970</c:v>
                </c:pt>
                <c:pt idx="624">
                  <c:v>41971</c:v>
                </c:pt>
                <c:pt idx="625">
                  <c:v>41974</c:v>
                </c:pt>
                <c:pt idx="626">
                  <c:v>41975</c:v>
                </c:pt>
                <c:pt idx="627">
                  <c:v>41976</c:v>
                </c:pt>
                <c:pt idx="628">
                  <c:v>41977</c:v>
                </c:pt>
                <c:pt idx="629">
                  <c:v>41978</c:v>
                </c:pt>
                <c:pt idx="630">
                  <c:v>41981</c:v>
                </c:pt>
                <c:pt idx="631">
                  <c:v>41982</c:v>
                </c:pt>
                <c:pt idx="632">
                  <c:v>41983</c:v>
                </c:pt>
                <c:pt idx="633">
                  <c:v>41984</c:v>
                </c:pt>
                <c:pt idx="634">
                  <c:v>41985</c:v>
                </c:pt>
                <c:pt idx="635">
                  <c:v>41988</c:v>
                </c:pt>
                <c:pt idx="636">
                  <c:v>41989</c:v>
                </c:pt>
                <c:pt idx="637">
                  <c:v>41990</c:v>
                </c:pt>
                <c:pt idx="638">
                  <c:v>41991</c:v>
                </c:pt>
                <c:pt idx="639">
                  <c:v>41992</c:v>
                </c:pt>
                <c:pt idx="640">
                  <c:v>41995</c:v>
                </c:pt>
                <c:pt idx="641">
                  <c:v>41996</c:v>
                </c:pt>
                <c:pt idx="642">
                  <c:v>41997</c:v>
                </c:pt>
                <c:pt idx="643">
                  <c:v>41998</c:v>
                </c:pt>
                <c:pt idx="644">
                  <c:v>41999</c:v>
                </c:pt>
                <c:pt idx="645">
                  <c:v>42002</c:v>
                </c:pt>
                <c:pt idx="646">
                  <c:v>42003</c:v>
                </c:pt>
                <c:pt idx="647">
                  <c:v>42004</c:v>
                </c:pt>
                <c:pt idx="648">
                  <c:v>42005</c:v>
                </c:pt>
                <c:pt idx="649">
                  <c:v>42006</c:v>
                </c:pt>
                <c:pt idx="650">
                  <c:v>42009</c:v>
                </c:pt>
                <c:pt idx="651">
                  <c:v>42010</c:v>
                </c:pt>
                <c:pt idx="652">
                  <c:v>42011</c:v>
                </c:pt>
                <c:pt idx="653">
                  <c:v>42012</c:v>
                </c:pt>
                <c:pt idx="654">
                  <c:v>42013</c:v>
                </c:pt>
                <c:pt idx="655">
                  <c:v>42016</c:v>
                </c:pt>
                <c:pt idx="656">
                  <c:v>42017</c:v>
                </c:pt>
                <c:pt idx="657">
                  <c:v>42018</c:v>
                </c:pt>
                <c:pt idx="658">
                  <c:v>42019</c:v>
                </c:pt>
                <c:pt idx="659">
                  <c:v>42020</c:v>
                </c:pt>
                <c:pt idx="660">
                  <c:v>42023</c:v>
                </c:pt>
                <c:pt idx="661">
                  <c:v>42024</c:v>
                </c:pt>
                <c:pt idx="662">
                  <c:v>42025</c:v>
                </c:pt>
                <c:pt idx="663">
                  <c:v>42026</c:v>
                </c:pt>
                <c:pt idx="664">
                  <c:v>42027</c:v>
                </c:pt>
                <c:pt idx="665">
                  <c:v>42030</c:v>
                </c:pt>
                <c:pt idx="666">
                  <c:v>42031</c:v>
                </c:pt>
                <c:pt idx="667">
                  <c:v>42032</c:v>
                </c:pt>
                <c:pt idx="668">
                  <c:v>42033</c:v>
                </c:pt>
                <c:pt idx="669">
                  <c:v>42034</c:v>
                </c:pt>
                <c:pt idx="670">
                  <c:v>42037</c:v>
                </c:pt>
                <c:pt idx="671">
                  <c:v>42038</c:v>
                </c:pt>
                <c:pt idx="672">
                  <c:v>42039</c:v>
                </c:pt>
                <c:pt idx="673">
                  <c:v>42040</c:v>
                </c:pt>
                <c:pt idx="674">
                  <c:v>42041</c:v>
                </c:pt>
                <c:pt idx="675">
                  <c:v>42044</c:v>
                </c:pt>
                <c:pt idx="676">
                  <c:v>42045</c:v>
                </c:pt>
                <c:pt idx="677">
                  <c:v>42046</c:v>
                </c:pt>
                <c:pt idx="678">
                  <c:v>42047</c:v>
                </c:pt>
                <c:pt idx="679">
                  <c:v>42048</c:v>
                </c:pt>
                <c:pt idx="680">
                  <c:v>42051</c:v>
                </c:pt>
                <c:pt idx="681">
                  <c:v>42052</c:v>
                </c:pt>
                <c:pt idx="682">
                  <c:v>42053</c:v>
                </c:pt>
                <c:pt idx="683">
                  <c:v>42054</c:v>
                </c:pt>
                <c:pt idx="684">
                  <c:v>42055</c:v>
                </c:pt>
                <c:pt idx="685">
                  <c:v>42058</c:v>
                </c:pt>
                <c:pt idx="686">
                  <c:v>42059</c:v>
                </c:pt>
                <c:pt idx="687">
                  <c:v>42060</c:v>
                </c:pt>
                <c:pt idx="688">
                  <c:v>42061</c:v>
                </c:pt>
                <c:pt idx="689">
                  <c:v>42062</c:v>
                </c:pt>
                <c:pt idx="690">
                  <c:v>42065</c:v>
                </c:pt>
                <c:pt idx="691">
                  <c:v>42066</c:v>
                </c:pt>
                <c:pt idx="692">
                  <c:v>42067</c:v>
                </c:pt>
                <c:pt idx="693">
                  <c:v>42068</c:v>
                </c:pt>
                <c:pt idx="694">
                  <c:v>42069</c:v>
                </c:pt>
                <c:pt idx="695">
                  <c:v>42072</c:v>
                </c:pt>
                <c:pt idx="696">
                  <c:v>42073</c:v>
                </c:pt>
                <c:pt idx="697">
                  <c:v>42074</c:v>
                </c:pt>
                <c:pt idx="698">
                  <c:v>42075</c:v>
                </c:pt>
                <c:pt idx="699">
                  <c:v>42076</c:v>
                </c:pt>
                <c:pt idx="700">
                  <c:v>42079</c:v>
                </c:pt>
                <c:pt idx="701">
                  <c:v>42080</c:v>
                </c:pt>
                <c:pt idx="702">
                  <c:v>42081</c:v>
                </c:pt>
                <c:pt idx="703">
                  <c:v>42082</c:v>
                </c:pt>
                <c:pt idx="704">
                  <c:v>42083</c:v>
                </c:pt>
                <c:pt idx="705">
                  <c:v>42086</c:v>
                </c:pt>
                <c:pt idx="706">
                  <c:v>42087</c:v>
                </c:pt>
                <c:pt idx="707">
                  <c:v>42088</c:v>
                </c:pt>
                <c:pt idx="708">
                  <c:v>42089</c:v>
                </c:pt>
                <c:pt idx="709">
                  <c:v>42090</c:v>
                </c:pt>
                <c:pt idx="710">
                  <c:v>42093</c:v>
                </c:pt>
                <c:pt idx="711">
                  <c:v>42094</c:v>
                </c:pt>
                <c:pt idx="712">
                  <c:v>42095</c:v>
                </c:pt>
                <c:pt idx="713">
                  <c:v>42096</c:v>
                </c:pt>
                <c:pt idx="714">
                  <c:v>42097</c:v>
                </c:pt>
                <c:pt idx="715">
                  <c:v>42100</c:v>
                </c:pt>
                <c:pt idx="716">
                  <c:v>42101</c:v>
                </c:pt>
                <c:pt idx="717">
                  <c:v>42102</c:v>
                </c:pt>
                <c:pt idx="718">
                  <c:v>42103</c:v>
                </c:pt>
                <c:pt idx="719">
                  <c:v>42104</c:v>
                </c:pt>
                <c:pt idx="720">
                  <c:v>42107</c:v>
                </c:pt>
                <c:pt idx="721">
                  <c:v>42108</c:v>
                </c:pt>
                <c:pt idx="722">
                  <c:v>42109</c:v>
                </c:pt>
                <c:pt idx="723">
                  <c:v>42110</c:v>
                </c:pt>
                <c:pt idx="724">
                  <c:v>42111</c:v>
                </c:pt>
                <c:pt idx="725">
                  <c:v>42114</c:v>
                </c:pt>
                <c:pt idx="726">
                  <c:v>42115</c:v>
                </c:pt>
                <c:pt idx="727">
                  <c:v>42116</c:v>
                </c:pt>
                <c:pt idx="728">
                  <c:v>42117</c:v>
                </c:pt>
                <c:pt idx="729">
                  <c:v>42118</c:v>
                </c:pt>
                <c:pt idx="730">
                  <c:v>42121</c:v>
                </c:pt>
                <c:pt idx="731">
                  <c:v>42122</c:v>
                </c:pt>
                <c:pt idx="732">
                  <c:v>42123</c:v>
                </c:pt>
                <c:pt idx="733">
                  <c:v>42124</c:v>
                </c:pt>
                <c:pt idx="734">
                  <c:v>42125</c:v>
                </c:pt>
                <c:pt idx="735">
                  <c:v>42128</c:v>
                </c:pt>
                <c:pt idx="736">
                  <c:v>42129</c:v>
                </c:pt>
                <c:pt idx="737">
                  <c:v>42130</c:v>
                </c:pt>
                <c:pt idx="738">
                  <c:v>42131</c:v>
                </c:pt>
                <c:pt idx="739">
                  <c:v>42132</c:v>
                </c:pt>
                <c:pt idx="740">
                  <c:v>42135</c:v>
                </c:pt>
                <c:pt idx="741">
                  <c:v>42136</c:v>
                </c:pt>
                <c:pt idx="742">
                  <c:v>42137</c:v>
                </c:pt>
                <c:pt idx="743">
                  <c:v>42138</c:v>
                </c:pt>
                <c:pt idx="744">
                  <c:v>42139</c:v>
                </c:pt>
                <c:pt idx="745">
                  <c:v>42142</c:v>
                </c:pt>
                <c:pt idx="746">
                  <c:v>42143</c:v>
                </c:pt>
                <c:pt idx="747">
                  <c:v>42144</c:v>
                </c:pt>
                <c:pt idx="748">
                  <c:v>42145</c:v>
                </c:pt>
                <c:pt idx="749">
                  <c:v>42146</c:v>
                </c:pt>
                <c:pt idx="750">
                  <c:v>42149</c:v>
                </c:pt>
                <c:pt idx="751">
                  <c:v>42150</c:v>
                </c:pt>
                <c:pt idx="752">
                  <c:v>42151</c:v>
                </c:pt>
                <c:pt idx="753">
                  <c:v>42152</c:v>
                </c:pt>
                <c:pt idx="754">
                  <c:v>42153</c:v>
                </c:pt>
                <c:pt idx="755">
                  <c:v>42156</c:v>
                </c:pt>
                <c:pt idx="756">
                  <c:v>42157</c:v>
                </c:pt>
                <c:pt idx="757">
                  <c:v>42158</c:v>
                </c:pt>
                <c:pt idx="758">
                  <c:v>42159</c:v>
                </c:pt>
                <c:pt idx="759">
                  <c:v>42160</c:v>
                </c:pt>
                <c:pt idx="760">
                  <c:v>42163</c:v>
                </c:pt>
                <c:pt idx="761">
                  <c:v>42164</c:v>
                </c:pt>
                <c:pt idx="762">
                  <c:v>42165</c:v>
                </c:pt>
                <c:pt idx="763">
                  <c:v>42166</c:v>
                </c:pt>
                <c:pt idx="764">
                  <c:v>42167</c:v>
                </c:pt>
                <c:pt idx="765">
                  <c:v>42170</c:v>
                </c:pt>
                <c:pt idx="766">
                  <c:v>42171</c:v>
                </c:pt>
                <c:pt idx="767">
                  <c:v>42172</c:v>
                </c:pt>
                <c:pt idx="768">
                  <c:v>42173</c:v>
                </c:pt>
                <c:pt idx="769">
                  <c:v>42174</c:v>
                </c:pt>
                <c:pt idx="770">
                  <c:v>42177</c:v>
                </c:pt>
                <c:pt idx="771">
                  <c:v>42178</c:v>
                </c:pt>
                <c:pt idx="772">
                  <c:v>42179</c:v>
                </c:pt>
                <c:pt idx="773">
                  <c:v>42180</c:v>
                </c:pt>
                <c:pt idx="774">
                  <c:v>42181</c:v>
                </c:pt>
                <c:pt idx="775">
                  <c:v>42184</c:v>
                </c:pt>
                <c:pt idx="776">
                  <c:v>42185</c:v>
                </c:pt>
                <c:pt idx="777">
                  <c:v>42186</c:v>
                </c:pt>
                <c:pt idx="778">
                  <c:v>42187</c:v>
                </c:pt>
                <c:pt idx="779">
                  <c:v>42188</c:v>
                </c:pt>
                <c:pt idx="780">
                  <c:v>42191</c:v>
                </c:pt>
                <c:pt idx="781">
                  <c:v>42192</c:v>
                </c:pt>
                <c:pt idx="782">
                  <c:v>42193</c:v>
                </c:pt>
                <c:pt idx="783">
                  <c:v>42194</c:v>
                </c:pt>
                <c:pt idx="784">
                  <c:v>42195</c:v>
                </c:pt>
                <c:pt idx="785">
                  <c:v>42198</c:v>
                </c:pt>
                <c:pt idx="786">
                  <c:v>42199</c:v>
                </c:pt>
                <c:pt idx="787">
                  <c:v>42200</c:v>
                </c:pt>
                <c:pt idx="788">
                  <c:v>42201</c:v>
                </c:pt>
                <c:pt idx="789">
                  <c:v>42202</c:v>
                </c:pt>
                <c:pt idx="790">
                  <c:v>42205</c:v>
                </c:pt>
                <c:pt idx="791">
                  <c:v>42206</c:v>
                </c:pt>
                <c:pt idx="792">
                  <c:v>42207</c:v>
                </c:pt>
                <c:pt idx="793">
                  <c:v>42208</c:v>
                </c:pt>
                <c:pt idx="794">
                  <c:v>42209</c:v>
                </c:pt>
                <c:pt idx="795">
                  <c:v>42212</c:v>
                </c:pt>
                <c:pt idx="796">
                  <c:v>42213</c:v>
                </c:pt>
                <c:pt idx="797">
                  <c:v>42214</c:v>
                </c:pt>
                <c:pt idx="798">
                  <c:v>42215</c:v>
                </c:pt>
                <c:pt idx="799">
                  <c:v>42216</c:v>
                </c:pt>
                <c:pt idx="800">
                  <c:v>42219</c:v>
                </c:pt>
                <c:pt idx="801">
                  <c:v>42220</c:v>
                </c:pt>
                <c:pt idx="802">
                  <c:v>42221</c:v>
                </c:pt>
                <c:pt idx="803">
                  <c:v>42222</c:v>
                </c:pt>
                <c:pt idx="804">
                  <c:v>42223</c:v>
                </c:pt>
                <c:pt idx="805">
                  <c:v>42226</c:v>
                </c:pt>
                <c:pt idx="806">
                  <c:v>42227</c:v>
                </c:pt>
                <c:pt idx="807">
                  <c:v>42228</c:v>
                </c:pt>
                <c:pt idx="808">
                  <c:v>42229</c:v>
                </c:pt>
                <c:pt idx="809">
                  <c:v>42230</c:v>
                </c:pt>
                <c:pt idx="810">
                  <c:v>42233</c:v>
                </c:pt>
                <c:pt idx="811">
                  <c:v>42234</c:v>
                </c:pt>
                <c:pt idx="812">
                  <c:v>42235</c:v>
                </c:pt>
                <c:pt idx="813">
                  <c:v>42236</c:v>
                </c:pt>
                <c:pt idx="814">
                  <c:v>42237</c:v>
                </c:pt>
                <c:pt idx="815">
                  <c:v>42240</c:v>
                </c:pt>
                <c:pt idx="816">
                  <c:v>42241</c:v>
                </c:pt>
                <c:pt idx="817">
                  <c:v>42242</c:v>
                </c:pt>
                <c:pt idx="818">
                  <c:v>42243</c:v>
                </c:pt>
                <c:pt idx="819">
                  <c:v>42244</c:v>
                </c:pt>
                <c:pt idx="820">
                  <c:v>42247</c:v>
                </c:pt>
                <c:pt idx="821">
                  <c:v>42248</c:v>
                </c:pt>
                <c:pt idx="822">
                  <c:v>42249</c:v>
                </c:pt>
                <c:pt idx="823">
                  <c:v>42250</c:v>
                </c:pt>
                <c:pt idx="824">
                  <c:v>42251</c:v>
                </c:pt>
                <c:pt idx="825">
                  <c:v>42254</c:v>
                </c:pt>
                <c:pt idx="826">
                  <c:v>42255</c:v>
                </c:pt>
                <c:pt idx="827">
                  <c:v>42256</c:v>
                </c:pt>
                <c:pt idx="828">
                  <c:v>42257</c:v>
                </c:pt>
                <c:pt idx="829">
                  <c:v>42258</c:v>
                </c:pt>
                <c:pt idx="830">
                  <c:v>42261</c:v>
                </c:pt>
                <c:pt idx="831">
                  <c:v>42262</c:v>
                </c:pt>
                <c:pt idx="832">
                  <c:v>42263</c:v>
                </c:pt>
                <c:pt idx="833">
                  <c:v>42264</c:v>
                </c:pt>
                <c:pt idx="834">
                  <c:v>42265</c:v>
                </c:pt>
                <c:pt idx="835">
                  <c:v>42268</c:v>
                </c:pt>
                <c:pt idx="836">
                  <c:v>42269</c:v>
                </c:pt>
                <c:pt idx="837">
                  <c:v>42270</c:v>
                </c:pt>
                <c:pt idx="838">
                  <c:v>42271</c:v>
                </c:pt>
                <c:pt idx="839">
                  <c:v>42272</c:v>
                </c:pt>
                <c:pt idx="840">
                  <c:v>42275</c:v>
                </c:pt>
                <c:pt idx="841">
                  <c:v>42276</c:v>
                </c:pt>
                <c:pt idx="842">
                  <c:v>42277</c:v>
                </c:pt>
                <c:pt idx="843">
                  <c:v>42278</c:v>
                </c:pt>
                <c:pt idx="844">
                  <c:v>42279</c:v>
                </c:pt>
                <c:pt idx="845">
                  <c:v>42282</c:v>
                </c:pt>
                <c:pt idx="846">
                  <c:v>42283</c:v>
                </c:pt>
                <c:pt idx="847">
                  <c:v>42284</c:v>
                </c:pt>
                <c:pt idx="848">
                  <c:v>42285</c:v>
                </c:pt>
                <c:pt idx="849">
                  <c:v>42286</c:v>
                </c:pt>
                <c:pt idx="850">
                  <c:v>42289</c:v>
                </c:pt>
                <c:pt idx="851">
                  <c:v>42290</c:v>
                </c:pt>
                <c:pt idx="852">
                  <c:v>42291</c:v>
                </c:pt>
                <c:pt idx="853">
                  <c:v>42292</c:v>
                </c:pt>
                <c:pt idx="854">
                  <c:v>42293</c:v>
                </c:pt>
                <c:pt idx="855">
                  <c:v>42296</c:v>
                </c:pt>
                <c:pt idx="856">
                  <c:v>42297</c:v>
                </c:pt>
                <c:pt idx="857">
                  <c:v>42298</c:v>
                </c:pt>
                <c:pt idx="858">
                  <c:v>42299</c:v>
                </c:pt>
                <c:pt idx="859">
                  <c:v>42300</c:v>
                </c:pt>
                <c:pt idx="860">
                  <c:v>42303</c:v>
                </c:pt>
                <c:pt idx="861">
                  <c:v>42304</c:v>
                </c:pt>
                <c:pt idx="862">
                  <c:v>42305</c:v>
                </c:pt>
                <c:pt idx="863">
                  <c:v>42306</c:v>
                </c:pt>
                <c:pt idx="864">
                  <c:v>42307</c:v>
                </c:pt>
                <c:pt idx="865">
                  <c:v>42310</c:v>
                </c:pt>
                <c:pt idx="866">
                  <c:v>42311</c:v>
                </c:pt>
                <c:pt idx="867">
                  <c:v>42312</c:v>
                </c:pt>
                <c:pt idx="868">
                  <c:v>42313</c:v>
                </c:pt>
                <c:pt idx="869">
                  <c:v>42314</c:v>
                </c:pt>
                <c:pt idx="870">
                  <c:v>42317</c:v>
                </c:pt>
                <c:pt idx="871">
                  <c:v>42318</c:v>
                </c:pt>
                <c:pt idx="872">
                  <c:v>42319</c:v>
                </c:pt>
                <c:pt idx="873">
                  <c:v>42320</c:v>
                </c:pt>
                <c:pt idx="874">
                  <c:v>42321</c:v>
                </c:pt>
                <c:pt idx="875">
                  <c:v>42324</c:v>
                </c:pt>
                <c:pt idx="876">
                  <c:v>42325</c:v>
                </c:pt>
                <c:pt idx="877">
                  <c:v>42326</c:v>
                </c:pt>
                <c:pt idx="878">
                  <c:v>42327</c:v>
                </c:pt>
                <c:pt idx="879">
                  <c:v>42328</c:v>
                </c:pt>
                <c:pt idx="880">
                  <c:v>42331</c:v>
                </c:pt>
                <c:pt idx="881">
                  <c:v>42332</c:v>
                </c:pt>
                <c:pt idx="882">
                  <c:v>42333</c:v>
                </c:pt>
                <c:pt idx="883">
                  <c:v>42334</c:v>
                </c:pt>
                <c:pt idx="884">
                  <c:v>42335</c:v>
                </c:pt>
                <c:pt idx="885">
                  <c:v>42338</c:v>
                </c:pt>
                <c:pt idx="886">
                  <c:v>42339</c:v>
                </c:pt>
                <c:pt idx="887">
                  <c:v>42340</c:v>
                </c:pt>
                <c:pt idx="888">
                  <c:v>42341</c:v>
                </c:pt>
                <c:pt idx="889">
                  <c:v>42342</c:v>
                </c:pt>
                <c:pt idx="890">
                  <c:v>42345</c:v>
                </c:pt>
                <c:pt idx="891">
                  <c:v>42346</c:v>
                </c:pt>
                <c:pt idx="892">
                  <c:v>42347</c:v>
                </c:pt>
                <c:pt idx="893">
                  <c:v>42348</c:v>
                </c:pt>
                <c:pt idx="894">
                  <c:v>42349</c:v>
                </c:pt>
                <c:pt idx="895">
                  <c:v>42352</c:v>
                </c:pt>
                <c:pt idx="896">
                  <c:v>42353</c:v>
                </c:pt>
                <c:pt idx="897">
                  <c:v>42354</c:v>
                </c:pt>
                <c:pt idx="898">
                  <c:v>42355</c:v>
                </c:pt>
                <c:pt idx="899">
                  <c:v>42356</c:v>
                </c:pt>
                <c:pt idx="900">
                  <c:v>42359</c:v>
                </c:pt>
                <c:pt idx="901">
                  <c:v>42360</c:v>
                </c:pt>
                <c:pt idx="902">
                  <c:v>42361</c:v>
                </c:pt>
                <c:pt idx="903">
                  <c:v>42362</c:v>
                </c:pt>
                <c:pt idx="904">
                  <c:v>42363</c:v>
                </c:pt>
                <c:pt idx="905">
                  <c:v>42366</c:v>
                </c:pt>
                <c:pt idx="906">
                  <c:v>42367</c:v>
                </c:pt>
                <c:pt idx="907">
                  <c:v>42368</c:v>
                </c:pt>
                <c:pt idx="908">
                  <c:v>42369</c:v>
                </c:pt>
                <c:pt idx="909">
                  <c:v>42370</c:v>
                </c:pt>
                <c:pt idx="910">
                  <c:v>42373</c:v>
                </c:pt>
                <c:pt idx="911">
                  <c:v>42374</c:v>
                </c:pt>
                <c:pt idx="912">
                  <c:v>42375</c:v>
                </c:pt>
                <c:pt idx="913">
                  <c:v>42376</c:v>
                </c:pt>
                <c:pt idx="914">
                  <c:v>42377</c:v>
                </c:pt>
                <c:pt idx="915">
                  <c:v>42380</c:v>
                </c:pt>
                <c:pt idx="916">
                  <c:v>42381</c:v>
                </c:pt>
                <c:pt idx="917">
                  <c:v>42382</c:v>
                </c:pt>
                <c:pt idx="918">
                  <c:v>42383</c:v>
                </c:pt>
                <c:pt idx="919">
                  <c:v>42384</c:v>
                </c:pt>
                <c:pt idx="920">
                  <c:v>42387</c:v>
                </c:pt>
                <c:pt idx="921">
                  <c:v>42388</c:v>
                </c:pt>
                <c:pt idx="922">
                  <c:v>42389</c:v>
                </c:pt>
                <c:pt idx="923">
                  <c:v>42390</c:v>
                </c:pt>
                <c:pt idx="924">
                  <c:v>42391</c:v>
                </c:pt>
                <c:pt idx="925">
                  <c:v>42394</c:v>
                </c:pt>
                <c:pt idx="926">
                  <c:v>42395</c:v>
                </c:pt>
                <c:pt idx="927">
                  <c:v>42396</c:v>
                </c:pt>
                <c:pt idx="928">
                  <c:v>42397</c:v>
                </c:pt>
                <c:pt idx="929">
                  <c:v>42398</c:v>
                </c:pt>
                <c:pt idx="930">
                  <c:v>42401</c:v>
                </c:pt>
                <c:pt idx="931">
                  <c:v>42402</c:v>
                </c:pt>
                <c:pt idx="932">
                  <c:v>42403</c:v>
                </c:pt>
                <c:pt idx="933">
                  <c:v>42404</c:v>
                </c:pt>
                <c:pt idx="934">
                  <c:v>42405</c:v>
                </c:pt>
                <c:pt idx="935">
                  <c:v>42408</c:v>
                </c:pt>
                <c:pt idx="936">
                  <c:v>42409</c:v>
                </c:pt>
                <c:pt idx="937">
                  <c:v>42410</c:v>
                </c:pt>
                <c:pt idx="938">
                  <c:v>42411</c:v>
                </c:pt>
                <c:pt idx="939">
                  <c:v>42412</c:v>
                </c:pt>
                <c:pt idx="940">
                  <c:v>42415</c:v>
                </c:pt>
                <c:pt idx="941">
                  <c:v>42416</c:v>
                </c:pt>
                <c:pt idx="942">
                  <c:v>42417</c:v>
                </c:pt>
                <c:pt idx="943">
                  <c:v>42418</c:v>
                </c:pt>
                <c:pt idx="944">
                  <c:v>42419</c:v>
                </c:pt>
                <c:pt idx="945">
                  <c:v>42422</c:v>
                </c:pt>
                <c:pt idx="946">
                  <c:v>42423</c:v>
                </c:pt>
                <c:pt idx="947">
                  <c:v>42424</c:v>
                </c:pt>
                <c:pt idx="948">
                  <c:v>42425</c:v>
                </c:pt>
                <c:pt idx="949">
                  <c:v>42426</c:v>
                </c:pt>
                <c:pt idx="950">
                  <c:v>42429</c:v>
                </c:pt>
                <c:pt idx="951">
                  <c:v>42430</c:v>
                </c:pt>
                <c:pt idx="952">
                  <c:v>42431</c:v>
                </c:pt>
                <c:pt idx="953">
                  <c:v>42432</c:v>
                </c:pt>
                <c:pt idx="954">
                  <c:v>42433</c:v>
                </c:pt>
                <c:pt idx="955">
                  <c:v>42436</c:v>
                </c:pt>
                <c:pt idx="956">
                  <c:v>42437</c:v>
                </c:pt>
                <c:pt idx="957">
                  <c:v>42438</c:v>
                </c:pt>
                <c:pt idx="958">
                  <c:v>42439</c:v>
                </c:pt>
                <c:pt idx="959">
                  <c:v>42440</c:v>
                </c:pt>
                <c:pt idx="960">
                  <c:v>42443</c:v>
                </c:pt>
                <c:pt idx="961">
                  <c:v>42444</c:v>
                </c:pt>
                <c:pt idx="962">
                  <c:v>42445</c:v>
                </c:pt>
                <c:pt idx="963">
                  <c:v>42446</c:v>
                </c:pt>
                <c:pt idx="964">
                  <c:v>42447</c:v>
                </c:pt>
                <c:pt idx="965">
                  <c:v>42450</c:v>
                </c:pt>
                <c:pt idx="966">
                  <c:v>42451</c:v>
                </c:pt>
                <c:pt idx="967">
                  <c:v>42452</c:v>
                </c:pt>
                <c:pt idx="968">
                  <c:v>42453</c:v>
                </c:pt>
                <c:pt idx="969">
                  <c:v>42454</c:v>
                </c:pt>
                <c:pt idx="970">
                  <c:v>42457</c:v>
                </c:pt>
                <c:pt idx="971">
                  <c:v>42458</c:v>
                </c:pt>
                <c:pt idx="972">
                  <c:v>42459</c:v>
                </c:pt>
                <c:pt idx="973">
                  <c:v>42460</c:v>
                </c:pt>
                <c:pt idx="974">
                  <c:v>42461</c:v>
                </c:pt>
                <c:pt idx="975">
                  <c:v>42464</c:v>
                </c:pt>
                <c:pt idx="976">
                  <c:v>42465</c:v>
                </c:pt>
                <c:pt idx="977">
                  <c:v>42466</c:v>
                </c:pt>
                <c:pt idx="978">
                  <c:v>42467</c:v>
                </c:pt>
                <c:pt idx="979">
                  <c:v>42468</c:v>
                </c:pt>
                <c:pt idx="980">
                  <c:v>42471</c:v>
                </c:pt>
                <c:pt idx="981">
                  <c:v>42472</c:v>
                </c:pt>
                <c:pt idx="982">
                  <c:v>42473</c:v>
                </c:pt>
                <c:pt idx="983">
                  <c:v>42474</c:v>
                </c:pt>
                <c:pt idx="984">
                  <c:v>42475</c:v>
                </c:pt>
                <c:pt idx="985">
                  <c:v>42478</c:v>
                </c:pt>
                <c:pt idx="986">
                  <c:v>42479</c:v>
                </c:pt>
                <c:pt idx="987">
                  <c:v>42480</c:v>
                </c:pt>
                <c:pt idx="988">
                  <c:v>42481</c:v>
                </c:pt>
                <c:pt idx="989">
                  <c:v>42482</c:v>
                </c:pt>
                <c:pt idx="990">
                  <c:v>42485</c:v>
                </c:pt>
                <c:pt idx="991">
                  <c:v>42486</c:v>
                </c:pt>
                <c:pt idx="992">
                  <c:v>42487</c:v>
                </c:pt>
                <c:pt idx="993">
                  <c:v>42488</c:v>
                </c:pt>
                <c:pt idx="994">
                  <c:v>42489</c:v>
                </c:pt>
                <c:pt idx="995">
                  <c:v>42492</c:v>
                </c:pt>
                <c:pt idx="996">
                  <c:v>42493</c:v>
                </c:pt>
                <c:pt idx="997">
                  <c:v>42494</c:v>
                </c:pt>
                <c:pt idx="998">
                  <c:v>42495</c:v>
                </c:pt>
                <c:pt idx="999">
                  <c:v>42496</c:v>
                </c:pt>
                <c:pt idx="1000">
                  <c:v>42499</c:v>
                </c:pt>
                <c:pt idx="1001">
                  <c:v>42500</c:v>
                </c:pt>
                <c:pt idx="1002">
                  <c:v>42501</c:v>
                </c:pt>
                <c:pt idx="1003">
                  <c:v>42502</c:v>
                </c:pt>
                <c:pt idx="1004">
                  <c:v>42503</c:v>
                </c:pt>
                <c:pt idx="1005">
                  <c:v>42506</c:v>
                </c:pt>
                <c:pt idx="1006">
                  <c:v>42507</c:v>
                </c:pt>
                <c:pt idx="1007">
                  <c:v>42508</c:v>
                </c:pt>
                <c:pt idx="1008">
                  <c:v>42509</c:v>
                </c:pt>
                <c:pt idx="1009">
                  <c:v>42510</c:v>
                </c:pt>
                <c:pt idx="1010">
                  <c:v>42513</c:v>
                </c:pt>
                <c:pt idx="1011">
                  <c:v>42514</c:v>
                </c:pt>
                <c:pt idx="1012">
                  <c:v>42515</c:v>
                </c:pt>
                <c:pt idx="1013">
                  <c:v>42516</c:v>
                </c:pt>
                <c:pt idx="1014">
                  <c:v>42517</c:v>
                </c:pt>
                <c:pt idx="1015">
                  <c:v>42520</c:v>
                </c:pt>
                <c:pt idx="1016">
                  <c:v>42521</c:v>
                </c:pt>
                <c:pt idx="1017">
                  <c:v>42522</c:v>
                </c:pt>
                <c:pt idx="1018">
                  <c:v>42523</c:v>
                </c:pt>
                <c:pt idx="1019">
                  <c:v>42524</c:v>
                </c:pt>
                <c:pt idx="1020">
                  <c:v>42527</c:v>
                </c:pt>
                <c:pt idx="1021">
                  <c:v>42528</c:v>
                </c:pt>
                <c:pt idx="1022">
                  <c:v>42529</c:v>
                </c:pt>
                <c:pt idx="1023">
                  <c:v>42530</c:v>
                </c:pt>
                <c:pt idx="1024">
                  <c:v>42531</c:v>
                </c:pt>
                <c:pt idx="1025">
                  <c:v>42534</c:v>
                </c:pt>
                <c:pt idx="1026">
                  <c:v>42535</c:v>
                </c:pt>
                <c:pt idx="1027">
                  <c:v>42536</c:v>
                </c:pt>
                <c:pt idx="1028">
                  <c:v>42537</c:v>
                </c:pt>
                <c:pt idx="1029">
                  <c:v>42538</c:v>
                </c:pt>
                <c:pt idx="1030">
                  <c:v>42541</c:v>
                </c:pt>
                <c:pt idx="1031">
                  <c:v>42542</c:v>
                </c:pt>
                <c:pt idx="1032">
                  <c:v>42543</c:v>
                </c:pt>
                <c:pt idx="1033">
                  <c:v>42544</c:v>
                </c:pt>
                <c:pt idx="1034">
                  <c:v>42545</c:v>
                </c:pt>
                <c:pt idx="1035">
                  <c:v>42548</c:v>
                </c:pt>
                <c:pt idx="1036">
                  <c:v>42549</c:v>
                </c:pt>
                <c:pt idx="1037">
                  <c:v>42550</c:v>
                </c:pt>
                <c:pt idx="1038">
                  <c:v>42551</c:v>
                </c:pt>
                <c:pt idx="1039">
                  <c:v>42552</c:v>
                </c:pt>
                <c:pt idx="1040">
                  <c:v>42555</c:v>
                </c:pt>
                <c:pt idx="1041">
                  <c:v>42556</c:v>
                </c:pt>
                <c:pt idx="1042">
                  <c:v>42557</c:v>
                </c:pt>
                <c:pt idx="1043">
                  <c:v>42558</c:v>
                </c:pt>
                <c:pt idx="1044">
                  <c:v>42559</c:v>
                </c:pt>
                <c:pt idx="1045">
                  <c:v>42562</c:v>
                </c:pt>
                <c:pt idx="1046">
                  <c:v>42563</c:v>
                </c:pt>
                <c:pt idx="1047">
                  <c:v>42564</c:v>
                </c:pt>
                <c:pt idx="1048">
                  <c:v>42565</c:v>
                </c:pt>
                <c:pt idx="1049">
                  <c:v>42566</c:v>
                </c:pt>
                <c:pt idx="1050">
                  <c:v>42569</c:v>
                </c:pt>
                <c:pt idx="1051">
                  <c:v>42570</c:v>
                </c:pt>
                <c:pt idx="1052">
                  <c:v>42571</c:v>
                </c:pt>
                <c:pt idx="1053">
                  <c:v>42572</c:v>
                </c:pt>
                <c:pt idx="1054">
                  <c:v>42573</c:v>
                </c:pt>
                <c:pt idx="1055">
                  <c:v>42576</c:v>
                </c:pt>
                <c:pt idx="1056">
                  <c:v>42577</c:v>
                </c:pt>
                <c:pt idx="1057">
                  <c:v>42578</c:v>
                </c:pt>
                <c:pt idx="1058">
                  <c:v>42579</c:v>
                </c:pt>
                <c:pt idx="1059">
                  <c:v>42580</c:v>
                </c:pt>
                <c:pt idx="1060">
                  <c:v>42583</c:v>
                </c:pt>
                <c:pt idx="1061">
                  <c:v>42584</c:v>
                </c:pt>
                <c:pt idx="1062">
                  <c:v>42585</c:v>
                </c:pt>
                <c:pt idx="1063">
                  <c:v>42586</c:v>
                </c:pt>
                <c:pt idx="1064">
                  <c:v>42587</c:v>
                </c:pt>
                <c:pt idx="1065">
                  <c:v>42590</c:v>
                </c:pt>
                <c:pt idx="1066">
                  <c:v>42591</c:v>
                </c:pt>
                <c:pt idx="1067">
                  <c:v>42592</c:v>
                </c:pt>
                <c:pt idx="1068">
                  <c:v>42593</c:v>
                </c:pt>
                <c:pt idx="1069">
                  <c:v>42594</c:v>
                </c:pt>
                <c:pt idx="1070">
                  <c:v>42597</c:v>
                </c:pt>
                <c:pt idx="1071">
                  <c:v>42598</c:v>
                </c:pt>
                <c:pt idx="1072">
                  <c:v>42599</c:v>
                </c:pt>
                <c:pt idx="1073">
                  <c:v>42600</c:v>
                </c:pt>
                <c:pt idx="1074">
                  <c:v>42601</c:v>
                </c:pt>
                <c:pt idx="1075">
                  <c:v>42604</c:v>
                </c:pt>
                <c:pt idx="1076">
                  <c:v>42605</c:v>
                </c:pt>
                <c:pt idx="1077">
                  <c:v>42606</c:v>
                </c:pt>
                <c:pt idx="1078">
                  <c:v>42607</c:v>
                </c:pt>
                <c:pt idx="1079">
                  <c:v>42608</c:v>
                </c:pt>
                <c:pt idx="1080">
                  <c:v>42611</c:v>
                </c:pt>
                <c:pt idx="1081">
                  <c:v>42612</c:v>
                </c:pt>
                <c:pt idx="1082">
                  <c:v>42613</c:v>
                </c:pt>
                <c:pt idx="1083">
                  <c:v>42614</c:v>
                </c:pt>
                <c:pt idx="1084">
                  <c:v>42615</c:v>
                </c:pt>
                <c:pt idx="1085">
                  <c:v>42618</c:v>
                </c:pt>
                <c:pt idx="1086">
                  <c:v>42619</c:v>
                </c:pt>
                <c:pt idx="1087">
                  <c:v>42620</c:v>
                </c:pt>
                <c:pt idx="1088">
                  <c:v>42621</c:v>
                </c:pt>
                <c:pt idx="1089">
                  <c:v>42622</c:v>
                </c:pt>
                <c:pt idx="1090">
                  <c:v>42625</c:v>
                </c:pt>
                <c:pt idx="1091">
                  <c:v>42626</c:v>
                </c:pt>
                <c:pt idx="1092">
                  <c:v>42627</c:v>
                </c:pt>
                <c:pt idx="1093">
                  <c:v>42628</c:v>
                </c:pt>
                <c:pt idx="1094">
                  <c:v>42629</c:v>
                </c:pt>
                <c:pt idx="1095">
                  <c:v>42632</c:v>
                </c:pt>
                <c:pt idx="1096">
                  <c:v>42633</c:v>
                </c:pt>
                <c:pt idx="1097">
                  <c:v>42634</c:v>
                </c:pt>
                <c:pt idx="1098">
                  <c:v>42635</c:v>
                </c:pt>
                <c:pt idx="1099">
                  <c:v>42636</c:v>
                </c:pt>
                <c:pt idx="1100">
                  <c:v>42639</c:v>
                </c:pt>
                <c:pt idx="1101">
                  <c:v>42640</c:v>
                </c:pt>
                <c:pt idx="1102">
                  <c:v>42641</c:v>
                </c:pt>
                <c:pt idx="1103">
                  <c:v>42642</c:v>
                </c:pt>
                <c:pt idx="1104">
                  <c:v>42643</c:v>
                </c:pt>
                <c:pt idx="1105">
                  <c:v>42646</c:v>
                </c:pt>
                <c:pt idx="1106">
                  <c:v>42647</c:v>
                </c:pt>
                <c:pt idx="1107">
                  <c:v>42648</c:v>
                </c:pt>
                <c:pt idx="1108">
                  <c:v>42649</c:v>
                </c:pt>
                <c:pt idx="1109">
                  <c:v>42650</c:v>
                </c:pt>
                <c:pt idx="1110">
                  <c:v>42653</c:v>
                </c:pt>
                <c:pt idx="1111">
                  <c:v>42654</c:v>
                </c:pt>
                <c:pt idx="1112">
                  <c:v>42655</c:v>
                </c:pt>
                <c:pt idx="1113">
                  <c:v>42656</c:v>
                </c:pt>
                <c:pt idx="1114">
                  <c:v>42657</c:v>
                </c:pt>
                <c:pt idx="1115">
                  <c:v>42660</c:v>
                </c:pt>
                <c:pt idx="1116">
                  <c:v>42661</c:v>
                </c:pt>
                <c:pt idx="1117">
                  <c:v>42662</c:v>
                </c:pt>
                <c:pt idx="1118">
                  <c:v>42663</c:v>
                </c:pt>
                <c:pt idx="1119">
                  <c:v>42664</c:v>
                </c:pt>
                <c:pt idx="1120">
                  <c:v>42667</c:v>
                </c:pt>
                <c:pt idx="1121">
                  <c:v>42668</c:v>
                </c:pt>
                <c:pt idx="1122">
                  <c:v>42669</c:v>
                </c:pt>
                <c:pt idx="1123">
                  <c:v>42670</c:v>
                </c:pt>
                <c:pt idx="1124">
                  <c:v>42671</c:v>
                </c:pt>
                <c:pt idx="1125">
                  <c:v>42674</c:v>
                </c:pt>
                <c:pt idx="1126">
                  <c:v>42675</c:v>
                </c:pt>
                <c:pt idx="1127">
                  <c:v>42676</c:v>
                </c:pt>
                <c:pt idx="1128">
                  <c:v>42677</c:v>
                </c:pt>
                <c:pt idx="1129">
                  <c:v>42678</c:v>
                </c:pt>
                <c:pt idx="1130">
                  <c:v>42681</c:v>
                </c:pt>
                <c:pt idx="1131">
                  <c:v>42682</c:v>
                </c:pt>
                <c:pt idx="1132">
                  <c:v>42683</c:v>
                </c:pt>
                <c:pt idx="1133">
                  <c:v>42684</c:v>
                </c:pt>
                <c:pt idx="1134">
                  <c:v>42685</c:v>
                </c:pt>
                <c:pt idx="1135">
                  <c:v>42688</c:v>
                </c:pt>
                <c:pt idx="1136">
                  <c:v>42689</c:v>
                </c:pt>
                <c:pt idx="1137">
                  <c:v>42690</c:v>
                </c:pt>
                <c:pt idx="1138">
                  <c:v>42691</c:v>
                </c:pt>
                <c:pt idx="1139">
                  <c:v>42692</c:v>
                </c:pt>
                <c:pt idx="1140">
                  <c:v>42695</c:v>
                </c:pt>
                <c:pt idx="1141">
                  <c:v>42696</c:v>
                </c:pt>
                <c:pt idx="1142">
                  <c:v>42697</c:v>
                </c:pt>
                <c:pt idx="1143">
                  <c:v>42698</c:v>
                </c:pt>
                <c:pt idx="1144">
                  <c:v>42699</c:v>
                </c:pt>
                <c:pt idx="1145">
                  <c:v>42702</c:v>
                </c:pt>
                <c:pt idx="1146">
                  <c:v>42703</c:v>
                </c:pt>
                <c:pt idx="1147">
                  <c:v>42704</c:v>
                </c:pt>
                <c:pt idx="1148">
                  <c:v>42705</c:v>
                </c:pt>
                <c:pt idx="1149">
                  <c:v>42706</c:v>
                </c:pt>
                <c:pt idx="1150">
                  <c:v>42709</c:v>
                </c:pt>
                <c:pt idx="1151">
                  <c:v>42710</c:v>
                </c:pt>
                <c:pt idx="1152">
                  <c:v>42711</c:v>
                </c:pt>
                <c:pt idx="1153">
                  <c:v>42712</c:v>
                </c:pt>
                <c:pt idx="1154">
                  <c:v>42713</c:v>
                </c:pt>
                <c:pt idx="1155">
                  <c:v>42716</c:v>
                </c:pt>
                <c:pt idx="1156">
                  <c:v>42717</c:v>
                </c:pt>
                <c:pt idx="1157">
                  <c:v>42718</c:v>
                </c:pt>
                <c:pt idx="1158">
                  <c:v>42719</c:v>
                </c:pt>
                <c:pt idx="1159">
                  <c:v>42720</c:v>
                </c:pt>
                <c:pt idx="1160">
                  <c:v>42723</c:v>
                </c:pt>
                <c:pt idx="1161">
                  <c:v>42724</c:v>
                </c:pt>
                <c:pt idx="1162">
                  <c:v>42725</c:v>
                </c:pt>
                <c:pt idx="1163">
                  <c:v>42726</c:v>
                </c:pt>
                <c:pt idx="1164">
                  <c:v>42727</c:v>
                </c:pt>
                <c:pt idx="1165">
                  <c:v>42730</c:v>
                </c:pt>
                <c:pt idx="1166">
                  <c:v>42731</c:v>
                </c:pt>
                <c:pt idx="1167">
                  <c:v>42732</c:v>
                </c:pt>
                <c:pt idx="1168">
                  <c:v>42733</c:v>
                </c:pt>
                <c:pt idx="1169">
                  <c:v>42734</c:v>
                </c:pt>
                <c:pt idx="1170">
                  <c:v>42737</c:v>
                </c:pt>
                <c:pt idx="1171">
                  <c:v>42738</c:v>
                </c:pt>
                <c:pt idx="1172">
                  <c:v>42739</c:v>
                </c:pt>
                <c:pt idx="1173">
                  <c:v>42740</c:v>
                </c:pt>
                <c:pt idx="1174">
                  <c:v>42741</c:v>
                </c:pt>
                <c:pt idx="1175">
                  <c:v>42744</c:v>
                </c:pt>
                <c:pt idx="1176">
                  <c:v>42745</c:v>
                </c:pt>
                <c:pt idx="1177">
                  <c:v>42746</c:v>
                </c:pt>
                <c:pt idx="1178">
                  <c:v>42747</c:v>
                </c:pt>
                <c:pt idx="1179">
                  <c:v>42748</c:v>
                </c:pt>
                <c:pt idx="1180">
                  <c:v>42751</c:v>
                </c:pt>
                <c:pt idx="1181">
                  <c:v>42752</c:v>
                </c:pt>
                <c:pt idx="1182">
                  <c:v>42753</c:v>
                </c:pt>
                <c:pt idx="1183">
                  <c:v>42754</c:v>
                </c:pt>
                <c:pt idx="1184">
                  <c:v>42755</c:v>
                </c:pt>
                <c:pt idx="1185">
                  <c:v>42758</c:v>
                </c:pt>
                <c:pt idx="1186">
                  <c:v>42759</c:v>
                </c:pt>
                <c:pt idx="1187">
                  <c:v>42760</c:v>
                </c:pt>
                <c:pt idx="1188">
                  <c:v>42761</c:v>
                </c:pt>
                <c:pt idx="1189">
                  <c:v>42762</c:v>
                </c:pt>
                <c:pt idx="1190">
                  <c:v>42765</c:v>
                </c:pt>
                <c:pt idx="1191">
                  <c:v>42766</c:v>
                </c:pt>
                <c:pt idx="1192">
                  <c:v>42767</c:v>
                </c:pt>
                <c:pt idx="1193">
                  <c:v>42768</c:v>
                </c:pt>
                <c:pt idx="1194">
                  <c:v>42769</c:v>
                </c:pt>
                <c:pt idx="1195">
                  <c:v>42772</c:v>
                </c:pt>
                <c:pt idx="1196">
                  <c:v>42773</c:v>
                </c:pt>
                <c:pt idx="1197">
                  <c:v>42774</c:v>
                </c:pt>
                <c:pt idx="1198">
                  <c:v>42775</c:v>
                </c:pt>
                <c:pt idx="1199">
                  <c:v>42776</c:v>
                </c:pt>
                <c:pt idx="1200">
                  <c:v>42779</c:v>
                </c:pt>
                <c:pt idx="1201">
                  <c:v>42780</c:v>
                </c:pt>
                <c:pt idx="1202">
                  <c:v>42781</c:v>
                </c:pt>
                <c:pt idx="1203">
                  <c:v>42782</c:v>
                </c:pt>
                <c:pt idx="1204">
                  <c:v>42783</c:v>
                </c:pt>
                <c:pt idx="1205">
                  <c:v>42786</c:v>
                </c:pt>
                <c:pt idx="1206">
                  <c:v>42787</c:v>
                </c:pt>
                <c:pt idx="1207">
                  <c:v>42788</c:v>
                </c:pt>
                <c:pt idx="1208">
                  <c:v>42789</c:v>
                </c:pt>
                <c:pt idx="1209">
                  <c:v>42790</c:v>
                </c:pt>
                <c:pt idx="1210">
                  <c:v>42793</c:v>
                </c:pt>
                <c:pt idx="1211">
                  <c:v>42794</c:v>
                </c:pt>
                <c:pt idx="1212">
                  <c:v>42795</c:v>
                </c:pt>
                <c:pt idx="1213">
                  <c:v>42796</c:v>
                </c:pt>
                <c:pt idx="1214">
                  <c:v>42797</c:v>
                </c:pt>
                <c:pt idx="1215">
                  <c:v>42800</c:v>
                </c:pt>
                <c:pt idx="1216">
                  <c:v>42801</c:v>
                </c:pt>
                <c:pt idx="1217">
                  <c:v>42802</c:v>
                </c:pt>
                <c:pt idx="1218">
                  <c:v>42803</c:v>
                </c:pt>
                <c:pt idx="1219">
                  <c:v>42804</c:v>
                </c:pt>
                <c:pt idx="1220">
                  <c:v>42807</c:v>
                </c:pt>
                <c:pt idx="1221">
                  <c:v>42808</c:v>
                </c:pt>
                <c:pt idx="1222">
                  <c:v>42809</c:v>
                </c:pt>
                <c:pt idx="1223">
                  <c:v>42810</c:v>
                </c:pt>
                <c:pt idx="1224">
                  <c:v>42811</c:v>
                </c:pt>
                <c:pt idx="1225">
                  <c:v>42814</c:v>
                </c:pt>
                <c:pt idx="1226">
                  <c:v>42815</c:v>
                </c:pt>
                <c:pt idx="1227">
                  <c:v>42816</c:v>
                </c:pt>
                <c:pt idx="1228">
                  <c:v>42817</c:v>
                </c:pt>
                <c:pt idx="1229">
                  <c:v>42818</c:v>
                </c:pt>
                <c:pt idx="1230">
                  <c:v>42821</c:v>
                </c:pt>
                <c:pt idx="1231">
                  <c:v>42822</c:v>
                </c:pt>
                <c:pt idx="1232">
                  <c:v>42823</c:v>
                </c:pt>
                <c:pt idx="1233">
                  <c:v>42824</c:v>
                </c:pt>
                <c:pt idx="1234">
                  <c:v>42825</c:v>
                </c:pt>
                <c:pt idx="1235">
                  <c:v>42828</c:v>
                </c:pt>
                <c:pt idx="1236">
                  <c:v>42829</c:v>
                </c:pt>
                <c:pt idx="1237">
                  <c:v>42830</c:v>
                </c:pt>
                <c:pt idx="1238">
                  <c:v>42831</c:v>
                </c:pt>
                <c:pt idx="1239">
                  <c:v>42832</c:v>
                </c:pt>
                <c:pt idx="1240">
                  <c:v>42835</c:v>
                </c:pt>
                <c:pt idx="1241">
                  <c:v>42836</c:v>
                </c:pt>
                <c:pt idx="1242">
                  <c:v>42837</c:v>
                </c:pt>
                <c:pt idx="1243">
                  <c:v>42838</c:v>
                </c:pt>
                <c:pt idx="1244">
                  <c:v>42839</c:v>
                </c:pt>
                <c:pt idx="1245">
                  <c:v>42842</c:v>
                </c:pt>
                <c:pt idx="1246">
                  <c:v>42843</c:v>
                </c:pt>
                <c:pt idx="1247">
                  <c:v>42844</c:v>
                </c:pt>
                <c:pt idx="1248">
                  <c:v>42845</c:v>
                </c:pt>
                <c:pt idx="1249">
                  <c:v>42846</c:v>
                </c:pt>
                <c:pt idx="1250">
                  <c:v>42849</c:v>
                </c:pt>
                <c:pt idx="1251">
                  <c:v>42850</c:v>
                </c:pt>
                <c:pt idx="1252">
                  <c:v>42851</c:v>
                </c:pt>
                <c:pt idx="1253">
                  <c:v>42852</c:v>
                </c:pt>
                <c:pt idx="1254">
                  <c:v>42853</c:v>
                </c:pt>
                <c:pt idx="1255">
                  <c:v>42856</c:v>
                </c:pt>
                <c:pt idx="1256">
                  <c:v>42857</c:v>
                </c:pt>
                <c:pt idx="1257">
                  <c:v>42858</c:v>
                </c:pt>
                <c:pt idx="1258">
                  <c:v>42859</c:v>
                </c:pt>
                <c:pt idx="1259">
                  <c:v>42860</c:v>
                </c:pt>
                <c:pt idx="1260">
                  <c:v>42863</c:v>
                </c:pt>
                <c:pt idx="1261">
                  <c:v>42864</c:v>
                </c:pt>
                <c:pt idx="1262">
                  <c:v>42865</c:v>
                </c:pt>
                <c:pt idx="1263">
                  <c:v>42866</c:v>
                </c:pt>
                <c:pt idx="1264">
                  <c:v>42867</c:v>
                </c:pt>
                <c:pt idx="1265">
                  <c:v>42870</c:v>
                </c:pt>
                <c:pt idx="1266">
                  <c:v>42871</c:v>
                </c:pt>
                <c:pt idx="1267">
                  <c:v>42872</c:v>
                </c:pt>
                <c:pt idx="1268">
                  <c:v>42873</c:v>
                </c:pt>
                <c:pt idx="1269">
                  <c:v>42874</c:v>
                </c:pt>
                <c:pt idx="1270">
                  <c:v>42877</c:v>
                </c:pt>
                <c:pt idx="1271">
                  <c:v>42878</c:v>
                </c:pt>
                <c:pt idx="1272">
                  <c:v>42879</c:v>
                </c:pt>
                <c:pt idx="1273">
                  <c:v>42880</c:v>
                </c:pt>
                <c:pt idx="1274">
                  <c:v>42881</c:v>
                </c:pt>
                <c:pt idx="1275">
                  <c:v>42884</c:v>
                </c:pt>
                <c:pt idx="1276">
                  <c:v>42885</c:v>
                </c:pt>
                <c:pt idx="1277">
                  <c:v>42886</c:v>
                </c:pt>
                <c:pt idx="1278">
                  <c:v>42887</c:v>
                </c:pt>
                <c:pt idx="1279">
                  <c:v>42888</c:v>
                </c:pt>
                <c:pt idx="1280">
                  <c:v>42891</c:v>
                </c:pt>
                <c:pt idx="1281">
                  <c:v>42892</c:v>
                </c:pt>
                <c:pt idx="1282">
                  <c:v>42893</c:v>
                </c:pt>
                <c:pt idx="1283">
                  <c:v>42894</c:v>
                </c:pt>
                <c:pt idx="1284">
                  <c:v>42895</c:v>
                </c:pt>
                <c:pt idx="1285">
                  <c:v>42898</c:v>
                </c:pt>
                <c:pt idx="1286">
                  <c:v>42899</c:v>
                </c:pt>
                <c:pt idx="1287">
                  <c:v>42900</c:v>
                </c:pt>
                <c:pt idx="1288">
                  <c:v>42901</c:v>
                </c:pt>
                <c:pt idx="1289">
                  <c:v>42902</c:v>
                </c:pt>
                <c:pt idx="1290">
                  <c:v>42905</c:v>
                </c:pt>
                <c:pt idx="1291">
                  <c:v>42906</c:v>
                </c:pt>
                <c:pt idx="1292">
                  <c:v>42907</c:v>
                </c:pt>
                <c:pt idx="1293">
                  <c:v>42908</c:v>
                </c:pt>
                <c:pt idx="1294">
                  <c:v>42909</c:v>
                </c:pt>
                <c:pt idx="1295">
                  <c:v>42912</c:v>
                </c:pt>
                <c:pt idx="1296">
                  <c:v>42913</c:v>
                </c:pt>
                <c:pt idx="1297">
                  <c:v>42914</c:v>
                </c:pt>
                <c:pt idx="1298">
                  <c:v>42915</c:v>
                </c:pt>
                <c:pt idx="1299">
                  <c:v>42916</c:v>
                </c:pt>
                <c:pt idx="1300">
                  <c:v>42919</c:v>
                </c:pt>
                <c:pt idx="1301">
                  <c:v>42920</c:v>
                </c:pt>
                <c:pt idx="1302">
                  <c:v>42921</c:v>
                </c:pt>
                <c:pt idx="1303">
                  <c:v>42922</c:v>
                </c:pt>
                <c:pt idx="1304">
                  <c:v>42923</c:v>
                </c:pt>
                <c:pt idx="1305">
                  <c:v>42926</c:v>
                </c:pt>
                <c:pt idx="1306">
                  <c:v>42927</c:v>
                </c:pt>
                <c:pt idx="1307">
                  <c:v>42928</c:v>
                </c:pt>
                <c:pt idx="1308">
                  <c:v>42929</c:v>
                </c:pt>
                <c:pt idx="1309">
                  <c:v>42930</c:v>
                </c:pt>
                <c:pt idx="1310">
                  <c:v>42933</c:v>
                </c:pt>
                <c:pt idx="1311">
                  <c:v>42934</c:v>
                </c:pt>
                <c:pt idx="1312">
                  <c:v>42935</c:v>
                </c:pt>
                <c:pt idx="1313">
                  <c:v>42936</c:v>
                </c:pt>
                <c:pt idx="1314">
                  <c:v>42937</c:v>
                </c:pt>
                <c:pt idx="1315">
                  <c:v>42940</c:v>
                </c:pt>
                <c:pt idx="1316">
                  <c:v>42941</c:v>
                </c:pt>
                <c:pt idx="1317">
                  <c:v>42942</c:v>
                </c:pt>
                <c:pt idx="1318">
                  <c:v>42943</c:v>
                </c:pt>
                <c:pt idx="1319">
                  <c:v>42944</c:v>
                </c:pt>
                <c:pt idx="1320">
                  <c:v>42947</c:v>
                </c:pt>
                <c:pt idx="1321">
                  <c:v>42948</c:v>
                </c:pt>
                <c:pt idx="1322">
                  <c:v>42949</c:v>
                </c:pt>
                <c:pt idx="1323">
                  <c:v>42950</c:v>
                </c:pt>
                <c:pt idx="1324">
                  <c:v>42951</c:v>
                </c:pt>
                <c:pt idx="1325">
                  <c:v>42954</c:v>
                </c:pt>
                <c:pt idx="1326">
                  <c:v>42955</c:v>
                </c:pt>
                <c:pt idx="1327">
                  <c:v>42956</c:v>
                </c:pt>
                <c:pt idx="1328">
                  <c:v>42957</c:v>
                </c:pt>
                <c:pt idx="1329">
                  <c:v>42958</c:v>
                </c:pt>
                <c:pt idx="1330">
                  <c:v>42961</c:v>
                </c:pt>
                <c:pt idx="1331">
                  <c:v>42962</c:v>
                </c:pt>
                <c:pt idx="1332">
                  <c:v>42963</c:v>
                </c:pt>
                <c:pt idx="1333">
                  <c:v>42964</c:v>
                </c:pt>
                <c:pt idx="1334">
                  <c:v>42965</c:v>
                </c:pt>
                <c:pt idx="1335">
                  <c:v>42968</c:v>
                </c:pt>
                <c:pt idx="1336">
                  <c:v>42969</c:v>
                </c:pt>
                <c:pt idx="1337">
                  <c:v>42970</c:v>
                </c:pt>
                <c:pt idx="1338">
                  <c:v>42971</c:v>
                </c:pt>
                <c:pt idx="1339">
                  <c:v>42972</c:v>
                </c:pt>
                <c:pt idx="1340">
                  <c:v>42975</c:v>
                </c:pt>
                <c:pt idx="1341">
                  <c:v>42976</c:v>
                </c:pt>
                <c:pt idx="1342">
                  <c:v>42977</c:v>
                </c:pt>
                <c:pt idx="1343">
                  <c:v>42978</c:v>
                </c:pt>
                <c:pt idx="1344">
                  <c:v>42979</c:v>
                </c:pt>
                <c:pt idx="1345">
                  <c:v>42982</c:v>
                </c:pt>
                <c:pt idx="1346">
                  <c:v>42983</c:v>
                </c:pt>
                <c:pt idx="1347">
                  <c:v>42984</c:v>
                </c:pt>
                <c:pt idx="1348">
                  <c:v>42985</c:v>
                </c:pt>
                <c:pt idx="1349">
                  <c:v>42986</c:v>
                </c:pt>
                <c:pt idx="1350">
                  <c:v>42989</c:v>
                </c:pt>
                <c:pt idx="1351">
                  <c:v>42990</c:v>
                </c:pt>
                <c:pt idx="1352">
                  <c:v>42991</c:v>
                </c:pt>
                <c:pt idx="1353">
                  <c:v>42992</c:v>
                </c:pt>
                <c:pt idx="1354">
                  <c:v>42993</c:v>
                </c:pt>
                <c:pt idx="1355">
                  <c:v>42996</c:v>
                </c:pt>
                <c:pt idx="1356">
                  <c:v>42997</c:v>
                </c:pt>
                <c:pt idx="1357">
                  <c:v>42998</c:v>
                </c:pt>
                <c:pt idx="1358">
                  <c:v>42999</c:v>
                </c:pt>
                <c:pt idx="1359">
                  <c:v>43000</c:v>
                </c:pt>
                <c:pt idx="1360">
                  <c:v>43003</c:v>
                </c:pt>
                <c:pt idx="1361">
                  <c:v>43004</c:v>
                </c:pt>
                <c:pt idx="1362">
                  <c:v>43005</c:v>
                </c:pt>
                <c:pt idx="1363">
                  <c:v>43006</c:v>
                </c:pt>
                <c:pt idx="1364">
                  <c:v>43007</c:v>
                </c:pt>
                <c:pt idx="1365">
                  <c:v>43010</c:v>
                </c:pt>
                <c:pt idx="1366">
                  <c:v>43011</c:v>
                </c:pt>
                <c:pt idx="1367">
                  <c:v>43012</c:v>
                </c:pt>
                <c:pt idx="1368">
                  <c:v>43013</c:v>
                </c:pt>
                <c:pt idx="1369">
                  <c:v>43014</c:v>
                </c:pt>
                <c:pt idx="1370">
                  <c:v>43017</c:v>
                </c:pt>
                <c:pt idx="1371">
                  <c:v>43018</c:v>
                </c:pt>
                <c:pt idx="1372">
                  <c:v>43019</c:v>
                </c:pt>
                <c:pt idx="1373">
                  <c:v>43020</c:v>
                </c:pt>
                <c:pt idx="1374">
                  <c:v>43021</c:v>
                </c:pt>
                <c:pt idx="1375">
                  <c:v>43024</c:v>
                </c:pt>
                <c:pt idx="1376">
                  <c:v>43025</c:v>
                </c:pt>
                <c:pt idx="1377">
                  <c:v>43026</c:v>
                </c:pt>
                <c:pt idx="1378">
                  <c:v>43027</c:v>
                </c:pt>
                <c:pt idx="1379">
                  <c:v>43028</c:v>
                </c:pt>
                <c:pt idx="1380">
                  <c:v>43031</c:v>
                </c:pt>
                <c:pt idx="1381">
                  <c:v>43032</c:v>
                </c:pt>
                <c:pt idx="1382">
                  <c:v>43033</c:v>
                </c:pt>
                <c:pt idx="1383">
                  <c:v>43034</c:v>
                </c:pt>
                <c:pt idx="1384">
                  <c:v>43035</c:v>
                </c:pt>
                <c:pt idx="1385">
                  <c:v>43038</c:v>
                </c:pt>
                <c:pt idx="1386">
                  <c:v>43039</c:v>
                </c:pt>
                <c:pt idx="1387">
                  <c:v>43040</c:v>
                </c:pt>
                <c:pt idx="1388">
                  <c:v>43041</c:v>
                </c:pt>
                <c:pt idx="1389">
                  <c:v>43042</c:v>
                </c:pt>
                <c:pt idx="1390">
                  <c:v>43045</c:v>
                </c:pt>
                <c:pt idx="1391">
                  <c:v>43046</c:v>
                </c:pt>
                <c:pt idx="1392">
                  <c:v>43047</c:v>
                </c:pt>
                <c:pt idx="1393">
                  <c:v>43048</c:v>
                </c:pt>
                <c:pt idx="1394">
                  <c:v>43049</c:v>
                </c:pt>
                <c:pt idx="1395">
                  <c:v>43052</c:v>
                </c:pt>
                <c:pt idx="1396">
                  <c:v>43053</c:v>
                </c:pt>
                <c:pt idx="1397">
                  <c:v>43054</c:v>
                </c:pt>
                <c:pt idx="1398">
                  <c:v>43055</c:v>
                </c:pt>
                <c:pt idx="1399">
                  <c:v>43056</c:v>
                </c:pt>
                <c:pt idx="1400">
                  <c:v>43059</c:v>
                </c:pt>
                <c:pt idx="1401">
                  <c:v>43060</c:v>
                </c:pt>
                <c:pt idx="1402">
                  <c:v>43061</c:v>
                </c:pt>
                <c:pt idx="1403">
                  <c:v>43062</c:v>
                </c:pt>
                <c:pt idx="1404">
                  <c:v>43063</c:v>
                </c:pt>
                <c:pt idx="1405">
                  <c:v>43066</c:v>
                </c:pt>
                <c:pt idx="1406">
                  <c:v>43067</c:v>
                </c:pt>
                <c:pt idx="1407">
                  <c:v>43068</c:v>
                </c:pt>
                <c:pt idx="1408">
                  <c:v>43069</c:v>
                </c:pt>
                <c:pt idx="1409">
                  <c:v>43070</c:v>
                </c:pt>
                <c:pt idx="1410">
                  <c:v>43073</c:v>
                </c:pt>
                <c:pt idx="1411">
                  <c:v>43074</c:v>
                </c:pt>
                <c:pt idx="1412">
                  <c:v>43075</c:v>
                </c:pt>
                <c:pt idx="1413">
                  <c:v>43076</c:v>
                </c:pt>
                <c:pt idx="1414">
                  <c:v>43077</c:v>
                </c:pt>
                <c:pt idx="1415">
                  <c:v>43080</c:v>
                </c:pt>
                <c:pt idx="1416">
                  <c:v>43081</c:v>
                </c:pt>
                <c:pt idx="1417">
                  <c:v>43082</c:v>
                </c:pt>
                <c:pt idx="1418">
                  <c:v>43083</c:v>
                </c:pt>
                <c:pt idx="1419">
                  <c:v>43084</c:v>
                </c:pt>
                <c:pt idx="1420">
                  <c:v>43087</c:v>
                </c:pt>
                <c:pt idx="1421">
                  <c:v>43088</c:v>
                </c:pt>
                <c:pt idx="1422">
                  <c:v>43089</c:v>
                </c:pt>
                <c:pt idx="1423">
                  <c:v>43090</c:v>
                </c:pt>
                <c:pt idx="1424">
                  <c:v>43091</c:v>
                </c:pt>
                <c:pt idx="1425">
                  <c:v>43094</c:v>
                </c:pt>
                <c:pt idx="1426">
                  <c:v>43095</c:v>
                </c:pt>
                <c:pt idx="1427">
                  <c:v>43096</c:v>
                </c:pt>
                <c:pt idx="1428">
                  <c:v>43097</c:v>
                </c:pt>
                <c:pt idx="1429">
                  <c:v>43098</c:v>
                </c:pt>
                <c:pt idx="1430">
                  <c:v>43101</c:v>
                </c:pt>
                <c:pt idx="1431">
                  <c:v>43102</c:v>
                </c:pt>
                <c:pt idx="1432">
                  <c:v>43103</c:v>
                </c:pt>
                <c:pt idx="1433">
                  <c:v>43104</c:v>
                </c:pt>
                <c:pt idx="1434">
                  <c:v>43105</c:v>
                </c:pt>
                <c:pt idx="1435">
                  <c:v>43108</c:v>
                </c:pt>
                <c:pt idx="1436">
                  <c:v>43109</c:v>
                </c:pt>
                <c:pt idx="1437">
                  <c:v>43110</c:v>
                </c:pt>
                <c:pt idx="1438">
                  <c:v>43111</c:v>
                </c:pt>
                <c:pt idx="1439">
                  <c:v>43112</c:v>
                </c:pt>
                <c:pt idx="1440">
                  <c:v>43115</c:v>
                </c:pt>
                <c:pt idx="1441">
                  <c:v>43116</c:v>
                </c:pt>
                <c:pt idx="1442">
                  <c:v>43117</c:v>
                </c:pt>
                <c:pt idx="1443">
                  <c:v>43118</c:v>
                </c:pt>
                <c:pt idx="1444">
                  <c:v>43119</c:v>
                </c:pt>
                <c:pt idx="1445">
                  <c:v>43122</c:v>
                </c:pt>
                <c:pt idx="1446">
                  <c:v>43123</c:v>
                </c:pt>
                <c:pt idx="1447">
                  <c:v>43124</c:v>
                </c:pt>
                <c:pt idx="1448">
                  <c:v>43125</c:v>
                </c:pt>
                <c:pt idx="1449">
                  <c:v>43126</c:v>
                </c:pt>
                <c:pt idx="1450">
                  <c:v>43129</c:v>
                </c:pt>
                <c:pt idx="1451">
                  <c:v>43130</c:v>
                </c:pt>
                <c:pt idx="1452">
                  <c:v>43131</c:v>
                </c:pt>
              </c:numCache>
            </c:numRef>
          </c:cat>
          <c:val>
            <c:numRef>
              <c:f>'Amundi Fds Global MV BRUT USD'!$H$5:$H$1457</c:f>
              <c:numCache>
                <c:formatCode>0.00</c:formatCode>
                <c:ptCount val="1453"/>
                <c:pt idx="0">
                  <c:v>0</c:v>
                </c:pt>
                <c:pt idx="1">
                  <c:v>-8.9216280223610056E-2</c:v>
                </c:pt>
                <c:pt idx="2">
                  <c:v>-0.18013571742099543</c:v>
                </c:pt>
                <c:pt idx="3">
                  <c:v>0.30945832498640868</c:v>
                </c:pt>
                <c:pt idx="4">
                  <c:v>-7.0175549160182982E-3</c:v>
                </c:pt>
                <c:pt idx="5">
                  <c:v>0.28069416473299214</c:v>
                </c:pt>
                <c:pt idx="6">
                  <c:v>0.32713673554297884</c:v>
                </c:pt>
                <c:pt idx="7">
                  <c:v>0.37106087318801428</c:v>
                </c:pt>
                <c:pt idx="8">
                  <c:v>0.12572505096198938</c:v>
                </c:pt>
                <c:pt idx="9">
                  <c:v>0.24955581831100915</c:v>
                </c:pt>
                <c:pt idx="10">
                  <c:v>0.46982913992388831</c:v>
                </c:pt>
                <c:pt idx="11">
                  <c:v>0.8811420564945962</c:v>
                </c:pt>
                <c:pt idx="12">
                  <c:v>0.90902460660709039</c:v>
                </c:pt>
                <c:pt idx="13">
                  <c:v>0.69005080858701717</c:v>
                </c:pt>
                <c:pt idx="14">
                  <c:v>0.27643627694497752</c:v>
                </c:pt>
                <c:pt idx="15">
                  <c:v>9.5173566445993174E-2</c:v>
                </c:pt>
                <c:pt idx="16">
                  <c:v>-9.8599550056022167E-2</c:v>
                </c:pt>
                <c:pt idx="17">
                  <c:v>1.8353930148990116E-2</c:v>
                </c:pt>
                <c:pt idx="18">
                  <c:v>0.13486019682697759</c:v>
                </c:pt>
                <c:pt idx="19">
                  <c:v>-0.40190173710999488</c:v>
                </c:pt>
                <c:pt idx="20">
                  <c:v>-0.71256178059499575</c:v>
                </c:pt>
                <c:pt idx="21">
                  <c:v>-1.0671548569269902</c:v>
                </c:pt>
                <c:pt idx="22">
                  <c:v>-1.1048710070520116</c:v>
                </c:pt>
                <c:pt idx="23">
                  <c:v>-1.1959514808559959</c:v>
                </c:pt>
                <c:pt idx="24">
                  <c:v>-1.5991493704879929</c:v>
                </c:pt>
                <c:pt idx="25">
                  <c:v>-1.6247294844459788</c:v>
                </c:pt>
                <c:pt idx="26">
                  <c:v>-1.5087905689339749</c:v>
                </c:pt>
                <c:pt idx="27">
                  <c:v>-1.5087905689339749</c:v>
                </c:pt>
                <c:pt idx="28">
                  <c:v>-1.9693179430040146</c:v>
                </c:pt>
                <c:pt idx="29">
                  <c:v>-2.2405628015309986</c:v>
                </c:pt>
                <c:pt idx="30">
                  <c:v>-2.1664033082310112</c:v>
                </c:pt>
                <c:pt idx="31">
                  <c:v>-2.3595817163780026</c:v>
                </c:pt>
                <c:pt idx="32">
                  <c:v>-2.3651092155830042</c:v>
                </c:pt>
                <c:pt idx="33">
                  <c:v>-2.1214504249980166</c:v>
                </c:pt>
                <c:pt idx="34">
                  <c:v>-2.0305267699939975</c:v>
                </c:pt>
                <c:pt idx="35">
                  <c:v>-2.0814764981430045</c:v>
                </c:pt>
                <c:pt idx="36">
                  <c:v>-2.0242251408130016</c:v>
                </c:pt>
                <c:pt idx="37">
                  <c:v>-1.9224228038779927</c:v>
                </c:pt>
                <c:pt idx="38">
                  <c:v>-1.5197053296990077</c:v>
                </c:pt>
                <c:pt idx="39">
                  <c:v>-1.6332697623950168</c:v>
                </c:pt>
                <c:pt idx="40">
                  <c:v>-1.7079631867100034</c:v>
                </c:pt>
                <c:pt idx="41">
                  <c:v>-1.5870643276359999</c:v>
                </c:pt>
                <c:pt idx="42">
                  <c:v>-1.5172420433839591</c:v>
                </c:pt>
                <c:pt idx="43">
                  <c:v>-2.0226263861120088</c:v>
                </c:pt>
                <c:pt idx="44">
                  <c:v>-2.6090417460640083</c:v>
                </c:pt>
                <c:pt idx="45">
                  <c:v>-2.3594884841789963</c:v>
                </c:pt>
                <c:pt idx="46">
                  <c:v>-2.5086462814509787</c:v>
                </c:pt>
                <c:pt idx="47">
                  <c:v>-2.8383965777799745</c:v>
                </c:pt>
                <c:pt idx="48">
                  <c:v>-3.0027505914960102</c:v>
                </c:pt>
                <c:pt idx="49">
                  <c:v>-4.0329376188180106</c:v>
                </c:pt>
                <c:pt idx="50">
                  <c:v>-3.9496182563700017</c:v>
                </c:pt>
                <c:pt idx="51">
                  <c:v>-3.7450752283640014</c:v>
                </c:pt>
                <c:pt idx="52">
                  <c:v>-3.9898217790130275</c:v>
                </c:pt>
                <c:pt idx="53">
                  <c:v>-3.4256756267539998</c:v>
                </c:pt>
                <c:pt idx="54">
                  <c:v>-3.4024835801069742</c:v>
                </c:pt>
                <c:pt idx="55">
                  <c:v>-2.7828966692590029</c:v>
                </c:pt>
                <c:pt idx="56">
                  <c:v>-2.4721587694199911</c:v>
                </c:pt>
                <c:pt idx="57">
                  <c:v>-1.6490742349799916</c:v>
                </c:pt>
                <c:pt idx="58">
                  <c:v>-1.8800085553360191</c:v>
                </c:pt>
                <c:pt idx="59">
                  <c:v>-1.7281524493020015</c:v>
                </c:pt>
                <c:pt idx="60">
                  <c:v>-1.8900229834080164</c:v>
                </c:pt>
                <c:pt idx="61">
                  <c:v>-1.923145520425976</c:v>
                </c:pt>
                <c:pt idx="62">
                  <c:v>-1.4767381108370046</c:v>
                </c:pt>
                <c:pt idx="63">
                  <c:v>-1.8580243776060144</c:v>
                </c:pt>
                <c:pt idx="64">
                  <c:v>-2.0974428735560338</c:v>
                </c:pt>
                <c:pt idx="65">
                  <c:v>-1.8674601408289959</c:v>
                </c:pt>
                <c:pt idx="66">
                  <c:v>-1.7578802529049966</c:v>
                </c:pt>
                <c:pt idx="67">
                  <c:v>-1.6111274968669989</c:v>
                </c:pt>
                <c:pt idx="68">
                  <c:v>-1.895236295965006</c:v>
                </c:pt>
                <c:pt idx="69">
                  <c:v>-1.8615588326019861</c:v>
                </c:pt>
                <c:pt idx="70">
                  <c:v>-2.1214501525529954</c:v>
                </c:pt>
                <c:pt idx="71">
                  <c:v>-2.6401931429570027</c:v>
                </c:pt>
                <c:pt idx="72">
                  <c:v>-2.984247598226986</c:v>
                </c:pt>
                <c:pt idx="73">
                  <c:v>-3.354136389266003</c:v>
                </c:pt>
                <c:pt idx="74">
                  <c:v>-3.238458684067993</c:v>
                </c:pt>
                <c:pt idx="75">
                  <c:v>-3.320991574908021</c:v>
                </c:pt>
                <c:pt idx="76">
                  <c:v>-2.6587332826249792</c:v>
                </c:pt>
                <c:pt idx="77">
                  <c:v>-2.7056997907709928</c:v>
                </c:pt>
                <c:pt idx="78">
                  <c:v>-2.6884824016600248</c:v>
                </c:pt>
                <c:pt idx="79">
                  <c:v>-2.816898573716017</c:v>
                </c:pt>
                <c:pt idx="80">
                  <c:v>-2.7466278741269718</c:v>
                </c:pt>
                <c:pt idx="81">
                  <c:v>-3.031595736997005</c:v>
                </c:pt>
                <c:pt idx="82">
                  <c:v>-3.2084695547190023</c:v>
                </c:pt>
                <c:pt idx="83">
                  <c:v>-3.2084695547190023</c:v>
                </c:pt>
                <c:pt idx="84">
                  <c:v>-3.8350864321510016</c:v>
                </c:pt>
                <c:pt idx="85">
                  <c:v>-3.6982407196660034</c:v>
                </c:pt>
                <c:pt idx="86">
                  <c:v>-3.8922623272819976</c:v>
                </c:pt>
                <c:pt idx="87">
                  <c:v>-3.3277061659519944</c:v>
                </c:pt>
                <c:pt idx="88">
                  <c:v>-3.039508274098992</c:v>
                </c:pt>
                <c:pt idx="89">
                  <c:v>-2.8785605826290066</c:v>
                </c:pt>
                <c:pt idx="90">
                  <c:v>-2.6954321734459796</c:v>
                </c:pt>
                <c:pt idx="91">
                  <c:v>-2.6918777712470074</c:v>
                </c:pt>
                <c:pt idx="92">
                  <c:v>-2.3433489320469931</c:v>
                </c:pt>
                <c:pt idx="93">
                  <c:v>-2.6174396712330008</c:v>
                </c:pt>
                <c:pt idx="94">
                  <c:v>-2.5626143652500133</c:v>
                </c:pt>
                <c:pt idx="95">
                  <c:v>-3.2032764972800152</c:v>
                </c:pt>
                <c:pt idx="96">
                  <c:v>-3.0171091335270006</c:v>
                </c:pt>
                <c:pt idx="97">
                  <c:v>-3.2045319711180014</c:v>
                </c:pt>
                <c:pt idx="98">
                  <c:v>-3.6281584798970101</c:v>
                </c:pt>
                <c:pt idx="99">
                  <c:v>-3.9234446007660182</c:v>
                </c:pt>
                <c:pt idx="100">
                  <c:v>-3.9805953484910077</c:v>
                </c:pt>
                <c:pt idx="101">
                  <c:v>-3.8610316757999925</c:v>
                </c:pt>
                <c:pt idx="102">
                  <c:v>-3.7799497980999917</c:v>
                </c:pt>
                <c:pt idx="103">
                  <c:v>-4.0611350687079977</c:v>
                </c:pt>
                <c:pt idx="104">
                  <c:v>-4.2137311165890026</c:v>
                </c:pt>
                <c:pt idx="105">
                  <c:v>-4.2334413526769907</c:v>
                </c:pt>
                <c:pt idx="106">
                  <c:v>-4.2604551108279765</c:v>
                </c:pt>
                <c:pt idx="107">
                  <c:v>-4.4262635765060026</c:v>
                </c:pt>
                <c:pt idx="108">
                  <c:v>-4.6246659534489964</c:v>
                </c:pt>
                <c:pt idx="109">
                  <c:v>-4.6456114578680001</c:v>
                </c:pt>
                <c:pt idx="110">
                  <c:v>-4.4640858510190071</c:v>
                </c:pt>
                <c:pt idx="111">
                  <c:v>-4.5126744060419952</c:v>
                </c:pt>
                <c:pt idx="112">
                  <c:v>-4.7458830665119933</c:v>
                </c:pt>
                <c:pt idx="113">
                  <c:v>-5.0568373130259943</c:v>
                </c:pt>
                <c:pt idx="114">
                  <c:v>-5.3025441246800114</c:v>
                </c:pt>
                <c:pt idx="115">
                  <c:v>-5.5602952490540218</c:v>
                </c:pt>
                <c:pt idx="116">
                  <c:v>-6.1801140624900199</c:v>
                </c:pt>
                <c:pt idx="117">
                  <c:v>-6.651482649179016</c:v>
                </c:pt>
                <c:pt idx="118">
                  <c:v>-6.7665494652209901</c:v>
                </c:pt>
                <c:pt idx="119">
                  <c:v>-6.5050578795999883</c:v>
                </c:pt>
                <c:pt idx="120">
                  <c:v>-6.5050578795999883</c:v>
                </c:pt>
                <c:pt idx="121">
                  <c:v>-6.5050578795999883</c:v>
                </c:pt>
                <c:pt idx="122">
                  <c:v>-6.5050578795999883</c:v>
                </c:pt>
                <c:pt idx="123">
                  <c:v>-6.9271407612960019</c:v>
                </c:pt>
                <c:pt idx="124">
                  <c:v>-6.9047945527620129</c:v>
                </c:pt>
                <c:pt idx="125">
                  <c:v>-7.1858269894079854</c:v>
                </c:pt>
                <c:pt idx="126">
                  <c:v>-7.1858269894079854</c:v>
                </c:pt>
                <c:pt idx="127">
                  <c:v>-7.5300833388699857</c:v>
                </c:pt>
                <c:pt idx="128">
                  <c:v>-7.3712703845329912</c:v>
                </c:pt>
                <c:pt idx="129">
                  <c:v>-7.5751826604270036</c:v>
                </c:pt>
                <c:pt idx="130">
                  <c:v>-7.3072685507020054</c:v>
                </c:pt>
                <c:pt idx="131">
                  <c:v>-6.8667652008330151</c:v>
                </c:pt>
                <c:pt idx="132">
                  <c:v>-6.8435404785379887</c:v>
                </c:pt>
                <c:pt idx="133">
                  <c:v>-7.0589035011879844</c:v>
                </c:pt>
                <c:pt idx="134">
                  <c:v>-7.3930355295329804</c:v>
                </c:pt>
                <c:pt idx="135">
                  <c:v>-7.3470834526939939</c:v>
                </c:pt>
                <c:pt idx="136">
                  <c:v>-7.3371484914390095</c:v>
                </c:pt>
                <c:pt idx="137">
                  <c:v>-7.1576686156800093</c:v>
                </c:pt>
                <c:pt idx="138">
                  <c:v>-7.2549311025710068</c:v>
                </c:pt>
                <c:pt idx="139">
                  <c:v>-7.3410785138090091</c:v>
                </c:pt>
                <c:pt idx="140">
                  <c:v>-7.2565971964470037</c:v>
                </c:pt>
                <c:pt idx="141">
                  <c:v>-7.3574020272599938</c:v>
                </c:pt>
                <c:pt idx="142">
                  <c:v>-7.3191918393429773</c:v>
                </c:pt>
                <c:pt idx="143">
                  <c:v>-7.4996112253299998</c:v>
                </c:pt>
                <c:pt idx="144">
                  <c:v>-7.9057847585849998</c:v>
                </c:pt>
                <c:pt idx="145">
                  <c:v>-7.7231579242949948</c:v>
                </c:pt>
                <c:pt idx="146">
                  <c:v>-7.7153655463740023</c:v>
                </c:pt>
                <c:pt idx="147">
                  <c:v>-7.5027413676689889</c:v>
                </c:pt>
                <c:pt idx="148">
                  <c:v>-7.0589728931930011</c:v>
                </c:pt>
                <c:pt idx="149">
                  <c:v>-7.5034802558989924</c:v>
                </c:pt>
                <c:pt idx="150">
                  <c:v>-6.9169792836769801</c:v>
                </c:pt>
                <c:pt idx="151">
                  <c:v>-7.0853974669560102</c:v>
                </c:pt>
                <c:pt idx="152">
                  <c:v>-6.9589741322579926</c:v>
                </c:pt>
                <c:pt idx="153">
                  <c:v>-6.7332307943110123</c:v>
                </c:pt>
                <c:pt idx="154">
                  <c:v>-7.1207977803200038</c:v>
                </c:pt>
                <c:pt idx="155">
                  <c:v>-7.0400165201020002</c:v>
                </c:pt>
                <c:pt idx="156">
                  <c:v>-7.193656835276002</c:v>
                </c:pt>
                <c:pt idx="157">
                  <c:v>-7.1746089735819965</c:v>
                </c:pt>
                <c:pt idx="158">
                  <c:v>-6.5466756318789976</c:v>
                </c:pt>
                <c:pt idx="159">
                  <c:v>-6.2719281402320064</c:v>
                </c:pt>
                <c:pt idx="160">
                  <c:v>-6.3586320853620037</c:v>
                </c:pt>
                <c:pt idx="161">
                  <c:v>-6.3415040204349964</c:v>
                </c:pt>
                <c:pt idx="162">
                  <c:v>-5.7240837184010047</c:v>
                </c:pt>
                <c:pt idx="163">
                  <c:v>-4.7973059378329879</c:v>
                </c:pt>
                <c:pt idx="164">
                  <c:v>-4.8219815230840055</c:v>
                </c:pt>
                <c:pt idx="165">
                  <c:v>-4.635086956032012</c:v>
                </c:pt>
                <c:pt idx="166">
                  <c:v>-4.1315841209000013</c:v>
                </c:pt>
                <c:pt idx="167">
                  <c:v>-4.412589810869008</c:v>
                </c:pt>
                <c:pt idx="168">
                  <c:v>-4.6039367197770247</c:v>
                </c:pt>
                <c:pt idx="169">
                  <c:v>-4.2982474940939852</c:v>
                </c:pt>
                <c:pt idx="170">
                  <c:v>-3.8410674533640048</c:v>
                </c:pt>
                <c:pt idx="171">
                  <c:v>-4.4181358221130012</c:v>
                </c:pt>
                <c:pt idx="172">
                  <c:v>-4.6357208217240071</c:v>
                </c:pt>
                <c:pt idx="173">
                  <c:v>-4.8582173804959865</c:v>
                </c:pt>
                <c:pt idx="174">
                  <c:v>-5.2152398801380002</c:v>
                </c:pt>
                <c:pt idx="175">
                  <c:v>-5.4870326124750051</c:v>
                </c:pt>
                <c:pt idx="176">
                  <c:v>-5.0434124886260179</c:v>
                </c:pt>
                <c:pt idx="177">
                  <c:v>-5.1464598569199893</c:v>
                </c:pt>
                <c:pt idx="178">
                  <c:v>-5.4229143009879692</c:v>
                </c:pt>
                <c:pt idx="179">
                  <c:v>-5.5219616479899969</c:v>
                </c:pt>
                <c:pt idx="180">
                  <c:v>-4.9573412279620044</c:v>
                </c:pt>
                <c:pt idx="181">
                  <c:v>-4.2103217653599927</c:v>
                </c:pt>
                <c:pt idx="182">
                  <c:v>-4.4193521461399996</c:v>
                </c:pt>
                <c:pt idx="183">
                  <c:v>-4.0330935892810231</c:v>
                </c:pt>
                <c:pt idx="184">
                  <c:v>-3.9635580456040032</c:v>
                </c:pt>
                <c:pt idx="185">
                  <c:v>-3.6876697377809933</c:v>
                </c:pt>
                <c:pt idx="186">
                  <c:v>-3.5144608426799806</c:v>
                </c:pt>
                <c:pt idx="187">
                  <c:v>-3.377409828303982</c:v>
                </c:pt>
                <c:pt idx="188">
                  <c:v>-3.0857391729630024</c:v>
                </c:pt>
                <c:pt idx="189">
                  <c:v>-3.0857391729630024</c:v>
                </c:pt>
                <c:pt idx="190">
                  <c:v>-3.0857391729630024</c:v>
                </c:pt>
                <c:pt idx="191">
                  <c:v>-3.2747751694069933</c:v>
                </c:pt>
                <c:pt idx="192">
                  <c:v>-2.7552495318359576</c:v>
                </c:pt>
                <c:pt idx="193">
                  <c:v>-2.7086767962609883</c:v>
                </c:pt>
                <c:pt idx="194">
                  <c:v>-2.6503232032319914</c:v>
                </c:pt>
                <c:pt idx="195">
                  <c:v>-2.9104834856339892</c:v>
                </c:pt>
                <c:pt idx="196">
                  <c:v>-3.2275634033710077</c:v>
                </c:pt>
                <c:pt idx="197">
                  <c:v>-3.5236038396089953</c:v>
                </c:pt>
                <c:pt idx="198">
                  <c:v>-3.8479050227170148</c:v>
                </c:pt>
                <c:pt idx="199">
                  <c:v>-3.2893497436929806</c:v>
                </c:pt>
                <c:pt idx="200">
                  <c:v>-2.5932893978520184</c:v>
                </c:pt>
                <c:pt idx="201">
                  <c:v>-2.5914540890810258</c:v>
                </c:pt>
                <c:pt idx="202">
                  <c:v>-1.8845123048729988</c:v>
                </c:pt>
                <c:pt idx="203">
                  <c:v>-1.5455802365510038</c:v>
                </c:pt>
                <c:pt idx="204">
                  <c:v>-1.8388801080659789</c:v>
                </c:pt>
                <c:pt idx="205">
                  <c:v>-2.008846473711003</c:v>
                </c:pt>
                <c:pt idx="206">
                  <c:v>-2.4394583508679801</c:v>
                </c:pt>
                <c:pt idx="207">
                  <c:v>-3.3746269284210086</c:v>
                </c:pt>
                <c:pt idx="208">
                  <c:v>-3.6152696531480046</c:v>
                </c:pt>
                <c:pt idx="209">
                  <c:v>-3.525831666099009</c:v>
                </c:pt>
                <c:pt idx="210">
                  <c:v>-3.7888993998529941</c:v>
                </c:pt>
                <c:pt idx="211">
                  <c:v>-3.9289167580029982</c:v>
                </c:pt>
                <c:pt idx="212">
                  <c:v>-3.9289167580029982</c:v>
                </c:pt>
                <c:pt idx="213">
                  <c:v>-3.8070513184160149</c:v>
                </c:pt>
                <c:pt idx="214">
                  <c:v>-4.423560509251999</c:v>
                </c:pt>
                <c:pt idx="215">
                  <c:v>-4.8392373361299832</c:v>
                </c:pt>
                <c:pt idx="216">
                  <c:v>-5.1144875481420087</c:v>
                </c:pt>
                <c:pt idx="217">
                  <c:v>-5.2786195104960001</c:v>
                </c:pt>
                <c:pt idx="218">
                  <c:v>-5.2786195104960001</c:v>
                </c:pt>
                <c:pt idx="219">
                  <c:v>-5.3556329559329896</c:v>
                </c:pt>
                <c:pt idx="220">
                  <c:v>-5.2802065818880237</c:v>
                </c:pt>
                <c:pt idx="221">
                  <c:v>-5.1987991350890042</c:v>
                </c:pt>
                <c:pt idx="222">
                  <c:v>-4.8571804639179987</c:v>
                </c:pt>
                <c:pt idx="223">
                  <c:v>-4.9492239619240195</c:v>
                </c:pt>
                <c:pt idx="224">
                  <c:v>-5.5046824634250129</c:v>
                </c:pt>
                <c:pt idx="225">
                  <c:v>-5.5046824634250129</c:v>
                </c:pt>
                <c:pt idx="226">
                  <c:v>-5.9347085954290293</c:v>
                </c:pt>
                <c:pt idx="227">
                  <c:v>-5.7951759692150091</c:v>
                </c:pt>
                <c:pt idx="228">
                  <c:v>-5.2944110087630065</c:v>
                </c:pt>
                <c:pt idx="229">
                  <c:v>-5.1311921176099986</c:v>
                </c:pt>
                <c:pt idx="230">
                  <c:v>-5.0360133359539816</c:v>
                </c:pt>
                <c:pt idx="231">
                  <c:v>-5.2859134945429957</c:v>
                </c:pt>
                <c:pt idx="232">
                  <c:v>-5.4481448995499875</c:v>
                </c:pt>
                <c:pt idx="233">
                  <c:v>-5.7837340908710075</c:v>
                </c:pt>
                <c:pt idx="234">
                  <c:v>-5.6219543103739653</c:v>
                </c:pt>
                <c:pt idx="235">
                  <c:v>-5.5577059061189829</c:v>
                </c:pt>
                <c:pt idx="236">
                  <c:v>-5.6371246026700135</c:v>
                </c:pt>
                <c:pt idx="237">
                  <c:v>-4.8583968240710078</c:v>
                </c:pt>
                <c:pt idx="238">
                  <c:v>-5.1018583531420063</c:v>
                </c:pt>
                <c:pt idx="239">
                  <c:v>-5.3780920833430201</c:v>
                </c:pt>
                <c:pt idx="240">
                  <c:v>-5.1511785570460091</c:v>
                </c:pt>
                <c:pt idx="241">
                  <c:v>-4.7134387359569985</c:v>
                </c:pt>
                <c:pt idx="242">
                  <c:v>-4.5589103016009744</c:v>
                </c:pt>
                <c:pt idx="243">
                  <c:v>-4.8990172379839834</c:v>
                </c:pt>
                <c:pt idx="244">
                  <c:v>-4.913756290090987</c:v>
                </c:pt>
                <c:pt idx="245">
                  <c:v>-4.8246403944990135</c:v>
                </c:pt>
                <c:pt idx="246">
                  <c:v>-4.8996401785649795</c:v>
                </c:pt>
                <c:pt idx="247">
                  <c:v>-5.063219593420996</c:v>
                </c:pt>
                <c:pt idx="248">
                  <c:v>-4.2703137079019911</c:v>
                </c:pt>
                <c:pt idx="249">
                  <c:v>-3.5503089289660039</c:v>
                </c:pt>
                <c:pt idx="250">
                  <c:v>-2.8713305492510273</c:v>
                </c:pt>
                <c:pt idx="251">
                  <c:v>-3.1732921321579965</c:v>
                </c:pt>
                <c:pt idx="252">
                  <c:v>-3.464840836935025</c:v>
                </c:pt>
                <c:pt idx="253">
                  <c:v>-3.4384508617689846</c:v>
                </c:pt>
                <c:pt idx="254">
                  <c:v>-3.3297356767139945</c:v>
                </c:pt>
                <c:pt idx="255">
                  <c:v>-3.3864361004339827</c:v>
                </c:pt>
                <c:pt idx="256">
                  <c:v>-3.4961709726959924</c:v>
                </c:pt>
                <c:pt idx="257">
                  <c:v>-3.1789292593779805</c:v>
                </c:pt>
                <c:pt idx="258">
                  <c:v>-3.6388992280510024</c:v>
                </c:pt>
                <c:pt idx="259">
                  <c:v>-3.3485468506230092</c:v>
                </c:pt>
                <c:pt idx="260">
                  <c:v>-3.4113285715710049</c:v>
                </c:pt>
                <c:pt idx="261">
                  <c:v>-3.9446007992399927</c:v>
                </c:pt>
                <c:pt idx="262">
                  <c:v>-3.7282706042620077</c:v>
                </c:pt>
                <c:pt idx="263">
                  <c:v>-4.3624101604630141</c:v>
                </c:pt>
                <c:pt idx="264">
                  <c:v>-4.5140607405119937</c:v>
                </c:pt>
                <c:pt idx="265">
                  <c:v>-4.6559948530699984</c:v>
                </c:pt>
                <c:pt idx="266">
                  <c:v>-4.6162791166060373</c:v>
                </c:pt>
                <c:pt idx="267">
                  <c:v>-4.8666256571279831</c:v>
                </c:pt>
                <c:pt idx="268">
                  <c:v>-4.9936829628840087</c:v>
                </c:pt>
                <c:pt idx="269">
                  <c:v>-5.1587230581049823</c:v>
                </c:pt>
                <c:pt idx="270">
                  <c:v>-5.5524021316909824</c:v>
                </c:pt>
                <c:pt idx="271">
                  <c:v>-5.6425097558450261</c:v>
                </c:pt>
                <c:pt idx="272">
                  <c:v>-5.6747549005239932</c:v>
                </c:pt>
                <c:pt idx="273">
                  <c:v>-5.4522743349749874</c:v>
                </c:pt>
                <c:pt idx="274">
                  <c:v>-5.2800072818399855</c:v>
                </c:pt>
                <c:pt idx="275">
                  <c:v>-5.213995105238979</c:v>
                </c:pt>
                <c:pt idx="276">
                  <c:v>-5.1420435188320113</c:v>
                </c:pt>
                <c:pt idx="277">
                  <c:v>-5.2317611458939979</c:v>
                </c:pt>
                <c:pt idx="278">
                  <c:v>-5.6020130782120106</c:v>
                </c:pt>
                <c:pt idx="279">
                  <c:v>-5.732989428306027</c:v>
                </c:pt>
                <c:pt idx="280">
                  <c:v>-5.7367394333059849</c:v>
                </c:pt>
                <c:pt idx="281">
                  <c:v>-5.4600794297559929</c:v>
                </c:pt>
                <c:pt idx="282">
                  <c:v>-5.3287201629389926</c:v>
                </c:pt>
                <c:pt idx="283">
                  <c:v>-5.8313123372680167</c:v>
                </c:pt>
                <c:pt idx="284">
                  <c:v>-6.0964254652090091</c:v>
                </c:pt>
                <c:pt idx="285">
                  <c:v>-6.2830979152320054</c:v>
                </c:pt>
                <c:pt idx="286">
                  <c:v>-6.5110473549920016</c:v>
                </c:pt>
                <c:pt idx="287">
                  <c:v>-6.6620085046840245</c:v>
                </c:pt>
                <c:pt idx="288">
                  <c:v>-6.6620085046840245</c:v>
                </c:pt>
                <c:pt idx="289">
                  <c:v>-6.6292194283599883</c:v>
                </c:pt>
                <c:pt idx="290">
                  <c:v>-6.1340504749189932</c:v>
                </c:pt>
                <c:pt idx="291">
                  <c:v>-6.0192067749039921</c:v>
                </c:pt>
                <c:pt idx="292">
                  <c:v>-5.9070533855459928</c:v>
                </c:pt>
                <c:pt idx="293">
                  <c:v>-6.3806876141430138</c:v>
                </c:pt>
                <c:pt idx="294">
                  <c:v>-6.6464905181340299</c:v>
                </c:pt>
                <c:pt idx="295">
                  <c:v>-6.6578491071330035</c:v>
                </c:pt>
                <c:pt idx="296">
                  <c:v>-6.075492655171999</c:v>
                </c:pt>
                <c:pt idx="297">
                  <c:v>-6.2953559085329829</c:v>
                </c:pt>
                <c:pt idx="298">
                  <c:v>-6.1351183626990036</c:v>
                </c:pt>
                <c:pt idx="299">
                  <c:v>-5.9775316139230057</c:v>
                </c:pt>
                <c:pt idx="300">
                  <c:v>-6.4210369712349973</c:v>
                </c:pt>
                <c:pt idx="301">
                  <c:v>-6.4942126491320238</c:v>
                </c:pt>
                <c:pt idx="302">
                  <c:v>-6.8347032255350086</c:v>
                </c:pt>
                <c:pt idx="303">
                  <c:v>-6.9868305639769943</c:v>
                </c:pt>
                <c:pt idx="304">
                  <c:v>-7.1275364026730017</c:v>
                </c:pt>
                <c:pt idx="305">
                  <c:v>-7.4790937740550021</c:v>
                </c:pt>
                <c:pt idx="306">
                  <c:v>-7.808358752812012</c:v>
                </c:pt>
                <c:pt idx="307">
                  <c:v>-7.8585321832229766</c:v>
                </c:pt>
                <c:pt idx="308">
                  <c:v>-7.7167344356640086</c:v>
                </c:pt>
                <c:pt idx="309">
                  <c:v>-7.4842643590700106</c:v>
                </c:pt>
                <c:pt idx="310">
                  <c:v>-7.7295804940239918</c:v>
                </c:pt>
                <c:pt idx="311">
                  <c:v>-7.7152896835790159</c:v>
                </c:pt>
                <c:pt idx="312">
                  <c:v>-7.9618955344739959</c:v>
                </c:pt>
                <c:pt idx="313">
                  <c:v>-8.4570196933379975</c:v>
                </c:pt>
                <c:pt idx="314">
                  <c:v>-7.8413066504820108</c:v>
                </c:pt>
                <c:pt idx="315">
                  <c:v>-7.6399489622770034</c:v>
                </c:pt>
                <c:pt idx="316">
                  <c:v>-7.6785431784769997</c:v>
                </c:pt>
                <c:pt idx="317">
                  <c:v>-7.9476164807760057</c:v>
                </c:pt>
                <c:pt idx="318">
                  <c:v>-7.9145032105639928</c:v>
                </c:pt>
                <c:pt idx="319">
                  <c:v>-7.9551022483870071</c:v>
                </c:pt>
                <c:pt idx="320">
                  <c:v>-7.373821188815981</c:v>
                </c:pt>
                <c:pt idx="321">
                  <c:v>-7.8432516648710049</c:v>
                </c:pt>
                <c:pt idx="322">
                  <c:v>-8.1413235586869916</c:v>
                </c:pt>
                <c:pt idx="323">
                  <c:v>-7.9692499495640021</c:v>
                </c:pt>
                <c:pt idx="324">
                  <c:v>-8.2089079986000115</c:v>
                </c:pt>
                <c:pt idx="325">
                  <c:v>-7.9708593163519907</c:v>
                </c:pt>
                <c:pt idx="326">
                  <c:v>-7.726822787658989</c:v>
                </c:pt>
                <c:pt idx="327">
                  <c:v>-7.7294152238379894</c:v>
                </c:pt>
                <c:pt idx="328">
                  <c:v>-8.260692860555011</c:v>
                </c:pt>
                <c:pt idx="329">
                  <c:v>-8.5720099176590026</c:v>
                </c:pt>
                <c:pt idx="330">
                  <c:v>-8.7797166340019857</c:v>
                </c:pt>
                <c:pt idx="331">
                  <c:v>-8.8310294595789856</c:v>
                </c:pt>
                <c:pt idx="332">
                  <c:v>-8.8602021512409834</c:v>
                </c:pt>
                <c:pt idx="333">
                  <c:v>-8.927663604762003</c:v>
                </c:pt>
                <c:pt idx="334">
                  <c:v>-9.3686823669589927</c:v>
                </c:pt>
                <c:pt idx="335">
                  <c:v>-9.4605979599260053</c:v>
                </c:pt>
                <c:pt idx="336">
                  <c:v>-9.5707307491969971</c:v>
                </c:pt>
                <c:pt idx="337">
                  <c:v>-9.3147485531190171</c:v>
                </c:pt>
                <c:pt idx="338">
                  <c:v>-9.8055307356840302</c:v>
                </c:pt>
                <c:pt idx="339">
                  <c:v>-9.7231486388249948</c:v>
                </c:pt>
                <c:pt idx="340">
                  <c:v>-9.3151323617030215</c:v>
                </c:pt>
                <c:pt idx="341">
                  <c:v>-9.1373773596960035</c:v>
                </c:pt>
                <c:pt idx="342">
                  <c:v>-9.2170229476410128</c:v>
                </c:pt>
                <c:pt idx="343">
                  <c:v>-8.6855581449089954</c:v>
                </c:pt>
                <c:pt idx="344">
                  <c:v>-8.6855581449089954</c:v>
                </c:pt>
                <c:pt idx="345">
                  <c:v>-8.6766170769210049</c:v>
                </c:pt>
                <c:pt idx="346">
                  <c:v>-8.470773964802973</c:v>
                </c:pt>
                <c:pt idx="347">
                  <c:v>-8.483618859980993</c:v>
                </c:pt>
                <c:pt idx="348">
                  <c:v>-7.9979766236889986</c:v>
                </c:pt>
                <c:pt idx="349">
                  <c:v>-8.1850042341439888</c:v>
                </c:pt>
                <c:pt idx="350">
                  <c:v>-8.513728136975999</c:v>
                </c:pt>
                <c:pt idx="351">
                  <c:v>-8.2396931919249994</c:v>
                </c:pt>
                <c:pt idx="352">
                  <c:v>-8.4228074792279983</c:v>
                </c:pt>
                <c:pt idx="353">
                  <c:v>-8.8954607826889855</c:v>
                </c:pt>
                <c:pt idx="354">
                  <c:v>-9.3603074342579902</c:v>
                </c:pt>
                <c:pt idx="355">
                  <c:v>-9.3078237334729721</c:v>
                </c:pt>
                <c:pt idx="356">
                  <c:v>-9.2982719937729996</c:v>
                </c:pt>
                <c:pt idx="357">
                  <c:v>-9.1682538248450243</c:v>
                </c:pt>
                <c:pt idx="358">
                  <c:v>-9.321779995484988</c:v>
                </c:pt>
                <c:pt idx="359">
                  <c:v>-9.4341935693770012</c:v>
                </c:pt>
                <c:pt idx="360">
                  <c:v>-9.3206157940399947</c:v>
                </c:pt>
                <c:pt idx="361">
                  <c:v>-9.3536530239910007</c:v>
                </c:pt>
                <c:pt idx="362">
                  <c:v>-9.576027072588019</c:v>
                </c:pt>
                <c:pt idx="363">
                  <c:v>-9.6882118361120035</c:v>
                </c:pt>
                <c:pt idx="364">
                  <c:v>-9.5865120324679935</c:v>
                </c:pt>
                <c:pt idx="365">
                  <c:v>-9.6135734884889956</c:v>
                </c:pt>
                <c:pt idx="366">
                  <c:v>-9.1436118284800045</c:v>
                </c:pt>
                <c:pt idx="367">
                  <c:v>-9.1237802737189782</c:v>
                </c:pt>
                <c:pt idx="368">
                  <c:v>-8.8630849611219844</c:v>
                </c:pt>
                <c:pt idx="369">
                  <c:v>-9.2626439616060026</c:v>
                </c:pt>
                <c:pt idx="370">
                  <c:v>-9.5139565814670135</c:v>
                </c:pt>
                <c:pt idx="371">
                  <c:v>-9.563015666318023</c:v>
                </c:pt>
                <c:pt idx="372">
                  <c:v>-9.0354625110329891</c:v>
                </c:pt>
                <c:pt idx="373">
                  <c:v>-9.0595625147379906</c:v>
                </c:pt>
                <c:pt idx="374">
                  <c:v>-9.2877210368340144</c:v>
                </c:pt>
                <c:pt idx="375">
                  <c:v>-9.700364901740997</c:v>
                </c:pt>
                <c:pt idx="376">
                  <c:v>-9.4331461865129711</c:v>
                </c:pt>
                <c:pt idx="377">
                  <c:v>-9.7379212969829894</c:v>
                </c:pt>
                <c:pt idx="378">
                  <c:v>-10.233703592073979</c:v>
                </c:pt>
                <c:pt idx="379">
                  <c:v>-10.524160196389985</c:v>
                </c:pt>
                <c:pt idx="380">
                  <c:v>-10.801627816885983</c:v>
                </c:pt>
                <c:pt idx="381">
                  <c:v>-10.801627816885983</c:v>
                </c:pt>
                <c:pt idx="382">
                  <c:v>-10.801627816885983</c:v>
                </c:pt>
                <c:pt idx="383">
                  <c:v>-10.801627816885983</c:v>
                </c:pt>
                <c:pt idx="384">
                  <c:v>-10.885272721810992</c:v>
                </c:pt>
                <c:pt idx="385">
                  <c:v>-10.605563570890013</c:v>
                </c:pt>
                <c:pt idx="386">
                  <c:v>-10.934045893154007</c:v>
                </c:pt>
                <c:pt idx="387">
                  <c:v>-10.934045893154007</c:v>
                </c:pt>
                <c:pt idx="388">
                  <c:v>-10.613865066052014</c:v>
                </c:pt>
                <c:pt idx="389">
                  <c:v>-10.55905997774201</c:v>
                </c:pt>
                <c:pt idx="390">
                  <c:v>-10.458612845640985</c:v>
                </c:pt>
                <c:pt idx="391">
                  <c:v>-10.691691555488987</c:v>
                </c:pt>
                <c:pt idx="392">
                  <c:v>-10.995713373699999</c:v>
                </c:pt>
                <c:pt idx="393">
                  <c:v>-10.731726478742019</c:v>
                </c:pt>
                <c:pt idx="394">
                  <c:v>-10.948258954761002</c:v>
                </c:pt>
                <c:pt idx="395">
                  <c:v>-10.560998508965994</c:v>
                </c:pt>
                <c:pt idx="396">
                  <c:v>-10.544327213716997</c:v>
                </c:pt>
                <c:pt idx="397">
                  <c:v>-10.904171934690993</c:v>
                </c:pt>
                <c:pt idx="398">
                  <c:v>-10.730395791945995</c:v>
                </c:pt>
                <c:pt idx="399">
                  <c:v>-10.802066299294012</c:v>
                </c:pt>
                <c:pt idx="400">
                  <c:v>-10.695110731665011</c:v>
                </c:pt>
                <c:pt idx="401">
                  <c:v>-10.809097466434991</c:v>
                </c:pt>
                <c:pt idx="402">
                  <c:v>-10.838878821984025</c:v>
                </c:pt>
                <c:pt idx="403">
                  <c:v>-10.512440851421985</c:v>
                </c:pt>
                <c:pt idx="404">
                  <c:v>-9.2941797378610147</c:v>
                </c:pt>
                <c:pt idx="405">
                  <c:v>-9.0584092746589704</c:v>
                </c:pt>
                <c:pt idx="406">
                  <c:v>-9.2040032754680112</c:v>
                </c:pt>
                <c:pt idx="407">
                  <c:v>-8.8464366068809994</c:v>
                </c:pt>
                <c:pt idx="408">
                  <c:v>-8.8670737096289969</c:v>
                </c:pt>
                <c:pt idx="409">
                  <c:v>-8.4838872911720102</c:v>
                </c:pt>
                <c:pt idx="410">
                  <c:v>-8.1193072154939898</c:v>
                </c:pt>
                <c:pt idx="411">
                  <c:v>-8.6404458227619898</c:v>
                </c:pt>
                <c:pt idx="412">
                  <c:v>-8.6640273139220199</c:v>
                </c:pt>
                <c:pt idx="413">
                  <c:v>-9.6859434200240031</c:v>
                </c:pt>
                <c:pt idx="414">
                  <c:v>-10.00614410152599</c:v>
                </c:pt>
                <c:pt idx="415">
                  <c:v>-9.8662502093249742</c:v>
                </c:pt>
                <c:pt idx="416">
                  <c:v>-10.276388335526008</c:v>
                </c:pt>
                <c:pt idx="417">
                  <c:v>-10.547693552227997</c:v>
                </c:pt>
                <c:pt idx="418">
                  <c:v>-10.794367205418013</c:v>
                </c:pt>
                <c:pt idx="419">
                  <c:v>-11.038258401847997</c:v>
                </c:pt>
                <c:pt idx="420">
                  <c:v>-11.147684547885007</c:v>
                </c:pt>
                <c:pt idx="421">
                  <c:v>-11.051558287959011</c:v>
                </c:pt>
                <c:pt idx="422">
                  <c:v>-11.15739210742899</c:v>
                </c:pt>
                <c:pt idx="423">
                  <c:v>-11.191451681004992</c:v>
                </c:pt>
                <c:pt idx="424">
                  <c:v>-11.095768478888999</c:v>
                </c:pt>
                <c:pt idx="425">
                  <c:v>-11.19669763517399</c:v>
                </c:pt>
                <c:pt idx="426">
                  <c:v>-11.092091719536</c:v>
                </c:pt>
                <c:pt idx="427">
                  <c:v>-11.247142079689979</c:v>
                </c:pt>
                <c:pt idx="428">
                  <c:v>-11.251947431507006</c:v>
                </c:pt>
                <c:pt idx="429">
                  <c:v>-11.294171790772992</c:v>
                </c:pt>
                <c:pt idx="430">
                  <c:v>-11.117494654189983</c:v>
                </c:pt>
                <c:pt idx="431">
                  <c:v>-11.390080192969009</c:v>
                </c:pt>
                <c:pt idx="432">
                  <c:v>-11.597544304894001</c:v>
                </c:pt>
                <c:pt idx="433">
                  <c:v>-11.66988678746398</c:v>
                </c:pt>
                <c:pt idx="434">
                  <c:v>-11.162001324553017</c:v>
                </c:pt>
                <c:pt idx="435">
                  <c:v>-11.074653822290003</c:v>
                </c:pt>
                <c:pt idx="436">
                  <c:v>-10.808764266218986</c:v>
                </c:pt>
                <c:pt idx="437">
                  <c:v>-10.525746780990005</c:v>
                </c:pt>
                <c:pt idx="438">
                  <c:v>-10.375404673968006</c:v>
                </c:pt>
                <c:pt idx="439">
                  <c:v>-10.438026270549983</c:v>
                </c:pt>
                <c:pt idx="440">
                  <c:v>-10.601695102208993</c:v>
                </c:pt>
                <c:pt idx="441">
                  <c:v>-10.636643492276988</c:v>
                </c:pt>
                <c:pt idx="442">
                  <c:v>-10.740021198434988</c:v>
                </c:pt>
                <c:pt idx="443">
                  <c:v>-10.367908688065995</c:v>
                </c:pt>
                <c:pt idx="444">
                  <c:v>-10.357289824343013</c:v>
                </c:pt>
                <c:pt idx="445">
                  <c:v>-9.9991611278239816</c:v>
                </c:pt>
                <c:pt idx="446">
                  <c:v>-10.181638541040002</c:v>
                </c:pt>
                <c:pt idx="447">
                  <c:v>-10.075222996714984</c:v>
                </c:pt>
                <c:pt idx="448">
                  <c:v>-10.019215386243985</c:v>
                </c:pt>
                <c:pt idx="449">
                  <c:v>-10.219939898700005</c:v>
                </c:pt>
                <c:pt idx="450">
                  <c:v>-10.048477745224005</c:v>
                </c:pt>
                <c:pt idx="451">
                  <c:v>-10.489067507580017</c:v>
                </c:pt>
                <c:pt idx="452">
                  <c:v>-10.745939463203001</c:v>
                </c:pt>
                <c:pt idx="453">
                  <c:v>-10.602856594915977</c:v>
                </c:pt>
                <c:pt idx="454">
                  <c:v>-10.572331749740982</c:v>
                </c:pt>
                <c:pt idx="455">
                  <c:v>-10.41186131691299</c:v>
                </c:pt>
                <c:pt idx="456">
                  <c:v>-10.720999712770976</c:v>
                </c:pt>
                <c:pt idx="457">
                  <c:v>-10.975211146857987</c:v>
                </c:pt>
                <c:pt idx="458">
                  <c:v>-10.857086757369018</c:v>
                </c:pt>
                <c:pt idx="459">
                  <c:v>-10.675324161037977</c:v>
                </c:pt>
                <c:pt idx="460">
                  <c:v>-10.776649856631991</c:v>
                </c:pt>
                <c:pt idx="461">
                  <c:v>-10.788167220191013</c:v>
                </c:pt>
                <c:pt idx="462">
                  <c:v>-10.82222355860398</c:v>
                </c:pt>
                <c:pt idx="463">
                  <c:v>-10.975449848574016</c:v>
                </c:pt>
                <c:pt idx="464">
                  <c:v>-10.975449848574016</c:v>
                </c:pt>
                <c:pt idx="465">
                  <c:v>-10.975449848574016</c:v>
                </c:pt>
                <c:pt idx="466">
                  <c:v>-11.453032290937017</c:v>
                </c:pt>
                <c:pt idx="467">
                  <c:v>-11.375334558977016</c:v>
                </c:pt>
                <c:pt idx="468">
                  <c:v>-11.639713578691982</c:v>
                </c:pt>
                <c:pt idx="469">
                  <c:v>-11.374869084692989</c:v>
                </c:pt>
                <c:pt idx="470">
                  <c:v>-11.352849927551006</c:v>
                </c:pt>
                <c:pt idx="471">
                  <c:v>-11.686060695596012</c:v>
                </c:pt>
                <c:pt idx="472">
                  <c:v>-11.759662915565002</c:v>
                </c:pt>
                <c:pt idx="473">
                  <c:v>-11.759662915565002</c:v>
                </c:pt>
                <c:pt idx="474">
                  <c:v>-11.947827603112017</c:v>
                </c:pt>
                <c:pt idx="475">
                  <c:v>-11.955448554261011</c:v>
                </c:pt>
                <c:pt idx="476">
                  <c:v>-12.021576818605013</c:v>
                </c:pt>
                <c:pt idx="477">
                  <c:v>-12.007887289968011</c:v>
                </c:pt>
                <c:pt idx="478">
                  <c:v>-12.274994787428994</c:v>
                </c:pt>
                <c:pt idx="479">
                  <c:v>-12.251439975919993</c:v>
                </c:pt>
                <c:pt idx="480">
                  <c:v>-12.638479097461015</c:v>
                </c:pt>
                <c:pt idx="481">
                  <c:v>-12.445358141040998</c:v>
                </c:pt>
                <c:pt idx="482">
                  <c:v>-12.583040273022988</c:v>
                </c:pt>
                <c:pt idx="483">
                  <c:v>-12.46597429217698</c:v>
                </c:pt>
                <c:pt idx="484">
                  <c:v>-12.422115422388998</c:v>
                </c:pt>
                <c:pt idx="485">
                  <c:v>-12.324804805472013</c:v>
                </c:pt>
                <c:pt idx="486">
                  <c:v>-12.140951525880013</c:v>
                </c:pt>
                <c:pt idx="487">
                  <c:v>-12.222288378013019</c:v>
                </c:pt>
                <c:pt idx="488">
                  <c:v>-12.322144929356995</c:v>
                </c:pt>
                <c:pt idx="489">
                  <c:v>-12.227146414565993</c:v>
                </c:pt>
                <c:pt idx="490">
                  <c:v>-12.090612665316002</c:v>
                </c:pt>
                <c:pt idx="491">
                  <c:v>-12.118936833017017</c:v>
                </c:pt>
                <c:pt idx="492">
                  <c:v>-11.992528767745</c:v>
                </c:pt>
                <c:pt idx="493">
                  <c:v>-11.992528767745</c:v>
                </c:pt>
                <c:pt idx="494">
                  <c:v>-11.967975242855005</c:v>
                </c:pt>
                <c:pt idx="495">
                  <c:v>-11.803647510950015</c:v>
                </c:pt>
                <c:pt idx="496">
                  <c:v>-11.740807448013982</c:v>
                </c:pt>
                <c:pt idx="497">
                  <c:v>-11.610999717946981</c:v>
                </c:pt>
                <c:pt idx="498">
                  <c:v>-11.565613603597001</c:v>
                </c:pt>
                <c:pt idx="499">
                  <c:v>-12.047529937825004</c:v>
                </c:pt>
                <c:pt idx="500">
                  <c:v>-12.047529937825004</c:v>
                </c:pt>
                <c:pt idx="501">
                  <c:v>-12.204615117821987</c:v>
                </c:pt>
                <c:pt idx="502">
                  <c:v>-12.011257611006982</c:v>
                </c:pt>
                <c:pt idx="503">
                  <c:v>-12.031660720194992</c:v>
                </c:pt>
                <c:pt idx="504">
                  <c:v>-12.028522290724993</c:v>
                </c:pt>
                <c:pt idx="505">
                  <c:v>-12.054107804514985</c:v>
                </c:pt>
                <c:pt idx="506">
                  <c:v>-11.712974548070008</c:v>
                </c:pt>
                <c:pt idx="507">
                  <c:v>-11.772455808135987</c:v>
                </c:pt>
                <c:pt idx="508">
                  <c:v>-11.923917928837</c:v>
                </c:pt>
                <c:pt idx="509">
                  <c:v>-11.649416736256995</c:v>
                </c:pt>
                <c:pt idx="510">
                  <c:v>-11.649416736256995</c:v>
                </c:pt>
                <c:pt idx="511">
                  <c:v>-11.872496228029007</c:v>
                </c:pt>
                <c:pt idx="512">
                  <c:v>-11.868231525547998</c:v>
                </c:pt>
                <c:pt idx="513">
                  <c:v>-11.742034338858986</c:v>
                </c:pt>
                <c:pt idx="514">
                  <c:v>-11.905050371925995</c:v>
                </c:pt>
                <c:pt idx="515">
                  <c:v>-11.88894659427001</c:v>
                </c:pt>
                <c:pt idx="516">
                  <c:v>-11.853105942908996</c:v>
                </c:pt>
                <c:pt idx="517">
                  <c:v>-11.947603452411983</c:v>
                </c:pt>
                <c:pt idx="518">
                  <c:v>-11.921762154662019</c:v>
                </c:pt>
                <c:pt idx="519">
                  <c:v>-11.816709455189994</c:v>
                </c:pt>
                <c:pt idx="520">
                  <c:v>-11.698322842100993</c:v>
                </c:pt>
                <c:pt idx="521">
                  <c:v>-11.48799688839398</c:v>
                </c:pt>
                <c:pt idx="522">
                  <c:v>-11.637657735227975</c:v>
                </c:pt>
                <c:pt idx="523">
                  <c:v>-11.528221581692009</c:v>
                </c:pt>
                <c:pt idx="524">
                  <c:v>-11.491193838602015</c:v>
                </c:pt>
                <c:pt idx="525">
                  <c:v>-11.956421721860011</c:v>
                </c:pt>
                <c:pt idx="526">
                  <c:v>-12.094951431552005</c:v>
                </c:pt>
                <c:pt idx="527">
                  <c:v>-12.426529799750995</c:v>
                </c:pt>
                <c:pt idx="528">
                  <c:v>-12.323247395940996</c:v>
                </c:pt>
                <c:pt idx="529">
                  <c:v>-12.528267551732995</c:v>
                </c:pt>
                <c:pt idx="530">
                  <c:v>-12.403420959599998</c:v>
                </c:pt>
                <c:pt idx="531">
                  <c:v>-12.748568613393985</c:v>
                </c:pt>
                <c:pt idx="532">
                  <c:v>-13.043465231210007</c:v>
                </c:pt>
                <c:pt idx="533">
                  <c:v>-13.438876262267996</c:v>
                </c:pt>
                <c:pt idx="534">
                  <c:v>-13.257917953445997</c:v>
                </c:pt>
                <c:pt idx="535">
                  <c:v>-13.23935857461899</c:v>
                </c:pt>
                <c:pt idx="536">
                  <c:v>-13.309034437990022</c:v>
                </c:pt>
                <c:pt idx="537">
                  <c:v>-13.356501963073015</c:v>
                </c:pt>
                <c:pt idx="538">
                  <c:v>-12.664328855282008</c:v>
                </c:pt>
                <c:pt idx="539">
                  <c:v>-12.258981132987998</c:v>
                </c:pt>
                <c:pt idx="540">
                  <c:v>-12.338819665212014</c:v>
                </c:pt>
                <c:pt idx="541">
                  <c:v>-12.16218630932201</c:v>
                </c:pt>
                <c:pt idx="542">
                  <c:v>-12.018088062443013</c:v>
                </c:pt>
                <c:pt idx="543">
                  <c:v>-11.68032922505401</c:v>
                </c:pt>
                <c:pt idx="544">
                  <c:v>-11.948300395681997</c:v>
                </c:pt>
                <c:pt idx="545">
                  <c:v>-11.781504216521</c:v>
                </c:pt>
                <c:pt idx="546">
                  <c:v>-11.918947472369979</c:v>
                </c:pt>
                <c:pt idx="547">
                  <c:v>-12.130248472091012</c:v>
                </c:pt>
                <c:pt idx="548">
                  <c:v>-11.954797061964001</c:v>
                </c:pt>
                <c:pt idx="549">
                  <c:v>-11.954797061964001</c:v>
                </c:pt>
                <c:pt idx="550">
                  <c:v>-12.316535670515009</c:v>
                </c:pt>
                <c:pt idx="551">
                  <c:v>-12.376740486201015</c:v>
                </c:pt>
                <c:pt idx="552">
                  <c:v>-12.454305338006009</c:v>
                </c:pt>
                <c:pt idx="553">
                  <c:v>-12.401870298296984</c:v>
                </c:pt>
                <c:pt idx="554">
                  <c:v>-12.435696878664004</c:v>
                </c:pt>
                <c:pt idx="555">
                  <c:v>-12.488715197423005</c:v>
                </c:pt>
                <c:pt idx="556">
                  <c:v>-12.714057092838004</c:v>
                </c:pt>
                <c:pt idx="557">
                  <c:v>-12.814442679905</c:v>
                </c:pt>
                <c:pt idx="558">
                  <c:v>-12.681652201459002</c:v>
                </c:pt>
                <c:pt idx="559">
                  <c:v>-12.848046478546991</c:v>
                </c:pt>
                <c:pt idx="560">
                  <c:v>-12.862176567543997</c:v>
                </c:pt>
                <c:pt idx="561">
                  <c:v>-12.654025994875013</c:v>
                </c:pt>
                <c:pt idx="562">
                  <c:v>-12.713138804080984</c:v>
                </c:pt>
                <c:pt idx="563">
                  <c:v>-12.785378106675978</c:v>
                </c:pt>
                <c:pt idx="564">
                  <c:v>-12.674308943411006</c:v>
                </c:pt>
                <c:pt idx="565">
                  <c:v>-12.575977483934992</c:v>
                </c:pt>
                <c:pt idx="566">
                  <c:v>-12.329383426008008</c:v>
                </c:pt>
                <c:pt idx="567">
                  <c:v>-12.112004924388998</c:v>
                </c:pt>
                <c:pt idx="568">
                  <c:v>-12.165856882096989</c:v>
                </c:pt>
                <c:pt idx="569">
                  <c:v>-12.071286691333995</c:v>
                </c:pt>
                <c:pt idx="570">
                  <c:v>-11.80842958576801</c:v>
                </c:pt>
                <c:pt idx="571">
                  <c:v>-11.904661563338976</c:v>
                </c:pt>
                <c:pt idx="572">
                  <c:v>-11.933000443199973</c:v>
                </c:pt>
                <c:pt idx="573">
                  <c:v>-11.860737342642011</c:v>
                </c:pt>
                <c:pt idx="574">
                  <c:v>-11.619224288845999</c:v>
                </c:pt>
                <c:pt idx="575">
                  <c:v>-11.202869127113019</c:v>
                </c:pt>
                <c:pt idx="576">
                  <c:v>-11.341863091703004</c:v>
                </c:pt>
                <c:pt idx="577">
                  <c:v>-11.414888669385988</c:v>
                </c:pt>
                <c:pt idx="578">
                  <c:v>-10.888492097132996</c:v>
                </c:pt>
                <c:pt idx="579">
                  <c:v>-10.931599608405008</c:v>
                </c:pt>
                <c:pt idx="580">
                  <c:v>-10.660432655188004</c:v>
                </c:pt>
                <c:pt idx="581">
                  <c:v>-10.781993432505004</c:v>
                </c:pt>
                <c:pt idx="582">
                  <c:v>-10.731626208903009</c:v>
                </c:pt>
                <c:pt idx="583">
                  <c:v>-10.646054729679008</c:v>
                </c:pt>
                <c:pt idx="584">
                  <c:v>-10.498491986253981</c:v>
                </c:pt>
                <c:pt idx="585">
                  <c:v>-10.640290654735992</c:v>
                </c:pt>
                <c:pt idx="586">
                  <c:v>-10.490675170525009</c:v>
                </c:pt>
                <c:pt idx="587">
                  <c:v>-10.36504317951298</c:v>
                </c:pt>
                <c:pt idx="588">
                  <c:v>-10.220461237697009</c:v>
                </c:pt>
                <c:pt idx="589">
                  <c:v>-9.9817338561649933</c:v>
                </c:pt>
                <c:pt idx="590">
                  <c:v>-9.9821688701069888</c:v>
                </c:pt>
                <c:pt idx="591">
                  <c:v>-9.8973229548159907</c:v>
                </c:pt>
                <c:pt idx="592">
                  <c:v>-9.4427295495349881</c:v>
                </c:pt>
                <c:pt idx="593">
                  <c:v>-9.6530011627079944</c:v>
                </c:pt>
                <c:pt idx="594">
                  <c:v>-9.9104341437680148</c:v>
                </c:pt>
                <c:pt idx="595">
                  <c:v>-10.141164195166994</c:v>
                </c:pt>
                <c:pt idx="596">
                  <c:v>-10.388728466672006</c:v>
                </c:pt>
                <c:pt idx="597">
                  <c:v>-10.147022225124999</c:v>
                </c:pt>
                <c:pt idx="598">
                  <c:v>-10.355458233163006</c:v>
                </c:pt>
                <c:pt idx="599">
                  <c:v>-10.266834347083005</c:v>
                </c:pt>
                <c:pt idx="600">
                  <c:v>-10.148918677840015</c:v>
                </c:pt>
                <c:pt idx="601">
                  <c:v>-10.431562337496985</c:v>
                </c:pt>
                <c:pt idx="602">
                  <c:v>-10.243850800675006</c:v>
                </c:pt>
                <c:pt idx="603">
                  <c:v>-10.033876207437004</c:v>
                </c:pt>
                <c:pt idx="604">
                  <c:v>-10.029613482108005</c:v>
                </c:pt>
                <c:pt idx="605">
                  <c:v>-9.9292324418760245</c:v>
                </c:pt>
                <c:pt idx="606">
                  <c:v>-9.4333448906210151</c:v>
                </c:pt>
                <c:pt idx="607">
                  <c:v>-9.8552918410179871</c:v>
                </c:pt>
                <c:pt idx="608">
                  <c:v>-9.6826987151630135</c:v>
                </c:pt>
                <c:pt idx="609">
                  <c:v>-9.7984239627080001</c:v>
                </c:pt>
                <c:pt idx="610">
                  <c:v>-9.6611303292540072</c:v>
                </c:pt>
                <c:pt idx="611">
                  <c:v>-9.7447604613030023</c:v>
                </c:pt>
                <c:pt idx="612">
                  <c:v>-9.7729926721689822</c:v>
                </c:pt>
                <c:pt idx="613">
                  <c:v>-9.5566470249129907</c:v>
                </c:pt>
                <c:pt idx="614">
                  <c:v>-9.4948974958699921</c:v>
                </c:pt>
                <c:pt idx="615">
                  <c:v>-9.6322432006859913</c:v>
                </c:pt>
                <c:pt idx="616">
                  <c:v>-9.4857661713500079</c:v>
                </c:pt>
                <c:pt idx="617">
                  <c:v>-9.4232745912989913</c:v>
                </c:pt>
                <c:pt idx="618">
                  <c:v>-9.3907627363569759</c:v>
                </c:pt>
                <c:pt idx="619">
                  <c:v>-9.5594161233750015</c:v>
                </c:pt>
                <c:pt idx="620">
                  <c:v>-9.5058449167609922</c:v>
                </c:pt>
                <c:pt idx="621">
                  <c:v>-9.5545706466170088</c:v>
                </c:pt>
                <c:pt idx="622">
                  <c:v>-9.5572538793340129</c:v>
                </c:pt>
                <c:pt idx="623">
                  <c:v>-9.3848579062709803</c:v>
                </c:pt>
                <c:pt idx="624">
                  <c:v>-9.0283116200670008</c:v>
                </c:pt>
                <c:pt idx="625">
                  <c:v>-8.6076912097300067</c:v>
                </c:pt>
                <c:pt idx="626">
                  <c:v>-8.7228551703599919</c:v>
                </c:pt>
                <c:pt idx="627">
                  <c:v>-8.9271818690239968</c:v>
                </c:pt>
                <c:pt idx="628">
                  <c:v>-8.6174378336159805</c:v>
                </c:pt>
                <c:pt idx="629">
                  <c:v>-8.5353371242770208</c:v>
                </c:pt>
                <c:pt idx="630">
                  <c:v>-8.0874485186110121</c:v>
                </c:pt>
                <c:pt idx="631">
                  <c:v>-8.2945146720250023</c:v>
                </c:pt>
                <c:pt idx="632">
                  <c:v>-8.3408870011909926</c:v>
                </c:pt>
                <c:pt idx="633">
                  <c:v>-8.2847346981530166</c:v>
                </c:pt>
                <c:pt idx="634">
                  <c:v>-8.0783241480569927</c:v>
                </c:pt>
                <c:pt idx="635">
                  <c:v>-7.5320799156900193</c:v>
                </c:pt>
                <c:pt idx="636">
                  <c:v>-7.6400886822750067</c:v>
                </c:pt>
                <c:pt idx="637">
                  <c:v>-7.9787943303070108</c:v>
                </c:pt>
                <c:pt idx="638">
                  <c:v>-8.1304912718890137</c:v>
                </c:pt>
                <c:pt idx="639">
                  <c:v>-8.280174443448999</c:v>
                </c:pt>
                <c:pt idx="640">
                  <c:v>-8.1904691375169989</c:v>
                </c:pt>
                <c:pt idx="641">
                  <c:v>-8.4268161953029903</c:v>
                </c:pt>
                <c:pt idx="642">
                  <c:v>-8.4268161953029903</c:v>
                </c:pt>
                <c:pt idx="643">
                  <c:v>-8.4268161953029903</c:v>
                </c:pt>
                <c:pt idx="644">
                  <c:v>-8.4268161953029903</c:v>
                </c:pt>
                <c:pt idx="645">
                  <c:v>-8.5992940471599866</c:v>
                </c:pt>
                <c:pt idx="646">
                  <c:v>-8.455733722350999</c:v>
                </c:pt>
                <c:pt idx="647">
                  <c:v>-8.4671480124619904</c:v>
                </c:pt>
                <c:pt idx="648">
                  <c:v>-8.4671480124619904</c:v>
                </c:pt>
                <c:pt idx="649">
                  <c:v>-8.4492708880629834</c:v>
                </c:pt>
                <c:pt idx="650">
                  <c:v>-7.6929048292039965</c:v>
                </c:pt>
                <c:pt idx="651">
                  <c:v>-7.4920605289070181</c:v>
                </c:pt>
                <c:pt idx="652">
                  <c:v>-7.3828215430810076</c:v>
                </c:pt>
                <c:pt idx="653">
                  <c:v>-7.5626294863209864</c:v>
                </c:pt>
                <c:pt idx="654">
                  <c:v>-7.6065930778310076</c:v>
                </c:pt>
                <c:pt idx="655">
                  <c:v>-7.5122033565430115</c:v>
                </c:pt>
                <c:pt idx="656">
                  <c:v>-7.6503896609800108</c:v>
                </c:pt>
                <c:pt idx="657">
                  <c:v>-7.4445166305009991</c:v>
                </c:pt>
                <c:pt idx="658">
                  <c:v>-7.1096980057919836</c:v>
                </c:pt>
                <c:pt idx="659">
                  <c:v>-7.4125089529539991</c:v>
                </c:pt>
                <c:pt idx="660">
                  <c:v>-7.3660906169999976</c:v>
                </c:pt>
                <c:pt idx="661">
                  <c:v>-7.7461846451899987</c:v>
                </c:pt>
                <c:pt idx="662">
                  <c:v>-8.0135072993439849</c:v>
                </c:pt>
                <c:pt idx="663">
                  <c:v>-8.1343548722979904</c:v>
                </c:pt>
                <c:pt idx="664">
                  <c:v>-7.98747731769501</c:v>
                </c:pt>
                <c:pt idx="665">
                  <c:v>-7.9847970441669816</c:v>
                </c:pt>
                <c:pt idx="666">
                  <c:v>-7.872707044571996</c:v>
                </c:pt>
                <c:pt idx="667">
                  <c:v>-7.687770416592997</c:v>
                </c:pt>
                <c:pt idx="668">
                  <c:v>-7.4985230996979908</c:v>
                </c:pt>
                <c:pt idx="669">
                  <c:v>-7.863553983538992</c:v>
                </c:pt>
                <c:pt idx="670">
                  <c:v>-7.8781546758640104</c:v>
                </c:pt>
                <c:pt idx="671">
                  <c:v>-8.1269283880999978</c:v>
                </c:pt>
                <c:pt idx="672">
                  <c:v>-8.3602714455989826</c:v>
                </c:pt>
                <c:pt idx="673">
                  <c:v>-8.4964724146259982</c:v>
                </c:pt>
                <c:pt idx="674">
                  <c:v>-8.8929544339780193</c:v>
                </c:pt>
                <c:pt idx="675">
                  <c:v>-9.1395190523570022</c:v>
                </c:pt>
                <c:pt idx="676">
                  <c:v>-9.1299540420550045</c:v>
                </c:pt>
                <c:pt idx="677">
                  <c:v>-8.9702089634020012</c:v>
                </c:pt>
                <c:pt idx="678">
                  <c:v>-9.0759209931190128</c:v>
                </c:pt>
                <c:pt idx="679">
                  <c:v>-9.504952874954995</c:v>
                </c:pt>
                <c:pt idx="680">
                  <c:v>-9.506873863504012</c:v>
                </c:pt>
                <c:pt idx="681">
                  <c:v>-9.6413180666310154</c:v>
                </c:pt>
                <c:pt idx="682">
                  <c:v>-9.3562287696609872</c:v>
                </c:pt>
                <c:pt idx="683">
                  <c:v>-9.2172888809569997</c:v>
                </c:pt>
                <c:pt idx="684">
                  <c:v>-9.3006945900860103</c:v>
                </c:pt>
                <c:pt idx="685">
                  <c:v>-9.2686721595460142</c:v>
                </c:pt>
                <c:pt idx="686">
                  <c:v>-9.318834452082001</c:v>
                </c:pt>
                <c:pt idx="687">
                  <c:v>-9.5529860699749918</c:v>
                </c:pt>
                <c:pt idx="688">
                  <c:v>-9.2841899791040134</c:v>
                </c:pt>
                <c:pt idx="689">
                  <c:v>-9.2242715269759969</c:v>
                </c:pt>
                <c:pt idx="690">
                  <c:v>-9.2222104384809995</c:v>
                </c:pt>
                <c:pt idx="691">
                  <c:v>-8.9712155610959883</c:v>
                </c:pt>
                <c:pt idx="692">
                  <c:v>-8.761421955856008</c:v>
                </c:pt>
                <c:pt idx="693">
                  <c:v>-8.9392458740519771</c:v>
                </c:pt>
                <c:pt idx="694">
                  <c:v>-8.6208721856820034</c:v>
                </c:pt>
                <c:pt idx="695">
                  <c:v>-8.5016349773919728</c:v>
                </c:pt>
                <c:pt idx="696">
                  <c:v>-7.6470117239960018</c:v>
                </c:pt>
                <c:pt idx="697">
                  <c:v>-7.5109497016890145</c:v>
                </c:pt>
                <c:pt idx="698">
                  <c:v>-7.2267518536930027</c:v>
                </c:pt>
                <c:pt idx="699">
                  <c:v>-6.4417895555849896</c:v>
                </c:pt>
                <c:pt idx="700">
                  <c:v>-6.4822197346420012</c:v>
                </c:pt>
                <c:pt idx="701">
                  <c:v>-6.5410682527630115</c:v>
                </c:pt>
                <c:pt idx="702">
                  <c:v>-6.7454609401249854</c:v>
                </c:pt>
                <c:pt idx="703">
                  <c:v>-6.8955748225989737</c:v>
                </c:pt>
                <c:pt idx="704">
                  <c:v>-7.6064290360549762</c:v>
                </c:pt>
                <c:pt idx="705">
                  <c:v>-7.6586602641049808</c:v>
                </c:pt>
                <c:pt idx="706">
                  <c:v>-7.7333655830539954</c:v>
                </c:pt>
                <c:pt idx="707">
                  <c:v>-7.8576867206770089</c:v>
                </c:pt>
                <c:pt idx="708">
                  <c:v>-7.8024217564159812</c:v>
                </c:pt>
                <c:pt idx="709">
                  <c:v>-7.5601260570630018</c:v>
                </c:pt>
                <c:pt idx="710">
                  <c:v>-7.7003563673969779</c:v>
                </c:pt>
                <c:pt idx="711">
                  <c:v>-7.6190970810329759</c:v>
                </c:pt>
                <c:pt idx="712">
                  <c:v>-8.0107003154350025</c:v>
                </c:pt>
                <c:pt idx="713">
                  <c:v>-7.9746092259929924</c:v>
                </c:pt>
                <c:pt idx="714">
                  <c:v>-7.9746092259929924</c:v>
                </c:pt>
                <c:pt idx="715">
                  <c:v>-7.9746092259929924</c:v>
                </c:pt>
                <c:pt idx="716">
                  <c:v>-8.0570135836910026</c:v>
                </c:pt>
                <c:pt idx="717">
                  <c:v>-7.9199533432700093</c:v>
                </c:pt>
                <c:pt idx="718">
                  <c:v>-7.9475598846499906</c:v>
                </c:pt>
                <c:pt idx="719">
                  <c:v>-8.182160823796977</c:v>
                </c:pt>
                <c:pt idx="720">
                  <c:v>-8.2542637519739799</c:v>
                </c:pt>
                <c:pt idx="721">
                  <c:v>-8.353104391157018</c:v>
                </c:pt>
                <c:pt idx="722">
                  <c:v>-8.7557509835850169</c:v>
                </c:pt>
                <c:pt idx="723">
                  <c:v>-9.1916791852950155</c:v>
                </c:pt>
                <c:pt idx="724">
                  <c:v>-9.1783512604609996</c:v>
                </c:pt>
                <c:pt idx="725">
                  <c:v>-9.3436490734460165</c:v>
                </c:pt>
                <c:pt idx="726">
                  <c:v>-8.9518286132360174</c:v>
                </c:pt>
                <c:pt idx="727">
                  <c:v>-8.9561745721699992</c:v>
                </c:pt>
                <c:pt idx="728">
                  <c:v>-9.4859279697209899</c:v>
                </c:pt>
                <c:pt idx="729">
                  <c:v>-9.7989302001650174</c:v>
                </c:pt>
                <c:pt idx="730">
                  <c:v>-9.9952954105839922</c:v>
                </c:pt>
                <c:pt idx="731">
                  <c:v>-9.9245332454070194</c:v>
                </c:pt>
                <c:pt idx="732">
                  <c:v>-11.036639384246996</c:v>
                </c:pt>
                <c:pt idx="733">
                  <c:v>-10.971403970023999</c:v>
                </c:pt>
                <c:pt idx="734">
                  <c:v>-10.971403970023999</c:v>
                </c:pt>
                <c:pt idx="735">
                  <c:v>-10.943695503626003</c:v>
                </c:pt>
                <c:pt idx="736">
                  <c:v>-10.84861449376001</c:v>
                </c:pt>
                <c:pt idx="737">
                  <c:v>-10.55773390178399</c:v>
                </c:pt>
                <c:pt idx="738">
                  <c:v>-10.267781184017991</c:v>
                </c:pt>
                <c:pt idx="739">
                  <c:v>-10.801763912036989</c:v>
                </c:pt>
                <c:pt idx="740">
                  <c:v>-10.62611538389001</c:v>
                </c:pt>
                <c:pt idx="741">
                  <c:v>-10.539938631037018</c:v>
                </c:pt>
                <c:pt idx="742">
                  <c:v>-10.700245788738016</c:v>
                </c:pt>
                <c:pt idx="743">
                  <c:v>-10.700245788738016</c:v>
                </c:pt>
                <c:pt idx="744">
                  <c:v>-10.699121414082015</c:v>
                </c:pt>
                <c:pt idx="745">
                  <c:v>-10.756238839586985</c:v>
                </c:pt>
                <c:pt idx="746">
                  <c:v>-10.450290071756001</c:v>
                </c:pt>
                <c:pt idx="747">
                  <c:v>-10.614176130473993</c:v>
                </c:pt>
                <c:pt idx="748">
                  <c:v>-11.007278726252991</c:v>
                </c:pt>
                <c:pt idx="749">
                  <c:v>-10.981182898761006</c:v>
                </c:pt>
                <c:pt idx="750">
                  <c:v>-10.981182898761006</c:v>
                </c:pt>
                <c:pt idx="751">
                  <c:v>-10.423674663903</c:v>
                </c:pt>
                <c:pt idx="752">
                  <c:v>-10.889742484886</c:v>
                </c:pt>
                <c:pt idx="753">
                  <c:v>-10.778089408947011</c:v>
                </c:pt>
                <c:pt idx="754">
                  <c:v>-10.624596887982023</c:v>
                </c:pt>
                <c:pt idx="755">
                  <c:v>-10.495468936282975</c:v>
                </c:pt>
                <c:pt idx="756">
                  <c:v>-10.747331107131004</c:v>
                </c:pt>
                <c:pt idx="757">
                  <c:v>-10.83835149549401</c:v>
                </c:pt>
                <c:pt idx="758">
                  <c:v>-10.747571123733991</c:v>
                </c:pt>
                <c:pt idx="759">
                  <c:v>-10.453893695284989</c:v>
                </c:pt>
                <c:pt idx="760">
                  <c:v>-10.380311893848017</c:v>
                </c:pt>
                <c:pt idx="761">
                  <c:v>-10.349606028251003</c:v>
                </c:pt>
                <c:pt idx="762">
                  <c:v>-11.029513437502999</c:v>
                </c:pt>
                <c:pt idx="763">
                  <c:v>-10.842287700364011</c:v>
                </c:pt>
                <c:pt idx="764">
                  <c:v>-10.625639401450997</c:v>
                </c:pt>
                <c:pt idx="765">
                  <c:v>-10.388696627894006</c:v>
                </c:pt>
                <c:pt idx="766">
                  <c:v>-10.302199469412017</c:v>
                </c:pt>
                <c:pt idx="767">
                  <c:v>-10.277607760521988</c:v>
                </c:pt>
                <c:pt idx="768">
                  <c:v>-10.40558534873</c:v>
                </c:pt>
                <c:pt idx="769">
                  <c:v>-10.206827497179006</c:v>
                </c:pt>
                <c:pt idx="770">
                  <c:v>-10.846197689625996</c:v>
                </c:pt>
                <c:pt idx="771">
                  <c:v>-10.846197689625996</c:v>
                </c:pt>
                <c:pt idx="772">
                  <c:v>-10.674639079640002</c:v>
                </c:pt>
                <c:pt idx="773">
                  <c:v>-10.481897804922994</c:v>
                </c:pt>
                <c:pt idx="774">
                  <c:v>-10.228796876334002</c:v>
                </c:pt>
                <c:pt idx="775">
                  <c:v>-9.6032139416889777</c:v>
                </c:pt>
                <c:pt idx="776">
                  <c:v>-9.217131399261973</c:v>
                </c:pt>
                <c:pt idx="777">
                  <c:v>-9.2822488673159853</c:v>
                </c:pt>
                <c:pt idx="778">
                  <c:v>-9.1744064492980044</c:v>
                </c:pt>
                <c:pt idx="779">
                  <c:v>-8.9946234435109886</c:v>
                </c:pt>
                <c:pt idx="780">
                  <c:v>-8.3715273730049944</c:v>
                </c:pt>
                <c:pt idx="781">
                  <c:v>-7.4998692147059955</c:v>
                </c:pt>
                <c:pt idx="782">
                  <c:v>-7.2807884986889917</c:v>
                </c:pt>
                <c:pt idx="783">
                  <c:v>-7.8982479092549909</c:v>
                </c:pt>
                <c:pt idx="784">
                  <c:v>-8.5254630303830083</c:v>
                </c:pt>
                <c:pt idx="785">
                  <c:v>-8.5380598278599962</c:v>
                </c:pt>
                <c:pt idx="786">
                  <c:v>-8.9296771105549908</c:v>
                </c:pt>
                <c:pt idx="787">
                  <c:v>-8.8907751040960079</c:v>
                </c:pt>
                <c:pt idx="788">
                  <c:v>-9.0743122614059928</c:v>
                </c:pt>
                <c:pt idx="789">
                  <c:v>-9.3090090541980146</c:v>
                </c:pt>
                <c:pt idx="790">
                  <c:v>-9.081300887298994</c:v>
                </c:pt>
                <c:pt idx="791">
                  <c:v>-9.0604796613669976</c:v>
                </c:pt>
                <c:pt idx="792">
                  <c:v>-8.5166780748150188</c:v>
                </c:pt>
                <c:pt idx="793">
                  <c:v>-8.0999515956770267</c:v>
                </c:pt>
                <c:pt idx="794">
                  <c:v>-7.4565396953180141</c:v>
                </c:pt>
                <c:pt idx="795">
                  <c:v>-6.859191010285997</c:v>
                </c:pt>
                <c:pt idx="796">
                  <c:v>-7.2548944022250055</c:v>
                </c:pt>
                <c:pt idx="797">
                  <c:v>-7.4165097408630061</c:v>
                </c:pt>
                <c:pt idx="798">
                  <c:v>-7.6373259357400229</c:v>
                </c:pt>
                <c:pt idx="799">
                  <c:v>-7.655113318759021</c:v>
                </c:pt>
                <c:pt idx="800">
                  <c:v>-7.0459903539930053</c:v>
                </c:pt>
                <c:pt idx="801">
                  <c:v>-6.8076214429910067</c:v>
                </c:pt>
                <c:pt idx="802">
                  <c:v>-6.75651406578001</c:v>
                </c:pt>
                <c:pt idx="803">
                  <c:v>-6.744805196639021</c:v>
                </c:pt>
                <c:pt idx="804">
                  <c:v>-6.5447393124630082</c:v>
                </c:pt>
                <c:pt idx="805">
                  <c:v>-7.1524009398000032</c:v>
                </c:pt>
                <c:pt idx="806">
                  <c:v>-6.6647373855890066</c:v>
                </c:pt>
                <c:pt idx="807">
                  <c:v>-6.5813714148999907</c:v>
                </c:pt>
                <c:pt idx="808">
                  <c:v>-6.5190749706220004</c:v>
                </c:pt>
                <c:pt idx="809">
                  <c:v>-6.4103183091160076</c:v>
                </c:pt>
                <c:pt idx="810">
                  <c:v>-5.5996366053859958</c:v>
                </c:pt>
                <c:pt idx="811">
                  <c:v>-5.551104744797982</c:v>
                </c:pt>
                <c:pt idx="812">
                  <c:v>-5.1067156858570115</c:v>
                </c:pt>
                <c:pt idx="813">
                  <c:v>-4.5943083647659932</c:v>
                </c:pt>
                <c:pt idx="814">
                  <c:v>-3.6716072294289859</c:v>
                </c:pt>
                <c:pt idx="815">
                  <c:v>-2.7595997399420185</c:v>
                </c:pt>
                <c:pt idx="816">
                  <c:v>-3.8499528129640055</c:v>
                </c:pt>
                <c:pt idx="817">
                  <c:v>-3.7643366734299946</c:v>
                </c:pt>
                <c:pt idx="818">
                  <c:v>-4.4219713285480111</c:v>
                </c:pt>
                <c:pt idx="819">
                  <c:v>-4.7450930198139929</c:v>
                </c:pt>
                <c:pt idx="820">
                  <c:v>-4.7295261303140137</c:v>
                </c:pt>
                <c:pt idx="821">
                  <c:v>-3.7538035158549974</c:v>
                </c:pt>
                <c:pt idx="822">
                  <c:v>-3.7395095829319871</c:v>
                </c:pt>
                <c:pt idx="823">
                  <c:v>-3.6846980519419787</c:v>
                </c:pt>
                <c:pt idx="824">
                  <c:v>-3.1861347581549921</c:v>
                </c:pt>
                <c:pt idx="825">
                  <c:v>-3.2616367246230027</c:v>
                </c:pt>
                <c:pt idx="826">
                  <c:v>-3.8415159091719886</c:v>
                </c:pt>
                <c:pt idx="827">
                  <c:v>-3.9888164199630012</c:v>
                </c:pt>
                <c:pt idx="828">
                  <c:v>-3.9306358965129959</c:v>
                </c:pt>
                <c:pt idx="829">
                  <c:v>-3.9574291809060185</c:v>
                </c:pt>
                <c:pt idx="830">
                  <c:v>-3.7677049891390197</c:v>
                </c:pt>
                <c:pt idx="831">
                  <c:v>-3.9242709125719841</c:v>
                </c:pt>
                <c:pt idx="832">
                  <c:v>-4.5112112673550087</c:v>
                </c:pt>
                <c:pt idx="833">
                  <c:v>-4.3273097292849911</c:v>
                </c:pt>
                <c:pt idx="834">
                  <c:v>-3.8367846785120037</c:v>
                </c:pt>
                <c:pt idx="835">
                  <c:v>-3.6601302810080085</c:v>
                </c:pt>
                <c:pt idx="836">
                  <c:v>-3.1379012609270092</c:v>
                </c:pt>
                <c:pt idx="837">
                  <c:v>-2.7476790278980161</c:v>
                </c:pt>
                <c:pt idx="838">
                  <c:v>-2.5442717036380031</c:v>
                </c:pt>
                <c:pt idx="839">
                  <c:v>-2.608246118043013</c:v>
                </c:pt>
                <c:pt idx="840">
                  <c:v>-1.9396536786660192</c:v>
                </c:pt>
                <c:pt idx="841">
                  <c:v>-1.862225041217016</c:v>
                </c:pt>
                <c:pt idx="842">
                  <c:v>-2.5498142246549946</c:v>
                </c:pt>
                <c:pt idx="843">
                  <c:v>-2.8052055501670168</c:v>
                </c:pt>
                <c:pt idx="844">
                  <c:v>-3.5031269968539789</c:v>
                </c:pt>
                <c:pt idx="845">
                  <c:v>-4.3937182239760091</c:v>
                </c:pt>
                <c:pt idx="846">
                  <c:v>-4.8587484147930127</c:v>
                </c:pt>
                <c:pt idx="847">
                  <c:v>-5.0296610515560189</c:v>
                </c:pt>
                <c:pt idx="848">
                  <c:v>-5.3095090100959794</c:v>
                </c:pt>
                <c:pt idx="849">
                  <c:v>-5.6881469522340069</c:v>
                </c:pt>
                <c:pt idx="850">
                  <c:v>-5.3761492883530195</c:v>
                </c:pt>
                <c:pt idx="851">
                  <c:v>-5.1405715543309896</c:v>
                </c:pt>
                <c:pt idx="852">
                  <c:v>-5.4643211334449973</c:v>
                </c:pt>
                <c:pt idx="853">
                  <c:v>-5.8432776725929898</c:v>
                </c:pt>
                <c:pt idx="854">
                  <c:v>-5.9731238607310218</c:v>
                </c:pt>
                <c:pt idx="855">
                  <c:v>-5.8968713613649868</c:v>
                </c:pt>
                <c:pt idx="856">
                  <c:v>-5.7645529024979965</c:v>
                </c:pt>
                <c:pt idx="857">
                  <c:v>-5.8504963935070009</c:v>
                </c:pt>
                <c:pt idx="858">
                  <c:v>-6.1429870617959921</c:v>
                </c:pt>
                <c:pt idx="859">
                  <c:v>-6.6082097454800248</c:v>
                </c:pt>
                <c:pt idx="860">
                  <c:v>-6.4520069980210053</c:v>
                </c:pt>
                <c:pt idx="861">
                  <c:v>-6.6186366536059893</c:v>
                </c:pt>
                <c:pt idx="862">
                  <c:v>-7.3037244843060023</c:v>
                </c:pt>
                <c:pt idx="863">
                  <c:v>-6.8397951718679906</c:v>
                </c:pt>
                <c:pt idx="864">
                  <c:v>-7.0638649640009987</c:v>
                </c:pt>
                <c:pt idx="865">
                  <c:v>-7.3952025035440272</c:v>
                </c:pt>
                <c:pt idx="866">
                  <c:v>-7.8288104938839922</c:v>
                </c:pt>
                <c:pt idx="867">
                  <c:v>-7.7588443392060071</c:v>
                </c:pt>
                <c:pt idx="868">
                  <c:v>-7.3650823539100259</c:v>
                </c:pt>
                <c:pt idx="869">
                  <c:v>-7.5641440910789868</c:v>
                </c:pt>
                <c:pt idx="870">
                  <c:v>-7.2079611005070205</c:v>
                </c:pt>
                <c:pt idx="871">
                  <c:v>-7.1442967489349769</c:v>
                </c:pt>
                <c:pt idx="872">
                  <c:v>-6.884903671285997</c:v>
                </c:pt>
                <c:pt idx="873">
                  <c:v>-6.3303250245089941</c:v>
                </c:pt>
                <c:pt idx="874">
                  <c:v>-5.930312101502011</c:v>
                </c:pt>
                <c:pt idx="875">
                  <c:v>-6.1390395087030072</c:v>
                </c:pt>
                <c:pt idx="876">
                  <c:v>-6.4713358092500073</c:v>
                </c:pt>
                <c:pt idx="877">
                  <c:v>-6.7596041189729874</c:v>
                </c:pt>
                <c:pt idx="878">
                  <c:v>-6.5515373454680059</c:v>
                </c:pt>
                <c:pt idx="879">
                  <c:v>-6.923425772895996</c:v>
                </c:pt>
                <c:pt idx="880">
                  <c:v>-6.8436287049370037</c:v>
                </c:pt>
                <c:pt idx="881">
                  <c:v>-6.9596407441079862</c:v>
                </c:pt>
                <c:pt idx="882">
                  <c:v>-7.0329251799900021</c:v>
                </c:pt>
                <c:pt idx="883">
                  <c:v>-7.139463201826004</c:v>
                </c:pt>
                <c:pt idx="884">
                  <c:v>-6.9670130060650024</c:v>
                </c:pt>
                <c:pt idx="885">
                  <c:v>-6.9383898389569936</c:v>
                </c:pt>
                <c:pt idx="886">
                  <c:v>-7.2071199464320159</c:v>
                </c:pt>
                <c:pt idx="887">
                  <c:v>-6.9627308286700043</c:v>
                </c:pt>
                <c:pt idx="888">
                  <c:v>-6.5590061194919826</c:v>
                </c:pt>
                <c:pt idx="889">
                  <c:v>-6.4400885308199918</c:v>
                </c:pt>
                <c:pt idx="890">
                  <c:v>-5.7692534614789963</c:v>
                </c:pt>
                <c:pt idx="891">
                  <c:v>-5.5428893033769953</c:v>
                </c:pt>
                <c:pt idx="892">
                  <c:v>-5.6835021104970167</c:v>
                </c:pt>
                <c:pt idx="893">
                  <c:v>-5.743267679624978</c:v>
                </c:pt>
                <c:pt idx="894">
                  <c:v>-5.0753583853309863</c:v>
                </c:pt>
                <c:pt idx="895">
                  <c:v>-4.7400219388829896</c:v>
                </c:pt>
                <c:pt idx="896">
                  <c:v>-5.1357831073689795</c:v>
                </c:pt>
                <c:pt idx="897">
                  <c:v>-5.4159117737620193</c:v>
                </c:pt>
                <c:pt idx="898">
                  <c:v>-5.6913272720869941</c:v>
                </c:pt>
                <c:pt idx="899">
                  <c:v>-5.4011482402160027</c:v>
                </c:pt>
                <c:pt idx="900">
                  <c:v>-5.3310647142070025</c:v>
                </c:pt>
                <c:pt idx="901">
                  <c:v>-5.3502436929639998</c:v>
                </c:pt>
                <c:pt idx="902">
                  <c:v>-5.8744967017329941</c:v>
                </c:pt>
                <c:pt idx="903">
                  <c:v>-5.8744967017329941</c:v>
                </c:pt>
                <c:pt idx="904">
                  <c:v>-5.8744967017329941</c:v>
                </c:pt>
                <c:pt idx="905">
                  <c:v>-5.8096726333809841</c:v>
                </c:pt>
                <c:pt idx="906">
                  <c:v>-5.7863685308080051</c:v>
                </c:pt>
                <c:pt idx="907">
                  <c:v>-5.4996181818020204</c:v>
                </c:pt>
                <c:pt idx="908">
                  <c:v>-5.6059356232750019</c:v>
                </c:pt>
                <c:pt idx="909">
                  <c:v>-5.6059356232750019</c:v>
                </c:pt>
                <c:pt idx="910">
                  <c:v>-5.353539992400016</c:v>
                </c:pt>
                <c:pt idx="911">
                  <c:v>-4.8530536388130088</c:v>
                </c:pt>
                <c:pt idx="912">
                  <c:v>-4.2569396621880173</c:v>
                </c:pt>
                <c:pt idx="913">
                  <c:v>-3.336975078091001</c:v>
                </c:pt>
                <c:pt idx="914">
                  <c:v>-2.8862927564329937</c:v>
                </c:pt>
                <c:pt idx="915">
                  <c:v>-2.500632594468982</c:v>
                </c:pt>
                <c:pt idx="916">
                  <c:v>-2.4593586877359996</c:v>
                </c:pt>
                <c:pt idx="917">
                  <c:v>-2.2735714794309843</c:v>
                </c:pt>
                <c:pt idx="918">
                  <c:v>-2.7880461275910022</c:v>
                </c:pt>
                <c:pt idx="919">
                  <c:v>-1.8831500613479761</c:v>
                </c:pt>
                <c:pt idx="920">
                  <c:v>-1.633341103798017</c:v>
                </c:pt>
                <c:pt idx="921">
                  <c:v>-1.7501017891420076</c:v>
                </c:pt>
                <c:pt idx="922">
                  <c:v>-1.556511878206976</c:v>
                </c:pt>
                <c:pt idx="923">
                  <c:v>-2.0883646573550152</c:v>
                </c:pt>
                <c:pt idx="924">
                  <c:v>-2.2647650982700043</c:v>
                </c:pt>
                <c:pt idx="925">
                  <c:v>-1.5938778596789973</c:v>
                </c:pt>
                <c:pt idx="926">
                  <c:v>-1.8874200337610034</c:v>
                </c:pt>
                <c:pt idx="927">
                  <c:v>-1.3197504811920169</c:v>
                </c:pt>
                <c:pt idx="928">
                  <c:v>-1.3726723779049905</c:v>
                </c:pt>
                <c:pt idx="929">
                  <c:v>-1.2406998384840051</c:v>
                </c:pt>
                <c:pt idx="930">
                  <c:v>-0.6231552863310128</c:v>
                </c:pt>
                <c:pt idx="931">
                  <c:v>0.21770122395798808</c:v>
                </c:pt>
                <c:pt idx="932">
                  <c:v>0.50055499834601846</c:v>
                </c:pt>
                <c:pt idx="933">
                  <c:v>-0.26307945504899521</c:v>
                </c:pt>
                <c:pt idx="934">
                  <c:v>0.23623358035899855</c:v>
                </c:pt>
                <c:pt idx="935">
                  <c:v>1.1696531868709883</c:v>
                </c:pt>
                <c:pt idx="936">
                  <c:v>1.9503536013849896</c:v>
                </c:pt>
                <c:pt idx="937">
                  <c:v>1.4942568530919971</c:v>
                </c:pt>
                <c:pt idx="938">
                  <c:v>1.755559895067023</c:v>
                </c:pt>
                <c:pt idx="939">
                  <c:v>1.0996666369409809</c:v>
                </c:pt>
                <c:pt idx="940">
                  <c:v>1.167796761286013</c:v>
                </c:pt>
                <c:pt idx="941">
                  <c:v>0.66755648486301311</c:v>
                </c:pt>
                <c:pt idx="942">
                  <c:v>-0.10207536976699316</c:v>
                </c:pt>
                <c:pt idx="943">
                  <c:v>0.21954839545099958</c:v>
                </c:pt>
                <c:pt idx="944">
                  <c:v>0.61766516090901291</c:v>
                </c:pt>
                <c:pt idx="945">
                  <c:v>-3.1507152840021035E-2</c:v>
                </c:pt>
                <c:pt idx="946">
                  <c:v>0.66622007984298648</c:v>
                </c:pt>
                <c:pt idx="947">
                  <c:v>1.024472558354006</c:v>
                </c:pt>
                <c:pt idx="948">
                  <c:v>0.78260896321600626</c:v>
                </c:pt>
                <c:pt idx="949">
                  <c:v>0.54116143656600002</c:v>
                </c:pt>
                <c:pt idx="950">
                  <c:v>0.40921791520599982</c:v>
                </c:pt>
                <c:pt idx="951">
                  <c:v>0.12466405032901662</c:v>
                </c:pt>
                <c:pt idx="952">
                  <c:v>-0.65675853447800137</c:v>
                </c:pt>
                <c:pt idx="953">
                  <c:v>-1.0196675984900025</c:v>
                </c:pt>
                <c:pt idx="954">
                  <c:v>-1.3370706228119786</c:v>
                </c:pt>
                <c:pt idx="955">
                  <c:v>-1.5756687390970114</c:v>
                </c:pt>
                <c:pt idx="956">
                  <c:v>-0.99427950746400029</c:v>
                </c:pt>
                <c:pt idx="957">
                  <c:v>-1.4031950006680063</c:v>
                </c:pt>
                <c:pt idx="958">
                  <c:v>-1.0685507361239956</c:v>
                </c:pt>
                <c:pt idx="959">
                  <c:v>-1.6987058432470121</c:v>
                </c:pt>
                <c:pt idx="960">
                  <c:v>-1.7214887605630054</c:v>
                </c:pt>
                <c:pt idx="961">
                  <c:v>-1.224423906038993</c:v>
                </c:pt>
                <c:pt idx="962">
                  <c:v>-1.1860206263680197</c:v>
                </c:pt>
                <c:pt idx="963">
                  <c:v>-1.4900391141579803</c:v>
                </c:pt>
                <c:pt idx="964">
                  <c:v>-1.7116092727819989</c:v>
                </c:pt>
                <c:pt idx="965">
                  <c:v>-1.6366296243119791</c:v>
                </c:pt>
                <c:pt idx="966">
                  <c:v>-1.834328845969992</c:v>
                </c:pt>
                <c:pt idx="967">
                  <c:v>-1.2093687967209803</c:v>
                </c:pt>
                <c:pt idx="968">
                  <c:v>-0.5505145555080162</c:v>
                </c:pt>
                <c:pt idx="969">
                  <c:v>-0.5505145555080162</c:v>
                </c:pt>
                <c:pt idx="970">
                  <c:v>-0.5505145555080162</c:v>
                </c:pt>
                <c:pt idx="971">
                  <c:v>-0.1199382770920181</c:v>
                </c:pt>
                <c:pt idx="972">
                  <c:v>-0.40065058252201879</c:v>
                </c:pt>
                <c:pt idx="973">
                  <c:v>-0.66348804789001292</c:v>
                </c:pt>
                <c:pt idx="974">
                  <c:v>-0.13140113063798253</c:v>
                </c:pt>
                <c:pt idx="975">
                  <c:v>6.2053396010242068E-3</c:v>
                </c:pt>
                <c:pt idx="976">
                  <c:v>0.37588042850899228</c:v>
                </c:pt>
                <c:pt idx="977">
                  <c:v>-0.17013196676899156</c:v>
                </c:pt>
                <c:pt idx="978">
                  <c:v>0.22643015126399746</c:v>
                </c:pt>
                <c:pt idx="979">
                  <c:v>-8.9758997560977605E-2</c:v>
                </c:pt>
                <c:pt idx="980">
                  <c:v>-0.18557659448799768</c:v>
                </c:pt>
                <c:pt idx="981">
                  <c:v>-0.73288995531399337</c:v>
                </c:pt>
                <c:pt idx="982">
                  <c:v>-1.5782545506360179</c:v>
                </c:pt>
                <c:pt idx="983">
                  <c:v>-1.4853279123539949</c:v>
                </c:pt>
                <c:pt idx="984">
                  <c:v>-1.2154671060490045</c:v>
                </c:pt>
                <c:pt idx="985">
                  <c:v>-1.474031411932998</c:v>
                </c:pt>
                <c:pt idx="986">
                  <c:v>-1.8967921237150165</c:v>
                </c:pt>
                <c:pt idx="987">
                  <c:v>-2.3716581723179786</c:v>
                </c:pt>
                <c:pt idx="988">
                  <c:v>-2.9427190519580222</c:v>
                </c:pt>
                <c:pt idx="989">
                  <c:v>-2.9751052324629939</c:v>
                </c:pt>
                <c:pt idx="990">
                  <c:v>-2.6754436212639803</c:v>
                </c:pt>
                <c:pt idx="991">
                  <c:v>-3.1745938218930121</c:v>
                </c:pt>
                <c:pt idx="992">
                  <c:v>-2.9548816377260039</c:v>
                </c:pt>
                <c:pt idx="993">
                  <c:v>-2.7977188756410101</c:v>
                </c:pt>
                <c:pt idx="994">
                  <c:v>-2.5658761758640196</c:v>
                </c:pt>
                <c:pt idx="995">
                  <c:v>-2.6988562444730064</c:v>
                </c:pt>
                <c:pt idx="996">
                  <c:v>-2.0148358358280234</c:v>
                </c:pt>
                <c:pt idx="997">
                  <c:v>-1.4465887528170072</c:v>
                </c:pt>
                <c:pt idx="998">
                  <c:v>-1.4465887528170072</c:v>
                </c:pt>
                <c:pt idx="999">
                  <c:v>-1.0378160347540017</c:v>
                </c:pt>
                <c:pt idx="1000">
                  <c:v>-0.59644548524101992</c:v>
                </c:pt>
                <c:pt idx="1001">
                  <c:v>-0.72933550768800615</c:v>
                </c:pt>
                <c:pt idx="1002">
                  <c:v>-0.65168980689600176</c:v>
                </c:pt>
                <c:pt idx="1003">
                  <c:v>-0.18345115463100115</c:v>
                </c:pt>
                <c:pt idx="1004">
                  <c:v>-0.11352960898400966</c:v>
                </c:pt>
                <c:pt idx="1005">
                  <c:v>-0.11352960898400966</c:v>
                </c:pt>
                <c:pt idx="1006">
                  <c:v>-0.64987656567700469</c:v>
                </c:pt>
                <c:pt idx="1007">
                  <c:v>-0.87970598939199363</c:v>
                </c:pt>
                <c:pt idx="1008">
                  <c:v>-0.42500084354099954</c:v>
                </c:pt>
                <c:pt idx="1009">
                  <c:v>-0.77522297608501844</c:v>
                </c:pt>
                <c:pt idx="1010">
                  <c:v>-0.63603936766099878</c:v>
                </c:pt>
                <c:pt idx="1011">
                  <c:v>-0.77465766138899994</c:v>
                </c:pt>
                <c:pt idx="1012">
                  <c:v>-1.5645234870030151</c:v>
                </c:pt>
                <c:pt idx="1013">
                  <c:v>-1.546756115757006</c:v>
                </c:pt>
                <c:pt idx="1014">
                  <c:v>-1.4729574721060033</c:v>
                </c:pt>
                <c:pt idx="1015">
                  <c:v>-1.5394596933290075</c:v>
                </c:pt>
                <c:pt idx="1016">
                  <c:v>-1.4870810670689991</c:v>
                </c:pt>
                <c:pt idx="1017">
                  <c:v>-1.398944512029999</c:v>
                </c:pt>
                <c:pt idx="1018">
                  <c:v>-1.268888937941</c:v>
                </c:pt>
                <c:pt idx="1019">
                  <c:v>-1.3478083636059921</c:v>
                </c:pt>
                <c:pt idx="1020">
                  <c:v>-1.6172014464330005</c:v>
                </c:pt>
                <c:pt idx="1021">
                  <c:v>-1.7271973474110212</c:v>
                </c:pt>
                <c:pt idx="1022">
                  <c:v>-1.6002123691349937</c:v>
                </c:pt>
                <c:pt idx="1023">
                  <c:v>-1.0753832096530118</c:v>
                </c:pt>
                <c:pt idx="1024">
                  <c:v>-0.4942480103800051</c:v>
                </c:pt>
                <c:pt idx="1025">
                  <c:v>-0.46711900824701047</c:v>
                </c:pt>
                <c:pt idx="1026">
                  <c:v>5.3001330983022399E-2</c:v>
                </c:pt>
                <c:pt idx="1027">
                  <c:v>-0.30117189521899945</c:v>
                </c:pt>
                <c:pt idx="1028">
                  <c:v>6.8374446923002097E-2</c:v>
                </c:pt>
                <c:pt idx="1029">
                  <c:v>-0.55515761995800972</c:v>
                </c:pt>
                <c:pt idx="1030">
                  <c:v>-1.0020358533979845</c:v>
                </c:pt>
                <c:pt idx="1031">
                  <c:v>-1.0029435851260189</c:v>
                </c:pt>
                <c:pt idx="1032">
                  <c:v>-0.95684498071000235</c:v>
                </c:pt>
                <c:pt idx="1033">
                  <c:v>-0.95684498071000235</c:v>
                </c:pt>
                <c:pt idx="1034">
                  <c:v>-0.19661443462499051</c:v>
                </c:pt>
                <c:pt idx="1035">
                  <c:v>1.0693277394079814</c:v>
                </c:pt>
                <c:pt idx="1036">
                  <c:v>0.67706760470500171</c:v>
                </c:pt>
                <c:pt idx="1037">
                  <c:v>0.27677249908001045</c:v>
                </c:pt>
                <c:pt idx="1038">
                  <c:v>0.55881987448000814</c:v>
                </c:pt>
                <c:pt idx="1039">
                  <c:v>0.40620901982600799</c:v>
                </c:pt>
                <c:pt idx="1040">
                  <c:v>0.49996800623898707</c:v>
                </c:pt>
                <c:pt idx="1041">
                  <c:v>1.2843628548810102</c:v>
                </c:pt>
                <c:pt idx="1042">
                  <c:v>1.4528833682140032</c:v>
                </c:pt>
                <c:pt idx="1043">
                  <c:v>1.2974899115519918</c:v>
                </c:pt>
                <c:pt idx="1044">
                  <c:v>0.90721238083497724</c:v>
                </c:pt>
                <c:pt idx="1045">
                  <c:v>0.54623394687399696</c:v>
                </c:pt>
                <c:pt idx="1046">
                  <c:v>-0.20418266801999607</c:v>
                </c:pt>
                <c:pt idx="1047">
                  <c:v>6.5081318246996034E-2</c:v>
                </c:pt>
                <c:pt idx="1048">
                  <c:v>-0.15017187439701729</c:v>
                </c:pt>
                <c:pt idx="1049">
                  <c:v>-0.37359147015300209</c:v>
                </c:pt>
                <c:pt idx="1050">
                  <c:v>-3.5551536626996949E-2</c:v>
                </c:pt>
                <c:pt idx="1051">
                  <c:v>0.49631842484498634</c:v>
                </c:pt>
                <c:pt idx="1052">
                  <c:v>0.35134377592700616</c:v>
                </c:pt>
                <c:pt idx="1053">
                  <c:v>-0.26396350151000547</c:v>
                </c:pt>
                <c:pt idx="1054">
                  <c:v>-0.17122016017899</c:v>
                </c:pt>
                <c:pt idx="1055">
                  <c:v>0.11701090430798899</c:v>
                </c:pt>
                <c:pt idx="1056">
                  <c:v>0.40556202254100526</c:v>
                </c:pt>
                <c:pt idx="1057">
                  <c:v>-3.9902474748004124E-2</c:v>
                </c:pt>
                <c:pt idx="1058">
                  <c:v>-3.3191451638998615E-2</c:v>
                </c:pt>
                <c:pt idx="1059">
                  <c:v>-0.19114021282197768</c:v>
                </c:pt>
                <c:pt idx="1060">
                  <c:v>3.2346961373008298E-2</c:v>
                </c:pt>
                <c:pt idx="1061">
                  <c:v>9.9951783750015011E-2</c:v>
                </c:pt>
                <c:pt idx="1062">
                  <c:v>9.8375109041995756E-2</c:v>
                </c:pt>
                <c:pt idx="1063">
                  <c:v>-0.14338037103900092</c:v>
                </c:pt>
                <c:pt idx="1064">
                  <c:v>-0.31786432015397281</c:v>
                </c:pt>
                <c:pt idx="1065">
                  <c:v>-0.94958669516398686</c:v>
                </c:pt>
                <c:pt idx="1066">
                  <c:v>-1.0795799834949946</c:v>
                </c:pt>
                <c:pt idx="1067">
                  <c:v>-0.90712108922701873</c:v>
                </c:pt>
                <c:pt idx="1068">
                  <c:v>-1.0212373644950219</c:v>
                </c:pt>
                <c:pt idx="1069">
                  <c:v>-1.1290371003450161</c:v>
                </c:pt>
                <c:pt idx="1070">
                  <c:v>-1.1290371003450161</c:v>
                </c:pt>
                <c:pt idx="1071">
                  <c:v>-1.5336220447950097</c:v>
                </c:pt>
                <c:pt idx="1072">
                  <c:v>-1.3045109785450109</c:v>
                </c:pt>
                <c:pt idx="1073">
                  <c:v>-1.7399489688399967</c:v>
                </c:pt>
                <c:pt idx="1074">
                  <c:v>-1.7030084408879986</c:v>
                </c:pt>
                <c:pt idx="1075">
                  <c:v>-1.5350653119519961</c:v>
                </c:pt>
                <c:pt idx="1076">
                  <c:v>-1.5388860646640126</c:v>
                </c:pt>
                <c:pt idx="1077">
                  <c:v>-1.3620572237649924</c:v>
                </c:pt>
                <c:pt idx="1078">
                  <c:v>-1.5056576953280114</c:v>
                </c:pt>
                <c:pt idx="1079">
                  <c:v>-1.6211906550890092</c:v>
                </c:pt>
                <c:pt idx="1080">
                  <c:v>-1.4995457036420135</c:v>
                </c:pt>
                <c:pt idx="1081">
                  <c:v>-1.7233075942860125</c:v>
                </c:pt>
                <c:pt idx="1082">
                  <c:v>-1.657611035479988</c:v>
                </c:pt>
                <c:pt idx="1083">
                  <c:v>-1.8095553074400073</c:v>
                </c:pt>
                <c:pt idx="1084">
                  <c:v>-1.9213173234220164</c:v>
                </c:pt>
                <c:pt idx="1085">
                  <c:v>-1.9751013545340186</c:v>
                </c:pt>
                <c:pt idx="1086">
                  <c:v>-2.3269649898969931</c:v>
                </c:pt>
                <c:pt idx="1087">
                  <c:v>-2.7402771034180091</c:v>
                </c:pt>
                <c:pt idx="1088">
                  <c:v>-3.1129077911880074</c:v>
                </c:pt>
                <c:pt idx="1089">
                  <c:v>-3.1675525004949918</c:v>
                </c:pt>
                <c:pt idx="1090">
                  <c:v>-2.6512764525869841</c:v>
                </c:pt>
                <c:pt idx="1091">
                  <c:v>-2.0131806853430021</c:v>
                </c:pt>
                <c:pt idx="1092">
                  <c:v>-1.9154432177110152</c:v>
                </c:pt>
                <c:pt idx="1093">
                  <c:v>-1.9500645219309831</c:v>
                </c:pt>
                <c:pt idx="1094">
                  <c:v>-1.9248787778789733</c:v>
                </c:pt>
                <c:pt idx="1095">
                  <c:v>-2.0892853737539951</c:v>
                </c:pt>
                <c:pt idx="1096">
                  <c:v>-1.7179509374529971</c:v>
                </c:pt>
                <c:pt idx="1097">
                  <c:v>-2.041617542994004</c:v>
                </c:pt>
                <c:pt idx="1098">
                  <c:v>-2.3071213758599924</c:v>
                </c:pt>
                <c:pt idx="1099">
                  <c:v>-2.3358543579859941</c:v>
                </c:pt>
                <c:pt idx="1100">
                  <c:v>-2.0998429512889913</c:v>
                </c:pt>
                <c:pt idx="1101">
                  <c:v>-1.7764590748359979</c:v>
                </c:pt>
                <c:pt idx="1102">
                  <c:v>-2.1646326374300031</c:v>
                </c:pt>
                <c:pt idx="1103">
                  <c:v>-2.4217290679590064</c:v>
                </c:pt>
                <c:pt idx="1104">
                  <c:v>-2.3226476240189982</c:v>
                </c:pt>
                <c:pt idx="1105">
                  <c:v>-2.3718920983829719</c:v>
                </c:pt>
                <c:pt idx="1106">
                  <c:v>-2.5667404259559987</c:v>
                </c:pt>
                <c:pt idx="1107">
                  <c:v>-3.0131163151110059</c:v>
                </c:pt>
                <c:pt idx="1108">
                  <c:v>-2.9444614573420154</c:v>
                </c:pt>
                <c:pt idx="1109">
                  <c:v>-3.2102643841820111</c:v>
                </c:pt>
                <c:pt idx="1110">
                  <c:v>-3.4546156276800275</c:v>
                </c:pt>
                <c:pt idx="1111">
                  <c:v>-3.1745208519859887</c:v>
                </c:pt>
                <c:pt idx="1112">
                  <c:v>-2.9670189303589893</c:v>
                </c:pt>
                <c:pt idx="1113">
                  <c:v>-2.5020233566579861</c:v>
                </c:pt>
                <c:pt idx="1114">
                  <c:v>-2.6855856831770097</c:v>
                </c:pt>
                <c:pt idx="1115">
                  <c:v>-2.492390694619985</c:v>
                </c:pt>
                <c:pt idx="1116">
                  <c:v>-3.0999290889149904</c:v>
                </c:pt>
                <c:pt idx="1117">
                  <c:v>-3.2128502150639804</c:v>
                </c:pt>
                <c:pt idx="1118">
                  <c:v>-3.6878383530959979</c:v>
                </c:pt>
                <c:pt idx="1119">
                  <c:v>-3.8820731669650002</c:v>
                </c:pt>
                <c:pt idx="1120">
                  <c:v>-3.7964406110249911</c:v>
                </c:pt>
                <c:pt idx="1121">
                  <c:v>-4.071819675900997</c:v>
                </c:pt>
                <c:pt idx="1122">
                  <c:v>-4.0500432478700077</c:v>
                </c:pt>
                <c:pt idx="1123">
                  <c:v>-3.8701417774439903</c:v>
                </c:pt>
                <c:pt idx="1124">
                  <c:v>-3.7586966771560242</c:v>
                </c:pt>
                <c:pt idx="1125">
                  <c:v>-3.3892956929850016</c:v>
                </c:pt>
                <c:pt idx="1126">
                  <c:v>-3.3892956929850016</c:v>
                </c:pt>
                <c:pt idx="1127">
                  <c:v>-2.8733537077989979</c:v>
                </c:pt>
                <c:pt idx="1128">
                  <c:v>-2.8348650172050043</c:v>
                </c:pt>
                <c:pt idx="1129">
                  <c:v>-2.8881278188580097</c:v>
                </c:pt>
                <c:pt idx="1130">
                  <c:v>-3.266433655962004</c:v>
                </c:pt>
                <c:pt idx="1131">
                  <c:v>-3.2825548745650224</c:v>
                </c:pt>
                <c:pt idx="1132">
                  <c:v>-3.6247438292210177</c:v>
                </c:pt>
                <c:pt idx="1133">
                  <c:v>-4.058698961299001</c:v>
                </c:pt>
                <c:pt idx="1134">
                  <c:v>-4.137828761950999</c:v>
                </c:pt>
                <c:pt idx="1135">
                  <c:v>-4.1665318944149874</c:v>
                </c:pt>
                <c:pt idx="1136">
                  <c:v>-4.1996724453779848</c:v>
                </c:pt>
                <c:pt idx="1137">
                  <c:v>-4.028157935077985</c:v>
                </c:pt>
                <c:pt idx="1138">
                  <c:v>-3.9427765922320077</c:v>
                </c:pt>
                <c:pt idx="1139">
                  <c:v>-3.8726602536960115</c:v>
                </c:pt>
                <c:pt idx="1140">
                  <c:v>-4.0243327519440015</c:v>
                </c:pt>
                <c:pt idx="1141">
                  <c:v>-4.1212848021249897</c:v>
                </c:pt>
                <c:pt idx="1142">
                  <c:v>-4.0803530890489981</c:v>
                </c:pt>
                <c:pt idx="1143">
                  <c:v>-4.2388328599539875</c:v>
                </c:pt>
                <c:pt idx="1144">
                  <c:v>-3.9498115825620062</c:v>
                </c:pt>
                <c:pt idx="1145">
                  <c:v>-3.5994961711199949</c:v>
                </c:pt>
                <c:pt idx="1146">
                  <c:v>-3.424246546874997</c:v>
                </c:pt>
                <c:pt idx="1147">
                  <c:v>-3.9636337859220134</c:v>
                </c:pt>
                <c:pt idx="1148">
                  <c:v>-4.1554268802839829</c:v>
                </c:pt>
                <c:pt idx="1149">
                  <c:v>-4.0778409240920155</c:v>
                </c:pt>
                <c:pt idx="1150">
                  <c:v>-4.4908990245490088</c:v>
                </c:pt>
                <c:pt idx="1151">
                  <c:v>-4.7753699919769872</c:v>
                </c:pt>
                <c:pt idx="1152">
                  <c:v>-4.9232203135789803</c:v>
                </c:pt>
                <c:pt idx="1153">
                  <c:v>-5.1407966001520151</c:v>
                </c:pt>
                <c:pt idx="1154">
                  <c:v>-4.98957560042399</c:v>
                </c:pt>
                <c:pt idx="1155">
                  <c:v>-4.8309404658379833</c:v>
                </c:pt>
                <c:pt idx="1156">
                  <c:v>-4.9511388366950086</c:v>
                </c:pt>
                <c:pt idx="1157">
                  <c:v>-4.7947624089960073</c:v>
                </c:pt>
                <c:pt idx="1158">
                  <c:v>-4.4828619163180008</c:v>
                </c:pt>
                <c:pt idx="1159">
                  <c:v>-4.6506993256750206</c:v>
                </c:pt>
                <c:pt idx="1160">
                  <c:v>-4.355503684925992</c:v>
                </c:pt>
                <c:pt idx="1161">
                  <c:v>-4.416839046859991</c:v>
                </c:pt>
                <c:pt idx="1162">
                  <c:v>-4.6363366235499939</c:v>
                </c:pt>
                <c:pt idx="1163">
                  <c:v>-4.4385497543030112</c:v>
                </c:pt>
                <c:pt idx="1164">
                  <c:v>-4.4680735034430086</c:v>
                </c:pt>
                <c:pt idx="1165">
                  <c:v>-4.4680735034430086</c:v>
                </c:pt>
                <c:pt idx="1166">
                  <c:v>-4.4572532519289894</c:v>
                </c:pt>
                <c:pt idx="1167">
                  <c:v>-4.42325750432002</c:v>
                </c:pt>
                <c:pt idx="1168">
                  <c:v>-4.3154364328659938</c:v>
                </c:pt>
                <c:pt idx="1169">
                  <c:v>-4.3415697013840031</c:v>
                </c:pt>
                <c:pt idx="1170">
                  <c:v>-4.4004316644700054</c:v>
                </c:pt>
                <c:pt idx="1171">
                  <c:v>-4.6904922434160028</c:v>
                </c:pt>
                <c:pt idx="1172">
                  <c:v>-4.9014577259920031</c:v>
                </c:pt>
                <c:pt idx="1173">
                  <c:v>-5.2391274304349906</c:v>
                </c:pt>
                <c:pt idx="1174">
                  <c:v>-5.2897178500990094</c:v>
                </c:pt>
                <c:pt idx="1175">
                  <c:v>-5.2865764595299822</c:v>
                </c:pt>
                <c:pt idx="1176">
                  <c:v>-5.3252903662600204</c:v>
                </c:pt>
                <c:pt idx="1177">
                  <c:v>-5.1612783107810003</c:v>
                </c:pt>
                <c:pt idx="1178">
                  <c:v>-5.2443067430000099</c:v>
                </c:pt>
                <c:pt idx="1179">
                  <c:v>-5.1409339086580133</c:v>
                </c:pt>
                <c:pt idx="1180">
                  <c:v>-4.9501939229510015</c:v>
                </c:pt>
                <c:pt idx="1181">
                  <c:v>-5.2015353343310267</c:v>
                </c:pt>
                <c:pt idx="1182">
                  <c:v>-5.2070255486920018</c:v>
                </c:pt>
                <c:pt idx="1183">
                  <c:v>-5.4661062693299982</c:v>
                </c:pt>
                <c:pt idx="1184">
                  <c:v>-5.4251935605609845</c:v>
                </c:pt>
                <c:pt idx="1185">
                  <c:v>-5.326405995447999</c:v>
                </c:pt>
                <c:pt idx="1186">
                  <c:v>-5.7678017463250058</c:v>
                </c:pt>
                <c:pt idx="1187">
                  <c:v>-6.2480608735839951</c:v>
                </c:pt>
                <c:pt idx="1188">
                  <c:v>-6.2220493714989971</c:v>
                </c:pt>
                <c:pt idx="1189">
                  <c:v>-5.936919865919009</c:v>
                </c:pt>
                <c:pt idx="1190">
                  <c:v>-5.361174475276016</c:v>
                </c:pt>
                <c:pt idx="1191">
                  <c:v>-5.6259515712389998</c:v>
                </c:pt>
                <c:pt idx="1192">
                  <c:v>-6.027708171863992</c:v>
                </c:pt>
                <c:pt idx="1193">
                  <c:v>-5.8284365250129895</c:v>
                </c:pt>
                <c:pt idx="1194">
                  <c:v>-5.8491237843610122</c:v>
                </c:pt>
                <c:pt idx="1195">
                  <c:v>-5.6473014808159974</c:v>
                </c:pt>
                <c:pt idx="1196">
                  <c:v>-5.3002837578030153</c:v>
                </c:pt>
                <c:pt idx="1197">
                  <c:v>-5.1673623542299936</c:v>
                </c:pt>
                <c:pt idx="1198">
                  <c:v>-5.2225885001379879</c:v>
                </c:pt>
                <c:pt idx="1199">
                  <c:v>-5.3129112785169923</c:v>
                </c:pt>
                <c:pt idx="1200">
                  <c:v>-5.5044471284959968</c:v>
                </c:pt>
                <c:pt idx="1201">
                  <c:v>-5.913737279844014</c:v>
                </c:pt>
                <c:pt idx="1202">
                  <c:v>-6.0389910857279858</c:v>
                </c:pt>
                <c:pt idx="1203">
                  <c:v>-5.7567958206859942</c:v>
                </c:pt>
                <c:pt idx="1204">
                  <c:v>-5.3861788598619853</c:v>
                </c:pt>
                <c:pt idx="1205">
                  <c:v>-5.4377303188300061</c:v>
                </c:pt>
                <c:pt idx="1206">
                  <c:v>-5.5781352081399973</c:v>
                </c:pt>
                <c:pt idx="1207">
                  <c:v>-5.3230027896459831</c:v>
                </c:pt>
                <c:pt idx="1208">
                  <c:v>-5.1720695388380022</c:v>
                </c:pt>
                <c:pt idx="1209">
                  <c:v>-4.4737931182760065</c:v>
                </c:pt>
                <c:pt idx="1210">
                  <c:v>-4.8497381358340022</c:v>
                </c:pt>
                <c:pt idx="1211">
                  <c:v>-4.8201194759570001</c:v>
                </c:pt>
                <c:pt idx="1212">
                  <c:v>-5.5141820556779919</c:v>
                </c:pt>
                <c:pt idx="1213">
                  <c:v>-5.0434582158339936</c:v>
                </c:pt>
                <c:pt idx="1214">
                  <c:v>-5.2931858113049941</c:v>
                </c:pt>
                <c:pt idx="1215">
                  <c:v>-5.1559562412710136</c:v>
                </c:pt>
                <c:pt idx="1216">
                  <c:v>-5.0793186644350214</c:v>
                </c:pt>
                <c:pt idx="1217">
                  <c:v>-5.0546140137230111</c:v>
                </c:pt>
                <c:pt idx="1218">
                  <c:v>-4.9291774649420006</c:v>
                </c:pt>
                <c:pt idx="1219">
                  <c:v>-5.0841059767660113</c:v>
                </c:pt>
                <c:pt idx="1220">
                  <c:v>-5.1283646702679846</c:v>
                </c:pt>
                <c:pt idx="1221">
                  <c:v>-4.8445046964189942</c:v>
                </c:pt>
                <c:pt idx="1222">
                  <c:v>-5.0893253469310196</c:v>
                </c:pt>
                <c:pt idx="1223">
                  <c:v>-5.5611965002340185</c:v>
                </c:pt>
                <c:pt idx="1224">
                  <c:v>-5.3843393627759895</c:v>
                </c:pt>
                <c:pt idx="1225">
                  <c:v>-5.2734563135570056</c:v>
                </c:pt>
                <c:pt idx="1226">
                  <c:v>-4.5007075450430136</c:v>
                </c:pt>
                <c:pt idx="1227">
                  <c:v>-4.2692615808789753</c:v>
                </c:pt>
                <c:pt idx="1228">
                  <c:v>-4.585287898659999</c:v>
                </c:pt>
                <c:pt idx="1229">
                  <c:v>-4.5497029132130251</c:v>
                </c:pt>
                <c:pt idx="1230">
                  <c:v>-4.6696510913089924</c:v>
                </c:pt>
                <c:pt idx="1231">
                  <c:v>-5.1601496238849904</c:v>
                </c:pt>
                <c:pt idx="1232">
                  <c:v>-5.5022013702829895</c:v>
                </c:pt>
                <c:pt idx="1233">
                  <c:v>-5.7753902673999846</c:v>
                </c:pt>
                <c:pt idx="1234">
                  <c:v>-5.6847358309680089</c:v>
                </c:pt>
                <c:pt idx="1235">
                  <c:v>-5.2875033743229949</c:v>
                </c:pt>
                <c:pt idx="1236">
                  <c:v>-5.0013325301749774</c:v>
                </c:pt>
                <c:pt idx="1237">
                  <c:v>-4.8730119627859949</c:v>
                </c:pt>
                <c:pt idx="1238">
                  <c:v>-5.219554717023982</c:v>
                </c:pt>
                <c:pt idx="1239">
                  <c:v>-4.6122780669810197</c:v>
                </c:pt>
                <c:pt idx="1240">
                  <c:v>-4.5585106887990037</c:v>
                </c:pt>
                <c:pt idx="1241">
                  <c:v>-4.2998454397979913</c:v>
                </c:pt>
                <c:pt idx="1242">
                  <c:v>-3.7552323571329964</c:v>
                </c:pt>
                <c:pt idx="1243">
                  <c:v>-3.5162059937950119</c:v>
                </c:pt>
                <c:pt idx="1244">
                  <c:v>-3.5162059937950119</c:v>
                </c:pt>
                <c:pt idx="1245">
                  <c:v>-3.5162059937950119</c:v>
                </c:pt>
                <c:pt idx="1246">
                  <c:v>-3.1348101835579882</c:v>
                </c:pt>
                <c:pt idx="1247">
                  <c:v>-3.0463878343189776</c:v>
                </c:pt>
                <c:pt idx="1248">
                  <c:v>-3.640082416380011</c:v>
                </c:pt>
                <c:pt idx="1249">
                  <c:v>-3.3593721420969871</c:v>
                </c:pt>
                <c:pt idx="1250">
                  <c:v>-4.0094766216749917</c:v>
                </c:pt>
                <c:pt idx="1251">
                  <c:v>-4.5274801785849945</c:v>
                </c:pt>
                <c:pt idx="1252">
                  <c:v>-4.7284303667910024</c:v>
                </c:pt>
                <c:pt idx="1253">
                  <c:v>-4.7200450453670157</c:v>
                </c:pt>
                <c:pt idx="1254">
                  <c:v>-4.53533329673499</c:v>
                </c:pt>
                <c:pt idx="1255">
                  <c:v>-4.53533329673499</c:v>
                </c:pt>
                <c:pt idx="1256">
                  <c:v>-5.275537260922988</c:v>
                </c:pt>
                <c:pt idx="1257">
                  <c:v>-5.5417931192039873</c:v>
                </c:pt>
                <c:pt idx="1258">
                  <c:v>-5.2614912359319987</c:v>
                </c:pt>
                <c:pt idx="1259">
                  <c:v>-5.5445151253860274</c:v>
                </c:pt>
                <c:pt idx="1260">
                  <c:v>-5.6538979116010069</c:v>
                </c:pt>
                <c:pt idx="1261">
                  <c:v>-5.8335689466489953</c:v>
                </c:pt>
                <c:pt idx="1262">
                  <c:v>-6.2850115701999982</c:v>
                </c:pt>
                <c:pt idx="1263">
                  <c:v>-6.0615452489940083</c:v>
                </c:pt>
                <c:pt idx="1264">
                  <c:v>-5.9527356518440229</c:v>
                </c:pt>
                <c:pt idx="1265">
                  <c:v>-5.9228787218590071</c:v>
                </c:pt>
                <c:pt idx="1266">
                  <c:v>-6.1517125935809815</c:v>
                </c:pt>
                <c:pt idx="1267">
                  <c:v>-4.9558925668270035</c:v>
                </c:pt>
                <c:pt idx="1268">
                  <c:v>-4.6579040208119977</c:v>
                </c:pt>
                <c:pt idx="1269">
                  <c:v>-5.2524178215859934</c:v>
                </c:pt>
                <c:pt idx="1270">
                  <c:v>-5.2871779427549939</c:v>
                </c:pt>
                <c:pt idx="1271">
                  <c:v>-5.2583902343019986</c:v>
                </c:pt>
                <c:pt idx="1272">
                  <c:v>-5.0991238368009988</c:v>
                </c:pt>
                <c:pt idx="1273">
                  <c:v>-5.0991238368009988</c:v>
                </c:pt>
                <c:pt idx="1274">
                  <c:v>-4.3097814602780034</c:v>
                </c:pt>
                <c:pt idx="1275">
                  <c:v>-4.3345736943510076</c:v>
                </c:pt>
                <c:pt idx="1276">
                  <c:v>-3.9263302596970107</c:v>
                </c:pt>
                <c:pt idx="1277">
                  <c:v>-3.4451099072020099</c:v>
                </c:pt>
                <c:pt idx="1278">
                  <c:v>-3.5265179690930211</c:v>
                </c:pt>
                <c:pt idx="1279">
                  <c:v>-4.0867471212769999</c:v>
                </c:pt>
                <c:pt idx="1280">
                  <c:v>-4.0867471212769999</c:v>
                </c:pt>
                <c:pt idx="1281">
                  <c:v>-4.1120208436669827</c:v>
                </c:pt>
                <c:pt idx="1282">
                  <c:v>-4.1682456404359982</c:v>
                </c:pt>
                <c:pt idx="1283">
                  <c:v>-4.868684721688993</c:v>
                </c:pt>
                <c:pt idx="1284">
                  <c:v>-4.7468301083050051</c:v>
                </c:pt>
                <c:pt idx="1285">
                  <c:v>-4.3760946379069878</c:v>
                </c:pt>
                <c:pt idx="1286">
                  <c:v>-4.6569382015229905</c:v>
                </c:pt>
                <c:pt idx="1287">
                  <c:v>-4.1377556574429946</c:v>
                </c:pt>
                <c:pt idx="1288">
                  <c:v>-3.2686990853580085</c:v>
                </c:pt>
                <c:pt idx="1289">
                  <c:v>-3.3730892639059959</c:v>
                </c:pt>
                <c:pt idx="1290">
                  <c:v>-3.7048880019380022</c:v>
                </c:pt>
                <c:pt idx="1291">
                  <c:v>-3.318824777704009</c:v>
                </c:pt>
                <c:pt idx="1292">
                  <c:v>-3.2676606526420073</c:v>
                </c:pt>
                <c:pt idx="1293">
                  <c:v>-3.7992719681809888</c:v>
                </c:pt>
                <c:pt idx="1294">
                  <c:v>-3.7992719681809888</c:v>
                </c:pt>
                <c:pt idx="1295">
                  <c:v>-4.1648644229140075</c:v>
                </c:pt>
                <c:pt idx="1296">
                  <c:v>-4.5996875481399968</c:v>
                </c:pt>
                <c:pt idx="1297">
                  <c:v>-5.4234587865690003</c:v>
                </c:pt>
                <c:pt idx="1298">
                  <c:v>-5.7899600656299981</c:v>
                </c:pt>
                <c:pt idx="1299">
                  <c:v>-5.633558815300006</c:v>
                </c:pt>
                <c:pt idx="1300">
                  <c:v>-6.1799570387019855</c:v>
                </c:pt>
                <c:pt idx="1301">
                  <c:v>-6.3083218431700061</c:v>
                </c:pt>
                <c:pt idx="1302">
                  <c:v>-6.3807954678819954</c:v>
                </c:pt>
                <c:pt idx="1303">
                  <c:v>-6.0534750147160139</c:v>
                </c:pt>
                <c:pt idx="1304">
                  <c:v>-6.2146502872940061</c:v>
                </c:pt>
                <c:pt idx="1305">
                  <c:v>-6.6121302132379753</c:v>
                </c:pt>
                <c:pt idx="1306">
                  <c:v>-6.7398695722509956</c:v>
                </c:pt>
                <c:pt idx="1307">
                  <c:v>-6.9912753601799977</c:v>
                </c:pt>
                <c:pt idx="1308">
                  <c:v>-7.2993716447490158</c:v>
                </c:pt>
                <c:pt idx="1309">
                  <c:v>-7.3513507919919903</c:v>
                </c:pt>
                <c:pt idx="1310">
                  <c:v>-7.2989821245029987</c:v>
                </c:pt>
                <c:pt idx="1311">
                  <c:v>-7.2574515809889988</c:v>
                </c:pt>
                <c:pt idx="1312">
                  <c:v>-7.5427207702460066</c:v>
                </c:pt>
                <c:pt idx="1313">
                  <c:v>-7.4400924160270279</c:v>
                </c:pt>
                <c:pt idx="1314">
                  <c:v>-7.2541430331179981</c:v>
                </c:pt>
                <c:pt idx="1315">
                  <c:v>-7.5882816460820095</c:v>
                </c:pt>
                <c:pt idx="1316">
                  <c:v>-8.1341737408959887</c:v>
                </c:pt>
                <c:pt idx="1317">
                  <c:v>-8.3113925638839987</c:v>
                </c:pt>
                <c:pt idx="1318">
                  <c:v>-7.8268302821189764</c:v>
                </c:pt>
                <c:pt idx="1319">
                  <c:v>-7.6661079162799979</c:v>
                </c:pt>
                <c:pt idx="1320">
                  <c:v>-7.4051738707979951</c:v>
                </c:pt>
                <c:pt idx="1321">
                  <c:v>-7.4906000698209994</c:v>
                </c:pt>
                <c:pt idx="1322">
                  <c:v>-7.6255904363329989</c:v>
                </c:pt>
                <c:pt idx="1323">
                  <c:v>-7.2429983239469777</c:v>
                </c:pt>
                <c:pt idx="1324">
                  <c:v>-7.4972009312699868</c:v>
                </c:pt>
                <c:pt idx="1325">
                  <c:v>-7.6157616105039949</c:v>
                </c:pt>
                <c:pt idx="1326">
                  <c:v>-7.7872899195089929</c:v>
                </c:pt>
                <c:pt idx="1327">
                  <c:v>-7.2763660384549951</c:v>
                </c:pt>
                <c:pt idx="1328">
                  <c:v>-6.3575391538360009</c:v>
                </c:pt>
                <c:pt idx="1329">
                  <c:v>-6.07611275342299</c:v>
                </c:pt>
                <c:pt idx="1330">
                  <c:v>-6.6433572649800112</c:v>
                </c:pt>
                <c:pt idx="1331">
                  <c:v>-6.6433572649800112</c:v>
                </c:pt>
                <c:pt idx="1332">
                  <c:v>-6.5834717593049845</c:v>
                </c:pt>
                <c:pt idx="1333">
                  <c:v>-6.1397971532350084</c:v>
                </c:pt>
                <c:pt idx="1334">
                  <c:v>-6.1675485865239921</c:v>
                </c:pt>
                <c:pt idx="1335">
                  <c:v>-5.7711201688379958</c:v>
                </c:pt>
                <c:pt idx="1336">
                  <c:v>-6.1395141169240048</c:v>
                </c:pt>
                <c:pt idx="1337">
                  <c:v>-6.2774433860940064</c:v>
                </c:pt>
                <c:pt idx="1338">
                  <c:v>-6.6047582653080212</c:v>
                </c:pt>
                <c:pt idx="1339">
                  <c:v>-6.6198895992569931</c:v>
                </c:pt>
                <c:pt idx="1340">
                  <c:v>-6.6019355266819844</c:v>
                </c:pt>
                <c:pt idx="1341">
                  <c:v>-6.3342703274830114</c:v>
                </c:pt>
                <c:pt idx="1342">
                  <c:v>-6.6172828586589958</c:v>
                </c:pt>
                <c:pt idx="1343">
                  <c:v>-6.9918780383279966</c:v>
                </c:pt>
                <c:pt idx="1344">
                  <c:v>-7.3981873785139953</c:v>
                </c:pt>
                <c:pt idx="1345">
                  <c:v>-7.4086382461919982</c:v>
                </c:pt>
                <c:pt idx="1346">
                  <c:v>-7.1467478429640039</c:v>
                </c:pt>
                <c:pt idx="1347">
                  <c:v>-7.484770054077984</c:v>
                </c:pt>
                <c:pt idx="1348">
                  <c:v>-7.2446274963349993</c:v>
                </c:pt>
                <c:pt idx="1349">
                  <c:v>-6.6505451790200141</c:v>
                </c:pt>
                <c:pt idx="1350">
                  <c:v>-6.9506565601709838</c:v>
                </c:pt>
                <c:pt idx="1351">
                  <c:v>-7.6746608423489988</c:v>
                </c:pt>
                <c:pt idx="1352">
                  <c:v>-8.1266419263959904</c:v>
                </c:pt>
                <c:pt idx="1353">
                  <c:v>-8.0577202397140013</c:v>
                </c:pt>
                <c:pt idx="1354">
                  <c:v>-8.0626890929609942</c:v>
                </c:pt>
                <c:pt idx="1355">
                  <c:v>-8.18530542693901</c:v>
                </c:pt>
                <c:pt idx="1356">
                  <c:v>-8.5126794791819975</c:v>
                </c:pt>
                <c:pt idx="1357">
                  <c:v>-8.8986026556169975</c:v>
                </c:pt>
                <c:pt idx="1358">
                  <c:v>-9.1668958309739992</c:v>
                </c:pt>
                <c:pt idx="1359">
                  <c:v>-9.3258424052609996</c:v>
                </c:pt>
                <c:pt idx="1360">
                  <c:v>-8.7659549724450017</c:v>
                </c:pt>
                <c:pt idx="1361">
                  <c:v>-8.6230800707640185</c:v>
                </c:pt>
                <c:pt idx="1362">
                  <c:v>-9.4956280204300185</c:v>
                </c:pt>
                <c:pt idx="1363">
                  <c:v>-9.3098974319730132</c:v>
                </c:pt>
                <c:pt idx="1364">
                  <c:v>-9.4387632071690177</c:v>
                </c:pt>
                <c:pt idx="1365">
                  <c:v>-9.6706570333450088</c:v>
                </c:pt>
                <c:pt idx="1366">
                  <c:v>-9.7726738488919977</c:v>
                </c:pt>
                <c:pt idx="1367">
                  <c:v>-9.5349028760290082</c:v>
                </c:pt>
                <c:pt idx="1368">
                  <c:v>-9.8991442971710057</c:v>
                </c:pt>
                <c:pt idx="1369">
                  <c:v>-9.9780490158989892</c:v>
                </c:pt>
                <c:pt idx="1370">
                  <c:v>-10.049065851444993</c:v>
                </c:pt>
                <c:pt idx="1371">
                  <c:v>-9.7909749688510033</c:v>
                </c:pt>
                <c:pt idx="1372">
                  <c:v>-9.6485666764369853</c:v>
                </c:pt>
                <c:pt idx="1373">
                  <c:v>-9.3777967289840092</c:v>
                </c:pt>
                <c:pt idx="1374">
                  <c:v>-9.8111499651920155</c:v>
                </c:pt>
                <c:pt idx="1375">
                  <c:v>-10.025297684511003</c:v>
                </c:pt>
                <c:pt idx="1376">
                  <c:v>-9.8770094046430188</c:v>
                </c:pt>
                <c:pt idx="1377">
                  <c:v>-9.9409130277180111</c:v>
                </c:pt>
                <c:pt idx="1378">
                  <c:v>-9.6804944064430174</c:v>
                </c:pt>
                <c:pt idx="1379">
                  <c:v>-9.7978891712720042</c:v>
                </c:pt>
                <c:pt idx="1380">
                  <c:v>-9.5079790836659868</c:v>
                </c:pt>
                <c:pt idx="1381">
                  <c:v>-9.6108746668959952</c:v>
                </c:pt>
                <c:pt idx="1382">
                  <c:v>-9.3212260004700056</c:v>
                </c:pt>
                <c:pt idx="1383">
                  <c:v>-9.0193751746290047</c:v>
                </c:pt>
                <c:pt idx="1384">
                  <c:v>-9.1820249674299816</c:v>
                </c:pt>
                <c:pt idx="1385">
                  <c:v>-9.8508441468970034</c:v>
                </c:pt>
                <c:pt idx="1386">
                  <c:v>-9.8102348333630118</c:v>
                </c:pt>
                <c:pt idx="1387">
                  <c:v>-9.8102348333630118</c:v>
                </c:pt>
                <c:pt idx="1388">
                  <c:v>-10.172899497455006</c:v>
                </c:pt>
                <c:pt idx="1389">
                  <c:v>-10.219457237156007</c:v>
                </c:pt>
                <c:pt idx="1390">
                  <c:v>-10.743234618076997</c:v>
                </c:pt>
                <c:pt idx="1391">
                  <c:v>-10.22866744005799</c:v>
                </c:pt>
                <c:pt idx="1392">
                  <c:v>-10.036519290182014</c:v>
                </c:pt>
                <c:pt idx="1393">
                  <c:v>-9.890648974824984</c:v>
                </c:pt>
                <c:pt idx="1394">
                  <c:v>-9.9401923497649989</c:v>
                </c:pt>
                <c:pt idx="1395">
                  <c:v>-9.6739627652639797</c:v>
                </c:pt>
                <c:pt idx="1396">
                  <c:v>-9.0386526266059946</c:v>
                </c:pt>
                <c:pt idx="1397">
                  <c:v>-9.1595489534119849</c:v>
                </c:pt>
                <c:pt idx="1398">
                  <c:v>-9.2438735602200097</c:v>
                </c:pt>
                <c:pt idx="1399">
                  <c:v>-9.6536467514559945</c:v>
                </c:pt>
                <c:pt idx="1400">
                  <c:v>-9.5809335678279979</c:v>
                </c:pt>
                <c:pt idx="1401">
                  <c:v>-10.139180893342001</c:v>
                </c:pt>
                <c:pt idx="1402">
                  <c:v>-10.657780320335974</c:v>
                </c:pt>
                <c:pt idx="1403">
                  <c:v>-10.700444380404974</c:v>
                </c:pt>
                <c:pt idx="1404">
                  <c:v>-10.921357811939004</c:v>
                </c:pt>
                <c:pt idx="1405">
                  <c:v>-10.473969770910998</c:v>
                </c:pt>
                <c:pt idx="1406">
                  <c:v>-10.275265384291998</c:v>
                </c:pt>
                <c:pt idx="1407">
                  <c:v>-9.7061573718790157</c:v>
                </c:pt>
                <c:pt idx="1408">
                  <c:v>-9.5462615852660235</c:v>
                </c:pt>
                <c:pt idx="1409">
                  <c:v>-9.6799975668130003</c:v>
                </c:pt>
                <c:pt idx="1410">
                  <c:v>-9.5914436008600035</c:v>
                </c:pt>
                <c:pt idx="1411">
                  <c:v>-9.7575861013559972</c:v>
                </c:pt>
                <c:pt idx="1412">
                  <c:v>-9.2262956506259854</c:v>
                </c:pt>
                <c:pt idx="1413">
                  <c:v>-9.5000394771160188</c:v>
                </c:pt>
                <c:pt idx="1414">
                  <c:v>-9.9444550623490215</c:v>
                </c:pt>
                <c:pt idx="1415">
                  <c:v>-10.376157120171001</c:v>
                </c:pt>
                <c:pt idx="1416">
                  <c:v>-10.995126123831</c:v>
                </c:pt>
                <c:pt idx="1417">
                  <c:v>-10.630701773371015</c:v>
                </c:pt>
                <c:pt idx="1418">
                  <c:v>-10.585495197714977</c:v>
                </c:pt>
                <c:pt idx="1419">
                  <c:v>-11.019848400193013</c:v>
                </c:pt>
                <c:pt idx="1420">
                  <c:v>-11.750841719188998</c:v>
                </c:pt>
                <c:pt idx="1421">
                  <c:v>-11.905550502581008</c:v>
                </c:pt>
                <c:pt idx="1422">
                  <c:v>-12.326214195719018</c:v>
                </c:pt>
                <c:pt idx="1423">
                  <c:v>-13.125437527647989</c:v>
                </c:pt>
                <c:pt idx="1424">
                  <c:v>-13.021532673715996</c:v>
                </c:pt>
                <c:pt idx="1425">
                  <c:v>-13.021532673715996</c:v>
                </c:pt>
                <c:pt idx="1426">
                  <c:v>-13.021532673715996</c:v>
                </c:pt>
                <c:pt idx="1427">
                  <c:v>-12.860728608713003</c:v>
                </c:pt>
                <c:pt idx="1428">
                  <c:v>-12.972415539905001</c:v>
                </c:pt>
                <c:pt idx="1429">
                  <c:v>-12.902773914249991</c:v>
                </c:pt>
                <c:pt idx="1430">
                  <c:v>-12.902773914249991</c:v>
                </c:pt>
                <c:pt idx="1431">
                  <c:v>-14.030329495315016</c:v>
                </c:pt>
                <c:pt idx="1432">
                  <c:v>-14.630332316063999</c:v>
                </c:pt>
                <c:pt idx="1433">
                  <c:v>-14.841451953352987</c:v>
                </c:pt>
                <c:pt idx="1434">
                  <c:v>-15.149400140395016</c:v>
                </c:pt>
                <c:pt idx="1435">
                  <c:v>-15.215854234885001</c:v>
                </c:pt>
                <c:pt idx="1436">
                  <c:v>-15.248750680895</c:v>
                </c:pt>
                <c:pt idx="1437">
                  <c:v>-15.808627317300989</c:v>
                </c:pt>
                <c:pt idx="1438">
                  <c:v>-16.471046205692005</c:v>
                </c:pt>
                <c:pt idx="1439">
                  <c:v>-17.250190836830996</c:v>
                </c:pt>
                <c:pt idx="1440">
                  <c:v>-17.500212420565987</c:v>
                </c:pt>
                <c:pt idx="1441">
                  <c:v>-17.188192478139001</c:v>
                </c:pt>
                <c:pt idx="1442">
                  <c:v>-17.164360948916993</c:v>
                </c:pt>
                <c:pt idx="1443">
                  <c:v>-17.176228020026002</c:v>
                </c:pt>
                <c:pt idx="1444">
                  <c:v>-17.052702297223988</c:v>
                </c:pt>
                <c:pt idx="1445">
                  <c:v>-17.726944999281017</c:v>
                </c:pt>
                <c:pt idx="1446">
                  <c:v>-18.355613063438994</c:v>
                </c:pt>
                <c:pt idx="1447">
                  <c:v>-18.266998797540026</c:v>
                </c:pt>
                <c:pt idx="1448">
                  <c:v>-17.514528062658997</c:v>
                </c:pt>
                <c:pt idx="1449">
                  <c:v>-17.376050018625989</c:v>
                </c:pt>
                <c:pt idx="1450">
                  <c:v>-17.051148266127996</c:v>
                </c:pt>
                <c:pt idx="1451">
                  <c:v>-16.357294697447969</c:v>
                </c:pt>
                <c:pt idx="1452">
                  <c:v>-16.464063334089985</c:v>
                </c:pt>
              </c:numCache>
            </c:numRef>
          </c:val>
          <c:extLst xmlns:c16r2="http://schemas.microsoft.com/office/drawing/2015/06/chart">
            <c:ext xmlns:c16="http://schemas.microsoft.com/office/drawing/2014/chart" uri="{C3380CC4-5D6E-409C-BE32-E72D297353CC}">
              <c16:uniqueId val="{00000000-7127-4EE7-81B7-88A877082DDF}"/>
            </c:ext>
          </c:extLst>
        </c:ser>
        <c:dLbls>
          <c:showLegendKey val="0"/>
          <c:showVal val="0"/>
          <c:showCatName val="0"/>
          <c:showSerName val="0"/>
          <c:showPercent val="0"/>
          <c:showBubbleSize val="0"/>
        </c:dLbls>
        <c:axId val="460410240"/>
        <c:axId val="460408704"/>
      </c:areaChart>
      <c:lineChart>
        <c:grouping val="standard"/>
        <c:varyColors val="0"/>
        <c:ser>
          <c:idx val="0"/>
          <c:order val="0"/>
          <c:tx>
            <c:v>Gross performance</c:v>
          </c:tx>
          <c:spPr>
            <a:ln w="28575">
              <a:solidFill>
                <a:srgbClr val="001C4B"/>
              </a:solidFill>
              <a:prstDash val="solid"/>
            </a:ln>
          </c:spPr>
          <c:marker>
            <c:symbol val="none"/>
          </c:marker>
          <c:cat>
            <c:numRef>
              <c:f>'Amundi Fds Global MV BRUT USD'!$C$5:$C$1457</c:f>
              <c:numCache>
                <c:formatCode>m/d/yyyy</c:formatCode>
                <c:ptCount val="1453"/>
                <c:pt idx="0">
                  <c:v>41099</c:v>
                </c:pt>
                <c:pt idx="1">
                  <c:v>41100</c:v>
                </c:pt>
                <c:pt idx="2">
                  <c:v>41101</c:v>
                </c:pt>
                <c:pt idx="3">
                  <c:v>41102</c:v>
                </c:pt>
                <c:pt idx="4">
                  <c:v>41103</c:v>
                </c:pt>
                <c:pt idx="5">
                  <c:v>41106</c:v>
                </c:pt>
                <c:pt idx="6">
                  <c:v>41107</c:v>
                </c:pt>
                <c:pt idx="7">
                  <c:v>41108</c:v>
                </c:pt>
                <c:pt idx="8">
                  <c:v>41109</c:v>
                </c:pt>
                <c:pt idx="9">
                  <c:v>41110</c:v>
                </c:pt>
                <c:pt idx="10">
                  <c:v>41113</c:v>
                </c:pt>
                <c:pt idx="11">
                  <c:v>41114</c:v>
                </c:pt>
                <c:pt idx="12">
                  <c:v>41115</c:v>
                </c:pt>
                <c:pt idx="13">
                  <c:v>41116</c:v>
                </c:pt>
                <c:pt idx="14">
                  <c:v>41117</c:v>
                </c:pt>
                <c:pt idx="15">
                  <c:v>41120</c:v>
                </c:pt>
                <c:pt idx="16">
                  <c:v>41121</c:v>
                </c:pt>
                <c:pt idx="17">
                  <c:v>41122</c:v>
                </c:pt>
                <c:pt idx="18">
                  <c:v>41123</c:v>
                </c:pt>
                <c:pt idx="19">
                  <c:v>41124</c:v>
                </c:pt>
                <c:pt idx="20">
                  <c:v>41127</c:v>
                </c:pt>
                <c:pt idx="21">
                  <c:v>41128</c:v>
                </c:pt>
                <c:pt idx="22">
                  <c:v>41129</c:v>
                </c:pt>
                <c:pt idx="23">
                  <c:v>41130</c:v>
                </c:pt>
                <c:pt idx="24">
                  <c:v>41131</c:v>
                </c:pt>
                <c:pt idx="25">
                  <c:v>41134</c:v>
                </c:pt>
                <c:pt idx="26">
                  <c:v>41135</c:v>
                </c:pt>
                <c:pt idx="27">
                  <c:v>41136</c:v>
                </c:pt>
                <c:pt idx="28">
                  <c:v>41137</c:v>
                </c:pt>
                <c:pt idx="29">
                  <c:v>41138</c:v>
                </c:pt>
                <c:pt idx="30">
                  <c:v>41141</c:v>
                </c:pt>
                <c:pt idx="31">
                  <c:v>41142</c:v>
                </c:pt>
                <c:pt idx="32">
                  <c:v>41143</c:v>
                </c:pt>
                <c:pt idx="33">
                  <c:v>41144</c:v>
                </c:pt>
                <c:pt idx="34">
                  <c:v>41145</c:v>
                </c:pt>
                <c:pt idx="35">
                  <c:v>41148</c:v>
                </c:pt>
                <c:pt idx="36">
                  <c:v>41149</c:v>
                </c:pt>
                <c:pt idx="37">
                  <c:v>41150</c:v>
                </c:pt>
                <c:pt idx="38">
                  <c:v>41151</c:v>
                </c:pt>
                <c:pt idx="39">
                  <c:v>41152</c:v>
                </c:pt>
                <c:pt idx="40">
                  <c:v>41155</c:v>
                </c:pt>
                <c:pt idx="41">
                  <c:v>41156</c:v>
                </c:pt>
                <c:pt idx="42">
                  <c:v>41157</c:v>
                </c:pt>
                <c:pt idx="43">
                  <c:v>41158</c:v>
                </c:pt>
                <c:pt idx="44">
                  <c:v>41159</c:v>
                </c:pt>
                <c:pt idx="45">
                  <c:v>41162</c:v>
                </c:pt>
                <c:pt idx="46">
                  <c:v>41163</c:v>
                </c:pt>
                <c:pt idx="47">
                  <c:v>41164</c:v>
                </c:pt>
                <c:pt idx="48">
                  <c:v>41165</c:v>
                </c:pt>
                <c:pt idx="49">
                  <c:v>41166</c:v>
                </c:pt>
                <c:pt idx="50">
                  <c:v>41169</c:v>
                </c:pt>
                <c:pt idx="51">
                  <c:v>41170</c:v>
                </c:pt>
                <c:pt idx="52">
                  <c:v>41171</c:v>
                </c:pt>
                <c:pt idx="53">
                  <c:v>41172</c:v>
                </c:pt>
                <c:pt idx="54">
                  <c:v>41173</c:v>
                </c:pt>
                <c:pt idx="55">
                  <c:v>41176</c:v>
                </c:pt>
                <c:pt idx="56">
                  <c:v>41177</c:v>
                </c:pt>
                <c:pt idx="57">
                  <c:v>41178</c:v>
                </c:pt>
                <c:pt idx="58">
                  <c:v>41179</c:v>
                </c:pt>
                <c:pt idx="59">
                  <c:v>41180</c:v>
                </c:pt>
                <c:pt idx="60">
                  <c:v>41183</c:v>
                </c:pt>
                <c:pt idx="61">
                  <c:v>41184</c:v>
                </c:pt>
                <c:pt idx="62">
                  <c:v>41185</c:v>
                </c:pt>
                <c:pt idx="63">
                  <c:v>41186</c:v>
                </c:pt>
                <c:pt idx="64">
                  <c:v>41187</c:v>
                </c:pt>
                <c:pt idx="65">
                  <c:v>41190</c:v>
                </c:pt>
                <c:pt idx="66">
                  <c:v>41191</c:v>
                </c:pt>
                <c:pt idx="67">
                  <c:v>41192</c:v>
                </c:pt>
                <c:pt idx="68">
                  <c:v>41193</c:v>
                </c:pt>
                <c:pt idx="69">
                  <c:v>41194</c:v>
                </c:pt>
                <c:pt idx="70">
                  <c:v>41197</c:v>
                </c:pt>
                <c:pt idx="71">
                  <c:v>41198</c:v>
                </c:pt>
                <c:pt idx="72">
                  <c:v>41199</c:v>
                </c:pt>
                <c:pt idx="73">
                  <c:v>41200</c:v>
                </c:pt>
                <c:pt idx="74">
                  <c:v>41201</c:v>
                </c:pt>
                <c:pt idx="75">
                  <c:v>41204</c:v>
                </c:pt>
                <c:pt idx="76">
                  <c:v>41205</c:v>
                </c:pt>
                <c:pt idx="77">
                  <c:v>41206</c:v>
                </c:pt>
                <c:pt idx="78">
                  <c:v>41207</c:v>
                </c:pt>
                <c:pt idx="79">
                  <c:v>41208</c:v>
                </c:pt>
                <c:pt idx="80">
                  <c:v>41211</c:v>
                </c:pt>
                <c:pt idx="81">
                  <c:v>41212</c:v>
                </c:pt>
                <c:pt idx="82">
                  <c:v>41213</c:v>
                </c:pt>
                <c:pt idx="83">
                  <c:v>41214</c:v>
                </c:pt>
                <c:pt idx="84">
                  <c:v>41215</c:v>
                </c:pt>
                <c:pt idx="85">
                  <c:v>41218</c:v>
                </c:pt>
                <c:pt idx="86">
                  <c:v>41219</c:v>
                </c:pt>
                <c:pt idx="87">
                  <c:v>41220</c:v>
                </c:pt>
                <c:pt idx="88">
                  <c:v>41221</c:v>
                </c:pt>
                <c:pt idx="89">
                  <c:v>41222</c:v>
                </c:pt>
                <c:pt idx="90">
                  <c:v>41225</c:v>
                </c:pt>
                <c:pt idx="91">
                  <c:v>41226</c:v>
                </c:pt>
                <c:pt idx="92">
                  <c:v>41227</c:v>
                </c:pt>
                <c:pt idx="93">
                  <c:v>41228</c:v>
                </c:pt>
                <c:pt idx="94">
                  <c:v>41229</c:v>
                </c:pt>
                <c:pt idx="95">
                  <c:v>41232</c:v>
                </c:pt>
                <c:pt idx="96">
                  <c:v>41233</c:v>
                </c:pt>
                <c:pt idx="97">
                  <c:v>41234</c:v>
                </c:pt>
                <c:pt idx="98">
                  <c:v>41235</c:v>
                </c:pt>
                <c:pt idx="99">
                  <c:v>41236</c:v>
                </c:pt>
                <c:pt idx="100">
                  <c:v>41239</c:v>
                </c:pt>
                <c:pt idx="101">
                  <c:v>41240</c:v>
                </c:pt>
                <c:pt idx="102">
                  <c:v>41241</c:v>
                </c:pt>
                <c:pt idx="103">
                  <c:v>41242</c:v>
                </c:pt>
                <c:pt idx="104">
                  <c:v>41243</c:v>
                </c:pt>
                <c:pt idx="105">
                  <c:v>41246</c:v>
                </c:pt>
                <c:pt idx="106">
                  <c:v>41247</c:v>
                </c:pt>
                <c:pt idx="107">
                  <c:v>41248</c:v>
                </c:pt>
                <c:pt idx="108">
                  <c:v>41249</c:v>
                </c:pt>
                <c:pt idx="109">
                  <c:v>41250</c:v>
                </c:pt>
                <c:pt idx="110">
                  <c:v>41253</c:v>
                </c:pt>
                <c:pt idx="111">
                  <c:v>41254</c:v>
                </c:pt>
                <c:pt idx="112">
                  <c:v>41255</c:v>
                </c:pt>
                <c:pt idx="113">
                  <c:v>41256</c:v>
                </c:pt>
                <c:pt idx="114">
                  <c:v>41257</c:v>
                </c:pt>
                <c:pt idx="115">
                  <c:v>41260</c:v>
                </c:pt>
                <c:pt idx="116">
                  <c:v>41261</c:v>
                </c:pt>
                <c:pt idx="117">
                  <c:v>41262</c:v>
                </c:pt>
                <c:pt idx="118">
                  <c:v>41263</c:v>
                </c:pt>
                <c:pt idx="119">
                  <c:v>41264</c:v>
                </c:pt>
                <c:pt idx="120">
                  <c:v>41267</c:v>
                </c:pt>
                <c:pt idx="121">
                  <c:v>41268</c:v>
                </c:pt>
                <c:pt idx="122">
                  <c:v>41269</c:v>
                </c:pt>
                <c:pt idx="123">
                  <c:v>41270</c:v>
                </c:pt>
                <c:pt idx="124">
                  <c:v>41271</c:v>
                </c:pt>
                <c:pt idx="125">
                  <c:v>41274</c:v>
                </c:pt>
                <c:pt idx="126">
                  <c:v>41275</c:v>
                </c:pt>
                <c:pt idx="127">
                  <c:v>41276</c:v>
                </c:pt>
                <c:pt idx="128">
                  <c:v>41277</c:v>
                </c:pt>
                <c:pt idx="129">
                  <c:v>41278</c:v>
                </c:pt>
                <c:pt idx="130">
                  <c:v>41281</c:v>
                </c:pt>
                <c:pt idx="131">
                  <c:v>41282</c:v>
                </c:pt>
                <c:pt idx="132">
                  <c:v>41283</c:v>
                </c:pt>
                <c:pt idx="133">
                  <c:v>41284</c:v>
                </c:pt>
                <c:pt idx="134">
                  <c:v>41285</c:v>
                </c:pt>
                <c:pt idx="135">
                  <c:v>41288</c:v>
                </c:pt>
                <c:pt idx="136">
                  <c:v>41289</c:v>
                </c:pt>
                <c:pt idx="137">
                  <c:v>41290</c:v>
                </c:pt>
                <c:pt idx="138">
                  <c:v>41291</c:v>
                </c:pt>
                <c:pt idx="139">
                  <c:v>41292</c:v>
                </c:pt>
                <c:pt idx="140">
                  <c:v>41295</c:v>
                </c:pt>
                <c:pt idx="141">
                  <c:v>41296</c:v>
                </c:pt>
                <c:pt idx="142">
                  <c:v>41297</c:v>
                </c:pt>
                <c:pt idx="143">
                  <c:v>41298</c:v>
                </c:pt>
                <c:pt idx="144">
                  <c:v>41299</c:v>
                </c:pt>
                <c:pt idx="145">
                  <c:v>41302</c:v>
                </c:pt>
                <c:pt idx="146">
                  <c:v>41303</c:v>
                </c:pt>
                <c:pt idx="147">
                  <c:v>41304</c:v>
                </c:pt>
                <c:pt idx="148">
                  <c:v>41305</c:v>
                </c:pt>
                <c:pt idx="149">
                  <c:v>41306</c:v>
                </c:pt>
                <c:pt idx="150">
                  <c:v>41309</c:v>
                </c:pt>
                <c:pt idx="151">
                  <c:v>41310</c:v>
                </c:pt>
                <c:pt idx="152">
                  <c:v>41311</c:v>
                </c:pt>
                <c:pt idx="153">
                  <c:v>41312</c:v>
                </c:pt>
                <c:pt idx="154">
                  <c:v>41313</c:v>
                </c:pt>
                <c:pt idx="155">
                  <c:v>41316</c:v>
                </c:pt>
                <c:pt idx="156">
                  <c:v>41317</c:v>
                </c:pt>
                <c:pt idx="157">
                  <c:v>41318</c:v>
                </c:pt>
                <c:pt idx="158">
                  <c:v>41319</c:v>
                </c:pt>
                <c:pt idx="159">
                  <c:v>41320</c:v>
                </c:pt>
                <c:pt idx="160">
                  <c:v>41323</c:v>
                </c:pt>
                <c:pt idx="161">
                  <c:v>41324</c:v>
                </c:pt>
                <c:pt idx="162">
                  <c:v>41325</c:v>
                </c:pt>
                <c:pt idx="163">
                  <c:v>41326</c:v>
                </c:pt>
                <c:pt idx="164">
                  <c:v>41327</c:v>
                </c:pt>
                <c:pt idx="165">
                  <c:v>41330</c:v>
                </c:pt>
                <c:pt idx="166">
                  <c:v>41331</c:v>
                </c:pt>
                <c:pt idx="167">
                  <c:v>41332</c:v>
                </c:pt>
                <c:pt idx="168">
                  <c:v>41333</c:v>
                </c:pt>
                <c:pt idx="169">
                  <c:v>41334</c:v>
                </c:pt>
                <c:pt idx="170">
                  <c:v>41337</c:v>
                </c:pt>
                <c:pt idx="171">
                  <c:v>41338</c:v>
                </c:pt>
                <c:pt idx="172">
                  <c:v>41339</c:v>
                </c:pt>
                <c:pt idx="173">
                  <c:v>41340</c:v>
                </c:pt>
                <c:pt idx="174">
                  <c:v>41341</c:v>
                </c:pt>
                <c:pt idx="175">
                  <c:v>41344</c:v>
                </c:pt>
                <c:pt idx="176">
                  <c:v>41345</c:v>
                </c:pt>
                <c:pt idx="177">
                  <c:v>41346</c:v>
                </c:pt>
                <c:pt idx="178">
                  <c:v>41347</c:v>
                </c:pt>
                <c:pt idx="179">
                  <c:v>41348</c:v>
                </c:pt>
                <c:pt idx="180">
                  <c:v>41351</c:v>
                </c:pt>
                <c:pt idx="181">
                  <c:v>41352</c:v>
                </c:pt>
                <c:pt idx="182">
                  <c:v>41353</c:v>
                </c:pt>
                <c:pt idx="183">
                  <c:v>41354</c:v>
                </c:pt>
                <c:pt idx="184">
                  <c:v>41355</c:v>
                </c:pt>
                <c:pt idx="185">
                  <c:v>41358</c:v>
                </c:pt>
                <c:pt idx="186">
                  <c:v>41359</c:v>
                </c:pt>
                <c:pt idx="187">
                  <c:v>41360</c:v>
                </c:pt>
                <c:pt idx="188">
                  <c:v>41361</c:v>
                </c:pt>
                <c:pt idx="189">
                  <c:v>41362</c:v>
                </c:pt>
                <c:pt idx="190">
                  <c:v>41365</c:v>
                </c:pt>
                <c:pt idx="191">
                  <c:v>41366</c:v>
                </c:pt>
                <c:pt idx="192">
                  <c:v>41367</c:v>
                </c:pt>
                <c:pt idx="193">
                  <c:v>41368</c:v>
                </c:pt>
                <c:pt idx="194">
                  <c:v>41369</c:v>
                </c:pt>
                <c:pt idx="195">
                  <c:v>41372</c:v>
                </c:pt>
                <c:pt idx="196">
                  <c:v>41373</c:v>
                </c:pt>
                <c:pt idx="197">
                  <c:v>41374</c:v>
                </c:pt>
                <c:pt idx="198">
                  <c:v>41375</c:v>
                </c:pt>
                <c:pt idx="199">
                  <c:v>41376</c:v>
                </c:pt>
                <c:pt idx="200">
                  <c:v>41379</c:v>
                </c:pt>
                <c:pt idx="201">
                  <c:v>41380</c:v>
                </c:pt>
                <c:pt idx="202">
                  <c:v>41381</c:v>
                </c:pt>
                <c:pt idx="203">
                  <c:v>41382</c:v>
                </c:pt>
                <c:pt idx="204">
                  <c:v>41383</c:v>
                </c:pt>
                <c:pt idx="205">
                  <c:v>41386</c:v>
                </c:pt>
                <c:pt idx="206">
                  <c:v>41387</c:v>
                </c:pt>
                <c:pt idx="207">
                  <c:v>41388</c:v>
                </c:pt>
                <c:pt idx="208">
                  <c:v>41389</c:v>
                </c:pt>
                <c:pt idx="209">
                  <c:v>41390</c:v>
                </c:pt>
                <c:pt idx="210">
                  <c:v>41393</c:v>
                </c:pt>
                <c:pt idx="211">
                  <c:v>41394</c:v>
                </c:pt>
                <c:pt idx="212">
                  <c:v>41395</c:v>
                </c:pt>
                <c:pt idx="213">
                  <c:v>41396</c:v>
                </c:pt>
                <c:pt idx="214">
                  <c:v>41397</c:v>
                </c:pt>
                <c:pt idx="215">
                  <c:v>41400</c:v>
                </c:pt>
                <c:pt idx="216">
                  <c:v>41401</c:v>
                </c:pt>
                <c:pt idx="217">
                  <c:v>41402</c:v>
                </c:pt>
                <c:pt idx="218">
                  <c:v>41403</c:v>
                </c:pt>
                <c:pt idx="219">
                  <c:v>41404</c:v>
                </c:pt>
                <c:pt idx="220">
                  <c:v>41407</c:v>
                </c:pt>
                <c:pt idx="221">
                  <c:v>41408</c:v>
                </c:pt>
                <c:pt idx="222">
                  <c:v>41409</c:v>
                </c:pt>
                <c:pt idx="223">
                  <c:v>41410</c:v>
                </c:pt>
                <c:pt idx="224">
                  <c:v>41411</c:v>
                </c:pt>
                <c:pt idx="225">
                  <c:v>41414</c:v>
                </c:pt>
                <c:pt idx="226">
                  <c:v>41415</c:v>
                </c:pt>
                <c:pt idx="227">
                  <c:v>41416</c:v>
                </c:pt>
                <c:pt idx="228">
                  <c:v>41417</c:v>
                </c:pt>
                <c:pt idx="229">
                  <c:v>41418</c:v>
                </c:pt>
                <c:pt idx="230">
                  <c:v>41421</c:v>
                </c:pt>
                <c:pt idx="231">
                  <c:v>41422</c:v>
                </c:pt>
                <c:pt idx="232">
                  <c:v>41423</c:v>
                </c:pt>
                <c:pt idx="233">
                  <c:v>41424</c:v>
                </c:pt>
                <c:pt idx="234">
                  <c:v>41425</c:v>
                </c:pt>
                <c:pt idx="235">
                  <c:v>41428</c:v>
                </c:pt>
                <c:pt idx="236">
                  <c:v>41429</c:v>
                </c:pt>
                <c:pt idx="237">
                  <c:v>41430</c:v>
                </c:pt>
                <c:pt idx="238">
                  <c:v>41431</c:v>
                </c:pt>
                <c:pt idx="239">
                  <c:v>41432</c:v>
                </c:pt>
                <c:pt idx="240">
                  <c:v>41435</c:v>
                </c:pt>
                <c:pt idx="241">
                  <c:v>41436</c:v>
                </c:pt>
                <c:pt idx="242">
                  <c:v>41437</c:v>
                </c:pt>
                <c:pt idx="243">
                  <c:v>41438</c:v>
                </c:pt>
                <c:pt idx="244">
                  <c:v>41439</c:v>
                </c:pt>
                <c:pt idx="245">
                  <c:v>41442</c:v>
                </c:pt>
                <c:pt idx="246">
                  <c:v>41443</c:v>
                </c:pt>
                <c:pt idx="247">
                  <c:v>41444</c:v>
                </c:pt>
                <c:pt idx="248">
                  <c:v>41445</c:v>
                </c:pt>
                <c:pt idx="249">
                  <c:v>41446</c:v>
                </c:pt>
                <c:pt idx="250">
                  <c:v>41449</c:v>
                </c:pt>
                <c:pt idx="251">
                  <c:v>41450</c:v>
                </c:pt>
                <c:pt idx="252">
                  <c:v>41451</c:v>
                </c:pt>
                <c:pt idx="253">
                  <c:v>41452</c:v>
                </c:pt>
                <c:pt idx="254">
                  <c:v>41453</c:v>
                </c:pt>
                <c:pt idx="255">
                  <c:v>41456</c:v>
                </c:pt>
                <c:pt idx="256">
                  <c:v>41457</c:v>
                </c:pt>
                <c:pt idx="257">
                  <c:v>41458</c:v>
                </c:pt>
                <c:pt idx="258">
                  <c:v>41459</c:v>
                </c:pt>
                <c:pt idx="259">
                  <c:v>41460</c:v>
                </c:pt>
                <c:pt idx="260">
                  <c:v>41463</c:v>
                </c:pt>
                <c:pt idx="261">
                  <c:v>41464</c:v>
                </c:pt>
                <c:pt idx="262">
                  <c:v>41465</c:v>
                </c:pt>
                <c:pt idx="263">
                  <c:v>41466</c:v>
                </c:pt>
                <c:pt idx="264">
                  <c:v>41467</c:v>
                </c:pt>
                <c:pt idx="265">
                  <c:v>41470</c:v>
                </c:pt>
                <c:pt idx="266">
                  <c:v>41471</c:v>
                </c:pt>
                <c:pt idx="267">
                  <c:v>41472</c:v>
                </c:pt>
                <c:pt idx="268">
                  <c:v>41473</c:v>
                </c:pt>
                <c:pt idx="269">
                  <c:v>41474</c:v>
                </c:pt>
                <c:pt idx="270">
                  <c:v>41477</c:v>
                </c:pt>
                <c:pt idx="271">
                  <c:v>41478</c:v>
                </c:pt>
                <c:pt idx="272">
                  <c:v>41479</c:v>
                </c:pt>
                <c:pt idx="273">
                  <c:v>41480</c:v>
                </c:pt>
                <c:pt idx="274">
                  <c:v>41481</c:v>
                </c:pt>
                <c:pt idx="275">
                  <c:v>41484</c:v>
                </c:pt>
                <c:pt idx="276">
                  <c:v>41485</c:v>
                </c:pt>
                <c:pt idx="277">
                  <c:v>41486</c:v>
                </c:pt>
                <c:pt idx="278">
                  <c:v>41487</c:v>
                </c:pt>
                <c:pt idx="279">
                  <c:v>41488</c:v>
                </c:pt>
                <c:pt idx="280">
                  <c:v>41491</c:v>
                </c:pt>
                <c:pt idx="281">
                  <c:v>41492</c:v>
                </c:pt>
                <c:pt idx="282">
                  <c:v>41493</c:v>
                </c:pt>
                <c:pt idx="283">
                  <c:v>41494</c:v>
                </c:pt>
                <c:pt idx="284">
                  <c:v>41495</c:v>
                </c:pt>
                <c:pt idx="285">
                  <c:v>41498</c:v>
                </c:pt>
                <c:pt idx="286">
                  <c:v>41499</c:v>
                </c:pt>
                <c:pt idx="287">
                  <c:v>41500</c:v>
                </c:pt>
                <c:pt idx="288">
                  <c:v>41501</c:v>
                </c:pt>
                <c:pt idx="289">
                  <c:v>41502</c:v>
                </c:pt>
                <c:pt idx="290">
                  <c:v>41505</c:v>
                </c:pt>
                <c:pt idx="291">
                  <c:v>41506</c:v>
                </c:pt>
                <c:pt idx="292">
                  <c:v>41507</c:v>
                </c:pt>
                <c:pt idx="293">
                  <c:v>41508</c:v>
                </c:pt>
                <c:pt idx="294">
                  <c:v>41509</c:v>
                </c:pt>
                <c:pt idx="295">
                  <c:v>41512</c:v>
                </c:pt>
                <c:pt idx="296">
                  <c:v>41513</c:v>
                </c:pt>
                <c:pt idx="297">
                  <c:v>41514</c:v>
                </c:pt>
                <c:pt idx="298">
                  <c:v>41515</c:v>
                </c:pt>
                <c:pt idx="299">
                  <c:v>41516</c:v>
                </c:pt>
                <c:pt idx="300">
                  <c:v>41519</c:v>
                </c:pt>
                <c:pt idx="301">
                  <c:v>41520</c:v>
                </c:pt>
                <c:pt idx="302">
                  <c:v>41521</c:v>
                </c:pt>
                <c:pt idx="303">
                  <c:v>41522</c:v>
                </c:pt>
                <c:pt idx="304">
                  <c:v>41523</c:v>
                </c:pt>
                <c:pt idx="305">
                  <c:v>41526</c:v>
                </c:pt>
                <c:pt idx="306">
                  <c:v>41527</c:v>
                </c:pt>
                <c:pt idx="307">
                  <c:v>41528</c:v>
                </c:pt>
                <c:pt idx="308">
                  <c:v>41529</c:v>
                </c:pt>
                <c:pt idx="309">
                  <c:v>41530</c:v>
                </c:pt>
                <c:pt idx="310">
                  <c:v>41533</c:v>
                </c:pt>
                <c:pt idx="311">
                  <c:v>41534</c:v>
                </c:pt>
                <c:pt idx="312">
                  <c:v>41535</c:v>
                </c:pt>
                <c:pt idx="313">
                  <c:v>41536</c:v>
                </c:pt>
                <c:pt idx="314">
                  <c:v>41537</c:v>
                </c:pt>
                <c:pt idx="315">
                  <c:v>41540</c:v>
                </c:pt>
                <c:pt idx="316">
                  <c:v>41541</c:v>
                </c:pt>
                <c:pt idx="317">
                  <c:v>41542</c:v>
                </c:pt>
                <c:pt idx="318">
                  <c:v>41543</c:v>
                </c:pt>
                <c:pt idx="319">
                  <c:v>41544</c:v>
                </c:pt>
                <c:pt idx="320">
                  <c:v>41547</c:v>
                </c:pt>
                <c:pt idx="321">
                  <c:v>41548</c:v>
                </c:pt>
                <c:pt idx="322">
                  <c:v>41549</c:v>
                </c:pt>
                <c:pt idx="323">
                  <c:v>41550</c:v>
                </c:pt>
                <c:pt idx="324">
                  <c:v>41551</c:v>
                </c:pt>
                <c:pt idx="325">
                  <c:v>41554</c:v>
                </c:pt>
                <c:pt idx="326">
                  <c:v>41555</c:v>
                </c:pt>
                <c:pt idx="327">
                  <c:v>41556</c:v>
                </c:pt>
                <c:pt idx="328">
                  <c:v>41557</c:v>
                </c:pt>
                <c:pt idx="329">
                  <c:v>41558</c:v>
                </c:pt>
                <c:pt idx="330">
                  <c:v>41561</c:v>
                </c:pt>
                <c:pt idx="331">
                  <c:v>41562</c:v>
                </c:pt>
                <c:pt idx="332">
                  <c:v>41563</c:v>
                </c:pt>
                <c:pt idx="333">
                  <c:v>41564</c:v>
                </c:pt>
                <c:pt idx="334">
                  <c:v>41565</c:v>
                </c:pt>
                <c:pt idx="335">
                  <c:v>41568</c:v>
                </c:pt>
                <c:pt idx="336">
                  <c:v>41569</c:v>
                </c:pt>
                <c:pt idx="337">
                  <c:v>41570</c:v>
                </c:pt>
                <c:pt idx="338">
                  <c:v>41571</c:v>
                </c:pt>
                <c:pt idx="339">
                  <c:v>41572</c:v>
                </c:pt>
                <c:pt idx="340">
                  <c:v>41575</c:v>
                </c:pt>
                <c:pt idx="341">
                  <c:v>41576</c:v>
                </c:pt>
                <c:pt idx="342">
                  <c:v>41577</c:v>
                </c:pt>
                <c:pt idx="343">
                  <c:v>41578</c:v>
                </c:pt>
                <c:pt idx="344">
                  <c:v>41579</c:v>
                </c:pt>
                <c:pt idx="345">
                  <c:v>41582</c:v>
                </c:pt>
                <c:pt idx="346">
                  <c:v>41583</c:v>
                </c:pt>
                <c:pt idx="347">
                  <c:v>41584</c:v>
                </c:pt>
                <c:pt idx="348">
                  <c:v>41585</c:v>
                </c:pt>
                <c:pt idx="349">
                  <c:v>41586</c:v>
                </c:pt>
                <c:pt idx="350">
                  <c:v>41589</c:v>
                </c:pt>
                <c:pt idx="351">
                  <c:v>41590</c:v>
                </c:pt>
                <c:pt idx="352">
                  <c:v>41591</c:v>
                </c:pt>
                <c:pt idx="353">
                  <c:v>41592</c:v>
                </c:pt>
                <c:pt idx="354">
                  <c:v>41593</c:v>
                </c:pt>
                <c:pt idx="355">
                  <c:v>41596</c:v>
                </c:pt>
                <c:pt idx="356">
                  <c:v>41597</c:v>
                </c:pt>
                <c:pt idx="357">
                  <c:v>41598</c:v>
                </c:pt>
                <c:pt idx="358">
                  <c:v>41599</c:v>
                </c:pt>
                <c:pt idx="359">
                  <c:v>41600</c:v>
                </c:pt>
                <c:pt idx="360">
                  <c:v>41603</c:v>
                </c:pt>
                <c:pt idx="361">
                  <c:v>41604</c:v>
                </c:pt>
                <c:pt idx="362">
                  <c:v>41605</c:v>
                </c:pt>
                <c:pt idx="363">
                  <c:v>41606</c:v>
                </c:pt>
                <c:pt idx="364">
                  <c:v>41607</c:v>
                </c:pt>
                <c:pt idx="365">
                  <c:v>41610</c:v>
                </c:pt>
                <c:pt idx="366">
                  <c:v>41611</c:v>
                </c:pt>
                <c:pt idx="367">
                  <c:v>41612</c:v>
                </c:pt>
                <c:pt idx="368">
                  <c:v>41613</c:v>
                </c:pt>
                <c:pt idx="369">
                  <c:v>41614</c:v>
                </c:pt>
                <c:pt idx="370">
                  <c:v>41617</c:v>
                </c:pt>
                <c:pt idx="371">
                  <c:v>41618</c:v>
                </c:pt>
                <c:pt idx="372">
                  <c:v>41619</c:v>
                </c:pt>
                <c:pt idx="373">
                  <c:v>41620</c:v>
                </c:pt>
                <c:pt idx="374">
                  <c:v>41621</c:v>
                </c:pt>
                <c:pt idx="375">
                  <c:v>41624</c:v>
                </c:pt>
                <c:pt idx="376">
                  <c:v>41625</c:v>
                </c:pt>
                <c:pt idx="377">
                  <c:v>41626</c:v>
                </c:pt>
                <c:pt idx="378">
                  <c:v>41627</c:v>
                </c:pt>
                <c:pt idx="379">
                  <c:v>41628</c:v>
                </c:pt>
                <c:pt idx="380">
                  <c:v>41631</c:v>
                </c:pt>
                <c:pt idx="381">
                  <c:v>41632</c:v>
                </c:pt>
                <c:pt idx="382">
                  <c:v>41633</c:v>
                </c:pt>
                <c:pt idx="383">
                  <c:v>41634</c:v>
                </c:pt>
                <c:pt idx="384">
                  <c:v>41635</c:v>
                </c:pt>
                <c:pt idx="385">
                  <c:v>41638</c:v>
                </c:pt>
                <c:pt idx="386">
                  <c:v>41639</c:v>
                </c:pt>
                <c:pt idx="387">
                  <c:v>41640</c:v>
                </c:pt>
                <c:pt idx="388">
                  <c:v>41641</c:v>
                </c:pt>
                <c:pt idx="389">
                  <c:v>41642</c:v>
                </c:pt>
                <c:pt idx="390">
                  <c:v>41645</c:v>
                </c:pt>
                <c:pt idx="391">
                  <c:v>41646</c:v>
                </c:pt>
                <c:pt idx="392">
                  <c:v>41647</c:v>
                </c:pt>
                <c:pt idx="393">
                  <c:v>41648</c:v>
                </c:pt>
                <c:pt idx="394">
                  <c:v>41649</c:v>
                </c:pt>
                <c:pt idx="395">
                  <c:v>41652</c:v>
                </c:pt>
                <c:pt idx="396">
                  <c:v>41653</c:v>
                </c:pt>
                <c:pt idx="397">
                  <c:v>41654</c:v>
                </c:pt>
                <c:pt idx="398">
                  <c:v>41655</c:v>
                </c:pt>
                <c:pt idx="399">
                  <c:v>41656</c:v>
                </c:pt>
                <c:pt idx="400">
                  <c:v>41659</c:v>
                </c:pt>
                <c:pt idx="401">
                  <c:v>41660</c:v>
                </c:pt>
                <c:pt idx="402">
                  <c:v>41661</c:v>
                </c:pt>
                <c:pt idx="403">
                  <c:v>41662</c:v>
                </c:pt>
                <c:pt idx="404">
                  <c:v>41663</c:v>
                </c:pt>
                <c:pt idx="405">
                  <c:v>41666</c:v>
                </c:pt>
                <c:pt idx="406">
                  <c:v>41667</c:v>
                </c:pt>
                <c:pt idx="407">
                  <c:v>41668</c:v>
                </c:pt>
                <c:pt idx="408">
                  <c:v>41669</c:v>
                </c:pt>
                <c:pt idx="409">
                  <c:v>41670</c:v>
                </c:pt>
                <c:pt idx="410">
                  <c:v>41673</c:v>
                </c:pt>
                <c:pt idx="411">
                  <c:v>41674</c:v>
                </c:pt>
                <c:pt idx="412">
                  <c:v>41675</c:v>
                </c:pt>
                <c:pt idx="413">
                  <c:v>41676</c:v>
                </c:pt>
                <c:pt idx="414">
                  <c:v>41677</c:v>
                </c:pt>
                <c:pt idx="415">
                  <c:v>41680</c:v>
                </c:pt>
                <c:pt idx="416">
                  <c:v>41681</c:v>
                </c:pt>
                <c:pt idx="417">
                  <c:v>41682</c:v>
                </c:pt>
                <c:pt idx="418">
                  <c:v>41683</c:v>
                </c:pt>
                <c:pt idx="419">
                  <c:v>41684</c:v>
                </c:pt>
                <c:pt idx="420">
                  <c:v>41687</c:v>
                </c:pt>
                <c:pt idx="421">
                  <c:v>41688</c:v>
                </c:pt>
                <c:pt idx="422">
                  <c:v>41689</c:v>
                </c:pt>
                <c:pt idx="423">
                  <c:v>41690</c:v>
                </c:pt>
                <c:pt idx="424">
                  <c:v>41691</c:v>
                </c:pt>
                <c:pt idx="425">
                  <c:v>41694</c:v>
                </c:pt>
                <c:pt idx="426">
                  <c:v>41695</c:v>
                </c:pt>
                <c:pt idx="427">
                  <c:v>41696</c:v>
                </c:pt>
                <c:pt idx="428">
                  <c:v>41697</c:v>
                </c:pt>
                <c:pt idx="429">
                  <c:v>41698</c:v>
                </c:pt>
                <c:pt idx="430">
                  <c:v>41701</c:v>
                </c:pt>
                <c:pt idx="431">
                  <c:v>41702</c:v>
                </c:pt>
                <c:pt idx="432">
                  <c:v>41703</c:v>
                </c:pt>
                <c:pt idx="433">
                  <c:v>41704</c:v>
                </c:pt>
                <c:pt idx="434">
                  <c:v>41705</c:v>
                </c:pt>
                <c:pt idx="435">
                  <c:v>41708</c:v>
                </c:pt>
                <c:pt idx="436">
                  <c:v>41709</c:v>
                </c:pt>
                <c:pt idx="437">
                  <c:v>41710</c:v>
                </c:pt>
                <c:pt idx="438">
                  <c:v>41711</c:v>
                </c:pt>
                <c:pt idx="439">
                  <c:v>41712</c:v>
                </c:pt>
                <c:pt idx="440">
                  <c:v>41715</c:v>
                </c:pt>
                <c:pt idx="441">
                  <c:v>41716</c:v>
                </c:pt>
                <c:pt idx="442">
                  <c:v>41717</c:v>
                </c:pt>
                <c:pt idx="443">
                  <c:v>41718</c:v>
                </c:pt>
                <c:pt idx="444">
                  <c:v>41719</c:v>
                </c:pt>
                <c:pt idx="445">
                  <c:v>41722</c:v>
                </c:pt>
                <c:pt idx="446">
                  <c:v>41723</c:v>
                </c:pt>
                <c:pt idx="447">
                  <c:v>41724</c:v>
                </c:pt>
                <c:pt idx="448">
                  <c:v>41725</c:v>
                </c:pt>
                <c:pt idx="449">
                  <c:v>41726</c:v>
                </c:pt>
                <c:pt idx="450">
                  <c:v>41729</c:v>
                </c:pt>
                <c:pt idx="451">
                  <c:v>41730</c:v>
                </c:pt>
                <c:pt idx="452">
                  <c:v>41731</c:v>
                </c:pt>
                <c:pt idx="453">
                  <c:v>41732</c:v>
                </c:pt>
                <c:pt idx="454">
                  <c:v>41733</c:v>
                </c:pt>
                <c:pt idx="455">
                  <c:v>41736</c:v>
                </c:pt>
                <c:pt idx="456">
                  <c:v>41737</c:v>
                </c:pt>
                <c:pt idx="457">
                  <c:v>41738</c:v>
                </c:pt>
                <c:pt idx="458">
                  <c:v>41739</c:v>
                </c:pt>
                <c:pt idx="459">
                  <c:v>41740</c:v>
                </c:pt>
                <c:pt idx="460">
                  <c:v>41743</c:v>
                </c:pt>
                <c:pt idx="461">
                  <c:v>41744</c:v>
                </c:pt>
                <c:pt idx="462">
                  <c:v>41745</c:v>
                </c:pt>
                <c:pt idx="463">
                  <c:v>41746</c:v>
                </c:pt>
                <c:pt idx="464">
                  <c:v>41747</c:v>
                </c:pt>
                <c:pt idx="465">
                  <c:v>41750</c:v>
                </c:pt>
                <c:pt idx="466">
                  <c:v>41751</c:v>
                </c:pt>
                <c:pt idx="467">
                  <c:v>41752</c:v>
                </c:pt>
                <c:pt idx="468">
                  <c:v>41753</c:v>
                </c:pt>
                <c:pt idx="469">
                  <c:v>41754</c:v>
                </c:pt>
                <c:pt idx="470">
                  <c:v>41757</c:v>
                </c:pt>
                <c:pt idx="471">
                  <c:v>41758</c:v>
                </c:pt>
                <c:pt idx="472">
                  <c:v>41759</c:v>
                </c:pt>
                <c:pt idx="473">
                  <c:v>41760</c:v>
                </c:pt>
                <c:pt idx="474">
                  <c:v>41761</c:v>
                </c:pt>
                <c:pt idx="475">
                  <c:v>41764</c:v>
                </c:pt>
                <c:pt idx="476">
                  <c:v>41765</c:v>
                </c:pt>
                <c:pt idx="477">
                  <c:v>41766</c:v>
                </c:pt>
                <c:pt idx="478">
                  <c:v>41767</c:v>
                </c:pt>
                <c:pt idx="479">
                  <c:v>41768</c:v>
                </c:pt>
                <c:pt idx="480">
                  <c:v>41771</c:v>
                </c:pt>
                <c:pt idx="481">
                  <c:v>41772</c:v>
                </c:pt>
                <c:pt idx="482">
                  <c:v>41773</c:v>
                </c:pt>
                <c:pt idx="483">
                  <c:v>41774</c:v>
                </c:pt>
                <c:pt idx="484">
                  <c:v>41775</c:v>
                </c:pt>
                <c:pt idx="485">
                  <c:v>41778</c:v>
                </c:pt>
                <c:pt idx="486">
                  <c:v>41779</c:v>
                </c:pt>
                <c:pt idx="487">
                  <c:v>41780</c:v>
                </c:pt>
                <c:pt idx="488">
                  <c:v>41781</c:v>
                </c:pt>
                <c:pt idx="489">
                  <c:v>41782</c:v>
                </c:pt>
                <c:pt idx="490">
                  <c:v>41785</c:v>
                </c:pt>
                <c:pt idx="491">
                  <c:v>41786</c:v>
                </c:pt>
                <c:pt idx="492">
                  <c:v>41787</c:v>
                </c:pt>
                <c:pt idx="493">
                  <c:v>41788</c:v>
                </c:pt>
                <c:pt idx="494">
                  <c:v>41789</c:v>
                </c:pt>
                <c:pt idx="495">
                  <c:v>41792</c:v>
                </c:pt>
                <c:pt idx="496">
                  <c:v>41793</c:v>
                </c:pt>
                <c:pt idx="497">
                  <c:v>41794</c:v>
                </c:pt>
                <c:pt idx="498">
                  <c:v>41795</c:v>
                </c:pt>
                <c:pt idx="499">
                  <c:v>41796</c:v>
                </c:pt>
                <c:pt idx="500">
                  <c:v>41799</c:v>
                </c:pt>
                <c:pt idx="501">
                  <c:v>41800</c:v>
                </c:pt>
                <c:pt idx="502">
                  <c:v>41801</c:v>
                </c:pt>
                <c:pt idx="503">
                  <c:v>41802</c:v>
                </c:pt>
                <c:pt idx="504">
                  <c:v>41803</c:v>
                </c:pt>
                <c:pt idx="505">
                  <c:v>41806</c:v>
                </c:pt>
                <c:pt idx="506">
                  <c:v>41807</c:v>
                </c:pt>
                <c:pt idx="507">
                  <c:v>41808</c:v>
                </c:pt>
                <c:pt idx="508">
                  <c:v>41809</c:v>
                </c:pt>
                <c:pt idx="509">
                  <c:v>41810</c:v>
                </c:pt>
                <c:pt idx="510">
                  <c:v>41813</c:v>
                </c:pt>
                <c:pt idx="511">
                  <c:v>41814</c:v>
                </c:pt>
                <c:pt idx="512">
                  <c:v>41815</c:v>
                </c:pt>
                <c:pt idx="513">
                  <c:v>41816</c:v>
                </c:pt>
                <c:pt idx="514">
                  <c:v>41817</c:v>
                </c:pt>
                <c:pt idx="515">
                  <c:v>41820</c:v>
                </c:pt>
                <c:pt idx="516">
                  <c:v>41821</c:v>
                </c:pt>
                <c:pt idx="517">
                  <c:v>41822</c:v>
                </c:pt>
                <c:pt idx="518">
                  <c:v>41823</c:v>
                </c:pt>
                <c:pt idx="519">
                  <c:v>41824</c:v>
                </c:pt>
                <c:pt idx="520">
                  <c:v>41827</c:v>
                </c:pt>
                <c:pt idx="521">
                  <c:v>41828</c:v>
                </c:pt>
                <c:pt idx="522">
                  <c:v>41829</c:v>
                </c:pt>
                <c:pt idx="523">
                  <c:v>41830</c:v>
                </c:pt>
                <c:pt idx="524">
                  <c:v>41831</c:v>
                </c:pt>
                <c:pt idx="525">
                  <c:v>41834</c:v>
                </c:pt>
                <c:pt idx="526">
                  <c:v>41835</c:v>
                </c:pt>
                <c:pt idx="527">
                  <c:v>41836</c:v>
                </c:pt>
                <c:pt idx="528">
                  <c:v>41837</c:v>
                </c:pt>
                <c:pt idx="529">
                  <c:v>41838</c:v>
                </c:pt>
                <c:pt idx="530">
                  <c:v>41841</c:v>
                </c:pt>
                <c:pt idx="531">
                  <c:v>41842</c:v>
                </c:pt>
                <c:pt idx="532">
                  <c:v>41843</c:v>
                </c:pt>
                <c:pt idx="533">
                  <c:v>41844</c:v>
                </c:pt>
                <c:pt idx="534">
                  <c:v>41845</c:v>
                </c:pt>
                <c:pt idx="535">
                  <c:v>41848</c:v>
                </c:pt>
                <c:pt idx="536">
                  <c:v>41849</c:v>
                </c:pt>
                <c:pt idx="537">
                  <c:v>41850</c:v>
                </c:pt>
                <c:pt idx="538">
                  <c:v>41851</c:v>
                </c:pt>
                <c:pt idx="539">
                  <c:v>41852</c:v>
                </c:pt>
                <c:pt idx="540">
                  <c:v>41855</c:v>
                </c:pt>
                <c:pt idx="541">
                  <c:v>41856</c:v>
                </c:pt>
                <c:pt idx="542">
                  <c:v>41857</c:v>
                </c:pt>
                <c:pt idx="543">
                  <c:v>41858</c:v>
                </c:pt>
                <c:pt idx="544">
                  <c:v>41859</c:v>
                </c:pt>
                <c:pt idx="545">
                  <c:v>41862</c:v>
                </c:pt>
                <c:pt idx="546">
                  <c:v>41863</c:v>
                </c:pt>
                <c:pt idx="547">
                  <c:v>41864</c:v>
                </c:pt>
                <c:pt idx="548">
                  <c:v>41865</c:v>
                </c:pt>
                <c:pt idx="549">
                  <c:v>41866</c:v>
                </c:pt>
                <c:pt idx="550">
                  <c:v>41869</c:v>
                </c:pt>
                <c:pt idx="551">
                  <c:v>41870</c:v>
                </c:pt>
                <c:pt idx="552">
                  <c:v>41871</c:v>
                </c:pt>
                <c:pt idx="553">
                  <c:v>41872</c:v>
                </c:pt>
                <c:pt idx="554">
                  <c:v>41873</c:v>
                </c:pt>
                <c:pt idx="555">
                  <c:v>41876</c:v>
                </c:pt>
                <c:pt idx="556">
                  <c:v>41877</c:v>
                </c:pt>
                <c:pt idx="557">
                  <c:v>41878</c:v>
                </c:pt>
                <c:pt idx="558">
                  <c:v>41879</c:v>
                </c:pt>
                <c:pt idx="559">
                  <c:v>41880</c:v>
                </c:pt>
                <c:pt idx="560">
                  <c:v>41883</c:v>
                </c:pt>
                <c:pt idx="561">
                  <c:v>41884</c:v>
                </c:pt>
                <c:pt idx="562">
                  <c:v>41885</c:v>
                </c:pt>
                <c:pt idx="563">
                  <c:v>41886</c:v>
                </c:pt>
                <c:pt idx="564">
                  <c:v>41887</c:v>
                </c:pt>
                <c:pt idx="565">
                  <c:v>41890</c:v>
                </c:pt>
                <c:pt idx="566">
                  <c:v>41891</c:v>
                </c:pt>
                <c:pt idx="567">
                  <c:v>41892</c:v>
                </c:pt>
                <c:pt idx="568">
                  <c:v>41893</c:v>
                </c:pt>
                <c:pt idx="569">
                  <c:v>41894</c:v>
                </c:pt>
                <c:pt idx="570">
                  <c:v>41897</c:v>
                </c:pt>
                <c:pt idx="571">
                  <c:v>41898</c:v>
                </c:pt>
                <c:pt idx="572">
                  <c:v>41899</c:v>
                </c:pt>
                <c:pt idx="573">
                  <c:v>41900</c:v>
                </c:pt>
                <c:pt idx="574">
                  <c:v>41901</c:v>
                </c:pt>
                <c:pt idx="575">
                  <c:v>41904</c:v>
                </c:pt>
                <c:pt idx="576">
                  <c:v>41905</c:v>
                </c:pt>
                <c:pt idx="577">
                  <c:v>41906</c:v>
                </c:pt>
                <c:pt idx="578">
                  <c:v>41907</c:v>
                </c:pt>
                <c:pt idx="579">
                  <c:v>41908</c:v>
                </c:pt>
                <c:pt idx="580">
                  <c:v>41911</c:v>
                </c:pt>
                <c:pt idx="581">
                  <c:v>41912</c:v>
                </c:pt>
                <c:pt idx="582">
                  <c:v>41913</c:v>
                </c:pt>
                <c:pt idx="583">
                  <c:v>41914</c:v>
                </c:pt>
                <c:pt idx="584">
                  <c:v>41915</c:v>
                </c:pt>
                <c:pt idx="585">
                  <c:v>41918</c:v>
                </c:pt>
                <c:pt idx="586">
                  <c:v>41919</c:v>
                </c:pt>
                <c:pt idx="587">
                  <c:v>41920</c:v>
                </c:pt>
                <c:pt idx="588">
                  <c:v>41921</c:v>
                </c:pt>
                <c:pt idx="589">
                  <c:v>41922</c:v>
                </c:pt>
                <c:pt idx="590">
                  <c:v>41925</c:v>
                </c:pt>
                <c:pt idx="591">
                  <c:v>41926</c:v>
                </c:pt>
                <c:pt idx="592">
                  <c:v>41927</c:v>
                </c:pt>
                <c:pt idx="593">
                  <c:v>41928</c:v>
                </c:pt>
                <c:pt idx="594">
                  <c:v>41929</c:v>
                </c:pt>
                <c:pt idx="595">
                  <c:v>41932</c:v>
                </c:pt>
                <c:pt idx="596">
                  <c:v>41933</c:v>
                </c:pt>
                <c:pt idx="597">
                  <c:v>41934</c:v>
                </c:pt>
                <c:pt idx="598">
                  <c:v>41935</c:v>
                </c:pt>
                <c:pt idx="599">
                  <c:v>41936</c:v>
                </c:pt>
                <c:pt idx="600">
                  <c:v>41939</c:v>
                </c:pt>
                <c:pt idx="601">
                  <c:v>41940</c:v>
                </c:pt>
                <c:pt idx="602">
                  <c:v>41941</c:v>
                </c:pt>
                <c:pt idx="603">
                  <c:v>41942</c:v>
                </c:pt>
                <c:pt idx="604">
                  <c:v>41943</c:v>
                </c:pt>
                <c:pt idx="605">
                  <c:v>41946</c:v>
                </c:pt>
                <c:pt idx="606">
                  <c:v>41947</c:v>
                </c:pt>
                <c:pt idx="607">
                  <c:v>41948</c:v>
                </c:pt>
                <c:pt idx="608">
                  <c:v>41949</c:v>
                </c:pt>
                <c:pt idx="609">
                  <c:v>41950</c:v>
                </c:pt>
                <c:pt idx="610">
                  <c:v>41953</c:v>
                </c:pt>
                <c:pt idx="611">
                  <c:v>41954</c:v>
                </c:pt>
                <c:pt idx="612">
                  <c:v>41955</c:v>
                </c:pt>
                <c:pt idx="613">
                  <c:v>41956</c:v>
                </c:pt>
                <c:pt idx="614">
                  <c:v>41957</c:v>
                </c:pt>
                <c:pt idx="615">
                  <c:v>41960</c:v>
                </c:pt>
                <c:pt idx="616">
                  <c:v>41961</c:v>
                </c:pt>
                <c:pt idx="617">
                  <c:v>41962</c:v>
                </c:pt>
                <c:pt idx="618">
                  <c:v>41963</c:v>
                </c:pt>
                <c:pt idx="619">
                  <c:v>41964</c:v>
                </c:pt>
                <c:pt idx="620">
                  <c:v>41967</c:v>
                </c:pt>
                <c:pt idx="621">
                  <c:v>41968</c:v>
                </c:pt>
                <c:pt idx="622">
                  <c:v>41969</c:v>
                </c:pt>
                <c:pt idx="623">
                  <c:v>41970</c:v>
                </c:pt>
                <c:pt idx="624">
                  <c:v>41971</c:v>
                </c:pt>
                <c:pt idx="625">
                  <c:v>41974</c:v>
                </c:pt>
                <c:pt idx="626">
                  <c:v>41975</c:v>
                </c:pt>
                <c:pt idx="627">
                  <c:v>41976</c:v>
                </c:pt>
                <c:pt idx="628">
                  <c:v>41977</c:v>
                </c:pt>
                <c:pt idx="629">
                  <c:v>41978</c:v>
                </c:pt>
                <c:pt idx="630">
                  <c:v>41981</c:v>
                </c:pt>
                <c:pt idx="631">
                  <c:v>41982</c:v>
                </c:pt>
                <c:pt idx="632">
                  <c:v>41983</c:v>
                </c:pt>
                <c:pt idx="633">
                  <c:v>41984</c:v>
                </c:pt>
                <c:pt idx="634">
                  <c:v>41985</c:v>
                </c:pt>
                <c:pt idx="635">
                  <c:v>41988</c:v>
                </c:pt>
                <c:pt idx="636">
                  <c:v>41989</c:v>
                </c:pt>
                <c:pt idx="637">
                  <c:v>41990</c:v>
                </c:pt>
                <c:pt idx="638">
                  <c:v>41991</c:v>
                </c:pt>
                <c:pt idx="639">
                  <c:v>41992</c:v>
                </c:pt>
                <c:pt idx="640">
                  <c:v>41995</c:v>
                </c:pt>
                <c:pt idx="641">
                  <c:v>41996</c:v>
                </c:pt>
                <c:pt idx="642">
                  <c:v>41997</c:v>
                </c:pt>
                <c:pt idx="643">
                  <c:v>41998</c:v>
                </c:pt>
                <c:pt idx="644">
                  <c:v>41999</c:v>
                </c:pt>
                <c:pt idx="645">
                  <c:v>42002</c:v>
                </c:pt>
                <c:pt idx="646">
                  <c:v>42003</c:v>
                </c:pt>
                <c:pt idx="647">
                  <c:v>42004</c:v>
                </c:pt>
                <c:pt idx="648">
                  <c:v>42005</c:v>
                </c:pt>
                <c:pt idx="649">
                  <c:v>42006</c:v>
                </c:pt>
                <c:pt idx="650">
                  <c:v>42009</c:v>
                </c:pt>
                <c:pt idx="651">
                  <c:v>42010</c:v>
                </c:pt>
                <c:pt idx="652">
                  <c:v>42011</c:v>
                </c:pt>
                <c:pt idx="653">
                  <c:v>42012</c:v>
                </c:pt>
                <c:pt idx="654">
                  <c:v>42013</c:v>
                </c:pt>
                <c:pt idx="655">
                  <c:v>42016</c:v>
                </c:pt>
                <c:pt idx="656">
                  <c:v>42017</c:v>
                </c:pt>
                <c:pt idx="657">
                  <c:v>42018</c:v>
                </c:pt>
                <c:pt idx="658">
                  <c:v>42019</c:v>
                </c:pt>
                <c:pt idx="659">
                  <c:v>42020</c:v>
                </c:pt>
                <c:pt idx="660">
                  <c:v>42023</c:v>
                </c:pt>
                <c:pt idx="661">
                  <c:v>42024</c:v>
                </c:pt>
                <c:pt idx="662">
                  <c:v>42025</c:v>
                </c:pt>
                <c:pt idx="663">
                  <c:v>42026</c:v>
                </c:pt>
                <c:pt idx="664">
                  <c:v>42027</c:v>
                </c:pt>
                <c:pt idx="665">
                  <c:v>42030</c:v>
                </c:pt>
                <c:pt idx="666">
                  <c:v>42031</c:v>
                </c:pt>
                <c:pt idx="667">
                  <c:v>42032</c:v>
                </c:pt>
                <c:pt idx="668">
                  <c:v>42033</c:v>
                </c:pt>
                <c:pt idx="669">
                  <c:v>42034</c:v>
                </c:pt>
                <c:pt idx="670">
                  <c:v>42037</c:v>
                </c:pt>
                <c:pt idx="671">
                  <c:v>42038</c:v>
                </c:pt>
                <c:pt idx="672">
                  <c:v>42039</c:v>
                </c:pt>
                <c:pt idx="673">
                  <c:v>42040</c:v>
                </c:pt>
                <c:pt idx="674">
                  <c:v>42041</c:v>
                </c:pt>
                <c:pt idx="675">
                  <c:v>42044</c:v>
                </c:pt>
                <c:pt idx="676">
                  <c:v>42045</c:v>
                </c:pt>
                <c:pt idx="677">
                  <c:v>42046</c:v>
                </c:pt>
                <c:pt idx="678">
                  <c:v>42047</c:v>
                </c:pt>
                <c:pt idx="679">
                  <c:v>42048</c:v>
                </c:pt>
                <c:pt idx="680">
                  <c:v>42051</c:v>
                </c:pt>
                <c:pt idx="681">
                  <c:v>42052</c:v>
                </c:pt>
                <c:pt idx="682">
                  <c:v>42053</c:v>
                </c:pt>
                <c:pt idx="683">
                  <c:v>42054</c:v>
                </c:pt>
                <c:pt idx="684">
                  <c:v>42055</c:v>
                </c:pt>
                <c:pt idx="685">
                  <c:v>42058</c:v>
                </c:pt>
                <c:pt idx="686">
                  <c:v>42059</c:v>
                </c:pt>
                <c:pt idx="687">
                  <c:v>42060</c:v>
                </c:pt>
                <c:pt idx="688">
                  <c:v>42061</c:v>
                </c:pt>
                <c:pt idx="689">
                  <c:v>42062</c:v>
                </c:pt>
                <c:pt idx="690">
                  <c:v>42065</c:v>
                </c:pt>
                <c:pt idx="691">
                  <c:v>42066</c:v>
                </c:pt>
                <c:pt idx="692">
                  <c:v>42067</c:v>
                </c:pt>
                <c:pt idx="693">
                  <c:v>42068</c:v>
                </c:pt>
                <c:pt idx="694">
                  <c:v>42069</c:v>
                </c:pt>
                <c:pt idx="695">
                  <c:v>42072</c:v>
                </c:pt>
                <c:pt idx="696">
                  <c:v>42073</c:v>
                </c:pt>
                <c:pt idx="697">
                  <c:v>42074</c:v>
                </c:pt>
                <c:pt idx="698">
                  <c:v>42075</c:v>
                </c:pt>
                <c:pt idx="699">
                  <c:v>42076</c:v>
                </c:pt>
                <c:pt idx="700">
                  <c:v>42079</c:v>
                </c:pt>
                <c:pt idx="701">
                  <c:v>42080</c:v>
                </c:pt>
                <c:pt idx="702">
                  <c:v>42081</c:v>
                </c:pt>
                <c:pt idx="703">
                  <c:v>42082</c:v>
                </c:pt>
                <c:pt idx="704">
                  <c:v>42083</c:v>
                </c:pt>
                <c:pt idx="705">
                  <c:v>42086</c:v>
                </c:pt>
                <c:pt idx="706">
                  <c:v>42087</c:v>
                </c:pt>
                <c:pt idx="707">
                  <c:v>42088</c:v>
                </c:pt>
                <c:pt idx="708">
                  <c:v>42089</c:v>
                </c:pt>
                <c:pt idx="709">
                  <c:v>42090</c:v>
                </c:pt>
                <c:pt idx="710">
                  <c:v>42093</c:v>
                </c:pt>
                <c:pt idx="711">
                  <c:v>42094</c:v>
                </c:pt>
                <c:pt idx="712">
                  <c:v>42095</c:v>
                </c:pt>
                <c:pt idx="713">
                  <c:v>42096</c:v>
                </c:pt>
                <c:pt idx="714">
                  <c:v>42097</c:v>
                </c:pt>
                <c:pt idx="715">
                  <c:v>42100</c:v>
                </c:pt>
                <c:pt idx="716">
                  <c:v>42101</c:v>
                </c:pt>
                <c:pt idx="717">
                  <c:v>42102</c:v>
                </c:pt>
                <c:pt idx="718">
                  <c:v>42103</c:v>
                </c:pt>
                <c:pt idx="719">
                  <c:v>42104</c:v>
                </c:pt>
                <c:pt idx="720">
                  <c:v>42107</c:v>
                </c:pt>
                <c:pt idx="721">
                  <c:v>42108</c:v>
                </c:pt>
                <c:pt idx="722">
                  <c:v>42109</c:v>
                </c:pt>
                <c:pt idx="723">
                  <c:v>42110</c:v>
                </c:pt>
                <c:pt idx="724">
                  <c:v>42111</c:v>
                </c:pt>
                <c:pt idx="725">
                  <c:v>42114</c:v>
                </c:pt>
                <c:pt idx="726">
                  <c:v>42115</c:v>
                </c:pt>
                <c:pt idx="727">
                  <c:v>42116</c:v>
                </c:pt>
                <c:pt idx="728">
                  <c:v>42117</c:v>
                </c:pt>
                <c:pt idx="729">
                  <c:v>42118</c:v>
                </c:pt>
                <c:pt idx="730">
                  <c:v>42121</c:v>
                </c:pt>
                <c:pt idx="731">
                  <c:v>42122</c:v>
                </c:pt>
                <c:pt idx="732">
                  <c:v>42123</c:v>
                </c:pt>
                <c:pt idx="733">
                  <c:v>42124</c:v>
                </c:pt>
                <c:pt idx="734">
                  <c:v>42125</c:v>
                </c:pt>
                <c:pt idx="735">
                  <c:v>42128</c:v>
                </c:pt>
                <c:pt idx="736">
                  <c:v>42129</c:v>
                </c:pt>
                <c:pt idx="737">
                  <c:v>42130</c:v>
                </c:pt>
                <c:pt idx="738">
                  <c:v>42131</c:v>
                </c:pt>
                <c:pt idx="739">
                  <c:v>42132</c:v>
                </c:pt>
                <c:pt idx="740">
                  <c:v>42135</c:v>
                </c:pt>
                <c:pt idx="741">
                  <c:v>42136</c:v>
                </c:pt>
                <c:pt idx="742">
                  <c:v>42137</c:v>
                </c:pt>
                <c:pt idx="743">
                  <c:v>42138</c:v>
                </c:pt>
                <c:pt idx="744">
                  <c:v>42139</c:v>
                </c:pt>
                <c:pt idx="745">
                  <c:v>42142</c:v>
                </c:pt>
                <c:pt idx="746">
                  <c:v>42143</c:v>
                </c:pt>
                <c:pt idx="747">
                  <c:v>42144</c:v>
                </c:pt>
                <c:pt idx="748">
                  <c:v>42145</c:v>
                </c:pt>
                <c:pt idx="749">
                  <c:v>42146</c:v>
                </c:pt>
                <c:pt idx="750">
                  <c:v>42149</c:v>
                </c:pt>
                <c:pt idx="751">
                  <c:v>42150</c:v>
                </c:pt>
                <c:pt idx="752">
                  <c:v>42151</c:v>
                </c:pt>
                <c:pt idx="753">
                  <c:v>42152</c:v>
                </c:pt>
                <c:pt idx="754">
                  <c:v>42153</c:v>
                </c:pt>
                <c:pt idx="755">
                  <c:v>42156</c:v>
                </c:pt>
                <c:pt idx="756">
                  <c:v>42157</c:v>
                </c:pt>
                <c:pt idx="757">
                  <c:v>42158</c:v>
                </c:pt>
                <c:pt idx="758">
                  <c:v>42159</c:v>
                </c:pt>
                <c:pt idx="759">
                  <c:v>42160</c:v>
                </c:pt>
                <c:pt idx="760">
                  <c:v>42163</c:v>
                </c:pt>
                <c:pt idx="761">
                  <c:v>42164</c:v>
                </c:pt>
                <c:pt idx="762">
                  <c:v>42165</c:v>
                </c:pt>
                <c:pt idx="763">
                  <c:v>42166</c:v>
                </c:pt>
                <c:pt idx="764">
                  <c:v>42167</c:v>
                </c:pt>
                <c:pt idx="765">
                  <c:v>42170</c:v>
                </c:pt>
                <c:pt idx="766">
                  <c:v>42171</c:v>
                </c:pt>
                <c:pt idx="767">
                  <c:v>42172</c:v>
                </c:pt>
                <c:pt idx="768">
                  <c:v>42173</c:v>
                </c:pt>
                <c:pt idx="769">
                  <c:v>42174</c:v>
                </c:pt>
                <c:pt idx="770">
                  <c:v>42177</c:v>
                </c:pt>
                <c:pt idx="771">
                  <c:v>42178</c:v>
                </c:pt>
                <c:pt idx="772">
                  <c:v>42179</c:v>
                </c:pt>
                <c:pt idx="773">
                  <c:v>42180</c:v>
                </c:pt>
                <c:pt idx="774">
                  <c:v>42181</c:v>
                </c:pt>
                <c:pt idx="775">
                  <c:v>42184</c:v>
                </c:pt>
                <c:pt idx="776">
                  <c:v>42185</c:v>
                </c:pt>
                <c:pt idx="777">
                  <c:v>42186</c:v>
                </c:pt>
                <c:pt idx="778">
                  <c:v>42187</c:v>
                </c:pt>
                <c:pt idx="779">
                  <c:v>42188</c:v>
                </c:pt>
                <c:pt idx="780">
                  <c:v>42191</c:v>
                </c:pt>
                <c:pt idx="781">
                  <c:v>42192</c:v>
                </c:pt>
                <c:pt idx="782">
                  <c:v>42193</c:v>
                </c:pt>
                <c:pt idx="783">
                  <c:v>42194</c:v>
                </c:pt>
                <c:pt idx="784">
                  <c:v>42195</c:v>
                </c:pt>
                <c:pt idx="785">
                  <c:v>42198</c:v>
                </c:pt>
                <c:pt idx="786">
                  <c:v>42199</c:v>
                </c:pt>
                <c:pt idx="787">
                  <c:v>42200</c:v>
                </c:pt>
                <c:pt idx="788">
                  <c:v>42201</c:v>
                </c:pt>
                <c:pt idx="789">
                  <c:v>42202</c:v>
                </c:pt>
                <c:pt idx="790">
                  <c:v>42205</c:v>
                </c:pt>
                <c:pt idx="791">
                  <c:v>42206</c:v>
                </c:pt>
                <c:pt idx="792">
                  <c:v>42207</c:v>
                </c:pt>
                <c:pt idx="793">
                  <c:v>42208</c:v>
                </c:pt>
                <c:pt idx="794">
                  <c:v>42209</c:v>
                </c:pt>
                <c:pt idx="795">
                  <c:v>42212</c:v>
                </c:pt>
                <c:pt idx="796">
                  <c:v>42213</c:v>
                </c:pt>
                <c:pt idx="797">
                  <c:v>42214</c:v>
                </c:pt>
                <c:pt idx="798">
                  <c:v>42215</c:v>
                </c:pt>
                <c:pt idx="799">
                  <c:v>42216</c:v>
                </c:pt>
                <c:pt idx="800">
                  <c:v>42219</c:v>
                </c:pt>
                <c:pt idx="801">
                  <c:v>42220</c:v>
                </c:pt>
                <c:pt idx="802">
                  <c:v>42221</c:v>
                </c:pt>
                <c:pt idx="803">
                  <c:v>42222</c:v>
                </c:pt>
                <c:pt idx="804">
                  <c:v>42223</c:v>
                </c:pt>
                <c:pt idx="805">
                  <c:v>42226</c:v>
                </c:pt>
                <c:pt idx="806">
                  <c:v>42227</c:v>
                </c:pt>
                <c:pt idx="807">
                  <c:v>42228</c:v>
                </c:pt>
                <c:pt idx="808">
                  <c:v>42229</c:v>
                </c:pt>
                <c:pt idx="809">
                  <c:v>42230</c:v>
                </c:pt>
                <c:pt idx="810">
                  <c:v>42233</c:v>
                </c:pt>
                <c:pt idx="811">
                  <c:v>42234</c:v>
                </c:pt>
                <c:pt idx="812">
                  <c:v>42235</c:v>
                </c:pt>
                <c:pt idx="813">
                  <c:v>42236</c:v>
                </c:pt>
                <c:pt idx="814">
                  <c:v>42237</c:v>
                </c:pt>
                <c:pt idx="815">
                  <c:v>42240</c:v>
                </c:pt>
                <c:pt idx="816">
                  <c:v>42241</c:v>
                </c:pt>
                <c:pt idx="817">
                  <c:v>42242</c:v>
                </c:pt>
                <c:pt idx="818">
                  <c:v>42243</c:v>
                </c:pt>
                <c:pt idx="819">
                  <c:v>42244</c:v>
                </c:pt>
                <c:pt idx="820">
                  <c:v>42247</c:v>
                </c:pt>
                <c:pt idx="821">
                  <c:v>42248</c:v>
                </c:pt>
                <c:pt idx="822">
                  <c:v>42249</c:v>
                </c:pt>
                <c:pt idx="823">
                  <c:v>42250</c:v>
                </c:pt>
                <c:pt idx="824">
                  <c:v>42251</c:v>
                </c:pt>
                <c:pt idx="825">
                  <c:v>42254</c:v>
                </c:pt>
                <c:pt idx="826">
                  <c:v>42255</c:v>
                </c:pt>
                <c:pt idx="827">
                  <c:v>42256</c:v>
                </c:pt>
                <c:pt idx="828">
                  <c:v>42257</c:v>
                </c:pt>
                <c:pt idx="829">
                  <c:v>42258</c:v>
                </c:pt>
                <c:pt idx="830">
                  <c:v>42261</c:v>
                </c:pt>
                <c:pt idx="831">
                  <c:v>42262</c:v>
                </c:pt>
                <c:pt idx="832">
                  <c:v>42263</c:v>
                </c:pt>
                <c:pt idx="833">
                  <c:v>42264</c:v>
                </c:pt>
                <c:pt idx="834">
                  <c:v>42265</c:v>
                </c:pt>
                <c:pt idx="835">
                  <c:v>42268</c:v>
                </c:pt>
                <c:pt idx="836">
                  <c:v>42269</c:v>
                </c:pt>
                <c:pt idx="837">
                  <c:v>42270</c:v>
                </c:pt>
                <c:pt idx="838">
                  <c:v>42271</c:v>
                </c:pt>
                <c:pt idx="839">
                  <c:v>42272</c:v>
                </c:pt>
                <c:pt idx="840">
                  <c:v>42275</c:v>
                </c:pt>
                <c:pt idx="841">
                  <c:v>42276</c:v>
                </c:pt>
                <c:pt idx="842">
                  <c:v>42277</c:v>
                </c:pt>
                <c:pt idx="843">
                  <c:v>42278</c:v>
                </c:pt>
                <c:pt idx="844">
                  <c:v>42279</c:v>
                </c:pt>
                <c:pt idx="845">
                  <c:v>42282</c:v>
                </c:pt>
                <c:pt idx="846">
                  <c:v>42283</c:v>
                </c:pt>
                <c:pt idx="847">
                  <c:v>42284</c:v>
                </c:pt>
                <c:pt idx="848">
                  <c:v>42285</c:v>
                </c:pt>
                <c:pt idx="849">
                  <c:v>42286</c:v>
                </c:pt>
                <c:pt idx="850">
                  <c:v>42289</c:v>
                </c:pt>
                <c:pt idx="851">
                  <c:v>42290</c:v>
                </c:pt>
                <c:pt idx="852">
                  <c:v>42291</c:v>
                </c:pt>
                <c:pt idx="853">
                  <c:v>42292</c:v>
                </c:pt>
                <c:pt idx="854">
                  <c:v>42293</c:v>
                </c:pt>
                <c:pt idx="855">
                  <c:v>42296</c:v>
                </c:pt>
                <c:pt idx="856">
                  <c:v>42297</c:v>
                </c:pt>
                <c:pt idx="857">
                  <c:v>42298</c:v>
                </c:pt>
                <c:pt idx="858">
                  <c:v>42299</c:v>
                </c:pt>
                <c:pt idx="859">
                  <c:v>42300</c:v>
                </c:pt>
                <c:pt idx="860">
                  <c:v>42303</c:v>
                </c:pt>
                <c:pt idx="861">
                  <c:v>42304</c:v>
                </c:pt>
                <c:pt idx="862">
                  <c:v>42305</c:v>
                </c:pt>
                <c:pt idx="863">
                  <c:v>42306</c:v>
                </c:pt>
                <c:pt idx="864">
                  <c:v>42307</c:v>
                </c:pt>
                <c:pt idx="865">
                  <c:v>42310</c:v>
                </c:pt>
                <c:pt idx="866">
                  <c:v>42311</c:v>
                </c:pt>
                <c:pt idx="867">
                  <c:v>42312</c:v>
                </c:pt>
                <c:pt idx="868">
                  <c:v>42313</c:v>
                </c:pt>
                <c:pt idx="869">
                  <c:v>42314</c:v>
                </c:pt>
                <c:pt idx="870">
                  <c:v>42317</c:v>
                </c:pt>
                <c:pt idx="871">
                  <c:v>42318</c:v>
                </c:pt>
                <c:pt idx="872">
                  <c:v>42319</c:v>
                </c:pt>
                <c:pt idx="873">
                  <c:v>42320</c:v>
                </c:pt>
                <c:pt idx="874">
                  <c:v>42321</c:v>
                </c:pt>
                <c:pt idx="875">
                  <c:v>42324</c:v>
                </c:pt>
                <c:pt idx="876">
                  <c:v>42325</c:v>
                </c:pt>
                <c:pt idx="877">
                  <c:v>42326</c:v>
                </c:pt>
                <c:pt idx="878">
                  <c:v>42327</c:v>
                </c:pt>
                <c:pt idx="879">
                  <c:v>42328</c:v>
                </c:pt>
                <c:pt idx="880">
                  <c:v>42331</c:v>
                </c:pt>
                <c:pt idx="881">
                  <c:v>42332</c:v>
                </c:pt>
                <c:pt idx="882">
                  <c:v>42333</c:v>
                </c:pt>
                <c:pt idx="883">
                  <c:v>42334</c:v>
                </c:pt>
                <c:pt idx="884">
                  <c:v>42335</c:v>
                </c:pt>
                <c:pt idx="885">
                  <c:v>42338</c:v>
                </c:pt>
                <c:pt idx="886">
                  <c:v>42339</c:v>
                </c:pt>
                <c:pt idx="887">
                  <c:v>42340</c:v>
                </c:pt>
                <c:pt idx="888">
                  <c:v>42341</c:v>
                </c:pt>
                <c:pt idx="889">
                  <c:v>42342</c:v>
                </c:pt>
                <c:pt idx="890">
                  <c:v>42345</c:v>
                </c:pt>
                <c:pt idx="891">
                  <c:v>42346</c:v>
                </c:pt>
                <c:pt idx="892">
                  <c:v>42347</c:v>
                </c:pt>
                <c:pt idx="893">
                  <c:v>42348</c:v>
                </c:pt>
                <c:pt idx="894">
                  <c:v>42349</c:v>
                </c:pt>
                <c:pt idx="895">
                  <c:v>42352</c:v>
                </c:pt>
                <c:pt idx="896">
                  <c:v>42353</c:v>
                </c:pt>
                <c:pt idx="897">
                  <c:v>42354</c:v>
                </c:pt>
                <c:pt idx="898">
                  <c:v>42355</c:v>
                </c:pt>
                <c:pt idx="899">
                  <c:v>42356</c:v>
                </c:pt>
                <c:pt idx="900">
                  <c:v>42359</c:v>
                </c:pt>
                <c:pt idx="901">
                  <c:v>42360</c:v>
                </c:pt>
                <c:pt idx="902">
                  <c:v>42361</c:v>
                </c:pt>
                <c:pt idx="903">
                  <c:v>42362</c:v>
                </c:pt>
                <c:pt idx="904">
                  <c:v>42363</c:v>
                </c:pt>
                <c:pt idx="905">
                  <c:v>42366</c:v>
                </c:pt>
                <c:pt idx="906">
                  <c:v>42367</c:v>
                </c:pt>
                <c:pt idx="907">
                  <c:v>42368</c:v>
                </c:pt>
                <c:pt idx="908">
                  <c:v>42369</c:v>
                </c:pt>
                <c:pt idx="909">
                  <c:v>42370</c:v>
                </c:pt>
                <c:pt idx="910">
                  <c:v>42373</c:v>
                </c:pt>
                <c:pt idx="911">
                  <c:v>42374</c:v>
                </c:pt>
                <c:pt idx="912">
                  <c:v>42375</c:v>
                </c:pt>
                <c:pt idx="913">
                  <c:v>42376</c:v>
                </c:pt>
                <c:pt idx="914">
                  <c:v>42377</c:v>
                </c:pt>
                <c:pt idx="915">
                  <c:v>42380</c:v>
                </c:pt>
                <c:pt idx="916">
                  <c:v>42381</c:v>
                </c:pt>
                <c:pt idx="917">
                  <c:v>42382</c:v>
                </c:pt>
                <c:pt idx="918">
                  <c:v>42383</c:v>
                </c:pt>
                <c:pt idx="919">
                  <c:v>42384</c:v>
                </c:pt>
                <c:pt idx="920">
                  <c:v>42387</c:v>
                </c:pt>
                <c:pt idx="921">
                  <c:v>42388</c:v>
                </c:pt>
                <c:pt idx="922">
                  <c:v>42389</c:v>
                </c:pt>
                <c:pt idx="923">
                  <c:v>42390</c:v>
                </c:pt>
                <c:pt idx="924">
                  <c:v>42391</c:v>
                </c:pt>
                <c:pt idx="925">
                  <c:v>42394</c:v>
                </c:pt>
                <c:pt idx="926">
                  <c:v>42395</c:v>
                </c:pt>
                <c:pt idx="927">
                  <c:v>42396</c:v>
                </c:pt>
                <c:pt idx="928">
                  <c:v>42397</c:v>
                </c:pt>
                <c:pt idx="929">
                  <c:v>42398</c:v>
                </c:pt>
                <c:pt idx="930">
                  <c:v>42401</c:v>
                </c:pt>
                <c:pt idx="931">
                  <c:v>42402</c:v>
                </c:pt>
                <c:pt idx="932">
                  <c:v>42403</c:v>
                </c:pt>
                <c:pt idx="933">
                  <c:v>42404</c:v>
                </c:pt>
                <c:pt idx="934">
                  <c:v>42405</c:v>
                </c:pt>
                <c:pt idx="935">
                  <c:v>42408</c:v>
                </c:pt>
                <c:pt idx="936">
                  <c:v>42409</c:v>
                </c:pt>
                <c:pt idx="937">
                  <c:v>42410</c:v>
                </c:pt>
                <c:pt idx="938">
                  <c:v>42411</c:v>
                </c:pt>
                <c:pt idx="939">
                  <c:v>42412</c:v>
                </c:pt>
                <c:pt idx="940">
                  <c:v>42415</c:v>
                </c:pt>
                <c:pt idx="941">
                  <c:v>42416</c:v>
                </c:pt>
                <c:pt idx="942">
                  <c:v>42417</c:v>
                </c:pt>
                <c:pt idx="943">
                  <c:v>42418</c:v>
                </c:pt>
                <c:pt idx="944">
                  <c:v>42419</c:v>
                </c:pt>
                <c:pt idx="945">
                  <c:v>42422</c:v>
                </c:pt>
                <c:pt idx="946">
                  <c:v>42423</c:v>
                </c:pt>
                <c:pt idx="947">
                  <c:v>42424</c:v>
                </c:pt>
                <c:pt idx="948">
                  <c:v>42425</c:v>
                </c:pt>
                <c:pt idx="949">
                  <c:v>42426</c:v>
                </c:pt>
                <c:pt idx="950">
                  <c:v>42429</c:v>
                </c:pt>
                <c:pt idx="951">
                  <c:v>42430</c:v>
                </c:pt>
                <c:pt idx="952">
                  <c:v>42431</c:v>
                </c:pt>
                <c:pt idx="953">
                  <c:v>42432</c:v>
                </c:pt>
                <c:pt idx="954">
                  <c:v>42433</c:v>
                </c:pt>
                <c:pt idx="955">
                  <c:v>42436</c:v>
                </c:pt>
                <c:pt idx="956">
                  <c:v>42437</c:v>
                </c:pt>
                <c:pt idx="957">
                  <c:v>42438</c:v>
                </c:pt>
                <c:pt idx="958">
                  <c:v>42439</c:v>
                </c:pt>
                <c:pt idx="959">
                  <c:v>42440</c:v>
                </c:pt>
                <c:pt idx="960">
                  <c:v>42443</c:v>
                </c:pt>
                <c:pt idx="961">
                  <c:v>42444</c:v>
                </c:pt>
                <c:pt idx="962">
                  <c:v>42445</c:v>
                </c:pt>
                <c:pt idx="963">
                  <c:v>42446</c:v>
                </c:pt>
                <c:pt idx="964">
                  <c:v>42447</c:v>
                </c:pt>
                <c:pt idx="965">
                  <c:v>42450</c:v>
                </c:pt>
                <c:pt idx="966">
                  <c:v>42451</c:v>
                </c:pt>
                <c:pt idx="967">
                  <c:v>42452</c:v>
                </c:pt>
                <c:pt idx="968">
                  <c:v>42453</c:v>
                </c:pt>
                <c:pt idx="969">
                  <c:v>42454</c:v>
                </c:pt>
                <c:pt idx="970">
                  <c:v>42457</c:v>
                </c:pt>
                <c:pt idx="971">
                  <c:v>42458</c:v>
                </c:pt>
                <c:pt idx="972">
                  <c:v>42459</c:v>
                </c:pt>
                <c:pt idx="973">
                  <c:v>42460</c:v>
                </c:pt>
                <c:pt idx="974">
                  <c:v>42461</c:v>
                </c:pt>
                <c:pt idx="975">
                  <c:v>42464</c:v>
                </c:pt>
                <c:pt idx="976">
                  <c:v>42465</c:v>
                </c:pt>
                <c:pt idx="977">
                  <c:v>42466</c:v>
                </c:pt>
                <c:pt idx="978">
                  <c:v>42467</c:v>
                </c:pt>
                <c:pt idx="979">
                  <c:v>42468</c:v>
                </c:pt>
                <c:pt idx="980">
                  <c:v>42471</c:v>
                </c:pt>
                <c:pt idx="981">
                  <c:v>42472</c:v>
                </c:pt>
                <c:pt idx="982">
                  <c:v>42473</c:v>
                </c:pt>
                <c:pt idx="983">
                  <c:v>42474</c:v>
                </c:pt>
                <c:pt idx="984">
                  <c:v>42475</c:v>
                </c:pt>
                <c:pt idx="985">
                  <c:v>42478</c:v>
                </c:pt>
                <c:pt idx="986">
                  <c:v>42479</c:v>
                </c:pt>
                <c:pt idx="987">
                  <c:v>42480</c:v>
                </c:pt>
                <c:pt idx="988">
                  <c:v>42481</c:v>
                </c:pt>
                <c:pt idx="989">
                  <c:v>42482</c:v>
                </c:pt>
                <c:pt idx="990">
                  <c:v>42485</c:v>
                </c:pt>
                <c:pt idx="991">
                  <c:v>42486</c:v>
                </c:pt>
                <c:pt idx="992">
                  <c:v>42487</c:v>
                </c:pt>
                <c:pt idx="993">
                  <c:v>42488</c:v>
                </c:pt>
                <c:pt idx="994">
                  <c:v>42489</c:v>
                </c:pt>
                <c:pt idx="995">
                  <c:v>42492</c:v>
                </c:pt>
                <c:pt idx="996">
                  <c:v>42493</c:v>
                </c:pt>
                <c:pt idx="997">
                  <c:v>42494</c:v>
                </c:pt>
                <c:pt idx="998">
                  <c:v>42495</c:v>
                </c:pt>
                <c:pt idx="999">
                  <c:v>42496</c:v>
                </c:pt>
                <c:pt idx="1000">
                  <c:v>42499</c:v>
                </c:pt>
                <c:pt idx="1001">
                  <c:v>42500</c:v>
                </c:pt>
                <c:pt idx="1002">
                  <c:v>42501</c:v>
                </c:pt>
                <c:pt idx="1003">
                  <c:v>42502</c:v>
                </c:pt>
                <c:pt idx="1004">
                  <c:v>42503</c:v>
                </c:pt>
                <c:pt idx="1005">
                  <c:v>42506</c:v>
                </c:pt>
                <c:pt idx="1006">
                  <c:v>42507</c:v>
                </c:pt>
                <c:pt idx="1007">
                  <c:v>42508</c:v>
                </c:pt>
                <c:pt idx="1008">
                  <c:v>42509</c:v>
                </c:pt>
                <c:pt idx="1009">
                  <c:v>42510</c:v>
                </c:pt>
                <c:pt idx="1010">
                  <c:v>42513</c:v>
                </c:pt>
                <c:pt idx="1011">
                  <c:v>42514</c:v>
                </c:pt>
                <c:pt idx="1012">
                  <c:v>42515</c:v>
                </c:pt>
                <c:pt idx="1013">
                  <c:v>42516</c:v>
                </c:pt>
                <c:pt idx="1014">
                  <c:v>42517</c:v>
                </c:pt>
                <c:pt idx="1015">
                  <c:v>42520</c:v>
                </c:pt>
                <c:pt idx="1016">
                  <c:v>42521</c:v>
                </c:pt>
                <c:pt idx="1017">
                  <c:v>42522</c:v>
                </c:pt>
                <c:pt idx="1018">
                  <c:v>42523</c:v>
                </c:pt>
                <c:pt idx="1019">
                  <c:v>42524</c:v>
                </c:pt>
                <c:pt idx="1020">
                  <c:v>42527</c:v>
                </c:pt>
                <c:pt idx="1021">
                  <c:v>42528</c:v>
                </c:pt>
                <c:pt idx="1022">
                  <c:v>42529</c:v>
                </c:pt>
                <c:pt idx="1023">
                  <c:v>42530</c:v>
                </c:pt>
                <c:pt idx="1024">
                  <c:v>42531</c:v>
                </c:pt>
                <c:pt idx="1025">
                  <c:v>42534</c:v>
                </c:pt>
                <c:pt idx="1026">
                  <c:v>42535</c:v>
                </c:pt>
                <c:pt idx="1027">
                  <c:v>42536</c:v>
                </c:pt>
                <c:pt idx="1028">
                  <c:v>42537</c:v>
                </c:pt>
                <c:pt idx="1029">
                  <c:v>42538</c:v>
                </c:pt>
                <c:pt idx="1030">
                  <c:v>42541</c:v>
                </c:pt>
                <c:pt idx="1031">
                  <c:v>42542</c:v>
                </c:pt>
                <c:pt idx="1032">
                  <c:v>42543</c:v>
                </c:pt>
                <c:pt idx="1033">
                  <c:v>42544</c:v>
                </c:pt>
                <c:pt idx="1034">
                  <c:v>42545</c:v>
                </c:pt>
                <c:pt idx="1035">
                  <c:v>42548</c:v>
                </c:pt>
                <c:pt idx="1036">
                  <c:v>42549</c:v>
                </c:pt>
                <c:pt idx="1037">
                  <c:v>42550</c:v>
                </c:pt>
                <c:pt idx="1038">
                  <c:v>42551</c:v>
                </c:pt>
                <c:pt idx="1039">
                  <c:v>42552</c:v>
                </c:pt>
                <c:pt idx="1040">
                  <c:v>42555</c:v>
                </c:pt>
                <c:pt idx="1041">
                  <c:v>42556</c:v>
                </c:pt>
                <c:pt idx="1042">
                  <c:v>42557</c:v>
                </c:pt>
                <c:pt idx="1043">
                  <c:v>42558</c:v>
                </c:pt>
                <c:pt idx="1044">
                  <c:v>42559</c:v>
                </c:pt>
                <c:pt idx="1045">
                  <c:v>42562</c:v>
                </c:pt>
                <c:pt idx="1046">
                  <c:v>42563</c:v>
                </c:pt>
                <c:pt idx="1047">
                  <c:v>42564</c:v>
                </c:pt>
                <c:pt idx="1048">
                  <c:v>42565</c:v>
                </c:pt>
                <c:pt idx="1049">
                  <c:v>42566</c:v>
                </c:pt>
                <c:pt idx="1050">
                  <c:v>42569</c:v>
                </c:pt>
                <c:pt idx="1051">
                  <c:v>42570</c:v>
                </c:pt>
                <c:pt idx="1052">
                  <c:v>42571</c:v>
                </c:pt>
                <c:pt idx="1053">
                  <c:v>42572</c:v>
                </c:pt>
                <c:pt idx="1054">
                  <c:v>42573</c:v>
                </c:pt>
                <c:pt idx="1055">
                  <c:v>42576</c:v>
                </c:pt>
                <c:pt idx="1056">
                  <c:v>42577</c:v>
                </c:pt>
                <c:pt idx="1057">
                  <c:v>42578</c:v>
                </c:pt>
                <c:pt idx="1058">
                  <c:v>42579</c:v>
                </c:pt>
                <c:pt idx="1059">
                  <c:v>42580</c:v>
                </c:pt>
                <c:pt idx="1060">
                  <c:v>42583</c:v>
                </c:pt>
                <c:pt idx="1061">
                  <c:v>42584</c:v>
                </c:pt>
                <c:pt idx="1062">
                  <c:v>42585</c:v>
                </c:pt>
                <c:pt idx="1063">
                  <c:v>42586</c:v>
                </c:pt>
                <c:pt idx="1064">
                  <c:v>42587</c:v>
                </c:pt>
                <c:pt idx="1065">
                  <c:v>42590</c:v>
                </c:pt>
                <c:pt idx="1066">
                  <c:v>42591</c:v>
                </c:pt>
                <c:pt idx="1067">
                  <c:v>42592</c:v>
                </c:pt>
                <c:pt idx="1068">
                  <c:v>42593</c:v>
                </c:pt>
                <c:pt idx="1069">
                  <c:v>42594</c:v>
                </c:pt>
                <c:pt idx="1070">
                  <c:v>42597</c:v>
                </c:pt>
                <c:pt idx="1071">
                  <c:v>42598</c:v>
                </c:pt>
                <c:pt idx="1072">
                  <c:v>42599</c:v>
                </c:pt>
                <c:pt idx="1073">
                  <c:v>42600</c:v>
                </c:pt>
                <c:pt idx="1074">
                  <c:v>42601</c:v>
                </c:pt>
                <c:pt idx="1075">
                  <c:v>42604</c:v>
                </c:pt>
                <c:pt idx="1076">
                  <c:v>42605</c:v>
                </c:pt>
                <c:pt idx="1077">
                  <c:v>42606</c:v>
                </c:pt>
                <c:pt idx="1078">
                  <c:v>42607</c:v>
                </c:pt>
                <c:pt idx="1079">
                  <c:v>42608</c:v>
                </c:pt>
                <c:pt idx="1080">
                  <c:v>42611</c:v>
                </c:pt>
                <c:pt idx="1081">
                  <c:v>42612</c:v>
                </c:pt>
                <c:pt idx="1082">
                  <c:v>42613</c:v>
                </c:pt>
                <c:pt idx="1083">
                  <c:v>42614</c:v>
                </c:pt>
                <c:pt idx="1084">
                  <c:v>42615</c:v>
                </c:pt>
                <c:pt idx="1085">
                  <c:v>42618</c:v>
                </c:pt>
                <c:pt idx="1086">
                  <c:v>42619</c:v>
                </c:pt>
                <c:pt idx="1087">
                  <c:v>42620</c:v>
                </c:pt>
                <c:pt idx="1088">
                  <c:v>42621</c:v>
                </c:pt>
                <c:pt idx="1089">
                  <c:v>42622</c:v>
                </c:pt>
                <c:pt idx="1090">
                  <c:v>42625</c:v>
                </c:pt>
                <c:pt idx="1091">
                  <c:v>42626</c:v>
                </c:pt>
                <c:pt idx="1092">
                  <c:v>42627</c:v>
                </c:pt>
                <c:pt idx="1093">
                  <c:v>42628</c:v>
                </c:pt>
                <c:pt idx="1094">
                  <c:v>42629</c:v>
                </c:pt>
                <c:pt idx="1095">
                  <c:v>42632</c:v>
                </c:pt>
                <c:pt idx="1096">
                  <c:v>42633</c:v>
                </c:pt>
                <c:pt idx="1097">
                  <c:v>42634</c:v>
                </c:pt>
                <c:pt idx="1098">
                  <c:v>42635</c:v>
                </c:pt>
                <c:pt idx="1099">
                  <c:v>42636</c:v>
                </c:pt>
                <c:pt idx="1100">
                  <c:v>42639</c:v>
                </c:pt>
                <c:pt idx="1101">
                  <c:v>42640</c:v>
                </c:pt>
                <c:pt idx="1102">
                  <c:v>42641</c:v>
                </c:pt>
                <c:pt idx="1103">
                  <c:v>42642</c:v>
                </c:pt>
                <c:pt idx="1104">
                  <c:v>42643</c:v>
                </c:pt>
                <c:pt idx="1105">
                  <c:v>42646</c:v>
                </c:pt>
                <c:pt idx="1106">
                  <c:v>42647</c:v>
                </c:pt>
                <c:pt idx="1107">
                  <c:v>42648</c:v>
                </c:pt>
                <c:pt idx="1108">
                  <c:v>42649</c:v>
                </c:pt>
                <c:pt idx="1109">
                  <c:v>42650</c:v>
                </c:pt>
                <c:pt idx="1110">
                  <c:v>42653</c:v>
                </c:pt>
                <c:pt idx="1111">
                  <c:v>42654</c:v>
                </c:pt>
                <c:pt idx="1112">
                  <c:v>42655</c:v>
                </c:pt>
                <c:pt idx="1113">
                  <c:v>42656</c:v>
                </c:pt>
                <c:pt idx="1114">
                  <c:v>42657</c:v>
                </c:pt>
                <c:pt idx="1115">
                  <c:v>42660</c:v>
                </c:pt>
                <c:pt idx="1116">
                  <c:v>42661</c:v>
                </c:pt>
                <c:pt idx="1117">
                  <c:v>42662</c:v>
                </c:pt>
                <c:pt idx="1118">
                  <c:v>42663</c:v>
                </c:pt>
                <c:pt idx="1119">
                  <c:v>42664</c:v>
                </c:pt>
                <c:pt idx="1120">
                  <c:v>42667</c:v>
                </c:pt>
                <c:pt idx="1121">
                  <c:v>42668</c:v>
                </c:pt>
                <c:pt idx="1122">
                  <c:v>42669</c:v>
                </c:pt>
                <c:pt idx="1123">
                  <c:v>42670</c:v>
                </c:pt>
                <c:pt idx="1124">
                  <c:v>42671</c:v>
                </c:pt>
                <c:pt idx="1125">
                  <c:v>42674</c:v>
                </c:pt>
                <c:pt idx="1126">
                  <c:v>42675</c:v>
                </c:pt>
                <c:pt idx="1127">
                  <c:v>42676</c:v>
                </c:pt>
                <c:pt idx="1128">
                  <c:v>42677</c:v>
                </c:pt>
                <c:pt idx="1129">
                  <c:v>42678</c:v>
                </c:pt>
                <c:pt idx="1130">
                  <c:v>42681</c:v>
                </c:pt>
                <c:pt idx="1131">
                  <c:v>42682</c:v>
                </c:pt>
                <c:pt idx="1132">
                  <c:v>42683</c:v>
                </c:pt>
                <c:pt idx="1133">
                  <c:v>42684</c:v>
                </c:pt>
                <c:pt idx="1134">
                  <c:v>42685</c:v>
                </c:pt>
                <c:pt idx="1135">
                  <c:v>42688</c:v>
                </c:pt>
                <c:pt idx="1136">
                  <c:v>42689</c:v>
                </c:pt>
                <c:pt idx="1137">
                  <c:v>42690</c:v>
                </c:pt>
                <c:pt idx="1138">
                  <c:v>42691</c:v>
                </c:pt>
                <c:pt idx="1139">
                  <c:v>42692</c:v>
                </c:pt>
                <c:pt idx="1140">
                  <c:v>42695</c:v>
                </c:pt>
                <c:pt idx="1141">
                  <c:v>42696</c:v>
                </c:pt>
                <c:pt idx="1142">
                  <c:v>42697</c:v>
                </c:pt>
                <c:pt idx="1143">
                  <c:v>42698</c:v>
                </c:pt>
                <c:pt idx="1144">
                  <c:v>42699</c:v>
                </c:pt>
                <c:pt idx="1145">
                  <c:v>42702</c:v>
                </c:pt>
                <c:pt idx="1146">
                  <c:v>42703</c:v>
                </c:pt>
                <c:pt idx="1147">
                  <c:v>42704</c:v>
                </c:pt>
                <c:pt idx="1148">
                  <c:v>42705</c:v>
                </c:pt>
                <c:pt idx="1149">
                  <c:v>42706</c:v>
                </c:pt>
                <c:pt idx="1150">
                  <c:v>42709</c:v>
                </c:pt>
                <c:pt idx="1151">
                  <c:v>42710</c:v>
                </c:pt>
                <c:pt idx="1152">
                  <c:v>42711</c:v>
                </c:pt>
                <c:pt idx="1153">
                  <c:v>42712</c:v>
                </c:pt>
                <c:pt idx="1154">
                  <c:v>42713</c:v>
                </c:pt>
                <c:pt idx="1155">
                  <c:v>42716</c:v>
                </c:pt>
                <c:pt idx="1156">
                  <c:v>42717</c:v>
                </c:pt>
                <c:pt idx="1157">
                  <c:v>42718</c:v>
                </c:pt>
                <c:pt idx="1158">
                  <c:v>42719</c:v>
                </c:pt>
                <c:pt idx="1159">
                  <c:v>42720</c:v>
                </c:pt>
                <c:pt idx="1160">
                  <c:v>42723</c:v>
                </c:pt>
                <c:pt idx="1161">
                  <c:v>42724</c:v>
                </c:pt>
                <c:pt idx="1162">
                  <c:v>42725</c:v>
                </c:pt>
                <c:pt idx="1163">
                  <c:v>42726</c:v>
                </c:pt>
                <c:pt idx="1164">
                  <c:v>42727</c:v>
                </c:pt>
                <c:pt idx="1165">
                  <c:v>42730</c:v>
                </c:pt>
                <c:pt idx="1166">
                  <c:v>42731</c:v>
                </c:pt>
                <c:pt idx="1167">
                  <c:v>42732</c:v>
                </c:pt>
                <c:pt idx="1168">
                  <c:v>42733</c:v>
                </c:pt>
                <c:pt idx="1169">
                  <c:v>42734</c:v>
                </c:pt>
                <c:pt idx="1170">
                  <c:v>42737</c:v>
                </c:pt>
                <c:pt idx="1171">
                  <c:v>42738</c:v>
                </c:pt>
                <c:pt idx="1172">
                  <c:v>42739</c:v>
                </c:pt>
                <c:pt idx="1173">
                  <c:v>42740</c:v>
                </c:pt>
                <c:pt idx="1174">
                  <c:v>42741</c:v>
                </c:pt>
                <c:pt idx="1175">
                  <c:v>42744</c:v>
                </c:pt>
                <c:pt idx="1176">
                  <c:v>42745</c:v>
                </c:pt>
                <c:pt idx="1177">
                  <c:v>42746</c:v>
                </c:pt>
                <c:pt idx="1178">
                  <c:v>42747</c:v>
                </c:pt>
                <c:pt idx="1179">
                  <c:v>42748</c:v>
                </c:pt>
                <c:pt idx="1180">
                  <c:v>42751</c:v>
                </c:pt>
                <c:pt idx="1181">
                  <c:v>42752</c:v>
                </c:pt>
                <c:pt idx="1182">
                  <c:v>42753</c:v>
                </c:pt>
                <c:pt idx="1183">
                  <c:v>42754</c:v>
                </c:pt>
                <c:pt idx="1184">
                  <c:v>42755</c:v>
                </c:pt>
                <c:pt idx="1185">
                  <c:v>42758</c:v>
                </c:pt>
                <c:pt idx="1186">
                  <c:v>42759</c:v>
                </c:pt>
                <c:pt idx="1187">
                  <c:v>42760</c:v>
                </c:pt>
                <c:pt idx="1188">
                  <c:v>42761</c:v>
                </c:pt>
                <c:pt idx="1189">
                  <c:v>42762</c:v>
                </c:pt>
                <c:pt idx="1190">
                  <c:v>42765</c:v>
                </c:pt>
                <c:pt idx="1191">
                  <c:v>42766</c:v>
                </c:pt>
                <c:pt idx="1192">
                  <c:v>42767</c:v>
                </c:pt>
                <c:pt idx="1193">
                  <c:v>42768</c:v>
                </c:pt>
                <c:pt idx="1194">
                  <c:v>42769</c:v>
                </c:pt>
                <c:pt idx="1195">
                  <c:v>42772</c:v>
                </c:pt>
                <c:pt idx="1196">
                  <c:v>42773</c:v>
                </c:pt>
                <c:pt idx="1197">
                  <c:v>42774</c:v>
                </c:pt>
                <c:pt idx="1198">
                  <c:v>42775</c:v>
                </c:pt>
                <c:pt idx="1199">
                  <c:v>42776</c:v>
                </c:pt>
                <c:pt idx="1200">
                  <c:v>42779</c:v>
                </c:pt>
                <c:pt idx="1201">
                  <c:v>42780</c:v>
                </c:pt>
                <c:pt idx="1202">
                  <c:v>42781</c:v>
                </c:pt>
                <c:pt idx="1203">
                  <c:v>42782</c:v>
                </c:pt>
                <c:pt idx="1204">
                  <c:v>42783</c:v>
                </c:pt>
                <c:pt idx="1205">
                  <c:v>42786</c:v>
                </c:pt>
                <c:pt idx="1206">
                  <c:v>42787</c:v>
                </c:pt>
                <c:pt idx="1207">
                  <c:v>42788</c:v>
                </c:pt>
                <c:pt idx="1208">
                  <c:v>42789</c:v>
                </c:pt>
                <c:pt idx="1209">
                  <c:v>42790</c:v>
                </c:pt>
                <c:pt idx="1210">
                  <c:v>42793</c:v>
                </c:pt>
                <c:pt idx="1211">
                  <c:v>42794</c:v>
                </c:pt>
                <c:pt idx="1212">
                  <c:v>42795</c:v>
                </c:pt>
                <c:pt idx="1213">
                  <c:v>42796</c:v>
                </c:pt>
                <c:pt idx="1214">
                  <c:v>42797</c:v>
                </c:pt>
                <c:pt idx="1215">
                  <c:v>42800</c:v>
                </c:pt>
                <c:pt idx="1216">
                  <c:v>42801</c:v>
                </c:pt>
                <c:pt idx="1217">
                  <c:v>42802</c:v>
                </c:pt>
                <c:pt idx="1218">
                  <c:v>42803</c:v>
                </c:pt>
                <c:pt idx="1219">
                  <c:v>42804</c:v>
                </c:pt>
                <c:pt idx="1220">
                  <c:v>42807</c:v>
                </c:pt>
                <c:pt idx="1221">
                  <c:v>42808</c:v>
                </c:pt>
                <c:pt idx="1222">
                  <c:v>42809</c:v>
                </c:pt>
                <c:pt idx="1223">
                  <c:v>42810</c:v>
                </c:pt>
                <c:pt idx="1224">
                  <c:v>42811</c:v>
                </c:pt>
                <c:pt idx="1225">
                  <c:v>42814</c:v>
                </c:pt>
                <c:pt idx="1226">
                  <c:v>42815</c:v>
                </c:pt>
                <c:pt idx="1227">
                  <c:v>42816</c:v>
                </c:pt>
                <c:pt idx="1228">
                  <c:v>42817</c:v>
                </c:pt>
                <c:pt idx="1229">
                  <c:v>42818</c:v>
                </c:pt>
                <c:pt idx="1230">
                  <c:v>42821</c:v>
                </c:pt>
                <c:pt idx="1231">
                  <c:v>42822</c:v>
                </c:pt>
                <c:pt idx="1232">
                  <c:v>42823</c:v>
                </c:pt>
                <c:pt idx="1233">
                  <c:v>42824</c:v>
                </c:pt>
                <c:pt idx="1234">
                  <c:v>42825</c:v>
                </c:pt>
                <c:pt idx="1235">
                  <c:v>42828</c:v>
                </c:pt>
                <c:pt idx="1236">
                  <c:v>42829</c:v>
                </c:pt>
                <c:pt idx="1237">
                  <c:v>42830</c:v>
                </c:pt>
                <c:pt idx="1238">
                  <c:v>42831</c:v>
                </c:pt>
                <c:pt idx="1239">
                  <c:v>42832</c:v>
                </c:pt>
                <c:pt idx="1240">
                  <c:v>42835</c:v>
                </c:pt>
                <c:pt idx="1241">
                  <c:v>42836</c:v>
                </c:pt>
                <c:pt idx="1242">
                  <c:v>42837</c:v>
                </c:pt>
                <c:pt idx="1243">
                  <c:v>42838</c:v>
                </c:pt>
                <c:pt idx="1244">
                  <c:v>42839</c:v>
                </c:pt>
                <c:pt idx="1245">
                  <c:v>42842</c:v>
                </c:pt>
                <c:pt idx="1246">
                  <c:v>42843</c:v>
                </c:pt>
                <c:pt idx="1247">
                  <c:v>42844</c:v>
                </c:pt>
                <c:pt idx="1248">
                  <c:v>42845</c:v>
                </c:pt>
                <c:pt idx="1249">
                  <c:v>42846</c:v>
                </c:pt>
                <c:pt idx="1250">
                  <c:v>42849</c:v>
                </c:pt>
                <c:pt idx="1251">
                  <c:v>42850</c:v>
                </c:pt>
                <c:pt idx="1252">
                  <c:v>42851</c:v>
                </c:pt>
                <c:pt idx="1253">
                  <c:v>42852</c:v>
                </c:pt>
                <c:pt idx="1254">
                  <c:v>42853</c:v>
                </c:pt>
                <c:pt idx="1255">
                  <c:v>42856</c:v>
                </c:pt>
                <c:pt idx="1256">
                  <c:v>42857</c:v>
                </c:pt>
                <c:pt idx="1257">
                  <c:v>42858</c:v>
                </c:pt>
                <c:pt idx="1258">
                  <c:v>42859</c:v>
                </c:pt>
                <c:pt idx="1259">
                  <c:v>42860</c:v>
                </c:pt>
                <c:pt idx="1260">
                  <c:v>42863</c:v>
                </c:pt>
                <c:pt idx="1261">
                  <c:v>42864</c:v>
                </c:pt>
                <c:pt idx="1262">
                  <c:v>42865</c:v>
                </c:pt>
                <c:pt idx="1263">
                  <c:v>42866</c:v>
                </c:pt>
                <c:pt idx="1264">
                  <c:v>42867</c:v>
                </c:pt>
                <c:pt idx="1265">
                  <c:v>42870</c:v>
                </c:pt>
                <c:pt idx="1266">
                  <c:v>42871</c:v>
                </c:pt>
                <c:pt idx="1267">
                  <c:v>42872</c:v>
                </c:pt>
                <c:pt idx="1268">
                  <c:v>42873</c:v>
                </c:pt>
                <c:pt idx="1269">
                  <c:v>42874</c:v>
                </c:pt>
                <c:pt idx="1270">
                  <c:v>42877</c:v>
                </c:pt>
                <c:pt idx="1271">
                  <c:v>42878</c:v>
                </c:pt>
                <c:pt idx="1272">
                  <c:v>42879</c:v>
                </c:pt>
                <c:pt idx="1273">
                  <c:v>42880</c:v>
                </c:pt>
                <c:pt idx="1274">
                  <c:v>42881</c:v>
                </c:pt>
                <c:pt idx="1275">
                  <c:v>42884</c:v>
                </c:pt>
                <c:pt idx="1276">
                  <c:v>42885</c:v>
                </c:pt>
                <c:pt idx="1277">
                  <c:v>42886</c:v>
                </c:pt>
                <c:pt idx="1278">
                  <c:v>42887</c:v>
                </c:pt>
                <c:pt idx="1279">
                  <c:v>42888</c:v>
                </c:pt>
                <c:pt idx="1280">
                  <c:v>42891</c:v>
                </c:pt>
                <c:pt idx="1281">
                  <c:v>42892</c:v>
                </c:pt>
                <c:pt idx="1282">
                  <c:v>42893</c:v>
                </c:pt>
                <c:pt idx="1283">
                  <c:v>42894</c:v>
                </c:pt>
                <c:pt idx="1284">
                  <c:v>42895</c:v>
                </c:pt>
                <c:pt idx="1285">
                  <c:v>42898</c:v>
                </c:pt>
                <c:pt idx="1286">
                  <c:v>42899</c:v>
                </c:pt>
                <c:pt idx="1287">
                  <c:v>42900</c:v>
                </c:pt>
                <c:pt idx="1288">
                  <c:v>42901</c:v>
                </c:pt>
                <c:pt idx="1289">
                  <c:v>42902</c:v>
                </c:pt>
                <c:pt idx="1290">
                  <c:v>42905</c:v>
                </c:pt>
                <c:pt idx="1291">
                  <c:v>42906</c:v>
                </c:pt>
                <c:pt idx="1292">
                  <c:v>42907</c:v>
                </c:pt>
                <c:pt idx="1293">
                  <c:v>42908</c:v>
                </c:pt>
                <c:pt idx="1294">
                  <c:v>42909</c:v>
                </c:pt>
                <c:pt idx="1295">
                  <c:v>42912</c:v>
                </c:pt>
                <c:pt idx="1296">
                  <c:v>42913</c:v>
                </c:pt>
                <c:pt idx="1297">
                  <c:v>42914</c:v>
                </c:pt>
                <c:pt idx="1298">
                  <c:v>42915</c:v>
                </c:pt>
                <c:pt idx="1299">
                  <c:v>42916</c:v>
                </c:pt>
                <c:pt idx="1300">
                  <c:v>42919</c:v>
                </c:pt>
                <c:pt idx="1301">
                  <c:v>42920</c:v>
                </c:pt>
                <c:pt idx="1302">
                  <c:v>42921</c:v>
                </c:pt>
                <c:pt idx="1303">
                  <c:v>42922</c:v>
                </c:pt>
                <c:pt idx="1304">
                  <c:v>42923</c:v>
                </c:pt>
                <c:pt idx="1305">
                  <c:v>42926</c:v>
                </c:pt>
                <c:pt idx="1306">
                  <c:v>42927</c:v>
                </c:pt>
                <c:pt idx="1307">
                  <c:v>42928</c:v>
                </c:pt>
                <c:pt idx="1308">
                  <c:v>42929</c:v>
                </c:pt>
                <c:pt idx="1309">
                  <c:v>42930</c:v>
                </c:pt>
                <c:pt idx="1310">
                  <c:v>42933</c:v>
                </c:pt>
                <c:pt idx="1311">
                  <c:v>42934</c:v>
                </c:pt>
                <c:pt idx="1312">
                  <c:v>42935</c:v>
                </c:pt>
                <c:pt idx="1313">
                  <c:v>42936</c:v>
                </c:pt>
                <c:pt idx="1314">
                  <c:v>42937</c:v>
                </c:pt>
                <c:pt idx="1315">
                  <c:v>42940</c:v>
                </c:pt>
                <c:pt idx="1316">
                  <c:v>42941</c:v>
                </c:pt>
                <c:pt idx="1317">
                  <c:v>42942</c:v>
                </c:pt>
                <c:pt idx="1318">
                  <c:v>42943</c:v>
                </c:pt>
                <c:pt idx="1319">
                  <c:v>42944</c:v>
                </c:pt>
                <c:pt idx="1320">
                  <c:v>42947</c:v>
                </c:pt>
                <c:pt idx="1321">
                  <c:v>42948</c:v>
                </c:pt>
                <c:pt idx="1322">
                  <c:v>42949</c:v>
                </c:pt>
                <c:pt idx="1323">
                  <c:v>42950</c:v>
                </c:pt>
                <c:pt idx="1324">
                  <c:v>42951</c:v>
                </c:pt>
                <c:pt idx="1325">
                  <c:v>42954</c:v>
                </c:pt>
                <c:pt idx="1326">
                  <c:v>42955</c:v>
                </c:pt>
                <c:pt idx="1327">
                  <c:v>42956</c:v>
                </c:pt>
                <c:pt idx="1328">
                  <c:v>42957</c:v>
                </c:pt>
                <c:pt idx="1329">
                  <c:v>42958</c:v>
                </c:pt>
                <c:pt idx="1330">
                  <c:v>42961</c:v>
                </c:pt>
                <c:pt idx="1331">
                  <c:v>42962</c:v>
                </c:pt>
                <c:pt idx="1332">
                  <c:v>42963</c:v>
                </c:pt>
                <c:pt idx="1333">
                  <c:v>42964</c:v>
                </c:pt>
                <c:pt idx="1334">
                  <c:v>42965</c:v>
                </c:pt>
                <c:pt idx="1335">
                  <c:v>42968</c:v>
                </c:pt>
                <c:pt idx="1336">
                  <c:v>42969</c:v>
                </c:pt>
                <c:pt idx="1337">
                  <c:v>42970</c:v>
                </c:pt>
                <c:pt idx="1338">
                  <c:v>42971</c:v>
                </c:pt>
                <c:pt idx="1339">
                  <c:v>42972</c:v>
                </c:pt>
                <c:pt idx="1340">
                  <c:v>42975</c:v>
                </c:pt>
                <c:pt idx="1341">
                  <c:v>42976</c:v>
                </c:pt>
                <c:pt idx="1342">
                  <c:v>42977</c:v>
                </c:pt>
                <c:pt idx="1343">
                  <c:v>42978</c:v>
                </c:pt>
                <c:pt idx="1344">
                  <c:v>42979</c:v>
                </c:pt>
                <c:pt idx="1345">
                  <c:v>42982</c:v>
                </c:pt>
                <c:pt idx="1346">
                  <c:v>42983</c:v>
                </c:pt>
                <c:pt idx="1347">
                  <c:v>42984</c:v>
                </c:pt>
                <c:pt idx="1348">
                  <c:v>42985</c:v>
                </c:pt>
                <c:pt idx="1349">
                  <c:v>42986</c:v>
                </c:pt>
                <c:pt idx="1350">
                  <c:v>42989</c:v>
                </c:pt>
                <c:pt idx="1351">
                  <c:v>42990</c:v>
                </c:pt>
                <c:pt idx="1352">
                  <c:v>42991</c:v>
                </c:pt>
                <c:pt idx="1353">
                  <c:v>42992</c:v>
                </c:pt>
                <c:pt idx="1354">
                  <c:v>42993</c:v>
                </c:pt>
                <c:pt idx="1355">
                  <c:v>42996</c:v>
                </c:pt>
                <c:pt idx="1356">
                  <c:v>42997</c:v>
                </c:pt>
                <c:pt idx="1357">
                  <c:v>42998</c:v>
                </c:pt>
                <c:pt idx="1358">
                  <c:v>42999</c:v>
                </c:pt>
                <c:pt idx="1359">
                  <c:v>43000</c:v>
                </c:pt>
                <c:pt idx="1360">
                  <c:v>43003</c:v>
                </c:pt>
                <c:pt idx="1361">
                  <c:v>43004</c:v>
                </c:pt>
                <c:pt idx="1362">
                  <c:v>43005</c:v>
                </c:pt>
                <c:pt idx="1363">
                  <c:v>43006</c:v>
                </c:pt>
                <c:pt idx="1364">
                  <c:v>43007</c:v>
                </c:pt>
                <c:pt idx="1365">
                  <c:v>43010</c:v>
                </c:pt>
                <c:pt idx="1366">
                  <c:v>43011</c:v>
                </c:pt>
                <c:pt idx="1367">
                  <c:v>43012</c:v>
                </c:pt>
                <c:pt idx="1368">
                  <c:v>43013</c:v>
                </c:pt>
                <c:pt idx="1369">
                  <c:v>43014</c:v>
                </c:pt>
                <c:pt idx="1370">
                  <c:v>43017</c:v>
                </c:pt>
                <c:pt idx="1371">
                  <c:v>43018</c:v>
                </c:pt>
                <c:pt idx="1372">
                  <c:v>43019</c:v>
                </c:pt>
                <c:pt idx="1373">
                  <c:v>43020</c:v>
                </c:pt>
                <c:pt idx="1374">
                  <c:v>43021</c:v>
                </c:pt>
                <c:pt idx="1375">
                  <c:v>43024</c:v>
                </c:pt>
                <c:pt idx="1376">
                  <c:v>43025</c:v>
                </c:pt>
                <c:pt idx="1377">
                  <c:v>43026</c:v>
                </c:pt>
                <c:pt idx="1378">
                  <c:v>43027</c:v>
                </c:pt>
                <c:pt idx="1379">
                  <c:v>43028</c:v>
                </c:pt>
                <c:pt idx="1380">
                  <c:v>43031</c:v>
                </c:pt>
                <c:pt idx="1381">
                  <c:v>43032</c:v>
                </c:pt>
                <c:pt idx="1382">
                  <c:v>43033</c:v>
                </c:pt>
                <c:pt idx="1383">
                  <c:v>43034</c:v>
                </c:pt>
                <c:pt idx="1384">
                  <c:v>43035</c:v>
                </c:pt>
                <c:pt idx="1385">
                  <c:v>43038</c:v>
                </c:pt>
                <c:pt idx="1386">
                  <c:v>43039</c:v>
                </c:pt>
                <c:pt idx="1387">
                  <c:v>43040</c:v>
                </c:pt>
                <c:pt idx="1388">
                  <c:v>43041</c:v>
                </c:pt>
                <c:pt idx="1389">
                  <c:v>43042</c:v>
                </c:pt>
                <c:pt idx="1390">
                  <c:v>43045</c:v>
                </c:pt>
                <c:pt idx="1391">
                  <c:v>43046</c:v>
                </c:pt>
                <c:pt idx="1392">
                  <c:v>43047</c:v>
                </c:pt>
                <c:pt idx="1393">
                  <c:v>43048</c:v>
                </c:pt>
                <c:pt idx="1394">
                  <c:v>43049</c:v>
                </c:pt>
                <c:pt idx="1395">
                  <c:v>43052</c:v>
                </c:pt>
                <c:pt idx="1396">
                  <c:v>43053</c:v>
                </c:pt>
                <c:pt idx="1397">
                  <c:v>43054</c:v>
                </c:pt>
                <c:pt idx="1398">
                  <c:v>43055</c:v>
                </c:pt>
                <c:pt idx="1399">
                  <c:v>43056</c:v>
                </c:pt>
                <c:pt idx="1400">
                  <c:v>43059</c:v>
                </c:pt>
                <c:pt idx="1401">
                  <c:v>43060</c:v>
                </c:pt>
                <c:pt idx="1402">
                  <c:v>43061</c:v>
                </c:pt>
                <c:pt idx="1403">
                  <c:v>43062</c:v>
                </c:pt>
                <c:pt idx="1404">
                  <c:v>43063</c:v>
                </c:pt>
                <c:pt idx="1405">
                  <c:v>43066</c:v>
                </c:pt>
                <c:pt idx="1406">
                  <c:v>43067</c:v>
                </c:pt>
                <c:pt idx="1407">
                  <c:v>43068</c:v>
                </c:pt>
                <c:pt idx="1408">
                  <c:v>43069</c:v>
                </c:pt>
                <c:pt idx="1409">
                  <c:v>43070</c:v>
                </c:pt>
                <c:pt idx="1410">
                  <c:v>43073</c:v>
                </c:pt>
                <c:pt idx="1411">
                  <c:v>43074</c:v>
                </c:pt>
                <c:pt idx="1412">
                  <c:v>43075</c:v>
                </c:pt>
                <c:pt idx="1413">
                  <c:v>43076</c:v>
                </c:pt>
                <c:pt idx="1414">
                  <c:v>43077</c:v>
                </c:pt>
                <c:pt idx="1415">
                  <c:v>43080</c:v>
                </c:pt>
                <c:pt idx="1416">
                  <c:v>43081</c:v>
                </c:pt>
                <c:pt idx="1417">
                  <c:v>43082</c:v>
                </c:pt>
                <c:pt idx="1418">
                  <c:v>43083</c:v>
                </c:pt>
                <c:pt idx="1419">
                  <c:v>43084</c:v>
                </c:pt>
                <c:pt idx="1420">
                  <c:v>43087</c:v>
                </c:pt>
                <c:pt idx="1421">
                  <c:v>43088</c:v>
                </c:pt>
                <c:pt idx="1422">
                  <c:v>43089</c:v>
                </c:pt>
                <c:pt idx="1423">
                  <c:v>43090</c:v>
                </c:pt>
                <c:pt idx="1424">
                  <c:v>43091</c:v>
                </c:pt>
                <c:pt idx="1425">
                  <c:v>43094</c:v>
                </c:pt>
                <c:pt idx="1426">
                  <c:v>43095</c:v>
                </c:pt>
                <c:pt idx="1427">
                  <c:v>43096</c:v>
                </c:pt>
                <c:pt idx="1428">
                  <c:v>43097</c:v>
                </c:pt>
                <c:pt idx="1429">
                  <c:v>43098</c:v>
                </c:pt>
                <c:pt idx="1430">
                  <c:v>43101</c:v>
                </c:pt>
                <c:pt idx="1431">
                  <c:v>43102</c:v>
                </c:pt>
                <c:pt idx="1432">
                  <c:v>43103</c:v>
                </c:pt>
                <c:pt idx="1433">
                  <c:v>43104</c:v>
                </c:pt>
                <c:pt idx="1434">
                  <c:v>43105</c:v>
                </c:pt>
                <c:pt idx="1435">
                  <c:v>43108</c:v>
                </c:pt>
                <c:pt idx="1436">
                  <c:v>43109</c:v>
                </c:pt>
                <c:pt idx="1437">
                  <c:v>43110</c:v>
                </c:pt>
                <c:pt idx="1438">
                  <c:v>43111</c:v>
                </c:pt>
                <c:pt idx="1439">
                  <c:v>43112</c:v>
                </c:pt>
                <c:pt idx="1440">
                  <c:v>43115</c:v>
                </c:pt>
                <c:pt idx="1441">
                  <c:v>43116</c:v>
                </c:pt>
                <c:pt idx="1442">
                  <c:v>43117</c:v>
                </c:pt>
                <c:pt idx="1443">
                  <c:v>43118</c:v>
                </c:pt>
                <c:pt idx="1444">
                  <c:v>43119</c:v>
                </c:pt>
                <c:pt idx="1445">
                  <c:v>43122</c:v>
                </c:pt>
                <c:pt idx="1446">
                  <c:v>43123</c:v>
                </c:pt>
                <c:pt idx="1447">
                  <c:v>43124</c:v>
                </c:pt>
                <c:pt idx="1448">
                  <c:v>43125</c:v>
                </c:pt>
                <c:pt idx="1449">
                  <c:v>43126</c:v>
                </c:pt>
                <c:pt idx="1450">
                  <c:v>43129</c:v>
                </c:pt>
                <c:pt idx="1451">
                  <c:v>43130</c:v>
                </c:pt>
                <c:pt idx="1452">
                  <c:v>43131</c:v>
                </c:pt>
              </c:numCache>
            </c:numRef>
          </c:cat>
          <c:val>
            <c:numRef>
              <c:f>'Amundi Fds Global MV BRUT USD'!$D$5:$D$1457</c:f>
              <c:numCache>
                <c:formatCode>#,##0.00_);[Red]\(#,##0.00\)</c:formatCode>
                <c:ptCount val="1453"/>
                <c:pt idx="0">
                  <c:v>100</c:v>
                </c:pt>
                <c:pt idx="1">
                  <c:v>99.476000301613595</c:v>
                </c:pt>
                <c:pt idx="2">
                  <c:v>99.391994993002399</c:v>
                </c:pt>
                <c:pt idx="3">
                  <c:v>98.955945352335803</c:v>
                </c:pt>
                <c:pt idx="4">
                  <c:v>100.122839035867</c:v>
                </c:pt>
                <c:pt idx="5">
                  <c:v>100.394910270278</c:v>
                </c:pt>
                <c:pt idx="6">
                  <c:v>100.74921051040499</c:v>
                </c:pt>
                <c:pt idx="7">
                  <c:v>101.61406221269101</c:v>
                </c:pt>
                <c:pt idx="8">
                  <c:v>102.08758889603399</c:v>
                </c:pt>
                <c:pt idx="9">
                  <c:v>100.86678187957901</c:v>
                </c:pt>
                <c:pt idx="10">
                  <c:v>99.510488505063094</c:v>
                </c:pt>
                <c:pt idx="11">
                  <c:v>99.175990218076095</c:v>
                </c:pt>
                <c:pt idx="12">
                  <c:v>99.116849573252196</c:v>
                </c:pt>
                <c:pt idx="13">
                  <c:v>101.03061176256001</c:v>
                </c:pt>
                <c:pt idx="14">
                  <c:v>102.434531998629</c:v>
                </c:pt>
                <c:pt idx="15">
                  <c:v>102.57371062112</c:v>
                </c:pt>
                <c:pt idx="16">
                  <c:v>102.10819441455898</c:v>
                </c:pt>
                <c:pt idx="17">
                  <c:v>102.033107301909</c:v>
                </c:pt>
                <c:pt idx="18">
                  <c:v>101.07895603803098</c:v>
                </c:pt>
                <c:pt idx="19">
                  <c:v>102.564851462809</c:v>
                </c:pt>
                <c:pt idx="20">
                  <c:v>102.929331086413</c:v>
                </c:pt>
                <c:pt idx="21">
                  <c:v>103.27483219804002</c:v>
                </c:pt>
                <c:pt idx="22">
                  <c:v>103.26982469065999</c:v>
                </c:pt>
                <c:pt idx="23">
                  <c:v>103.335926702124</c:v>
                </c:pt>
                <c:pt idx="24">
                  <c:v>102.980355663738</c:v>
                </c:pt>
                <c:pt idx="25">
                  <c:v>102.79404746265402</c:v>
                </c:pt>
                <c:pt idx="26">
                  <c:v>103.01945127974402</c:v>
                </c:pt>
                <c:pt idx="27">
                  <c:v>103.01945127974402</c:v>
                </c:pt>
                <c:pt idx="28">
                  <c:v>103.430206944087</c:v>
                </c:pt>
                <c:pt idx="29">
                  <c:v>103.375100518458</c:v>
                </c:pt>
                <c:pt idx="30">
                  <c:v>103.42920814154</c:v>
                </c:pt>
                <c:pt idx="31">
                  <c:v>103.54445239051</c:v>
                </c:pt>
                <c:pt idx="32">
                  <c:v>103.088464094562</c:v>
                </c:pt>
                <c:pt idx="33">
                  <c:v>103.12454428855999</c:v>
                </c:pt>
                <c:pt idx="34">
                  <c:v>103.269874971192</c:v>
                </c:pt>
                <c:pt idx="35">
                  <c:v>103.283907974673</c:v>
                </c:pt>
                <c:pt idx="36">
                  <c:v>103.158600069786</c:v>
                </c:pt>
                <c:pt idx="37">
                  <c:v>103.193687882902</c:v>
                </c:pt>
                <c:pt idx="38">
                  <c:v>102.688396433197</c:v>
                </c:pt>
                <c:pt idx="39">
                  <c:v>103.16464114434298</c:v>
                </c:pt>
                <c:pt idx="40">
                  <c:v>103.22881238670001</c:v>
                </c:pt>
                <c:pt idx="41">
                  <c:v>102.85276012574801</c:v>
                </c:pt>
                <c:pt idx="42">
                  <c:v>102.82768895824202</c:v>
                </c:pt>
                <c:pt idx="43">
                  <c:v>104.328032320072</c:v>
                </c:pt>
                <c:pt idx="44">
                  <c:v>104.93482413400199</c:v>
                </c:pt>
                <c:pt idx="45">
                  <c:v>104.71817427795401</c:v>
                </c:pt>
                <c:pt idx="46">
                  <c:v>105.01410172707702</c:v>
                </c:pt>
                <c:pt idx="47">
                  <c:v>105.10940507728202</c:v>
                </c:pt>
                <c:pt idx="48">
                  <c:v>105.998275182847</c:v>
                </c:pt>
                <c:pt idx="49">
                  <c:v>106.45477527929501</c:v>
                </c:pt>
                <c:pt idx="50">
                  <c:v>106.107617932176</c:v>
                </c:pt>
                <c:pt idx="51">
                  <c:v>105.891870363509</c:v>
                </c:pt>
                <c:pt idx="52">
                  <c:v>106.00827922417099</c:v>
                </c:pt>
                <c:pt idx="53">
                  <c:v>106.00326136581899</c:v>
                </c:pt>
                <c:pt idx="54">
                  <c:v>106.31940459006502</c:v>
                </c:pt>
                <c:pt idx="55">
                  <c:v>106.439846663401</c:v>
                </c:pt>
                <c:pt idx="56">
                  <c:v>106.385638046346</c:v>
                </c:pt>
                <c:pt idx="57">
                  <c:v>105.84853946622601</c:v>
                </c:pt>
                <c:pt idx="58">
                  <c:v>106.506139517395</c:v>
                </c:pt>
                <c:pt idx="59">
                  <c:v>105.948909950287</c:v>
                </c:pt>
                <c:pt idx="60">
                  <c:v>106.394714556221</c:v>
                </c:pt>
                <c:pt idx="61">
                  <c:v>106.42082397292801</c:v>
                </c:pt>
                <c:pt idx="62">
                  <c:v>106.827547090005</c:v>
                </c:pt>
                <c:pt idx="63">
                  <c:v>107.275465375233</c:v>
                </c:pt>
                <c:pt idx="64">
                  <c:v>107.51148966516799</c:v>
                </c:pt>
                <c:pt idx="65">
                  <c:v>107.063525124896</c:v>
                </c:pt>
                <c:pt idx="66">
                  <c:v>106.114238148892</c:v>
                </c:pt>
                <c:pt idx="67">
                  <c:v>105.58683154202799</c:v>
                </c:pt>
                <c:pt idx="68">
                  <c:v>105.612952205469</c:v>
                </c:pt>
                <c:pt idx="69">
                  <c:v>105.41703752849001</c:v>
                </c:pt>
                <c:pt idx="70">
                  <c:v>105.71243096330801</c:v>
                </c:pt>
                <c:pt idx="71">
                  <c:v>106.56154716200599</c:v>
                </c:pt>
                <c:pt idx="72">
                  <c:v>107.070035702753</c:v>
                </c:pt>
                <c:pt idx="73">
                  <c:v>106.693169938564</c:v>
                </c:pt>
                <c:pt idx="74">
                  <c:v>105.391666220403</c:v>
                </c:pt>
                <c:pt idx="75">
                  <c:v>105.194671913957</c:v>
                </c:pt>
                <c:pt idx="76">
                  <c:v>104.14423285633102</c:v>
                </c:pt>
                <c:pt idx="77">
                  <c:v>104.007517758486</c:v>
                </c:pt>
                <c:pt idx="78">
                  <c:v>104.35544993677399</c:v>
                </c:pt>
                <c:pt idx="79">
                  <c:v>104.01855968958</c:v>
                </c:pt>
                <c:pt idx="80">
                  <c:v>103.82144423171201</c:v>
                </c:pt>
                <c:pt idx="81">
                  <c:v>103.967289217746</c:v>
                </c:pt>
                <c:pt idx="82">
                  <c:v>103.740967089308</c:v>
                </c:pt>
                <c:pt idx="83">
                  <c:v>103.740967089308</c:v>
                </c:pt>
                <c:pt idx="84">
                  <c:v>103.469367739551</c:v>
                </c:pt>
                <c:pt idx="85">
                  <c:v>103.41303023074499</c:v>
                </c:pt>
                <c:pt idx="86">
                  <c:v>103.880894349084</c:v>
                </c:pt>
                <c:pt idx="87">
                  <c:v>102.65835200735501</c:v>
                </c:pt>
                <c:pt idx="88">
                  <c:v>101.938878211843</c:v>
                </c:pt>
                <c:pt idx="89">
                  <c:v>102.064666709905</c:v>
                </c:pt>
                <c:pt idx="90">
                  <c:v>102.10995349219701</c:v>
                </c:pt>
                <c:pt idx="91">
                  <c:v>101.923749879368</c:v>
                </c:pt>
                <c:pt idx="92">
                  <c:v>101.093342231462</c:v>
                </c:pt>
                <c:pt idx="93">
                  <c:v>100.554808797315</c:v>
                </c:pt>
                <c:pt idx="94">
                  <c:v>100.56990852768499</c:v>
                </c:pt>
                <c:pt idx="95">
                  <c:v>102.20580499190399</c:v>
                </c:pt>
                <c:pt idx="96">
                  <c:v>102.432347066877</c:v>
                </c:pt>
                <c:pt idx="97">
                  <c:v>102.507864819742</c:v>
                </c:pt>
                <c:pt idx="98">
                  <c:v>102.593456063688</c:v>
                </c:pt>
                <c:pt idx="99">
                  <c:v>103.485660520815</c:v>
                </c:pt>
                <c:pt idx="100">
                  <c:v>103.24799423416799</c:v>
                </c:pt>
                <c:pt idx="101">
                  <c:v>103.101950344168</c:v>
                </c:pt>
                <c:pt idx="102">
                  <c:v>103.57032086888501</c:v>
                </c:pt>
                <c:pt idx="103">
                  <c:v>104.189808783049</c:v>
                </c:pt>
                <c:pt idx="104">
                  <c:v>104.10519176778898</c:v>
                </c:pt>
                <c:pt idx="105">
                  <c:v>103.98833297038701</c:v>
                </c:pt>
                <c:pt idx="106">
                  <c:v>103.94299371156302</c:v>
                </c:pt>
                <c:pt idx="107">
                  <c:v>103.90772815611599</c:v>
                </c:pt>
                <c:pt idx="108">
                  <c:v>104.02360653734701</c:v>
                </c:pt>
                <c:pt idx="109">
                  <c:v>104.14049814094901</c:v>
                </c:pt>
                <c:pt idx="110">
                  <c:v>104.426698486297</c:v>
                </c:pt>
                <c:pt idx="111">
                  <c:v>105.036467162519</c:v>
                </c:pt>
                <c:pt idx="112">
                  <c:v>105.011269038008</c:v>
                </c:pt>
                <c:pt idx="113">
                  <c:v>104.33088290927</c:v>
                </c:pt>
                <c:pt idx="114">
                  <c:v>103.91355908427499</c:v>
                </c:pt>
                <c:pt idx="115">
                  <c:v>104.46195856299198</c:v>
                </c:pt>
                <c:pt idx="116">
                  <c:v>104.890453277885</c:v>
                </c:pt>
                <c:pt idx="117">
                  <c:v>104.50226881597699</c:v>
                </c:pt>
                <c:pt idx="118">
                  <c:v>104.63940014010301</c:v>
                </c:pt>
                <c:pt idx="119">
                  <c:v>104.01924762961001</c:v>
                </c:pt>
                <c:pt idx="120">
                  <c:v>104.01924762961001</c:v>
                </c:pt>
                <c:pt idx="121">
                  <c:v>104.01924762961001</c:v>
                </c:pt>
                <c:pt idx="122">
                  <c:v>104.01924762961001</c:v>
                </c:pt>
                <c:pt idx="123">
                  <c:v>103.24074169043</c:v>
                </c:pt>
                <c:pt idx="124">
                  <c:v>102.489257832281</c:v>
                </c:pt>
                <c:pt idx="125">
                  <c:v>103.170166091185</c:v>
                </c:pt>
                <c:pt idx="126">
                  <c:v>103.170166091185</c:v>
                </c:pt>
                <c:pt idx="127">
                  <c:v>105.21823412526501</c:v>
                </c:pt>
                <c:pt idx="128">
                  <c:v>105.132477436735</c:v>
                </c:pt>
                <c:pt idx="129">
                  <c:v>105.400857907339</c:v>
                </c:pt>
                <c:pt idx="130">
                  <c:v>105.404893664349</c:v>
                </c:pt>
                <c:pt idx="131">
                  <c:v>105.47553361223298</c:v>
                </c:pt>
                <c:pt idx="132">
                  <c:v>105.90441896202</c:v>
                </c:pt>
                <c:pt idx="133">
                  <c:v>106.625989759718</c:v>
                </c:pt>
                <c:pt idx="134">
                  <c:v>106.581583404464</c:v>
                </c:pt>
                <c:pt idx="135">
                  <c:v>106.48469078802401</c:v>
                </c:pt>
                <c:pt idx="136">
                  <c:v>106.71181246307199</c:v>
                </c:pt>
                <c:pt idx="137">
                  <c:v>106.585627935113</c:v>
                </c:pt>
                <c:pt idx="138">
                  <c:v>107.08635251934399</c:v>
                </c:pt>
                <c:pt idx="139">
                  <c:v>107.162071304798</c:v>
                </c:pt>
                <c:pt idx="140">
                  <c:v>107.368035715446</c:v>
                </c:pt>
                <c:pt idx="141">
                  <c:v>107.60532992621501</c:v>
                </c:pt>
                <c:pt idx="142">
                  <c:v>107.60028078255502</c:v>
                </c:pt>
                <c:pt idx="143">
                  <c:v>107.687128384979</c:v>
                </c:pt>
                <c:pt idx="144">
                  <c:v>108.05069666487501</c:v>
                </c:pt>
                <c:pt idx="145">
                  <c:v>108.03453449112401</c:v>
                </c:pt>
                <c:pt idx="146">
                  <c:v>108.67603392528299</c:v>
                </c:pt>
                <c:pt idx="147">
                  <c:v>108.80231903361901</c:v>
                </c:pt>
                <c:pt idx="148">
                  <c:v>108.91850671631799</c:v>
                </c:pt>
                <c:pt idx="149">
                  <c:v>109.40954933472401</c:v>
                </c:pt>
                <c:pt idx="150">
                  <c:v>108.585037689201</c:v>
                </c:pt>
                <c:pt idx="151">
                  <c:v>108.87304821225101</c:v>
                </c:pt>
                <c:pt idx="152">
                  <c:v>109.272239516615</c:v>
                </c:pt>
                <c:pt idx="153">
                  <c:v>108.98521314128399</c:v>
                </c:pt>
                <c:pt idx="154">
                  <c:v>109.303587824948</c:v>
                </c:pt>
                <c:pt idx="155">
                  <c:v>108.995305458479</c:v>
                </c:pt>
                <c:pt idx="156">
                  <c:v>109.515919047412</c:v>
                </c:pt>
                <c:pt idx="157">
                  <c:v>109.58163043420302</c:v>
                </c:pt>
                <c:pt idx="158">
                  <c:v>110.032533608767</c:v>
                </c:pt>
                <c:pt idx="159">
                  <c:v>109.92637358132301</c:v>
                </c:pt>
                <c:pt idx="160">
                  <c:v>109.981984427466</c:v>
                </c:pt>
                <c:pt idx="161">
                  <c:v>110.94771461483801</c:v>
                </c:pt>
                <c:pt idx="162">
                  <c:v>110.77175176633301</c:v>
                </c:pt>
                <c:pt idx="163">
                  <c:v>110.23068656091502</c:v>
                </c:pt>
                <c:pt idx="164">
                  <c:v>111.034736527492</c:v>
                </c:pt>
                <c:pt idx="165">
                  <c:v>110.33179312599599</c:v>
                </c:pt>
                <c:pt idx="166">
                  <c:v>110.43800792736</c:v>
                </c:pt>
                <c:pt idx="167">
                  <c:v>111.27663808395501</c:v>
                </c:pt>
                <c:pt idx="168">
                  <c:v>111.56502443387399</c:v>
                </c:pt>
                <c:pt idx="169">
                  <c:v>111.59032280889801</c:v>
                </c:pt>
                <c:pt idx="170">
                  <c:v>112.325015019015</c:v>
                </c:pt>
                <c:pt idx="171">
                  <c:v>113.01831687807</c:v>
                </c:pt>
                <c:pt idx="172">
                  <c:v>112.993012713784</c:v>
                </c:pt>
                <c:pt idx="173">
                  <c:v>113.008195683856</c:v>
                </c:pt>
                <c:pt idx="174">
                  <c:v>112.973779217092</c:v>
                </c:pt>
                <c:pt idx="175">
                  <c:v>113.21167148858899</c:v>
                </c:pt>
                <c:pt idx="176">
                  <c:v>113.53059195554999</c:v>
                </c:pt>
                <c:pt idx="177">
                  <c:v>113.18128272458701</c:v>
                </c:pt>
                <c:pt idx="178">
                  <c:v>113.76450350513201</c:v>
                </c:pt>
                <c:pt idx="179">
                  <c:v>114.022714173591</c:v>
                </c:pt>
                <c:pt idx="180">
                  <c:v>113.480954657124</c:v>
                </c:pt>
                <c:pt idx="181">
                  <c:v>113.880998985524</c:v>
                </c:pt>
                <c:pt idx="182">
                  <c:v>114.322586529551</c:v>
                </c:pt>
                <c:pt idx="183">
                  <c:v>114.08456222938898</c:v>
                </c:pt>
                <c:pt idx="184">
                  <c:v>114.626471407328</c:v>
                </c:pt>
                <c:pt idx="185">
                  <c:v>114.439074076213</c:v>
                </c:pt>
                <c:pt idx="186">
                  <c:v>115.12392574309001</c:v>
                </c:pt>
                <c:pt idx="187">
                  <c:v>115.04793978610802</c:v>
                </c:pt>
                <c:pt idx="188">
                  <c:v>115.81289988917401</c:v>
                </c:pt>
                <c:pt idx="189">
                  <c:v>115.81289988917401</c:v>
                </c:pt>
                <c:pt idx="190">
                  <c:v>115.81289988917401</c:v>
                </c:pt>
                <c:pt idx="191">
                  <c:v>115.69637861152</c:v>
                </c:pt>
                <c:pt idx="192">
                  <c:v>115.41767745142502</c:v>
                </c:pt>
                <c:pt idx="193">
                  <c:v>115.19065313388801</c:v>
                </c:pt>
                <c:pt idx="194">
                  <c:v>114.995036802565</c:v>
                </c:pt>
                <c:pt idx="195">
                  <c:v>115.37514420028</c:v>
                </c:pt>
                <c:pt idx="196">
                  <c:v>115.60323868003599</c:v>
                </c:pt>
                <c:pt idx="197">
                  <c:v>116.927257445172</c:v>
                </c:pt>
                <c:pt idx="198">
                  <c:v>117.47980535345299</c:v>
                </c:pt>
                <c:pt idx="199">
                  <c:v>117.53556926092801</c:v>
                </c:pt>
                <c:pt idx="200">
                  <c:v>116.141406110997</c:v>
                </c:pt>
                <c:pt idx="201">
                  <c:v>116.78635440607698</c:v>
                </c:pt>
                <c:pt idx="202">
                  <c:v>116.00040924209</c:v>
                </c:pt>
                <c:pt idx="203">
                  <c:v>115.76208006662002</c:v>
                </c:pt>
                <c:pt idx="204">
                  <c:v>116.193120054695</c:v>
                </c:pt>
                <c:pt idx="205">
                  <c:v>116.43248409047899</c:v>
                </c:pt>
                <c:pt idx="206">
                  <c:v>117.40123315195402</c:v>
                </c:pt>
                <c:pt idx="207">
                  <c:v>117.07154002559199</c:v>
                </c:pt>
                <c:pt idx="208">
                  <c:v>117.543275390061</c:v>
                </c:pt>
                <c:pt idx="209">
                  <c:v>117.53820283498899</c:v>
                </c:pt>
                <c:pt idx="210">
                  <c:v>118.192602632299</c:v>
                </c:pt>
                <c:pt idx="211">
                  <c:v>118.70507184833498</c:v>
                </c:pt>
                <c:pt idx="212">
                  <c:v>118.70507184833498</c:v>
                </c:pt>
                <c:pt idx="213">
                  <c:v>118.31943486578899</c:v>
                </c:pt>
                <c:pt idx="214">
                  <c:v>118.771074716483</c:v>
                </c:pt>
                <c:pt idx="215">
                  <c:v>118.32043074815202</c:v>
                </c:pt>
                <c:pt idx="216">
                  <c:v>118.904115053483</c:v>
                </c:pt>
                <c:pt idx="217">
                  <c:v>119.755388049014</c:v>
                </c:pt>
                <c:pt idx="218">
                  <c:v>119.755388049014</c:v>
                </c:pt>
                <c:pt idx="219">
                  <c:v>119.086792674945</c:v>
                </c:pt>
                <c:pt idx="220">
                  <c:v>119.31644754925298</c:v>
                </c:pt>
                <c:pt idx="221">
                  <c:v>120.134133773469</c:v>
                </c:pt>
                <c:pt idx="222">
                  <c:v>120.921874965255</c:v>
                </c:pt>
                <c:pt idx="223">
                  <c:v>120.60221762342699</c:v>
                </c:pt>
                <c:pt idx="224">
                  <c:v>120.47550955878199</c:v>
                </c:pt>
                <c:pt idx="225">
                  <c:v>120.47550955878199</c:v>
                </c:pt>
                <c:pt idx="226">
                  <c:v>120.71200841784699</c:v>
                </c:pt>
                <c:pt idx="227">
                  <c:v>120.22972723279</c:v>
                </c:pt>
                <c:pt idx="228">
                  <c:v>119.117577679633</c:v>
                </c:pt>
                <c:pt idx="229">
                  <c:v>119.23465119863501</c:v>
                </c:pt>
                <c:pt idx="230">
                  <c:v>119.06822532905301</c:v>
                </c:pt>
                <c:pt idx="231">
                  <c:v>119.449993667828</c:v>
                </c:pt>
                <c:pt idx="232">
                  <c:v>118.662708938547</c:v>
                </c:pt>
                <c:pt idx="233">
                  <c:v>118.54705428874099</c:v>
                </c:pt>
                <c:pt idx="234">
                  <c:v>117.05834367080202</c:v>
                </c:pt>
                <c:pt idx="235">
                  <c:v>117.196767349285</c:v>
                </c:pt>
                <c:pt idx="236">
                  <c:v>117.18224546128899</c:v>
                </c:pt>
                <c:pt idx="237">
                  <c:v>116.10998602350899</c:v>
                </c:pt>
                <c:pt idx="238">
                  <c:v>116.20680831259899</c:v>
                </c:pt>
                <c:pt idx="239">
                  <c:v>117.20896683648398</c:v>
                </c:pt>
                <c:pt idx="240">
                  <c:v>117.682958430117</c:v>
                </c:pt>
                <c:pt idx="241">
                  <c:v>117.312040902082</c:v>
                </c:pt>
                <c:pt idx="242">
                  <c:v>117.022460456358</c:v>
                </c:pt>
                <c:pt idx="243">
                  <c:v>117.241835013421</c:v>
                </c:pt>
                <c:pt idx="244">
                  <c:v>117.19631113043401</c:v>
                </c:pt>
                <c:pt idx="245">
                  <c:v>118.38240161344599</c:v>
                </c:pt>
                <c:pt idx="246">
                  <c:v>118.815440738158</c:v>
                </c:pt>
                <c:pt idx="247">
                  <c:v>117.976447231723</c:v>
                </c:pt>
                <c:pt idx="248">
                  <c:v>114.52198218455401</c:v>
                </c:pt>
                <c:pt idx="249">
                  <c:v>115.01854045341699</c:v>
                </c:pt>
                <c:pt idx="250">
                  <c:v>114.02671721364499</c:v>
                </c:pt>
                <c:pt idx="251">
                  <c:v>114.693514751672</c:v>
                </c:pt>
                <c:pt idx="252">
                  <c:v>115.51251189692199</c:v>
                </c:pt>
                <c:pt idx="253">
                  <c:v>116.424108580376</c:v>
                </c:pt>
                <c:pt idx="254">
                  <c:v>116.32766137609801</c:v>
                </c:pt>
                <c:pt idx="255">
                  <c:v>117.178274906407</c:v>
                </c:pt>
                <c:pt idx="256">
                  <c:v>117.123013941042</c:v>
                </c:pt>
                <c:pt idx="257">
                  <c:v>117.08762563911802</c:v>
                </c:pt>
                <c:pt idx="258">
                  <c:v>117.26602929868</c:v>
                </c:pt>
                <c:pt idx="259">
                  <c:v>117.62818586722199</c:v>
                </c:pt>
                <c:pt idx="260">
                  <c:v>118.28611273915199</c:v>
                </c:pt>
                <c:pt idx="261">
                  <c:v>118.66821913055601</c:v>
                </c:pt>
                <c:pt idx="262">
                  <c:v>119.294746478414</c:v>
                </c:pt>
                <c:pt idx="263">
                  <c:v>120.614294873497</c:v>
                </c:pt>
                <c:pt idx="264">
                  <c:v>120.599260532035</c:v>
                </c:pt>
                <c:pt idx="265">
                  <c:v>120.67734494741001</c:v>
                </c:pt>
                <c:pt idx="266">
                  <c:v>120.68316551510398</c:v>
                </c:pt>
                <c:pt idx="267">
                  <c:v>120.678314630646</c:v>
                </c:pt>
                <c:pt idx="268">
                  <c:v>121.20320140879099</c:v>
                </c:pt>
                <c:pt idx="269">
                  <c:v>121.23958595225702</c:v>
                </c:pt>
                <c:pt idx="270">
                  <c:v>121.439954302513</c:v>
                </c:pt>
                <c:pt idx="271">
                  <c:v>121.28225765645499</c:v>
                </c:pt>
                <c:pt idx="272">
                  <c:v>121.13474405835201</c:v>
                </c:pt>
                <c:pt idx="273">
                  <c:v>121.30361553179701</c:v>
                </c:pt>
                <c:pt idx="274">
                  <c:v>121.34971787826801</c:v>
                </c:pt>
                <c:pt idx="275">
                  <c:v>120.80617380628101</c:v>
                </c:pt>
                <c:pt idx="276">
                  <c:v>121.00517796038</c:v>
                </c:pt>
                <c:pt idx="277">
                  <c:v>120.725103890855</c:v>
                </c:pt>
                <c:pt idx="278">
                  <c:v>121.780889688324</c:v>
                </c:pt>
                <c:pt idx="279">
                  <c:v>122.39788643352098</c:v>
                </c:pt>
                <c:pt idx="280">
                  <c:v>122.119230710796</c:v>
                </c:pt>
                <c:pt idx="281">
                  <c:v>122.19643023457201</c:v>
                </c:pt>
                <c:pt idx="282">
                  <c:v>121.64095651703299</c:v>
                </c:pt>
                <c:pt idx="283">
                  <c:v>121.860436569014</c:v>
                </c:pt>
                <c:pt idx="284">
                  <c:v>121.52974541293899</c:v>
                </c:pt>
                <c:pt idx="285">
                  <c:v>121.10822779814498</c:v>
                </c:pt>
                <c:pt idx="286">
                  <c:v>121.154368194219</c:v>
                </c:pt>
                <c:pt idx="287">
                  <c:v>121.03731241303099</c:v>
                </c:pt>
                <c:pt idx="288">
                  <c:v>121.03731241303099</c:v>
                </c:pt>
                <c:pt idx="289">
                  <c:v>119.559719447316</c:v>
                </c:pt>
                <c:pt idx="290">
                  <c:v>119.45381913784601</c:v>
                </c:pt>
                <c:pt idx="291">
                  <c:v>119.51017730454801</c:v>
                </c:pt>
                <c:pt idx="292">
                  <c:v>118.72987494424501</c:v>
                </c:pt>
                <c:pt idx="293">
                  <c:v>118.93929318148699</c:v>
                </c:pt>
                <c:pt idx="294">
                  <c:v>119.57729423190399</c:v>
                </c:pt>
                <c:pt idx="295">
                  <c:v>119.231981437557</c:v>
                </c:pt>
                <c:pt idx="296">
                  <c:v>118.14381695638301</c:v>
                </c:pt>
                <c:pt idx="297">
                  <c:v>117.576119079837</c:v>
                </c:pt>
                <c:pt idx="298">
                  <c:v>117.83545882338899</c:v>
                </c:pt>
                <c:pt idx="299">
                  <c:v>117.29834252465298</c:v>
                </c:pt>
                <c:pt idx="300">
                  <c:v>117.575574325929</c:v>
                </c:pt>
                <c:pt idx="301">
                  <c:v>117.91627228859799</c:v>
                </c:pt>
                <c:pt idx="302">
                  <c:v>118.45128773100799</c:v>
                </c:pt>
                <c:pt idx="303">
                  <c:v>118.414287566762</c:v>
                </c:pt>
                <c:pt idx="304">
                  <c:v>118.683556391178</c:v>
                </c:pt>
                <c:pt idx="305">
                  <c:v>119.47166746682799</c:v>
                </c:pt>
                <c:pt idx="306">
                  <c:v>120.251491680507</c:v>
                </c:pt>
                <c:pt idx="307">
                  <c:v>120.76586229762101</c:v>
                </c:pt>
                <c:pt idx="308">
                  <c:v>120.688358177675</c:v>
                </c:pt>
                <c:pt idx="309">
                  <c:v>120.98832405835</c:v>
                </c:pt>
                <c:pt idx="310">
                  <c:v>121.81746579094002</c:v>
                </c:pt>
                <c:pt idx="311">
                  <c:v>121.893139762945</c:v>
                </c:pt>
                <c:pt idx="312">
                  <c:v>122.846792684984</c:v>
                </c:pt>
                <c:pt idx="313">
                  <c:v>123.331007805371</c:v>
                </c:pt>
                <c:pt idx="314">
                  <c:v>123.120355566504</c:v>
                </c:pt>
                <c:pt idx="315">
                  <c:v>122.87721120070401</c:v>
                </c:pt>
                <c:pt idx="316">
                  <c:v>122.656316556677</c:v>
                </c:pt>
                <c:pt idx="317">
                  <c:v>122.241671294233</c:v>
                </c:pt>
                <c:pt idx="318">
                  <c:v>122.613275779346</c:v>
                </c:pt>
                <c:pt idx="319">
                  <c:v>122.43322391170499</c:v>
                </c:pt>
                <c:pt idx="320">
                  <c:v>122.06742832234801</c:v>
                </c:pt>
                <c:pt idx="321">
                  <c:v>122.428875735673</c:v>
                </c:pt>
                <c:pt idx="322">
                  <c:v>121.932393870136</c:v>
                </c:pt>
                <c:pt idx="323">
                  <c:v>121.415109673392</c:v>
                </c:pt>
                <c:pt idx="324">
                  <c:v>121.572224119667</c:v>
                </c:pt>
                <c:pt idx="325">
                  <c:v>120.87934555976601</c:v>
                </c:pt>
                <c:pt idx="326">
                  <c:v>120.02507336936901</c:v>
                </c:pt>
                <c:pt idx="327">
                  <c:v>119.75296919634502</c:v>
                </c:pt>
                <c:pt idx="328">
                  <c:v>121.422740943644</c:v>
                </c:pt>
                <c:pt idx="329">
                  <c:v>122.07083779164201</c:v>
                </c:pt>
                <c:pt idx="330">
                  <c:v>122.318139662326</c:v>
                </c:pt>
                <c:pt idx="331">
                  <c:v>121.882427425792</c:v>
                </c:pt>
                <c:pt idx="332">
                  <c:v>122.878195184532</c:v>
                </c:pt>
                <c:pt idx="333">
                  <c:v>124.18033236210199</c:v>
                </c:pt>
                <c:pt idx="334">
                  <c:v>124.705552063144</c:v>
                </c:pt>
                <c:pt idx="335">
                  <c:v>124.748441061696</c:v>
                </c:pt>
                <c:pt idx="336">
                  <c:v>125.57058639834</c:v>
                </c:pt>
                <c:pt idx="337">
                  <c:v>125.07341274311898</c:v>
                </c:pt>
                <c:pt idx="338">
                  <c:v>125.11007475387798</c:v>
                </c:pt>
                <c:pt idx="339">
                  <c:v>125.19656492274001</c:v>
                </c:pt>
                <c:pt idx="340">
                  <c:v>125.79490617162598</c:v>
                </c:pt>
                <c:pt idx="341">
                  <c:v>126.32157848567699</c:v>
                </c:pt>
                <c:pt idx="342">
                  <c:v>126.040288157821</c:v>
                </c:pt>
                <c:pt idx="343">
                  <c:v>125.82247313730799</c:v>
                </c:pt>
                <c:pt idx="344">
                  <c:v>125.82247313730799</c:v>
                </c:pt>
                <c:pt idx="345">
                  <c:v>125.913351057534</c:v>
                </c:pt>
                <c:pt idx="346">
                  <c:v>125.75785413024401</c:v>
                </c:pt>
                <c:pt idx="347">
                  <c:v>126.488955436617</c:v>
                </c:pt>
                <c:pt idx="348">
                  <c:v>125.389172862804</c:v>
                </c:pt>
                <c:pt idx="349">
                  <c:v>125.875375245179</c:v>
                </c:pt>
                <c:pt idx="350">
                  <c:v>125.93224505824099</c:v>
                </c:pt>
                <c:pt idx="351">
                  <c:v>126.01835781128401</c:v>
                </c:pt>
                <c:pt idx="352">
                  <c:v>126.12589937408501</c:v>
                </c:pt>
                <c:pt idx="353">
                  <c:v>126.61210990019501</c:v>
                </c:pt>
                <c:pt idx="354">
                  <c:v>126.878755510337</c:v>
                </c:pt>
                <c:pt idx="355">
                  <c:v>127.05005091013702</c:v>
                </c:pt>
                <c:pt idx="356">
                  <c:v>126.53382782374601</c:v>
                </c:pt>
                <c:pt idx="357">
                  <c:v>126.25304318216799</c:v>
                </c:pt>
                <c:pt idx="358">
                  <c:v>126.525118022271</c:v>
                </c:pt>
                <c:pt idx="359">
                  <c:v>126.991789314244</c:v>
                </c:pt>
                <c:pt idx="360">
                  <c:v>127.152913279006</c:v>
                </c:pt>
                <c:pt idx="361">
                  <c:v>126.97663024155</c:v>
                </c:pt>
                <c:pt idx="362">
                  <c:v>127.01327366227999</c:v>
                </c:pt>
                <c:pt idx="363">
                  <c:v>127.24454838475</c:v>
                </c:pt>
                <c:pt idx="364">
                  <c:v>127.31193508874901</c:v>
                </c:pt>
                <c:pt idx="365">
                  <c:v>126.694507118609</c:v>
                </c:pt>
                <c:pt idx="366">
                  <c:v>126.49549769119901</c:v>
                </c:pt>
                <c:pt idx="367">
                  <c:v>125.81487451676901</c:v>
                </c:pt>
                <c:pt idx="368">
                  <c:v>125.58507084807201</c:v>
                </c:pt>
                <c:pt idx="369">
                  <c:v>126.34920434797901</c:v>
                </c:pt>
                <c:pt idx="370">
                  <c:v>126.520600049094</c:v>
                </c:pt>
                <c:pt idx="371">
                  <c:v>126.18893047715298</c:v>
                </c:pt>
                <c:pt idx="372">
                  <c:v>125.538816334393</c:v>
                </c:pt>
                <c:pt idx="373">
                  <c:v>124.57088038903601</c:v>
                </c:pt>
                <c:pt idx="374">
                  <c:v>124.258901001166</c:v>
                </c:pt>
                <c:pt idx="375">
                  <c:v>124.737619028998</c:v>
                </c:pt>
                <c:pt idx="376">
                  <c:v>124.54862529808102</c:v>
                </c:pt>
                <c:pt idx="377">
                  <c:v>126.01040229473801</c:v>
                </c:pt>
                <c:pt idx="378">
                  <c:v>125.91372013237002</c:v>
                </c:pt>
                <c:pt idx="379">
                  <c:v>126.31950576708</c:v>
                </c:pt>
                <c:pt idx="380">
                  <c:v>126.95248848655901</c:v>
                </c:pt>
                <c:pt idx="381">
                  <c:v>126.95248848655901</c:v>
                </c:pt>
                <c:pt idx="382">
                  <c:v>126.95248848655901</c:v>
                </c:pt>
                <c:pt idx="383">
                  <c:v>126.95248848655901</c:v>
                </c:pt>
                <c:pt idx="384">
                  <c:v>128.31991562261601</c:v>
                </c:pt>
                <c:pt idx="385">
                  <c:v>128.77323099324099</c:v>
                </c:pt>
                <c:pt idx="386">
                  <c:v>128.86113102651299</c:v>
                </c:pt>
                <c:pt idx="387">
                  <c:v>128.86113102651299</c:v>
                </c:pt>
                <c:pt idx="388">
                  <c:v>127.857341119559</c:v>
                </c:pt>
                <c:pt idx="389">
                  <c:v>127.986431871625</c:v>
                </c:pt>
                <c:pt idx="390">
                  <c:v>127.675922551656</c:v>
                </c:pt>
                <c:pt idx="391">
                  <c:v>127.989763975429</c:v>
                </c:pt>
                <c:pt idx="392">
                  <c:v>127.91361877330201</c:v>
                </c:pt>
                <c:pt idx="393">
                  <c:v>127.85799261177499</c:v>
                </c:pt>
                <c:pt idx="394">
                  <c:v>128.377178024633</c:v>
                </c:pt>
                <c:pt idx="395">
                  <c:v>127.953687012613</c:v>
                </c:pt>
                <c:pt idx="396">
                  <c:v>128.50377412270001</c:v>
                </c:pt>
                <c:pt idx="397">
                  <c:v>128.848573639405</c:v>
                </c:pt>
                <c:pt idx="398">
                  <c:v>128.96752014338901</c:v>
                </c:pt>
                <c:pt idx="399">
                  <c:v>128.72709706953299</c:v>
                </c:pt>
                <c:pt idx="400">
                  <c:v>128.816936192306</c:v>
                </c:pt>
                <c:pt idx="401">
                  <c:v>128.905095630575</c:v>
                </c:pt>
                <c:pt idx="402">
                  <c:v>129.07542840927599</c:v>
                </c:pt>
                <c:pt idx="403">
                  <c:v>128.45491387071101</c:v>
                </c:pt>
                <c:pt idx="404">
                  <c:v>126.97153766176299</c:v>
                </c:pt>
                <c:pt idx="405">
                  <c:v>126.07931511338802</c:v>
                </c:pt>
                <c:pt idx="406">
                  <c:v>126.47559202278799</c:v>
                </c:pt>
                <c:pt idx="407">
                  <c:v>126.20407918346901</c:v>
                </c:pt>
                <c:pt idx="408">
                  <c:v>126.507927253212</c:v>
                </c:pt>
                <c:pt idx="409">
                  <c:v>126.133490853295</c:v>
                </c:pt>
                <c:pt idx="410">
                  <c:v>124.263379981599</c:v>
                </c:pt>
                <c:pt idx="411">
                  <c:v>123.57728336711401</c:v>
                </c:pt>
                <c:pt idx="412">
                  <c:v>123.77831615874399</c:v>
                </c:pt>
                <c:pt idx="413">
                  <c:v>124.493275872137</c:v>
                </c:pt>
                <c:pt idx="414">
                  <c:v>125.78390615034201</c:v>
                </c:pt>
                <c:pt idx="415">
                  <c:v>126.34633299910301</c:v>
                </c:pt>
                <c:pt idx="416">
                  <c:v>127.43168468994099</c:v>
                </c:pt>
                <c:pt idx="417">
                  <c:v>127.47874635462099</c:v>
                </c:pt>
                <c:pt idx="418">
                  <c:v>127.70060097139699</c:v>
                </c:pt>
                <c:pt idx="419">
                  <c:v>128.04585390260399</c:v>
                </c:pt>
                <c:pt idx="420">
                  <c:v>128.238568604054</c:v>
                </c:pt>
                <c:pt idx="421">
                  <c:v>128.933573185282</c:v>
                </c:pt>
                <c:pt idx="422">
                  <c:v>128.394495300551</c:v>
                </c:pt>
                <c:pt idx="423">
                  <c:v>128.45190261680901</c:v>
                </c:pt>
                <c:pt idx="424">
                  <c:v>128.87959032574</c:v>
                </c:pt>
                <c:pt idx="425">
                  <c:v>129.50453934906301</c:v>
                </c:pt>
                <c:pt idx="426">
                  <c:v>129.70603450746</c:v>
                </c:pt>
                <c:pt idx="427">
                  <c:v>129.18557205774101</c:v>
                </c:pt>
                <c:pt idx="428">
                  <c:v>129.510544281563</c:v>
                </c:pt>
                <c:pt idx="429">
                  <c:v>130.06229297845701</c:v>
                </c:pt>
                <c:pt idx="430">
                  <c:v>128.56766654598201</c:v>
                </c:pt>
                <c:pt idx="431">
                  <c:v>130.189451178518</c:v>
                </c:pt>
                <c:pt idx="432">
                  <c:v>130.11317359295401</c:v>
                </c:pt>
                <c:pt idx="433">
                  <c:v>130.66474697064501</c:v>
                </c:pt>
                <c:pt idx="434">
                  <c:v>130.76347129606799</c:v>
                </c:pt>
                <c:pt idx="435">
                  <c:v>130.46261882444199</c:v>
                </c:pt>
                <c:pt idx="436">
                  <c:v>130.36574260549401</c:v>
                </c:pt>
                <c:pt idx="437">
                  <c:v>130.145306575679</c:v>
                </c:pt>
                <c:pt idx="438">
                  <c:v>129.13204565592699</c:v>
                </c:pt>
                <c:pt idx="439">
                  <c:v>128.18046749629701</c:v>
                </c:pt>
                <c:pt idx="440">
                  <c:v>129.10461708635901</c:v>
                </c:pt>
                <c:pt idx="441">
                  <c:v>130.047806827746</c:v>
                </c:pt>
                <c:pt idx="442">
                  <c:v>129.32260624030101</c:v>
                </c:pt>
                <c:pt idx="443">
                  <c:v>129.38517928722899</c:v>
                </c:pt>
                <c:pt idx="444">
                  <c:v>129.32939881828199</c:v>
                </c:pt>
                <c:pt idx="445">
                  <c:v>129.06930491369201</c:v>
                </c:pt>
                <c:pt idx="446">
                  <c:v>129.71412021561301</c:v>
                </c:pt>
                <c:pt idx="447">
                  <c:v>129.72016527693401</c:v>
                </c:pt>
                <c:pt idx="448">
                  <c:v>129.777726184247</c:v>
                </c:pt>
                <c:pt idx="449">
                  <c:v>130.31962187563801</c:v>
                </c:pt>
                <c:pt idx="450">
                  <c:v>131.512571514483</c:v>
                </c:pt>
                <c:pt idx="451">
                  <c:v>131.910308255525</c:v>
                </c:pt>
                <c:pt idx="452">
                  <c:v>131.98859662380201</c:v>
                </c:pt>
                <c:pt idx="453">
                  <c:v>131.94321422879801</c:v>
                </c:pt>
                <c:pt idx="454">
                  <c:v>131.23818092713401</c:v>
                </c:pt>
                <c:pt idx="455">
                  <c:v>129.96797459100301</c:v>
                </c:pt>
                <c:pt idx="456">
                  <c:v>130.05650110263201</c:v>
                </c:pt>
                <c:pt idx="457">
                  <c:v>130.794531869601</c:v>
                </c:pt>
                <c:pt idx="458">
                  <c:v>129.29537464542199</c:v>
                </c:pt>
                <c:pt idx="459">
                  <c:v>127.99197317067701</c:v>
                </c:pt>
                <c:pt idx="460">
                  <c:v>128.42234227846501</c:v>
                </c:pt>
                <c:pt idx="461">
                  <c:v>128.613947066929</c:v>
                </c:pt>
                <c:pt idx="462">
                  <c:v>130.12562411275101</c:v>
                </c:pt>
                <c:pt idx="463">
                  <c:v>130.40031275293899</c:v>
                </c:pt>
                <c:pt idx="464">
                  <c:v>130.40031275293899</c:v>
                </c:pt>
                <c:pt idx="465">
                  <c:v>130.40031275293899</c:v>
                </c:pt>
                <c:pt idx="466">
                  <c:v>130.96612211216799</c:v>
                </c:pt>
                <c:pt idx="467">
                  <c:v>130.83810063323699</c:v>
                </c:pt>
                <c:pt idx="468">
                  <c:v>130.74063419319501</c:v>
                </c:pt>
                <c:pt idx="469">
                  <c:v>130.13795628427201</c:v>
                </c:pt>
                <c:pt idx="470">
                  <c:v>130.33158273918599</c:v>
                </c:pt>
                <c:pt idx="471">
                  <c:v>130.83301533765899</c:v>
                </c:pt>
                <c:pt idx="472">
                  <c:v>131.251935229145</c:v>
                </c:pt>
                <c:pt idx="473">
                  <c:v>131.251935229145</c:v>
                </c:pt>
                <c:pt idx="474">
                  <c:v>131.20223858063699</c:v>
                </c:pt>
                <c:pt idx="475">
                  <c:v>131.292838744482</c:v>
                </c:pt>
                <c:pt idx="476">
                  <c:v>130.70018865263799</c:v>
                </c:pt>
                <c:pt idx="477">
                  <c:v>130.80951579401</c:v>
                </c:pt>
                <c:pt idx="478">
                  <c:v>130.80528655888301</c:v>
                </c:pt>
                <c:pt idx="479">
                  <c:v>130.563580243605</c:v>
                </c:pt>
                <c:pt idx="480">
                  <c:v>131.19109640336899</c:v>
                </c:pt>
                <c:pt idx="481">
                  <c:v>131.67231804740101</c:v>
                </c:pt>
                <c:pt idx="482">
                  <c:v>131.33764254473701</c:v>
                </c:pt>
                <c:pt idx="483">
                  <c:v>130.41424069079201</c:v>
                </c:pt>
                <c:pt idx="484">
                  <c:v>130.595898064545</c:v>
                </c:pt>
                <c:pt idx="485">
                  <c:v>130.903394601207</c:v>
                </c:pt>
                <c:pt idx="486">
                  <c:v>130.434288826526</c:v>
                </c:pt>
                <c:pt idx="487">
                  <c:v>131.10154870595599</c:v>
                </c:pt>
                <c:pt idx="488">
                  <c:v>131.51058445189901</c:v>
                </c:pt>
                <c:pt idx="489">
                  <c:v>132.08820284708901</c:v>
                </c:pt>
                <c:pt idx="490">
                  <c:v>132.675024449489</c:v>
                </c:pt>
                <c:pt idx="491">
                  <c:v>133.03256826078399</c:v>
                </c:pt>
                <c:pt idx="492">
                  <c:v>133.04910043329599</c:v>
                </c:pt>
                <c:pt idx="493">
                  <c:v>133.04910043329599</c:v>
                </c:pt>
                <c:pt idx="494">
                  <c:v>133.857349717636</c:v>
                </c:pt>
                <c:pt idx="495">
                  <c:v>134.21700255042899</c:v>
                </c:pt>
                <c:pt idx="496">
                  <c:v>134.16121973854101</c:v>
                </c:pt>
                <c:pt idx="497">
                  <c:v>134.47761698144001</c:v>
                </c:pt>
                <c:pt idx="498">
                  <c:v>135.19724386289801</c:v>
                </c:pt>
                <c:pt idx="499">
                  <c:v>135.48270213202301</c:v>
                </c:pt>
                <c:pt idx="500">
                  <c:v>135.48270213202301</c:v>
                </c:pt>
                <c:pt idx="501">
                  <c:v>135.40454759403801</c:v>
                </c:pt>
                <c:pt idx="502">
                  <c:v>135.27640467395801</c:v>
                </c:pt>
                <c:pt idx="503">
                  <c:v>134.78627608488</c:v>
                </c:pt>
                <c:pt idx="504">
                  <c:v>134.93734700282101</c:v>
                </c:pt>
                <c:pt idx="505">
                  <c:v>134.89414900141301</c:v>
                </c:pt>
                <c:pt idx="506">
                  <c:v>135.38660828822799</c:v>
                </c:pt>
                <c:pt idx="507">
                  <c:v>136.106729498769</c:v>
                </c:pt>
                <c:pt idx="508">
                  <c:v>136.86830222090899</c:v>
                </c:pt>
                <c:pt idx="509">
                  <c:v>137.060907037411</c:v>
                </c:pt>
                <c:pt idx="510">
                  <c:v>137.060907037411</c:v>
                </c:pt>
                <c:pt idx="511">
                  <c:v>136.03095495630899</c:v>
                </c:pt>
                <c:pt idx="512">
                  <c:v>136.07865119157401</c:v>
                </c:pt>
                <c:pt idx="513">
                  <c:v>136.15743146078401</c:v>
                </c:pt>
                <c:pt idx="514">
                  <c:v>136.308660745043</c:v>
                </c:pt>
                <c:pt idx="515">
                  <c:v>136.54507955302799</c:v>
                </c:pt>
                <c:pt idx="516">
                  <c:v>137.55877196862701</c:v>
                </c:pt>
                <c:pt idx="517">
                  <c:v>137.65834099029601</c:v>
                </c:pt>
                <c:pt idx="518">
                  <c:v>138.29619928703099</c:v>
                </c:pt>
                <c:pt idx="519">
                  <c:v>138.344051684237</c:v>
                </c:pt>
                <c:pt idx="520">
                  <c:v>137.73182902271901</c:v>
                </c:pt>
                <c:pt idx="521">
                  <c:v>136.83744640837901</c:v>
                </c:pt>
                <c:pt idx="522">
                  <c:v>137.07162201819301</c:v>
                </c:pt>
                <c:pt idx="523">
                  <c:v>136.197832567858</c:v>
                </c:pt>
                <c:pt idx="524">
                  <c:v>136.36986750921</c:v>
                </c:pt>
                <c:pt idx="525">
                  <c:v>136.84463956382399</c:v>
                </c:pt>
                <c:pt idx="526">
                  <c:v>136.229565529247</c:v>
                </c:pt>
                <c:pt idx="527">
                  <c:v>136.76417123620601</c:v>
                </c:pt>
                <c:pt idx="528">
                  <c:v>135.47573210852801</c:v>
                </c:pt>
                <c:pt idx="529">
                  <c:v>136.05507324483401</c:v>
                </c:pt>
                <c:pt idx="530">
                  <c:v>135.82543702066701</c:v>
                </c:pt>
                <c:pt idx="531">
                  <c:v>136.39127190056701</c:v>
                </c:pt>
                <c:pt idx="532">
                  <c:v>136.38726556535099</c:v>
                </c:pt>
                <c:pt idx="533">
                  <c:v>136.17601399276199</c:v>
                </c:pt>
                <c:pt idx="534">
                  <c:v>135.674585336115</c:v>
                </c:pt>
                <c:pt idx="535">
                  <c:v>135.69355341441201</c:v>
                </c:pt>
                <c:pt idx="536">
                  <c:v>135.28528759884199</c:v>
                </c:pt>
                <c:pt idx="537">
                  <c:v>134.90807748708099</c:v>
                </c:pt>
                <c:pt idx="538">
                  <c:v>133.40078597839599</c:v>
                </c:pt>
                <c:pt idx="539">
                  <c:v>133.0752846355</c:v>
                </c:pt>
                <c:pt idx="540">
                  <c:v>133.37381292025799</c:v>
                </c:pt>
                <c:pt idx="541">
                  <c:v>132.54020583740399</c:v>
                </c:pt>
                <c:pt idx="542">
                  <c:v>132.29753378387599</c:v>
                </c:pt>
                <c:pt idx="543">
                  <c:v>131.930409174001</c:v>
                </c:pt>
                <c:pt idx="544">
                  <c:v>132.16468743335599</c:v>
                </c:pt>
                <c:pt idx="545">
                  <c:v>133.282502135882</c:v>
                </c:pt>
                <c:pt idx="546">
                  <c:v>132.95681956021801</c:v>
                </c:pt>
                <c:pt idx="547">
                  <c:v>133.60608745611199</c:v>
                </c:pt>
                <c:pt idx="548">
                  <c:v>134.379901552251</c:v>
                </c:pt>
                <c:pt idx="549">
                  <c:v>134.379901552251</c:v>
                </c:pt>
                <c:pt idx="550">
                  <c:v>135.02742846862299</c:v>
                </c:pt>
                <c:pt idx="551">
                  <c:v>135.63546910674299</c:v>
                </c:pt>
                <c:pt idx="552">
                  <c:v>135.662538517277</c:v>
                </c:pt>
                <c:pt idx="553">
                  <c:v>136.23954394296101</c:v>
                </c:pt>
                <c:pt idx="554">
                  <c:v>135.70630765477199</c:v>
                </c:pt>
                <c:pt idx="555">
                  <c:v>136.45174740296599</c:v>
                </c:pt>
                <c:pt idx="556">
                  <c:v>136.561890447671</c:v>
                </c:pt>
                <c:pt idx="557">
                  <c:v>136.62014949066</c:v>
                </c:pt>
                <c:pt idx="558">
                  <c:v>136.22169459957499</c:v>
                </c:pt>
                <c:pt idx="559">
                  <c:v>136.435644596771</c:v>
                </c:pt>
                <c:pt idx="560">
                  <c:v>136.395231987984</c:v>
                </c:pt>
                <c:pt idx="561">
                  <c:v>136.515788922995</c:v>
                </c:pt>
                <c:pt idx="562">
                  <c:v>136.89591907517001</c:v>
                </c:pt>
                <c:pt idx="563">
                  <c:v>136.53888092608801</c:v>
                </c:pt>
                <c:pt idx="564">
                  <c:v>136.82560196901099</c:v>
                </c:pt>
                <c:pt idx="565">
                  <c:v>136.39816040994501</c:v>
                </c:pt>
                <c:pt idx="566">
                  <c:v>135.69822018011899</c:v>
                </c:pt>
                <c:pt idx="567">
                  <c:v>136.151152179306</c:v>
                </c:pt>
                <c:pt idx="568">
                  <c:v>136.21981723223001</c:v>
                </c:pt>
                <c:pt idx="569">
                  <c:v>135.67563611409901</c:v>
                </c:pt>
                <c:pt idx="570">
                  <c:v>135.715380234441</c:v>
                </c:pt>
                <c:pt idx="571">
                  <c:v>136.10610525140001</c:v>
                </c:pt>
                <c:pt idx="572">
                  <c:v>136.32023896845001</c:v>
                </c:pt>
                <c:pt idx="573">
                  <c:v>137.03312987074699</c:v>
                </c:pt>
                <c:pt idx="574">
                  <c:v>137.07068788031199</c:v>
                </c:pt>
                <c:pt idx="575">
                  <c:v>136.31043102914299</c:v>
                </c:pt>
                <c:pt idx="576">
                  <c:v>135.308682456306</c:v>
                </c:pt>
                <c:pt idx="577">
                  <c:v>135.876221642133</c:v>
                </c:pt>
                <c:pt idx="578">
                  <c:v>134.645692945495</c:v>
                </c:pt>
                <c:pt idx="579">
                  <c:v>135.10055175056499</c:v>
                </c:pt>
                <c:pt idx="580">
                  <c:v>134.89073155549599</c:v>
                </c:pt>
                <c:pt idx="581">
                  <c:v>134.44997326402401</c:v>
                </c:pt>
                <c:pt idx="582">
                  <c:v>132.865716743847</c:v>
                </c:pt>
                <c:pt idx="583">
                  <c:v>131.998638387809</c:v>
                </c:pt>
                <c:pt idx="584">
                  <c:v>132.77413465382901</c:v>
                </c:pt>
                <c:pt idx="585">
                  <c:v>133.02145345113701</c:v>
                </c:pt>
                <c:pt idx="586">
                  <c:v>131.59264995460299</c:v>
                </c:pt>
                <c:pt idx="587">
                  <c:v>132.77387472718701</c:v>
                </c:pt>
                <c:pt idx="588">
                  <c:v>131.168130595771</c:v>
                </c:pt>
                <c:pt idx="589">
                  <c:v>129.16703220621599</c:v>
                </c:pt>
                <c:pt idx="590">
                  <c:v>128.051324411064</c:v>
                </c:pt>
                <c:pt idx="591">
                  <c:v>127.890858136394</c:v>
                </c:pt>
                <c:pt idx="592">
                  <c:v>127.02300337614901</c:v>
                </c:pt>
                <c:pt idx="593">
                  <c:v>126.59199392784799</c:v>
                </c:pt>
                <c:pt idx="594">
                  <c:v>128.127213043654</c:v>
                </c:pt>
                <c:pt idx="595">
                  <c:v>128.96712196316801</c:v>
                </c:pt>
                <c:pt idx="596">
                  <c:v>130.866917838196</c:v>
                </c:pt>
                <c:pt idx="597">
                  <c:v>130.77936130017599</c:v>
                </c:pt>
                <c:pt idx="598">
                  <c:v>131.68041585702099</c:v>
                </c:pt>
                <c:pt idx="599">
                  <c:v>132.44626548174799</c:v>
                </c:pt>
                <c:pt idx="600">
                  <c:v>132.47519031115499</c:v>
                </c:pt>
                <c:pt idx="601">
                  <c:v>133.70962995109201</c:v>
                </c:pt>
                <c:pt idx="602">
                  <c:v>134.059374656834</c:v>
                </c:pt>
                <c:pt idx="603">
                  <c:v>134.52216828291199</c:v>
                </c:pt>
                <c:pt idx="604">
                  <c:v>136.141859530353</c:v>
                </c:pt>
                <c:pt idx="605">
                  <c:v>135.47370648986899</c:v>
                </c:pt>
                <c:pt idx="606">
                  <c:v>135.896596771623</c:v>
                </c:pt>
                <c:pt idx="607">
                  <c:v>136.204820862323</c:v>
                </c:pt>
                <c:pt idx="608">
                  <c:v>136.50274189703899</c:v>
                </c:pt>
                <c:pt idx="609">
                  <c:v>136.373720650596</c:v>
                </c:pt>
                <c:pt idx="610">
                  <c:v>137.17395168005299</c:v>
                </c:pt>
                <c:pt idx="611">
                  <c:v>137.28448591270001</c:v>
                </c:pt>
                <c:pt idx="612">
                  <c:v>137.12421795078001</c:v>
                </c:pt>
                <c:pt idx="613">
                  <c:v>137.46400368460101</c:v>
                </c:pt>
                <c:pt idx="614">
                  <c:v>137.616274368642</c:v>
                </c:pt>
                <c:pt idx="615">
                  <c:v>137.29162216779</c:v>
                </c:pt>
                <c:pt idx="616">
                  <c:v>138.59011303429699</c:v>
                </c:pt>
                <c:pt idx="617">
                  <c:v>138.35692671860301</c:v>
                </c:pt>
                <c:pt idx="618">
                  <c:v>138.46757628306801</c:v>
                </c:pt>
                <c:pt idx="619">
                  <c:v>139.31808284083999</c:v>
                </c:pt>
                <c:pt idx="620">
                  <c:v>139.618989722631</c:v>
                </c:pt>
                <c:pt idx="621">
                  <c:v>139.81308612424201</c:v>
                </c:pt>
                <c:pt idx="622">
                  <c:v>140.26780786733599</c:v>
                </c:pt>
                <c:pt idx="623">
                  <c:v>140.15973142414501</c:v>
                </c:pt>
                <c:pt idx="624">
                  <c:v>140.07257320453601</c:v>
                </c:pt>
                <c:pt idx="625">
                  <c:v>139.675260543674</c:v>
                </c:pt>
                <c:pt idx="626">
                  <c:v>140.088359886023</c:v>
                </c:pt>
                <c:pt idx="627">
                  <c:v>140.21993247553701</c:v>
                </c:pt>
                <c:pt idx="628">
                  <c:v>140.26817582598301</c:v>
                </c:pt>
                <c:pt idx="629">
                  <c:v>140.51470257476399</c:v>
                </c:pt>
                <c:pt idx="630">
                  <c:v>139.94001597088999</c:v>
                </c:pt>
                <c:pt idx="631">
                  <c:v>139.34829170123899</c:v>
                </c:pt>
                <c:pt idx="632">
                  <c:v>137.28921634052401</c:v>
                </c:pt>
                <c:pt idx="633">
                  <c:v>137.42082172497999</c:v>
                </c:pt>
                <c:pt idx="634">
                  <c:v>135.570204201129</c:v>
                </c:pt>
                <c:pt idx="635">
                  <c:v>134.36854189211499</c:v>
                </c:pt>
                <c:pt idx="636">
                  <c:v>134.34409702901701</c:v>
                </c:pt>
                <c:pt idx="637">
                  <c:v>135.45639770469299</c:v>
                </c:pt>
                <c:pt idx="638">
                  <c:v>138.21776243383499</c:v>
                </c:pt>
                <c:pt idx="639">
                  <c:v>138.98601197867899</c:v>
                </c:pt>
                <c:pt idx="640">
                  <c:v>139.621328398565</c:v>
                </c:pt>
                <c:pt idx="641">
                  <c:v>139.46069077121001</c:v>
                </c:pt>
                <c:pt idx="642">
                  <c:v>139.46069077121001</c:v>
                </c:pt>
                <c:pt idx="643">
                  <c:v>139.46069077121001</c:v>
                </c:pt>
                <c:pt idx="644">
                  <c:v>139.46069077121001</c:v>
                </c:pt>
                <c:pt idx="645">
                  <c:v>139.97989335959801</c:v>
                </c:pt>
                <c:pt idx="646">
                  <c:v>139.213766000497</c:v>
                </c:pt>
                <c:pt idx="647">
                  <c:v>138.22946821724</c:v>
                </c:pt>
                <c:pt idx="648">
                  <c:v>138.22946821724</c:v>
                </c:pt>
                <c:pt idx="649">
                  <c:v>137.83510085036801</c:v>
                </c:pt>
                <c:pt idx="650">
                  <c:v>135.724208435398</c:v>
                </c:pt>
                <c:pt idx="651">
                  <c:v>134.477299965763</c:v>
                </c:pt>
                <c:pt idx="652">
                  <c:v>135.27743540025099</c:v>
                </c:pt>
                <c:pt idx="653">
                  <c:v>137.842781396161</c:v>
                </c:pt>
                <c:pt idx="654">
                  <c:v>136.909036644748</c:v>
                </c:pt>
                <c:pt idx="655">
                  <c:v>136.39540010983399</c:v>
                </c:pt>
                <c:pt idx="656">
                  <c:v>136.391232694618</c:v>
                </c:pt>
                <c:pt idx="657">
                  <c:v>135.49912649615101</c:v>
                </c:pt>
                <c:pt idx="658">
                  <c:v>135.58920656910601</c:v>
                </c:pt>
                <c:pt idx="659">
                  <c:v>136.37907373278</c:v>
                </c:pt>
                <c:pt idx="660">
                  <c:v>137.004308965636</c:v>
                </c:pt>
                <c:pt idx="661">
                  <c:v>136.91642314834101</c:v>
                </c:pt>
                <c:pt idx="662">
                  <c:v>137.43479885522001</c:v>
                </c:pt>
                <c:pt idx="663">
                  <c:v>138.70588232791201</c:v>
                </c:pt>
                <c:pt idx="664">
                  <c:v>138.618342719243</c:v>
                </c:pt>
                <c:pt idx="665">
                  <c:v>139.03498352474301</c:v>
                </c:pt>
                <c:pt idx="666">
                  <c:v>138.55013186140201</c:v>
                </c:pt>
                <c:pt idx="667">
                  <c:v>137.34385148967399</c:v>
                </c:pt>
                <c:pt idx="668">
                  <c:v>137.93588191478401</c:v>
                </c:pt>
                <c:pt idx="669">
                  <c:v>136.17496984778501</c:v>
                </c:pt>
                <c:pt idx="670">
                  <c:v>137.605619698228</c:v>
                </c:pt>
                <c:pt idx="671">
                  <c:v>139.15075536146901</c:v>
                </c:pt>
                <c:pt idx="672">
                  <c:v>138.92701254543101</c:v>
                </c:pt>
                <c:pt idx="673">
                  <c:v>139.8747656223</c:v>
                </c:pt>
                <c:pt idx="674">
                  <c:v>138.89789898109899</c:v>
                </c:pt>
                <c:pt idx="675">
                  <c:v>138.11178111613299</c:v>
                </c:pt>
                <c:pt idx="676">
                  <c:v>139.122536560637</c:v>
                </c:pt>
                <c:pt idx="677">
                  <c:v>138.94069858158599</c:v>
                </c:pt>
                <c:pt idx="678">
                  <c:v>140.55842832100299</c:v>
                </c:pt>
                <c:pt idx="679">
                  <c:v>141.077674720055</c:v>
                </c:pt>
                <c:pt idx="680">
                  <c:v>141.139256630202</c:v>
                </c:pt>
                <c:pt idx="681">
                  <c:v>141.18769256130599</c:v>
                </c:pt>
                <c:pt idx="682">
                  <c:v>141.84314992115401</c:v>
                </c:pt>
                <c:pt idx="683">
                  <c:v>142.16374087613499</c:v>
                </c:pt>
                <c:pt idx="684">
                  <c:v>142.714632290769</c:v>
                </c:pt>
                <c:pt idx="685">
                  <c:v>142.94393094094499</c:v>
                </c:pt>
                <c:pt idx="686">
                  <c:v>143.296058005573</c:v>
                </c:pt>
                <c:pt idx="687">
                  <c:v>143.25039379343201</c:v>
                </c:pt>
                <c:pt idx="688">
                  <c:v>143.28847825859299</c:v>
                </c:pt>
                <c:pt idx="689">
                  <c:v>143.25327240928601</c:v>
                </c:pt>
                <c:pt idx="690">
                  <c:v>143.587848410909</c:v>
                </c:pt>
                <c:pt idx="691">
                  <c:v>143.16516912286801</c:v>
                </c:pt>
                <c:pt idx="692">
                  <c:v>142.731982983894</c:v>
                </c:pt>
                <c:pt idx="693">
                  <c:v>142.84335089891101</c:v>
                </c:pt>
                <c:pt idx="694">
                  <c:v>141.299924232584</c:v>
                </c:pt>
                <c:pt idx="695">
                  <c:v>141.41401022012101</c:v>
                </c:pt>
                <c:pt idx="696">
                  <c:v>139.755325848213</c:v>
                </c:pt>
                <c:pt idx="697">
                  <c:v>139.761901988425</c:v>
                </c:pt>
                <c:pt idx="698">
                  <c:v>141.61254139211599</c:v>
                </c:pt>
                <c:pt idx="699">
                  <c:v>141.64180329577701</c:v>
                </c:pt>
                <c:pt idx="700">
                  <c:v>143.35241978825201</c:v>
                </c:pt>
                <c:pt idx="701">
                  <c:v>142.996681800913</c:v>
                </c:pt>
                <c:pt idx="702">
                  <c:v>144.30436799109501</c:v>
                </c:pt>
                <c:pt idx="703">
                  <c:v>143.93357146825701</c:v>
                </c:pt>
                <c:pt idx="704">
                  <c:v>145.23919744799201</c:v>
                </c:pt>
                <c:pt idx="705">
                  <c:v>145.49011522721901</c:v>
                </c:pt>
                <c:pt idx="706">
                  <c:v>144.941292571372</c:v>
                </c:pt>
                <c:pt idx="707">
                  <c:v>143.448912672001</c:v>
                </c:pt>
                <c:pt idx="708">
                  <c:v>142.52252253321501</c:v>
                </c:pt>
                <c:pt idx="709">
                  <c:v>142.86465858762199</c:v>
                </c:pt>
                <c:pt idx="710">
                  <c:v>143.80738920477401</c:v>
                </c:pt>
                <c:pt idx="711">
                  <c:v>142.47163239384801</c:v>
                </c:pt>
                <c:pt idx="712">
                  <c:v>141.859620943572</c:v>
                </c:pt>
                <c:pt idx="713">
                  <c:v>142.88338262288801</c:v>
                </c:pt>
                <c:pt idx="714">
                  <c:v>142.88338262288801</c:v>
                </c:pt>
                <c:pt idx="715">
                  <c:v>142.88338262288801</c:v>
                </c:pt>
                <c:pt idx="716">
                  <c:v>144.101884979716</c:v>
                </c:pt>
                <c:pt idx="717">
                  <c:v>144.45473983162</c:v>
                </c:pt>
                <c:pt idx="718">
                  <c:v>144.902034812388</c:v>
                </c:pt>
                <c:pt idx="719">
                  <c:v>145.32839158478501</c:v>
                </c:pt>
                <c:pt idx="720">
                  <c:v>144.62478768019301</c:v>
                </c:pt>
                <c:pt idx="721">
                  <c:v>145.19810125239499</c:v>
                </c:pt>
                <c:pt idx="722">
                  <c:v>145.14191106022599</c:v>
                </c:pt>
                <c:pt idx="723">
                  <c:v>144.959796010373</c:v>
                </c:pt>
                <c:pt idx="724">
                  <c:v>143.46595858588</c:v>
                </c:pt>
                <c:pt idx="725">
                  <c:v>144.19968421523799</c:v>
                </c:pt>
                <c:pt idx="726">
                  <c:v>144.84663788592499</c:v>
                </c:pt>
                <c:pt idx="727">
                  <c:v>145.26273777910899</c:v>
                </c:pt>
                <c:pt idx="728">
                  <c:v>145.24851225140301</c:v>
                </c:pt>
                <c:pt idx="729">
                  <c:v>145.60168718818599</c:v>
                </c:pt>
                <c:pt idx="730">
                  <c:v>145.559048334793</c:v>
                </c:pt>
                <c:pt idx="731">
                  <c:v>145.79680561356599</c:v>
                </c:pt>
                <c:pt idx="732">
                  <c:v>144.05015323214201</c:v>
                </c:pt>
                <c:pt idx="733">
                  <c:v>142.63934100721301</c:v>
                </c:pt>
                <c:pt idx="734">
                  <c:v>142.63934100721301</c:v>
                </c:pt>
                <c:pt idx="735">
                  <c:v>143.768656676951</c:v>
                </c:pt>
                <c:pt idx="736">
                  <c:v>142.37848814455199</c:v>
                </c:pt>
                <c:pt idx="737">
                  <c:v>142.64770272611801</c:v>
                </c:pt>
                <c:pt idx="738">
                  <c:v>142.67535472535201</c:v>
                </c:pt>
                <c:pt idx="739">
                  <c:v>144.36267563236601</c:v>
                </c:pt>
                <c:pt idx="740">
                  <c:v>144.099203466831</c:v>
                </c:pt>
                <c:pt idx="741">
                  <c:v>143.84333307407999</c:v>
                </c:pt>
                <c:pt idx="742">
                  <c:v>144.15473314649699</c:v>
                </c:pt>
                <c:pt idx="743">
                  <c:v>144.15473314649699</c:v>
                </c:pt>
                <c:pt idx="744">
                  <c:v>145.691791446336</c:v>
                </c:pt>
                <c:pt idx="745">
                  <c:v>145.80673937058401</c:v>
                </c:pt>
                <c:pt idx="746">
                  <c:v>145.69792466788499</c:v>
                </c:pt>
                <c:pt idx="747">
                  <c:v>145.568078123541</c:v>
                </c:pt>
                <c:pt idx="748">
                  <c:v>145.795594098045</c:v>
                </c:pt>
                <c:pt idx="749">
                  <c:v>145.20324128412</c:v>
                </c:pt>
                <c:pt idx="750">
                  <c:v>145.20324128412</c:v>
                </c:pt>
                <c:pt idx="751">
                  <c:v>143.83206053487501</c:v>
                </c:pt>
                <c:pt idx="752">
                  <c:v>144.459074973051</c:v>
                </c:pt>
                <c:pt idx="753">
                  <c:v>144.40271899790599</c:v>
                </c:pt>
                <c:pt idx="754">
                  <c:v>143.51529286228899</c:v>
                </c:pt>
                <c:pt idx="755">
                  <c:v>143.56670290744401</c:v>
                </c:pt>
                <c:pt idx="756">
                  <c:v>143.67855305339199</c:v>
                </c:pt>
                <c:pt idx="757">
                  <c:v>144.253179446085</c:v>
                </c:pt>
                <c:pt idx="758">
                  <c:v>143.102935806532</c:v>
                </c:pt>
                <c:pt idx="759">
                  <c:v>142.09979351515901</c:v>
                </c:pt>
                <c:pt idx="760">
                  <c:v>141.47795367199799</c:v>
                </c:pt>
                <c:pt idx="761">
                  <c:v>141.46350253904001</c:v>
                </c:pt>
                <c:pt idx="762">
                  <c:v>142.96404802297599</c:v>
                </c:pt>
                <c:pt idx="763">
                  <c:v>143.42312146200399</c:v>
                </c:pt>
                <c:pt idx="764">
                  <c:v>142.84058247753401</c:v>
                </c:pt>
                <c:pt idx="765">
                  <c:v>141.94502486083499</c:v>
                </c:pt>
                <c:pt idx="766">
                  <c:v>142.60411255957399</c:v>
                </c:pt>
                <c:pt idx="767">
                  <c:v>142.49498991877101</c:v>
                </c:pt>
                <c:pt idx="768">
                  <c:v>143.98562865689999</c:v>
                </c:pt>
                <c:pt idx="769">
                  <c:v>143.68710031424999</c:v>
                </c:pt>
                <c:pt idx="770">
                  <c:v>144.896722128178</c:v>
                </c:pt>
                <c:pt idx="771">
                  <c:v>144.896722128178</c:v>
                </c:pt>
                <c:pt idx="772">
                  <c:v>144.173268373517</c:v>
                </c:pt>
                <c:pt idx="773">
                  <c:v>144.01153173813501</c:v>
                </c:pt>
                <c:pt idx="774">
                  <c:v>143.839252209091</c:v>
                </c:pt>
                <c:pt idx="775">
                  <c:v>141.12146312239801</c:v>
                </c:pt>
                <c:pt idx="776">
                  <c:v>141.33865127036901</c:v>
                </c:pt>
                <c:pt idx="777">
                  <c:v>142.292926597996</c:v>
                </c:pt>
                <c:pt idx="778">
                  <c:v>142.41417249945201</c:v>
                </c:pt>
                <c:pt idx="779">
                  <c:v>142.357635962454</c:v>
                </c:pt>
                <c:pt idx="780">
                  <c:v>141.67016055397201</c:v>
                </c:pt>
                <c:pt idx="781">
                  <c:v>142.149680123986</c:v>
                </c:pt>
                <c:pt idx="782">
                  <c:v>140.81926975754101</c:v>
                </c:pt>
                <c:pt idx="783">
                  <c:v>141.12320903630001</c:v>
                </c:pt>
                <c:pt idx="784">
                  <c:v>142.73939808219799</c:v>
                </c:pt>
                <c:pt idx="785">
                  <c:v>144.065393757159</c:v>
                </c:pt>
                <c:pt idx="786">
                  <c:v>144.604970459025</c:v>
                </c:pt>
                <c:pt idx="787">
                  <c:v>144.53338281340999</c:v>
                </c:pt>
                <c:pt idx="788">
                  <c:v>145.550698498988</c:v>
                </c:pt>
                <c:pt idx="789">
                  <c:v>145.22201503016299</c:v>
                </c:pt>
                <c:pt idx="790">
                  <c:v>145.56943582954801</c:v>
                </c:pt>
                <c:pt idx="791">
                  <c:v>145.217080418363</c:v>
                </c:pt>
                <c:pt idx="792">
                  <c:v>144.79285239090899</c:v>
                </c:pt>
                <c:pt idx="793">
                  <c:v>144.88738841177599</c:v>
                </c:pt>
                <c:pt idx="794">
                  <c:v>144.03042314404499</c:v>
                </c:pt>
                <c:pt idx="795">
                  <c:v>143.59523209263699</c:v>
                </c:pt>
                <c:pt idx="796">
                  <c:v>144.37014911222599</c:v>
                </c:pt>
                <c:pt idx="797">
                  <c:v>145.40322216834301</c:v>
                </c:pt>
                <c:pt idx="798">
                  <c:v>145.11125459760899</c:v>
                </c:pt>
                <c:pt idx="799">
                  <c:v>145.60314618250499</c:v>
                </c:pt>
                <c:pt idx="800">
                  <c:v>145.831947047726</c:v>
                </c:pt>
                <c:pt idx="801">
                  <c:v>145.87156661990699</c:v>
                </c:pt>
                <c:pt idx="802">
                  <c:v>146.283132663304</c:v>
                </c:pt>
                <c:pt idx="803">
                  <c:v>145.45669723632099</c:v>
                </c:pt>
                <c:pt idx="804">
                  <c:v>145.199915547242</c:v>
                </c:pt>
                <c:pt idx="805">
                  <c:v>146.268518077978</c:v>
                </c:pt>
                <c:pt idx="806">
                  <c:v>145.295371556502</c:v>
                </c:pt>
                <c:pt idx="807">
                  <c:v>144.771044247118</c:v>
                </c:pt>
                <c:pt idx="808">
                  <c:v>144.82195033205201</c:v>
                </c:pt>
                <c:pt idx="809">
                  <c:v>145.14684052025399</c:v>
                </c:pt>
                <c:pt idx="810">
                  <c:v>146.42225377205801</c:v>
                </c:pt>
                <c:pt idx="811">
                  <c:v>146.07228389508001</c:v>
                </c:pt>
                <c:pt idx="812">
                  <c:v>144.939263779225</c:v>
                </c:pt>
                <c:pt idx="813">
                  <c:v>142.96303327482499</c:v>
                </c:pt>
                <c:pt idx="814">
                  <c:v>139.87252868149301</c:v>
                </c:pt>
                <c:pt idx="815">
                  <c:v>135.44389889975599</c:v>
                </c:pt>
                <c:pt idx="816">
                  <c:v>133.873810308472</c:v>
                </c:pt>
                <c:pt idx="817">
                  <c:v>136.80518459254699</c:v>
                </c:pt>
                <c:pt idx="818">
                  <c:v>139.121619283933</c:v>
                </c:pt>
                <c:pt idx="819">
                  <c:v>139.46223298874901</c:v>
                </c:pt>
                <c:pt idx="820">
                  <c:v>138.386929799386</c:v>
                </c:pt>
                <c:pt idx="821">
                  <c:v>135.47775459482</c:v>
                </c:pt>
                <c:pt idx="822">
                  <c:v>136.80662663011401</c:v>
                </c:pt>
                <c:pt idx="823">
                  <c:v>137.49909632318301</c:v>
                </c:pt>
                <c:pt idx="824">
                  <c:v>135.63458413283601</c:v>
                </c:pt>
                <c:pt idx="825">
                  <c:v>135.818248597001</c:v>
                </c:pt>
                <c:pt idx="826">
                  <c:v>137.720520400748</c:v>
                </c:pt>
                <c:pt idx="827">
                  <c:v>137.68686736032899</c:v>
                </c:pt>
                <c:pt idx="828">
                  <c:v>137.520441412178</c:v>
                </c:pt>
                <c:pt idx="829">
                  <c:v>137.65129056941399</c:v>
                </c:pt>
                <c:pt idx="830">
                  <c:v>137.26098661358199</c:v>
                </c:pt>
                <c:pt idx="831">
                  <c:v>138.30168700313101</c:v>
                </c:pt>
                <c:pt idx="832">
                  <c:v>139.440948768928</c:v>
                </c:pt>
                <c:pt idx="833">
                  <c:v>139.55495898562901</c:v>
                </c:pt>
                <c:pt idx="834">
                  <c:v>138.11804022679499</c:v>
                </c:pt>
                <c:pt idx="835">
                  <c:v>138.14619524364599</c:v>
                </c:pt>
                <c:pt idx="836">
                  <c:v>136.21966468708399</c:v>
                </c:pt>
                <c:pt idx="837">
                  <c:v>136.25753507356799</c:v>
                </c:pt>
                <c:pt idx="838">
                  <c:v>135.655617069421</c:v>
                </c:pt>
                <c:pt idx="839">
                  <c:v>136.229525985908</c:v>
                </c:pt>
                <c:pt idx="840">
                  <c:v>133.98439496611999</c:v>
                </c:pt>
                <c:pt idx="841">
                  <c:v>133.228068582243</c:v>
                </c:pt>
                <c:pt idx="842">
                  <c:v>135.2878886089</c:v>
                </c:pt>
                <c:pt idx="843">
                  <c:v>135.56691470565499</c:v>
                </c:pt>
                <c:pt idx="844">
                  <c:v>136.54746911317301</c:v>
                </c:pt>
                <c:pt idx="845">
                  <c:v>138.30591973116699</c:v>
                </c:pt>
                <c:pt idx="846">
                  <c:v>138.14709540146899</c:v>
                </c:pt>
                <c:pt idx="847">
                  <c:v>139.08511431315199</c:v>
                </c:pt>
                <c:pt idx="848">
                  <c:v>139.69286231832601</c:v>
                </c:pt>
                <c:pt idx="849">
                  <c:v>140.205315394976</c:v>
                </c:pt>
                <c:pt idx="850">
                  <c:v>140.57125241576799</c:v>
                </c:pt>
                <c:pt idx="851">
                  <c:v>139.65442381652301</c:v>
                </c:pt>
                <c:pt idx="852">
                  <c:v>138.63208789937599</c:v>
                </c:pt>
                <c:pt idx="853">
                  <c:v>140.23966710316</c:v>
                </c:pt>
                <c:pt idx="854">
                  <c:v>140.78837884868099</c:v>
                </c:pt>
                <c:pt idx="855">
                  <c:v>140.549185302534</c:v>
                </c:pt>
                <c:pt idx="856">
                  <c:v>140.47432779608801</c:v>
                </c:pt>
                <c:pt idx="857">
                  <c:v>139.990349915454</c:v>
                </c:pt>
                <c:pt idx="858">
                  <c:v>141.15337194894701</c:v>
                </c:pt>
                <c:pt idx="859">
                  <c:v>142.19553265004399</c:v>
                </c:pt>
                <c:pt idx="860">
                  <c:v>142.210333611539</c:v>
                </c:pt>
                <c:pt idx="861">
                  <c:v>141.282328506943</c:v>
                </c:pt>
                <c:pt idx="862">
                  <c:v>142.16450986289101</c:v>
                </c:pt>
                <c:pt idx="863">
                  <c:v>141.990341359523</c:v>
                </c:pt>
                <c:pt idx="864">
                  <c:v>141.696664837968</c:v>
                </c:pt>
                <c:pt idx="865">
                  <c:v>142.18424780716899</c:v>
                </c:pt>
                <c:pt idx="866">
                  <c:v>141.94667218535201</c:v>
                </c:pt>
                <c:pt idx="867">
                  <c:v>141.73069473478299</c:v>
                </c:pt>
                <c:pt idx="868">
                  <c:v>141.88495844308699</c:v>
                </c:pt>
                <c:pt idx="869">
                  <c:v>141.14438698249401</c:v>
                </c:pt>
                <c:pt idx="870">
                  <c:v>140.40293124093799</c:v>
                </c:pt>
                <c:pt idx="871">
                  <c:v>140.38767718372301</c:v>
                </c:pt>
                <c:pt idx="872">
                  <c:v>140.77616800485299</c:v>
                </c:pt>
                <c:pt idx="873">
                  <c:v>139.58786047745201</c:v>
                </c:pt>
                <c:pt idx="874">
                  <c:v>138.48822686901499</c:v>
                </c:pt>
                <c:pt idx="875">
                  <c:v>139.44289074727399</c:v>
                </c:pt>
                <c:pt idx="876">
                  <c:v>139.87924847115099</c:v>
                </c:pt>
                <c:pt idx="877">
                  <c:v>140.94549758194</c:v>
                </c:pt>
                <c:pt idx="878">
                  <c:v>141.95538856057999</c:v>
                </c:pt>
                <c:pt idx="879">
                  <c:v>141.793324704724</c:v>
                </c:pt>
                <c:pt idx="880">
                  <c:v>141.39502176241101</c:v>
                </c:pt>
                <c:pt idx="881">
                  <c:v>141.12155339447901</c:v>
                </c:pt>
                <c:pt idx="882">
                  <c:v>141.26316621942601</c:v>
                </c:pt>
                <c:pt idx="883">
                  <c:v>141.68849078014199</c:v>
                </c:pt>
                <c:pt idx="884">
                  <c:v>141.56495479642399</c:v>
                </c:pt>
                <c:pt idx="885">
                  <c:v>141.08196023920399</c:v>
                </c:pt>
                <c:pt idx="886">
                  <c:v>142.19319575960699</c:v>
                </c:pt>
                <c:pt idx="887">
                  <c:v>141.23885845308899</c:v>
                </c:pt>
                <c:pt idx="888">
                  <c:v>140.07429261427501</c:v>
                </c:pt>
                <c:pt idx="889">
                  <c:v>141.639619190194</c:v>
                </c:pt>
                <c:pt idx="890">
                  <c:v>141.59970299564401</c:v>
                </c:pt>
                <c:pt idx="891">
                  <c:v>140.44353700286101</c:v>
                </c:pt>
                <c:pt idx="892">
                  <c:v>139.75733183509499</c:v>
                </c:pt>
                <c:pt idx="893">
                  <c:v>139.66340961604001</c:v>
                </c:pt>
                <c:pt idx="894">
                  <c:v>138.06604664259601</c:v>
                </c:pt>
                <c:pt idx="895">
                  <c:v>137.92057666326201</c:v>
                </c:pt>
                <c:pt idx="896">
                  <c:v>138.78609921202701</c:v>
                </c:pt>
                <c:pt idx="897">
                  <c:v>140.43762510241399</c:v>
                </c:pt>
                <c:pt idx="898">
                  <c:v>138.991519182361</c:v>
                </c:pt>
                <c:pt idx="899">
                  <c:v>137.40616343345999</c:v>
                </c:pt>
                <c:pt idx="900">
                  <c:v>137.940731615879</c:v>
                </c:pt>
                <c:pt idx="901">
                  <c:v>138.911735008341</c:v>
                </c:pt>
                <c:pt idx="902">
                  <c:v>140.258341170607</c:v>
                </c:pt>
                <c:pt idx="903">
                  <c:v>140.258341170607</c:v>
                </c:pt>
                <c:pt idx="904">
                  <c:v>140.258341170607</c:v>
                </c:pt>
                <c:pt idx="905">
                  <c:v>140.24318899509501</c:v>
                </c:pt>
                <c:pt idx="906">
                  <c:v>141.61964691702499</c:v>
                </c:pt>
                <c:pt idx="907">
                  <c:v>141.10858552652999</c:v>
                </c:pt>
                <c:pt idx="908">
                  <c:v>139.812603027048</c:v>
                </c:pt>
                <c:pt idx="909">
                  <c:v>139.812603027048</c:v>
                </c:pt>
                <c:pt idx="910">
                  <c:v>137.288439576218</c:v>
                </c:pt>
                <c:pt idx="911">
                  <c:v>137.767803442565</c:v>
                </c:pt>
                <c:pt idx="912">
                  <c:v>136.59535883716299</c:v>
                </c:pt>
                <c:pt idx="913">
                  <c:v>134.557476428999</c:v>
                </c:pt>
                <c:pt idx="914">
                  <c:v>133.70991749131801</c:v>
                </c:pt>
                <c:pt idx="915">
                  <c:v>133.75644056281601</c:v>
                </c:pt>
                <c:pt idx="916">
                  <c:v>134.158762557708</c:v>
                </c:pt>
                <c:pt idx="917">
                  <c:v>132.829235442449</c:v>
                </c:pt>
                <c:pt idx="918">
                  <c:v>132.7340961665</c:v>
                </c:pt>
                <c:pt idx="919">
                  <c:v>131.18684576339501</c:v>
                </c:pt>
                <c:pt idx="920">
                  <c:v>130.82888426503499</c:v>
                </c:pt>
                <c:pt idx="921">
                  <c:v>131.27630424555099</c:v>
                </c:pt>
                <c:pt idx="922">
                  <c:v>128.96157859089601</c:v>
                </c:pt>
                <c:pt idx="923">
                  <c:v>128.97300635102499</c:v>
                </c:pt>
                <c:pt idx="924">
                  <c:v>132.20509177484999</c:v>
                </c:pt>
                <c:pt idx="925">
                  <c:v>131.507731976223</c:v>
                </c:pt>
                <c:pt idx="926">
                  <c:v>132.49327224899</c:v>
                </c:pt>
                <c:pt idx="927">
                  <c:v>132.695342727629</c:v>
                </c:pt>
                <c:pt idx="928">
                  <c:v>132.76398900806001</c:v>
                </c:pt>
                <c:pt idx="929">
                  <c:v>135.47829380725699</c:v>
                </c:pt>
                <c:pt idx="930">
                  <c:v>136.48859725936899</c:v>
                </c:pt>
                <c:pt idx="931">
                  <c:v>134.91295514490099</c:v>
                </c:pt>
                <c:pt idx="932">
                  <c:v>135.38415627236401</c:v>
                </c:pt>
                <c:pt idx="933">
                  <c:v>135.339858773559</c:v>
                </c:pt>
                <c:pt idx="934">
                  <c:v>133.654381640259</c:v>
                </c:pt>
                <c:pt idx="935">
                  <c:v>132.375747705366</c:v>
                </c:pt>
                <c:pt idx="936">
                  <c:v>132.29179878192099</c:v>
                </c:pt>
                <c:pt idx="937">
                  <c:v>131.69862900188801</c:v>
                </c:pt>
                <c:pt idx="938">
                  <c:v>130.41868050669501</c:v>
                </c:pt>
                <c:pt idx="939">
                  <c:v>131.30687605479699</c:v>
                </c:pt>
                <c:pt idx="940">
                  <c:v>132.909024265037</c:v>
                </c:pt>
                <c:pt idx="941">
                  <c:v>133.837303061932</c:v>
                </c:pt>
                <c:pt idx="942">
                  <c:v>135.21217888200701</c:v>
                </c:pt>
                <c:pt idx="943">
                  <c:v>135.50693929131401</c:v>
                </c:pt>
                <c:pt idx="944">
                  <c:v>135.446871543691</c:v>
                </c:pt>
                <c:pt idx="945">
                  <c:v>136.54160550663599</c:v>
                </c:pt>
                <c:pt idx="946">
                  <c:v>135.727257412315</c:v>
                </c:pt>
                <c:pt idx="947">
                  <c:v>135.56407324403</c:v>
                </c:pt>
                <c:pt idx="948">
                  <c:v>137.052485239845</c:v>
                </c:pt>
                <c:pt idx="949">
                  <c:v>136.869819458405</c:v>
                </c:pt>
                <c:pt idx="950">
                  <c:v>136.11066888728001</c:v>
                </c:pt>
                <c:pt idx="951">
                  <c:v>138.29579322071601</c:v>
                </c:pt>
                <c:pt idx="952">
                  <c:v>138.648917460782</c:v>
                </c:pt>
                <c:pt idx="953">
                  <c:v>139.22331228025399</c:v>
                </c:pt>
                <c:pt idx="954">
                  <c:v>139.76312647374701</c:v>
                </c:pt>
                <c:pt idx="955">
                  <c:v>139.49529737214399</c:v>
                </c:pt>
                <c:pt idx="956">
                  <c:v>138.864972722554</c:v>
                </c:pt>
                <c:pt idx="957">
                  <c:v>138.88980960287699</c:v>
                </c:pt>
                <c:pt idx="958">
                  <c:v>139.12193450057299</c:v>
                </c:pt>
                <c:pt idx="959">
                  <c:v>141.06365156772799</c:v>
                </c:pt>
                <c:pt idx="960">
                  <c:v>141.161689374259</c:v>
                </c:pt>
                <c:pt idx="961">
                  <c:v>140.928396461543</c:v>
                </c:pt>
                <c:pt idx="962">
                  <c:v>141.17799601562899</c:v>
                </c:pt>
                <c:pt idx="963">
                  <c:v>142.78410231812501</c:v>
                </c:pt>
                <c:pt idx="964">
                  <c:v>142.79957675489899</c:v>
                </c:pt>
                <c:pt idx="965">
                  <c:v>142.72284733425201</c:v>
                </c:pt>
                <c:pt idx="966">
                  <c:v>142.526404455153</c:v>
                </c:pt>
                <c:pt idx="967">
                  <c:v>142.07989603043401</c:v>
                </c:pt>
                <c:pt idx="968">
                  <c:v>141.95265305582299</c:v>
                </c:pt>
                <c:pt idx="969">
                  <c:v>141.95265305582299</c:v>
                </c:pt>
                <c:pt idx="970">
                  <c:v>141.95265305582299</c:v>
                </c:pt>
                <c:pt idx="971">
                  <c:v>143.700874393352</c:v>
                </c:pt>
                <c:pt idx="972">
                  <c:v>144.92263878734599</c:v>
                </c:pt>
                <c:pt idx="973">
                  <c:v>144.24653743829899</c:v>
                </c:pt>
                <c:pt idx="974">
                  <c:v>144.09615366188501</c:v>
                </c:pt>
                <c:pt idx="975">
                  <c:v>144.30009139125201</c:v>
                </c:pt>
                <c:pt idx="976">
                  <c:v>142.71668818892999</c:v>
                </c:pt>
                <c:pt idx="977">
                  <c:v>143.50710424403201</c:v>
                </c:pt>
                <c:pt idx="978">
                  <c:v>142.905057396632</c:v>
                </c:pt>
                <c:pt idx="979">
                  <c:v>143.52281451440501</c:v>
                </c:pt>
                <c:pt idx="980">
                  <c:v>143.44387951083601</c:v>
                </c:pt>
                <c:pt idx="981">
                  <c:v>143.962651552941</c:v>
                </c:pt>
                <c:pt idx="982">
                  <c:v>145.063456413795</c:v>
                </c:pt>
                <c:pt idx="983">
                  <c:v>145.68359610522501</c:v>
                </c:pt>
                <c:pt idx="984">
                  <c:v>145.826870884839</c:v>
                </c:pt>
                <c:pt idx="985">
                  <c:v>145.99996122869501</c:v>
                </c:pt>
                <c:pt idx="986">
                  <c:v>147.12892411458299</c:v>
                </c:pt>
                <c:pt idx="987">
                  <c:v>146.84582517039601</c:v>
                </c:pt>
                <c:pt idx="988">
                  <c:v>145.88529974350999</c:v>
                </c:pt>
                <c:pt idx="989">
                  <c:v>145.483752393343</c:v>
                </c:pt>
                <c:pt idx="990">
                  <c:v>145.48271506376301</c:v>
                </c:pt>
                <c:pt idx="991">
                  <c:v>145.26172545801899</c:v>
                </c:pt>
                <c:pt idx="992">
                  <c:v>145.52560220016099</c:v>
                </c:pt>
                <c:pt idx="993">
                  <c:v>144.966159470615</c:v>
                </c:pt>
                <c:pt idx="994">
                  <c:v>144.63712805819199</c:v>
                </c:pt>
                <c:pt idx="995">
                  <c:v>144.95294984476999</c:v>
                </c:pt>
                <c:pt idx="996">
                  <c:v>144.14874629439899</c:v>
                </c:pt>
                <c:pt idx="997">
                  <c:v>143.44974013669099</c:v>
                </c:pt>
                <c:pt idx="998">
                  <c:v>143.44974013669099</c:v>
                </c:pt>
                <c:pt idx="999">
                  <c:v>143.85541465325599</c:v>
                </c:pt>
                <c:pt idx="1000">
                  <c:v>144.28246855263399</c:v>
                </c:pt>
                <c:pt idx="1001">
                  <c:v>145.88078855880099</c:v>
                </c:pt>
                <c:pt idx="1002">
                  <c:v>145.20679649023199</c:v>
                </c:pt>
                <c:pt idx="1003">
                  <c:v>145.42107406221899</c:v>
                </c:pt>
                <c:pt idx="1004">
                  <c:v>144.2765932575</c:v>
                </c:pt>
                <c:pt idx="1005">
                  <c:v>144.2765932575</c:v>
                </c:pt>
                <c:pt idx="1006">
                  <c:v>144.304487551796</c:v>
                </c:pt>
                <c:pt idx="1007">
                  <c:v>144.048549036048</c:v>
                </c:pt>
                <c:pt idx="1008">
                  <c:v>143.347229170199</c:v>
                </c:pt>
                <c:pt idx="1009">
                  <c:v>144.09055677386499</c:v>
                </c:pt>
                <c:pt idx="1010">
                  <c:v>143.883567767036</c:v>
                </c:pt>
                <c:pt idx="1011">
                  <c:v>145.40571842779801</c:v>
                </c:pt>
                <c:pt idx="1012">
                  <c:v>145.908739388475</c:v>
                </c:pt>
                <c:pt idx="1013">
                  <c:v>146.23407980481301</c:v>
                </c:pt>
                <c:pt idx="1014">
                  <c:v>146.675552522723</c:v>
                </c:pt>
                <c:pt idx="1015">
                  <c:v>146.67984697837699</c:v>
                </c:pt>
                <c:pt idx="1016">
                  <c:v>146.542706185919</c:v>
                </c:pt>
                <c:pt idx="1017">
                  <c:v>146.48959220801299</c:v>
                </c:pt>
                <c:pt idx="1018">
                  <c:v>146.72767526356299</c:v>
                </c:pt>
                <c:pt idx="1019">
                  <c:v>147.07585127106901</c:v>
                </c:pt>
                <c:pt idx="1020">
                  <c:v>147.507242698076</c:v>
                </c:pt>
                <c:pt idx="1021">
                  <c:v>148.10019035823299</c:v>
                </c:pt>
                <c:pt idx="1022">
                  <c:v>148.68436602107101</c:v>
                </c:pt>
                <c:pt idx="1023">
                  <c:v>148.292390858147</c:v>
                </c:pt>
                <c:pt idx="1024">
                  <c:v>146.802488713299</c:v>
                </c:pt>
                <c:pt idx="1025">
                  <c:v>145.11660365732399</c:v>
                </c:pt>
                <c:pt idx="1026">
                  <c:v>144.29749226546801</c:v>
                </c:pt>
                <c:pt idx="1027">
                  <c:v>144.24587975428699</c:v>
                </c:pt>
                <c:pt idx="1028">
                  <c:v>144.126695155113</c:v>
                </c:pt>
                <c:pt idx="1029">
                  <c:v>144.18550515550399</c:v>
                </c:pt>
                <c:pt idx="1030">
                  <c:v>146.25740076560501</c:v>
                </c:pt>
                <c:pt idx="1031">
                  <c:v>146.67581252548899</c:v>
                </c:pt>
                <c:pt idx="1032">
                  <c:v>146.646910548714</c:v>
                </c:pt>
                <c:pt idx="1033">
                  <c:v>146.646910548714</c:v>
                </c:pt>
                <c:pt idx="1034">
                  <c:v>142.18258041225801</c:v>
                </c:pt>
                <c:pt idx="1035">
                  <c:v>140.17207173021899</c:v>
                </c:pt>
                <c:pt idx="1036">
                  <c:v>142.23668393088599</c:v>
                </c:pt>
                <c:pt idx="1037">
                  <c:v>144.973811270195</c:v>
                </c:pt>
                <c:pt idx="1038">
                  <c:v>146.92987182565</c:v>
                </c:pt>
                <c:pt idx="1039">
                  <c:v>147.412871891517</c:v>
                </c:pt>
                <c:pt idx="1040">
                  <c:v>147.563359022887</c:v>
                </c:pt>
                <c:pt idx="1041">
                  <c:v>146.99449889405</c:v>
                </c:pt>
                <c:pt idx="1042">
                  <c:v>146.764581676376</c:v>
                </c:pt>
                <c:pt idx="1043">
                  <c:v>146.899444666308</c:v>
                </c:pt>
                <c:pt idx="1044">
                  <c:v>148.13816133627799</c:v>
                </c:pt>
                <c:pt idx="1045">
                  <c:v>149.009645495716</c:v>
                </c:pt>
                <c:pt idx="1046">
                  <c:v>149.54713548557001</c:v>
                </c:pt>
                <c:pt idx="1047">
                  <c:v>150.149644795668</c:v>
                </c:pt>
                <c:pt idx="1048">
                  <c:v>150.71972509762099</c:v>
                </c:pt>
                <c:pt idx="1049">
                  <c:v>150.26109895664399</c:v>
                </c:pt>
                <c:pt idx="1050">
                  <c:v>150.899449660057</c:v>
                </c:pt>
                <c:pt idx="1051">
                  <c:v>150.97146741965199</c:v>
                </c:pt>
                <c:pt idx="1052">
                  <c:v>151.59590680445601</c:v>
                </c:pt>
                <c:pt idx="1053">
                  <c:v>150.81222125201799</c:v>
                </c:pt>
                <c:pt idx="1054">
                  <c:v>151.046735086788</c:v>
                </c:pt>
                <c:pt idx="1055">
                  <c:v>151.06785186837499</c:v>
                </c:pt>
                <c:pt idx="1056">
                  <c:v>151.54078516078999</c:v>
                </c:pt>
                <c:pt idx="1057">
                  <c:v>151.13610530074101</c:v>
                </c:pt>
                <c:pt idx="1058">
                  <c:v>151.262341455529</c:v>
                </c:pt>
                <c:pt idx="1059">
                  <c:v>152.36386137537701</c:v>
                </c:pt>
                <c:pt idx="1060">
                  <c:v>152.22238292431501</c:v>
                </c:pt>
                <c:pt idx="1061">
                  <c:v>151.30821163477401</c:v>
                </c:pt>
                <c:pt idx="1062">
                  <c:v>151.055128529711</c:v>
                </c:pt>
                <c:pt idx="1063">
                  <c:v>151.22475853608401</c:v>
                </c:pt>
                <c:pt idx="1064">
                  <c:v>151.84968042224801</c:v>
                </c:pt>
                <c:pt idx="1065">
                  <c:v>151.513135316795</c:v>
                </c:pt>
                <c:pt idx="1066">
                  <c:v>152.149030117411</c:v>
                </c:pt>
                <c:pt idx="1067">
                  <c:v>152.253702870231</c:v>
                </c:pt>
                <c:pt idx="1068">
                  <c:v>152.94390944444399</c:v>
                </c:pt>
                <c:pt idx="1069">
                  <c:v>152.87512853301399</c:v>
                </c:pt>
                <c:pt idx="1070">
                  <c:v>152.87512853301399</c:v>
                </c:pt>
                <c:pt idx="1071">
                  <c:v>152.03598233739399</c:v>
                </c:pt>
                <c:pt idx="1072">
                  <c:v>152.357603054897</c:v>
                </c:pt>
                <c:pt idx="1073">
                  <c:v>152.39724146700101</c:v>
                </c:pt>
                <c:pt idx="1074">
                  <c:v>152.002994983653</c:v>
                </c:pt>
                <c:pt idx="1075">
                  <c:v>152.24122215599601</c:v>
                </c:pt>
                <c:pt idx="1076">
                  <c:v>152.76908184311699</c:v>
                </c:pt>
                <c:pt idx="1077">
                  <c:v>152.298807697309</c:v>
                </c:pt>
                <c:pt idx="1078">
                  <c:v>151.817637117841</c:v>
                </c:pt>
                <c:pt idx="1079">
                  <c:v>151.596838803336</c:v>
                </c:pt>
                <c:pt idx="1080">
                  <c:v>151.694012914339</c:v>
                </c:pt>
                <c:pt idx="1081">
                  <c:v>151.310376131412</c:v>
                </c:pt>
                <c:pt idx="1082">
                  <c:v>151.02417834693401</c:v>
                </c:pt>
                <c:pt idx="1083">
                  <c:v>151.23743003346499</c:v>
                </c:pt>
                <c:pt idx="1084">
                  <c:v>152.11283610906699</c:v>
                </c:pt>
                <c:pt idx="1085">
                  <c:v>152.307799641636</c:v>
                </c:pt>
                <c:pt idx="1086">
                  <c:v>152.71658046358399</c:v>
                </c:pt>
                <c:pt idx="1087">
                  <c:v>152.46312319793199</c:v>
                </c:pt>
                <c:pt idx="1088">
                  <c:v>151.82962172333399</c:v>
                </c:pt>
                <c:pt idx="1089">
                  <c:v>148.53582135643001</c:v>
                </c:pt>
                <c:pt idx="1090">
                  <c:v>149.75114921821</c:v>
                </c:pt>
                <c:pt idx="1091">
                  <c:v>148.552643557913</c:v>
                </c:pt>
                <c:pt idx="1092">
                  <c:v>148.45095798783299</c:v>
                </c:pt>
                <c:pt idx="1093">
                  <c:v>149.522281452973</c:v>
                </c:pt>
                <c:pt idx="1094">
                  <c:v>148.79064441222101</c:v>
                </c:pt>
                <c:pt idx="1095">
                  <c:v>149.235112070691</c:v>
                </c:pt>
                <c:pt idx="1096">
                  <c:v>149.622296603221</c:v>
                </c:pt>
                <c:pt idx="1097">
                  <c:v>150.94385536440601</c:v>
                </c:pt>
                <c:pt idx="1098">
                  <c:v>152.363324810005</c:v>
                </c:pt>
                <c:pt idx="1099">
                  <c:v>151.370797362942</c:v>
                </c:pt>
                <c:pt idx="1100">
                  <c:v>150.29439517349101</c:v>
                </c:pt>
                <c:pt idx="1101">
                  <c:v>151.072985950788</c:v>
                </c:pt>
                <c:pt idx="1102">
                  <c:v>151.31911377260599</c:v>
                </c:pt>
                <c:pt idx="1103">
                  <c:v>150.54362580006199</c:v>
                </c:pt>
                <c:pt idx="1104">
                  <c:v>151.17017625883</c:v>
                </c:pt>
                <c:pt idx="1105">
                  <c:v>150.87610153193901</c:v>
                </c:pt>
                <c:pt idx="1106">
                  <c:v>150.24181299432999</c:v>
                </c:pt>
                <c:pt idx="1107">
                  <c:v>150.118370142819</c:v>
                </c:pt>
                <c:pt idx="1108">
                  <c:v>149.95143118824799</c:v>
                </c:pt>
                <c:pt idx="1109">
                  <c:v>149.15393645984699</c:v>
                </c:pt>
                <c:pt idx="1110">
                  <c:v>149.52272044187399</c:v>
                </c:pt>
                <c:pt idx="1111">
                  <c:v>148.11613797024</c:v>
                </c:pt>
                <c:pt idx="1112">
                  <c:v>147.905559829331</c:v>
                </c:pt>
                <c:pt idx="1113">
                  <c:v>147.84720446627401</c:v>
                </c:pt>
                <c:pt idx="1114">
                  <c:v>148.02809342082799</c:v>
                </c:pt>
                <c:pt idx="1115">
                  <c:v>147.70073591168801</c:v>
                </c:pt>
                <c:pt idx="1116">
                  <c:v>148.273227474089</c:v>
                </c:pt>
                <c:pt idx="1117">
                  <c:v>148.67173076148501</c:v>
                </c:pt>
                <c:pt idx="1118">
                  <c:v>147.971578232854</c:v>
                </c:pt>
                <c:pt idx="1119">
                  <c:v>147.52156704426599</c:v>
                </c:pt>
                <c:pt idx="1120">
                  <c:v>148.064444769424</c:v>
                </c:pt>
                <c:pt idx="1121">
                  <c:v>147.342329521452</c:v>
                </c:pt>
                <c:pt idx="1122">
                  <c:v>147.25126209549899</c:v>
                </c:pt>
                <c:pt idx="1123">
                  <c:v>146.97519859244201</c:v>
                </c:pt>
                <c:pt idx="1124">
                  <c:v>146.76440062190699</c:v>
                </c:pt>
                <c:pt idx="1125">
                  <c:v>147.13299769919101</c:v>
                </c:pt>
                <c:pt idx="1126">
                  <c:v>147.13299769919101</c:v>
                </c:pt>
                <c:pt idx="1127">
                  <c:v>146.04733596573001</c:v>
                </c:pt>
                <c:pt idx="1128">
                  <c:v>145.59695078962099</c:v>
                </c:pt>
                <c:pt idx="1129">
                  <c:v>144.939691207717</c:v>
                </c:pt>
                <c:pt idx="1130">
                  <c:v>146.83259824105301</c:v>
                </c:pt>
                <c:pt idx="1131">
                  <c:v>147.39472948027199</c:v>
                </c:pt>
                <c:pt idx="1132">
                  <c:v>147.47782637748799</c:v>
                </c:pt>
                <c:pt idx="1133">
                  <c:v>147.50647582615599</c:v>
                </c:pt>
                <c:pt idx="1134">
                  <c:v>147.045092335183</c:v>
                </c:pt>
                <c:pt idx="1135">
                  <c:v>146.630002167003</c:v>
                </c:pt>
                <c:pt idx="1136">
                  <c:v>147.46460483029301</c:v>
                </c:pt>
                <c:pt idx="1137">
                  <c:v>147.35166134597901</c:v>
                </c:pt>
                <c:pt idx="1138">
                  <c:v>148.208162014793</c:v>
                </c:pt>
                <c:pt idx="1139">
                  <c:v>147.430762405987</c:v>
                </c:pt>
                <c:pt idx="1140">
                  <c:v>148.453695768518</c:v>
                </c:pt>
                <c:pt idx="1141">
                  <c:v>148.591354612</c:v>
                </c:pt>
                <c:pt idx="1142">
                  <c:v>148.33677388451099</c:v>
                </c:pt>
                <c:pt idx="1143">
                  <c:v>148.50712569618901</c:v>
                </c:pt>
                <c:pt idx="1144">
                  <c:v>149.472965562084</c:v>
                </c:pt>
                <c:pt idx="1145">
                  <c:v>149.13422050927301</c:v>
                </c:pt>
                <c:pt idx="1146">
                  <c:v>149.54442275055001</c:v>
                </c:pt>
                <c:pt idx="1147">
                  <c:v>148.72302293540599</c:v>
                </c:pt>
                <c:pt idx="1148">
                  <c:v>148.22855334613101</c:v>
                </c:pt>
                <c:pt idx="1149">
                  <c:v>148.33355796274299</c:v>
                </c:pt>
                <c:pt idx="1150">
                  <c:v>148.74676769781499</c:v>
                </c:pt>
                <c:pt idx="1151">
                  <c:v>149.33154008021</c:v>
                </c:pt>
                <c:pt idx="1152">
                  <c:v>151.11573125973001</c:v>
                </c:pt>
                <c:pt idx="1153">
                  <c:v>151.23180308964999</c:v>
                </c:pt>
                <c:pt idx="1154">
                  <c:v>152.02394316453601</c:v>
                </c:pt>
                <c:pt idx="1155">
                  <c:v>152.19787167062501</c:v>
                </c:pt>
                <c:pt idx="1156">
                  <c:v>153.317909575291</c:v>
                </c:pt>
                <c:pt idx="1157">
                  <c:v>152.56157070877799</c:v>
                </c:pt>
                <c:pt idx="1158">
                  <c:v>152.05603265597099</c:v>
                </c:pt>
                <c:pt idx="1159">
                  <c:v>151.91039642028599</c:v>
                </c:pt>
                <c:pt idx="1160">
                  <c:v>152.575293429271</c:v>
                </c:pt>
                <c:pt idx="1161">
                  <c:v>152.756976511407</c:v>
                </c:pt>
                <c:pt idx="1162">
                  <c:v>152.42587270226201</c:v>
                </c:pt>
                <c:pt idx="1163">
                  <c:v>152.43298635629299</c:v>
                </c:pt>
                <c:pt idx="1164">
                  <c:v>152.527394540388</c:v>
                </c:pt>
                <c:pt idx="1165">
                  <c:v>152.527394540388</c:v>
                </c:pt>
                <c:pt idx="1166">
                  <c:v>152.66496004418801</c:v>
                </c:pt>
                <c:pt idx="1167">
                  <c:v>151.83167450284199</c:v>
                </c:pt>
                <c:pt idx="1168">
                  <c:v>152.177104382832</c:v>
                </c:pt>
                <c:pt idx="1169">
                  <c:v>151.99863205022999</c:v>
                </c:pt>
                <c:pt idx="1170">
                  <c:v>152.10699437197999</c:v>
                </c:pt>
                <c:pt idx="1171">
                  <c:v>152.25598996371599</c:v>
                </c:pt>
                <c:pt idx="1172">
                  <c:v>153.485735432144</c:v>
                </c:pt>
                <c:pt idx="1173">
                  <c:v>153.907734238307</c:v>
                </c:pt>
                <c:pt idx="1174">
                  <c:v>153.93674015469099</c:v>
                </c:pt>
                <c:pt idx="1175">
                  <c:v>153.39046676972001</c:v>
                </c:pt>
                <c:pt idx="1176">
                  <c:v>153.59416900630899</c:v>
                </c:pt>
                <c:pt idx="1177">
                  <c:v>153.63408712708201</c:v>
                </c:pt>
                <c:pt idx="1178">
                  <c:v>154.02347093318099</c:v>
                </c:pt>
                <c:pt idx="1179">
                  <c:v>154.55486711827299</c:v>
                </c:pt>
                <c:pt idx="1180">
                  <c:v>154.34707111983801</c:v>
                </c:pt>
                <c:pt idx="1181">
                  <c:v>154.01563784608999</c:v>
                </c:pt>
                <c:pt idx="1182">
                  <c:v>154.274120687037</c:v>
                </c:pt>
                <c:pt idx="1183">
                  <c:v>153.15609495882299</c:v>
                </c:pt>
                <c:pt idx="1184">
                  <c:v>153.79687416882501</c:v>
                </c:pt>
                <c:pt idx="1185">
                  <c:v>153.78559640371199</c:v>
                </c:pt>
                <c:pt idx="1186">
                  <c:v>154.16428089716399</c:v>
                </c:pt>
                <c:pt idx="1187">
                  <c:v>155.04568436234501</c:v>
                </c:pt>
                <c:pt idx="1188">
                  <c:v>154.88898609158099</c:v>
                </c:pt>
                <c:pt idx="1189">
                  <c:v>155.14755716810899</c:v>
                </c:pt>
                <c:pt idx="1190">
                  <c:v>154.72102724081199</c:v>
                </c:pt>
                <c:pt idx="1191">
                  <c:v>154.48754467193299</c:v>
                </c:pt>
                <c:pt idx="1192">
                  <c:v>154.188664428848</c:v>
                </c:pt>
                <c:pt idx="1193">
                  <c:v>154.55659190612201</c:v>
                </c:pt>
                <c:pt idx="1194">
                  <c:v>155.47115457494999</c:v>
                </c:pt>
                <c:pt idx="1195">
                  <c:v>155.02272553083901</c:v>
                </c:pt>
                <c:pt idx="1196">
                  <c:v>155.29236681245499</c:v>
                </c:pt>
                <c:pt idx="1197">
                  <c:v>155.89023637934</c:v>
                </c:pt>
                <c:pt idx="1198">
                  <c:v>156.323979254617</c:v>
                </c:pt>
                <c:pt idx="1199">
                  <c:v>156.87805675936301</c:v>
                </c:pt>
                <c:pt idx="1200">
                  <c:v>157.47967240330399</c:v>
                </c:pt>
                <c:pt idx="1201">
                  <c:v>157.11513245542099</c:v>
                </c:pt>
                <c:pt idx="1202">
                  <c:v>157.888146666007</c:v>
                </c:pt>
                <c:pt idx="1203">
                  <c:v>158.486207682707</c:v>
                </c:pt>
                <c:pt idx="1204">
                  <c:v>158.854596776302</c:v>
                </c:pt>
                <c:pt idx="1205">
                  <c:v>158.83303734483499</c:v>
                </c:pt>
                <c:pt idx="1206">
                  <c:v>159.256210304191</c:v>
                </c:pt>
                <c:pt idx="1207">
                  <c:v>159.47153022338901</c:v>
                </c:pt>
                <c:pt idx="1208">
                  <c:v>159.93856394884901</c:v>
                </c:pt>
                <c:pt idx="1209">
                  <c:v>160.25243040366499</c:v>
                </c:pt>
                <c:pt idx="1210">
                  <c:v>159.95743134709301</c:v>
                </c:pt>
                <c:pt idx="1211">
                  <c:v>159.73547443791099</c:v>
                </c:pt>
                <c:pt idx="1212">
                  <c:v>160.640482718193</c:v>
                </c:pt>
                <c:pt idx="1213">
                  <c:v>160.472823085122</c:v>
                </c:pt>
                <c:pt idx="1214">
                  <c:v>160.239458864901</c:v>
                </c:pt>
                <c:pt idx="1215">
                  <c:v>160.086684915924</c:v>
                </c:pt>
                <c:pt idx="1216">
                  <c:v>159.71091509613899</c:v>
                </c:pt>
                <c:pt idx="1217">
                  <c:v>159.236562865906</c:v>
                </c:pt>
                <c:pt idx="1218">
                  <c:v>159.48488458407499</c:v>
                </c:pt>
                <c:pt idx="1219">
                  <c:v>160.22601461974699</c:v>
                </c:pt>
                <c:pt idx="1220">
                  <c:v>160.576979934082</c:v>
                </c:pt>
                <c:pt idx="1221">
                  <c:v>160.233969804444</c:v>
                </c:pt>
                <c:pt idx="1222">
                  <c:v>160.99721133617999</c:v>
                </c:pt>
                <c:pt idx="1223">
                  <c:v>161.45382723548499</c:v>
                </c:pt>
                <c:pt idx="1224">
                  <c:v>161.548958132303</c:v>
                </c:pt>
                <c:pt idx="1225">
                  <c:v>161.44006757631701</c:v>
                </c:pt>
                <c:pt idx="1226">
                  <c:v>160.95454254973299</c:v>
                </c:pt>
                <c:pt idx="1227">
                  <c:v>160.85246076072201</c:v>
                </c:pt>
                <c:pt idx="1228">
                  <c:v>160.75037586603301</c:v>
                </c:pt>
                <c:pt idx="1229">
                  <c:v>160.86744604270999</c:v>
                </c:pt>
                <c:pt idx="1230">
                  <c:v>160.69265089276001</c:v>
                </c:pt>
                <c:pt idx="1231">
                  <c:v>161.43445721275901</c:v>
                </c:pt>
                <c:pt idx="1232">
                  <c:v>161.03642270893101</c:v>
                </c:pt>
                <c:pt idx="1233">
                  <c:v>161.07679829689201</c:v>
                </c:pt>
                <c:pt idx="1234">
                  <c:v>160.623688319954</c:v>
                </c:pt>
                <c:pt idx="1235">
                  <c:v>160.602296416229</c:v>
                </c:pt>
                <c:pt idx="1236">
                  <c:v>160.99346348416401</c:v>
                </c:pt>
                <c:pt idx="1237">
                  <c:v>160.770742193004</c:v>
                </c:pt>
                <c:pt idx="1238">
                  <c:v>160.52607344649201</c:v>
                </c:pt>
                <c:pt idx="1239">
                  <c:v>161.03789775745099</c:v>
                </c:pt>
                <c:pt idx="1240">
                  <c:v>161.23585887285199</c:v>
                </c:pt>
                <c:pt idx="1241">
                  <c:v>161.605252273405</c:v>
                </c:pt>
                <c:pt idx="1242">
                  <c:v>161.711482077337</c:v>
                </c:pt>
                <c:pt idx="1243">
                  <c:v>161.071954638037</c:v>
                </c:pt>
                <c:pt idx="1244">
                  <c:v>161.071954638037</c:v>
                </c:pt>
                <c:pt idx="1245">
                  <c:v>161.071954638037</c:v>
                </c:pt>
                <c:pt idx="1246">
                  <c:v>161.84446102602101</c:v>
                </c:pt>
                <c:pt idx="1247">
                  <c:v>161.74229847166501</c:v>
                </c:pt>
                <c:pt idx="1248">
                  <c:v>162.19963858432499</c:v>
                </c:pt>
                <c:pt idx="1249">
                  <c:v>162.07554087723901</c:v>
                </c:pt>
                <c:pt idx="1250">
                  <c:v>164.095269755103</c:v>
                </c:pt>
                <c:pt idx="1251">
                  <c:v>164.51990631786001</c:v>
                </c:pt>
                <c:pt idx="1252">
                  <c:v>164.36296055826</c:v>
                </c:pt>
                <c:pt idx="1253">
                  <c:v>164.29379749530199</c:v>
                </c:pt>
                <c:pt idx="1254">
                  <c:v>164.23559902678801</c:v>
                </c:pt>
                <c:pt idx="1255">
                  <c:v>164.23559902678801</c:v>
                </c:pt>
                <c:pt idx="1256">
                  <c:v>164.233282331623</c:v>
                </c:pt>
                <c:pt idx="1257">
                  <c:v>163.713999992113</c:v>
                </c:pt>
                <c:pt idx="1258">
                  <c:v>164.32542087744099</c:v>
                </c:pt>
                <c:pt idx="1259">
                  <c:v>164.98082245488499</c:v>
                </c:pt>
                <c:pt idx="1260">
                  <c:v>164.97094482043801</c:v>
                </c:pt>
                <c:pt idx="1261">
                  <c:v>164.45163019420701</c:v>
                </c:pt>
                <c:pt idx="1262">
                  <c:v>164.26162747682201</c:v>
                </c:pt>
                <c:pt idx="1263">
                  <c:v>164.12652195353201</c:v>
                </c:pt>
                <c:pt idx="1264">
                  <c:v>164.40872954733399</c:v>
                </c:pt>
                <c:pt idx="1265">
                  <c:v>165.25551213111399</c:v>
                </c:pt>
                <c:pt idx="1266">
                  <c:v>165.49388091898501</c:v>
                </c:pt>
                <c:pt idx="1267">
                  <c:v>164.58983111603601</c:v>
                </c:pt>
                <c:pt idx="1268">
                  <c:v>164.78426315009301</c:v>
                </c:pt>
                <c:pt idx="1269">
                  <c:v>165.440122804835</c:v>
                </c:pt>
                <c:pt idx="1270">
                  <c:v>166.34227616910101</c:v>
                </c:pt>
                <c:pt idx="1271">
                  <c:v>166.53682217656299</c:v>
                </c:pt>
                <c:pt idx="1272">
                  <c:v>166.80831172904101</c:v>
                </c:pt>
                <c:pt idx="1273">
                  <c:v>166.80831172904101</c:v>
                </c:pt>
                <c:pt idx="1274">
                  <c:v>168.02174813787801</c:v>
                </c:pt>
                <c:pt idx="1275">
                  <c:v>167.957306116089</c:v>
                </c:pt>
                <c:pt idx="1276">
                  <c:v>168.22893244066</c:v>
                </c:pt>
                <c:pt idx="1277">
                  <c:v>168.89608555285599</c:v>
                </c:pt>
                <c:pt idx="1278">
                  <c:v>169.87132655828799</c:v>
                </c:pt>
                <c:pt idx="1279">
                  <c:v>170.40692771892799</c:v>
                </c:pt>
                <c:pt idx="1280">
                  <c:v>170.40692771892799</c:v>
                </c:pt>
                <c:pt idx="1281">
                  <c:v>169.570043082018</c:v>
                </c:pt>
                <c:pt idx="1282">
                  <c:v>169.621926105754</c:v>
                </c:pt>
                <c:pt idx="1283">
                  <c:v>168.684110873191</c:v>
                </c:pt>
                <c:pt idx="1284">
                  <c:v>168.68100983572899</c:v>
                </c:pt>
                <c:pt idx="1285">
                  <c:v>168.693590585565</c:v>
                </c:pt>
                <c:pt idx="1286">
                  <c:v>169.33940929049101</c:v>
                </c:pt>
                <c:pt idx="1287">
                  <c:v>170.02931085170499</c:v>
                </c:pt>
                <c:pt idx="1288">
                  <c:v>169.652242318898</c:v>
                </c:pt>
                <c:pt idx="1289">
                  <c:v>170.15520970069599</c:v>
                </c:pt>
                <c:pt idx="1290">
                  <c:v>171.02619830131499</c:v>
                </c:pt>
                <c:pt idx="1291">
                  <c:v>170.15395212821599</c:v>
                </c:pt>
                <c:pt idx="1292">
                  <c:v>169.985867030603</c:v>
                </c:pt>
                <c:pt idx="1293">
                  <c:v>169.59768627977701</c:v>
                </c:pt>
                <c:pt idx="1294">
                  <c:v>169.59768627977701</c:v>
                </c:pt>
                <c:pt idx="1295">
                  <c:v>169.77239187815999</c:v>
                </c:pt>
                <c:pt idx="1296">
                  <c:v>168.44858656144001</c:v>
                </c:pt>
                <c:pt idx="1297">
                  <c:v>168.940395161921</c:v>
                </c:pt>
                <c:pt idx="1298">
                  <c:v>167.49527968824299</c:v>
                </c:pt>
                <c:pt idx="1299">
                  <c:v>167.370719612915</c:v>
                </c:pt>
                <c:pt idx="1300">
                  <c:v>167.20694843528901</c:v>
                </c:pt>
                <c:pt idx="1301">
                  <c:v>166.928496674473</c:v>
                </c:pt>
                <c:pt idx="1302">
                  <c:v>166.99131458174901</c:v>
                </c:pt>
                <c:pt idx="1303">
                  <c:v>166.32746154649999</c:v>
                </c:pt>
                <c:pt idx="1304">
                  <c:v>166.54440229364499</c:v>
                </c:pt>
                <c:pt idx="1305">
                  <c:v>166.50158409895701</c:v>
                </c:pt>
                <c:pt idx="1306">
                  <c:v>166.24502529426999</c:v>
                </c:pt>
                <c:pt idx="1307">
                  <c:v>167.552316720287</c:v>
                </c:pt>
                <c:pt idx="1308">
                  <c:v>167.61518014772599</c:v>
                </c:pt>
                <c:pt idx="1309">
                  <c:v>168.57020831719601</c:v>
                </c:pt>
                <c:pt idx="1310">
                  <c:v>168.670850841213</c:v>
                </c:pt>
                <c:pt idx="1311">
                  <c:v>168.81089109409501</c:v>
                </c:pt>
                <c:pt idx="1312">
                  <c:v>169.336538204558</c:v>
                </c:pt>
                <c:pt idx="1313">
                  <c:v>169.87325336092599</c:v>
                </c:pt>
                <c:pt idx="1314">
                  <c:v>169.64977935052701</c:v>
                </c:pt>
                <c:pt idx="1315">
                  <c:v>168.96821313541099</c:v>
                </c:pt>
                <c:pt idx="1316">
                  <c:v>168.94301271947501</c:v>
                </c:pt>
                <c:pt idx="1317">
                  <c:v>168.88474887594199</c:v>
                </c:pt>
                <c:pt idx="1318">
                  <c:v>169.53181338528401</c:v>
                </c:pt>
                <c:pt idx="1319">
                  <c:v>169.40744266167499</c:v>
                </c:pt>
                <c:pt idx="1320">
                  <c:v>169.739517947835</c:v>
                </c:pt>
                <c:pt idx="1321">
                  <c:v>170.49703650458099</c:v>
                </c:pt>
                <c:pt idx="1322">
                  <c:v>170.372675358398</c:v>
                </c:pt>
                <c:pt idx="1323">
                  <c:v>170.64519168260301</c:v>
                </c:pt>
                <c:pt idx="1324">
                  <c:v>170.31134700181701</c:v>
                </c:pt>
                <c:pt idx="1325">
                  <c:v>170.555658258758</c:v>
                </c:pt>
                <c:pt idx="1326">
                  <c:v>169.946051275103</c:v>
                </c:pt>
                <c:pt idx="1327">
                  <c:v>170.02012554946199</c:v>
                </c:pt>
                <c:pt idx="1328">
                  <c:v>169.079585329232</c:v>
                </c:pt>
                <c:pt idx="1329">
                  <c:v>169.142596980782</c:v>
                </c:pt>
                <c:pt idx="1330">
                  <c:v>169.92561350198099</c:v>
                </c:pt>
                <c:pt idx="1331">
                  <c:v>169.92561350198099</c:v>
                </c:pt>
                <c:pt idx="1332">
                  <c:v>170.17305294407601</c:v>
                </c:pt>
                <c:pt idx="1333">
                  <c:v>169.033779564702</c:v>
                </c:pt>
                <c:pt idx="1334">
                  <c:v>168.47906768307101</c:v>
                </c:pt>
                <c:pt idx="1335">
                  <c:v>169.04320003131599</c:v>
                </c:pt>
                <c:pt idx="1336">
                  <c:v>169.85648478174801</c:v>
                </c:pt>
                <c:pt idx="1337">
                  <c:v>169.456157186464</c:v>
                </c:pt>
                <c:pt idx="1338">
                  <c:v>168.91232955056799</c:v>
                </c:pt>
                <c:pt idx="1339">
                  <c:v>169.35072429166701</c:v>
                </c:pt>
                <c:pt idx="1340">
                  <c:v>169.528884618771</c:v>
                </c:pt>
                <c:pt idx="1341">
                  <c:v>169.70232496523599</c:v>
                </c:pt>
                <c:pt idx="1342">
                  <c:v>169.666084509375</c:v>
                </c:pt>
                <c:pt idx="1343">
                  <c:v>170.402263899085</c:v>
                </c:pt>
                <c:pt idx="1344">
                  <c:v>170.55369380220199</c:v>
                </c:pt>
                <c:pt idx="1345">
                  <c:v>170.32359501844701</c:v>
                </c:pt>
                <c:pt idx="1346">
                  <c:v>169.801555068341</c:v>
                </c:pt>
                <c:pt idx="1347">
                  <c:v>169.875706402247</c:v>
                </c:pt>
                <c:pt idx="1348">
                  <c:v>170.645484579087</c:v>
                </c:pt>
                <c:pt idx="1349">
                  <c:v>171.238657344801</c:v>
                </c:pt>
                <c:pt idx="1350">
                  <c:v>172.52138688416301</c:v>
                </c:pt>
                <c:pt idx="1351">
                  <c:v>172.37499341261301</c:v>
                </c:pt>
                <c:pt idx="1352">
                  <c:v>171.786556251625</c:v>
                </c:pt>
                <c:pt idx="1353">
                  <c:v>171.58468500512001</c:v>
                </c:pt>
                <c:pt idx="1354">
                  <c:v>171.979283987591</c:v>
                </c:pt>
                <c:pt idx="1355">
                  <c:v>172.12482321316099</c:v>
                </c:pt>
                <c:pt idx="1356">
                  <c:v>172.29854805444299</c:v>
                </c:pt>
                <c:pt idx="1357">
                  <c:v>172.15188307391901</c:v>
                </c:pt>
                <c:pt idx="1358">
                  <c:v>171.13228100606901</c:v>
                </c:pt>
                <c:pt idx="1359">
                  <c:v>171.36126898664199</c:v>
                </c:pt>
                <c:pt idx="1360">
                  <c:v>171.42940477525599</c:v>
                </c:pt>
                <c:pt idx="1361">
                  <c:v>171.05056834742999</c:v>
                </c:pt>
                <c:pt idx="1362">
                  <c:v>170.71591931849699</c:v>
                </c:pt>
                <c:pt idx="1363">
                  <c:v>171.320715760876</c:v>
                </c:pt>
                <c:pt idx="1364">
                  <c:v>171.93685431280699</c:v>
                </c:pt>
                <c:pt idx="1365">
                  <c:v>172.082224279841</c:v>
                </c:pt>
                <c:pt idx="1366">
                  <c:v>172.432913493635</c:v>
                </c:pt>
                <c:pt idx="1367">
                  <c:v>172.794689314919</c:v>
                </c:pt>
                <c:pt idx="1368">
                  <c:v>172.92433896447599</c:v>
                </c:pt>
                <c:pt idx="1369">
                  <c:v>172.67811490326301</c:v>
                </c:pt>
                <c:pt idx="1370">
                  <c:v>172.525318343028</c:v>
                </c:pt>
                <c:pt idx="1371">
                  <c:v>173.55067179328799</c:v>
                </c:pt>
                <c:pt idx="1372">
                  <c:v>173.967910757916</c:v>
                </c:pt>
                <c:pt idx="1373">
                  <c:v>174.17507041896599</c:v>
                </c:pt>
                <c:pt idx="1374">
                  <c:v>174.13894082263599</c:v>
                </c:pt>
                <c:pt idx="1375">
                  <c:v>174.096905384758</c:v>
                </c:pt>
                <c:pt idx="1376">
                  <c:v>174.01651633713999</c:v>
                </c:pt>
                <c:pt idx="1377">
                  <c:v>174.23479758820099</c:v>
                </c:pt>
                <c:pt idx="1378">
                  <c:v>174.76285258319299</c:v>
                </c:pt>
                <c:pt idx="1379">
                  <c:v>174.85949304027699</c:v>
                </c:pt>
                <c:pt idx="1380">
                  <c:v>174.65156030579001</c:v>
                </c:pt>
                <c:pt idx="1381">
                  <c:v>174.670755022799</c:v>
                </c:pt>
                <c:pt idx="1382">
                  <c:v>174.24731926844601</c:v>
                </c:pt>
                <c:pt idx="1383">
                  <c:v>174.75341453983199</c:v>
                </c:pt>
                <c:pt idx="1384">
                  <c:v>175.40343030114201</c:v>
                </c:pt>
                <c:pt idx="1385">
                  <c:v>174.74168799411899</c:v>
                </c:pt>
                <c:pt idx="1386">
                  <c:v>174.99310460423499</c:v>
                </c:pt>
                <c:pt idx="1387">
                  <c:v>174.99310460423499</c:v>
                </c:pt>
                <c:pt idx="1388">
                  <c:v>175.23091984563499</c:v>
                </c:pt>
                <c:pt idx="1389">
                  <c:v>175.39405821250099</c:v>
                </c:pt>
                <c:pt idx="1390">
                  <c:v>174.99772237710499</c:v>
                </c:pt>
                <c:pt idx="1391">
                  <c:v>175.51521090743501</c:v>
                </c:pt>
                <c:pt idx="1392">
                  <c:v>176.06597153935499</c:v>
                </c:pt>
                <c:pt idx="1393">
                  <c:v>175.49830432043001</c:v>
                </c:pt>
                <c:pt idx="1394">
                  <c:v>175.28498694664199</c:v>
                </c:pt>
                <c:pt idx="1395">
                  <c:v>175.16549038009501</c:v>
                </c:pt>
                <c:pt idx="1396">
                  <c:v>175.472699217762</c:v>
                </c:pt>
                <c:pt idx="1397">
                  <c:v>174.38425860353701</c:v>
                </c:pt>
                <c:pt idx="1398">
                  <c:v>175.68827789919399</c:v>
                </c:pt>
                <c:pt idx="1399">
                  <c:v>175.043033550649</c:v>
                </c:pt>
                <c:pt idx="1400">
                  <c:v>175.35552663367301</c:v>
                </c:pt>
                <c:pt idx="1401">
                  <c:v>175.84013649520901</c:v>
                </c:pt>
                <c:pt idx="1402">
                  <c:v>175.59346914385301</c:v>
                </c:pt>
                <c:pt idx="1403">
                  <c:v>175.85648023595601</c:v>
                </c:pt>
                <c:pt idx="1404">
                  <c:v>176.20820017710599</c:v>
                </c:pt>
                <c:pt idx="1405">
                  <c:v>176.32148066172101</c:v>
                </c:pt>
                <c:pt idx="1406">
                  <c:v>177.50434060328101</c:v>
                </c:pt>
                <c:pt idx="1407">
                  <c:v>178.055714990095</c:v>
                </c:pt>
                <c:pt idx="1408">
                  <c:v>179.26131091368299</c:v>
                </c:pt>
                <c:pt idx="1409">
                  <c:v>178.404990621076</c:v>
                </c:pt>
                <c:pt idx="1410">
                  <c:v>178.55216345927099</c:v>
                </c:pt>
                <c:pt idx="1411">
                  <c:v>177.81759943070401</c:v>
                </c:pt>
                <c:pt idx="1412">
                  <c:v>177.85913025174901</c:v>
                </c:pt>
                <c:pt idx="1413">
                  <c:v>178.08918895841799</c:v>
                </c:pt>
                <c:pt idx="1414">
                  <c:v>178.55213522723199</c:v>
                </c:pt>
                <c:pt idx="1415">
                  <c:v>178.829338442824</c:v>
                </c:pt>
                <c:pt idx="1416">
                  <c:v>178.416752084656</c:v>
                </c:pt>
                <c:pt idx="1417">
                  <c:v>178.868671367753</c:v>
                </c:pt>
                <c:pt idx="1418">
                  <c:v>178.31136106064801</c:v>
                </c:pt>
                <c:pt idx="1419">
                  <c:v>178.60794607419999</c:v>
                </c:pt>
                <c:pt idx="1420">
                  <c:v>179.56470998007001</c:v>
                </c:pt>
                <c:pt idx="1421">
                  <c:v>178.71886521565401</c:v>
                </c:pt>
                <c:pt idx="1422">
                  <c:v>178.22796892966599</c:v>
                </c:pt>
                <c:pt idx="1423">
                  <c:v>177.914595081903</c:v>
                </c:pt>
                <c:pt idx="1424">
                  <c:v>177.91177808488899</c:v>
                </c:pt>
                <c:pt idx="1425">
                  <c:v>177.91177808488899</c:v>
                </c:pt>
                <c:pt idx="1426">
                  <c:v>177.91177808488899</c:v>
                </c:pt>
                <c:pt idx="1427">
                  <c:v>178.43042871583</c:v>
                </c:pt>
                <c:pt idx="1428">
                  <c:v>178.69398893549101</c:v>
                </c:pt>
                <c:pt idx="1429">
                  <c:v>178.45813542137</c:v>
                </c:pt>
                <c:pt idx="1430">
                  <c:v>178.45813542137</c:v>
                </c:pt>
                <c:pt idx="1431">
                  <c:v>178.47979862756699</c:v>
                </c:pt>
                <c:pt idx="1432">
                  <c:v>178.754511378519</c:v>
                </c:pt>
                <c:pt idx="1433">
                  <c:v>180.11710599780801</c:v>
                </c:pt>
                <c:pt idx="1434">
                  <c:v>181.069088191151</c:v>
                </c:pt>
                <c:pt idx="1435">
                  <c:v>181.127696360551</c:v>
                </c:pt>
                <c:pt idx="1436">
                  <c:v>181.46922656780001</c:v>
                </c:pt>
                <c:pt idx="1437">
                  <c:v>180.95579990762801</c:v>
                </c:pt>
                <c:pt idx="1438">
                  <c:v>181.164104589327</c:v>
                </c:pt>
                <c:pt idx="1439">
                  <c:v>181.61673468281199</c:v>
                </c:pt>
                <c:pt idx="1440">
                  <c:v>182.15300814455301</c:v>
                </c:pt>
                <c:pt idx="1441">
                  <c:v>181.961564598146</c:v>
                </c:pt>
                <c:pt idx="1442">
                  <c:v>183.03644902667699</c:v>
                </c:pt>
                <c:pt idx="1443">
                  <c:v>182.74505633931199</c:v>
                </c:pt>
                <c:pt idx="1444">
                  <c:v>183.842290894499</c:v>
                </c:pt>
                <c:pt idx="1445">
                  <c:v>184.41237262466399</c:v>
                </c:pt>
                <c:pt idx="1446">
                  <c:v>184.60984131654101</c:v>
                </c:pt>
                <c:pt idx="1447">
                  <c:v>184.90734039054001</c:v>
                </c:pt>
                <c:pt idx="1448">
                  <c:v>185.849352557489</c:v>
                </c:pt>
                <c:pt idx="1449">
                  <c:v>187.313721048182</c:v>
                </c:pt>
                <c:pt idx="1450">
                  <c:v>186.306305650067</c:v>
                </c:pt>
                <c:pt idx="1451">
                  <c:v>185.181304973414</c:v>
                </c:pt>
                <c:pt idx="1452">
                  <c:v>185.00074126085801</c:v>
                </c:pt>
              </c:numCache>
            </c:numRef>
          </c:val>
          <c:smooth val="0"/>
          <c:extLst xmlns:c16r2="http://schemas.microsoft.com/office/drawing/2015/06/chart">
            <c:ext xmlns:c16="http://schemas.microsoft.com/office/drawing/2014/chart" uri="{C3380CC4-5D6E-409C-BE32-E72D297353CC}">
              <c16:uniqueId val="{00000001-7127-4EE7-81B7-88A877082DDF}"/>
            </c:ext>
          </c:extLst>
        </c:ser>
        <c:ser>
          <c:idx val="1"/>
          <c:order val="1"/>
          <c:tx>
            <c:strRef>
              <c:f>'Amundi Fds Global MV BRUT USD'!$E$4</c:f>
              <c:strCache>
                <c:ptCount val="1"/>
                <c:pt idx="0">
                  <c:v>MSCI World</c:v>
                </c:pt>
              </c:strCache>
            </c:strRef>
          </c:tx>
          <c:spPr>
            <a:ln w="28575">
              <a:solidFill>
                <a:srgbClr val="009EE0"/>
              </a:solidFill>
              <a:prstDash val="solid"/>
            </a:ln>
          </c:spPr>
          <c:marker>
            <c:symbol val="none"/>
          </c:marker>
          <c:cat>
            <c:numRef>
              <c:f>'Amundi Fds Global MV BRUT USD'!$C$5:$C$1457</c:f>
              <c:numCache>
                <c:formatCode>m/d/yyyy</c:formatCode>
                <c:ptCount val="1453"/>
                <c:pt idx="0">
                  <c:v>41099</c:v>
                </c:pt>
                <c:pt idx="1">
                  <c:v>41100</c:v>
                </c:pt>
                <c:pt idx="2">
                  <c:v>41101</c:v>
                </c:pt>
                <c:pt idx="3">
                  <c:v>41102</c:v>
                </c:pt>
                <c:pt idx="4">
                  <c:v>41103</c:v>
                </c:pt>
                <c:pt idx="5">
                  <c:v>41106</c:v>
                </c:pt>
                <c:pt idx="6">
                  <c:v>41107</c:v>
                </c:pt>
                <c:pt idx="7">
                  <c:v>41108</c:v>
                </c:pt>
                <c:pt idx="8">
                  <c:v>41109</c:v>
                </c:pt>
                <c:pt idx="9">
                  <c:v>41110</c:v>
                </c:pt>
                <c:pt idx="10">
                  <c:v>41113</c:v>
                </c:pt>
                <c:pt idx="11">
                  <c:v>41114</c:v>
                </c:pt>
                <c:pt idx="12">
                  <c:v>41115</c:v>
                </c:pt>
                <c:pt idx="13">
                  <c:v>41116</c:v>
                </c:pt>
                <c:pt idx="14">
                  <c:v>41117</c:v>
                </c:pt>
                <c:pt idx="15">
                  <c:v>41120</c:v>
                </c:pt>
                <c:pt idx="16">
                  <c:v>41121</c:v>
                </c:pt>
                <c:pt idx="17">
                  <c:v>41122</c:v>
                </c:pt>
                <c:pt idx="18">
                  <c:v>41123</c:v>
                </c:pt>
                <c:pt idx="19">
                  <c:v>41124</c:v>
                </c:pt>
                <c:pt idx="20">
                  <c:v>41127</c:v>
                </c:pt>
                <c:pt idx="21">
                  <c:v>41128</c:v>
                </c:pt>
                <c:pt idx="22">
                  <c:v>41129</c:v>
                </c:pt>
                <c:pt idx="23">
                  <c:v>41130</c:v>
                </c:pt>
                <c:pt idx="24">
                  <c:v>41131</c:v>
                </c:pt>
                <c:pt idx="25">
                  <c:v>41134</c:v>
                </c:pt>
                <c:pt idx="26">
                  <c:v>41135</c:v>
                </c:pt>
                <c:pt idx="27">
                  <c:v>41136</c:v>
                </c:pt>
                <c:pt idx="28">
                  <c:v>41137</c:v>
                </c:pt>
                <c:pt idx="29">
                  <c:v>41138</c:v>
                </c:pt>
                <c:pt idx="30">
                  <c:v>41141</c:v>
                </c:pt>
                <c:pt idx="31">
                  <c:v>41142</c:v>
                </c:pt>
                <c:pt idx="32">
                  <c:v>41143</c:v>
                </c:pt>
                <c:pt idx="33">
                  <c:v>41144</c:v>
                </c:pt>
                <c:pt idx="34">
                  <c:v>41145</c:v>
                </c:pt>
                <c:pt idx="35">
                  <c:v>41148</c:v>
                </c:pt>
                <c:pt idx="36">
                  <c:v>41149</c:v>
                </c:pt>
                <c:pt idx="37">
                  <c:v>41150</c:v>
                </c:pt>
                <c:pt idx="38">
                  <c:v>41151</c:v>
                </c:pt>
                <c:pt idx="39">
                  <c:v>41152</c:v>
                </c:pt>
                <c:pt idx="40">
                  <c:v>41155</c:v>
                </c:pt>
                <c:pt idx="41">
                  <c:v>41156</c:v>
                </c:pt>
                <c:pt idx="42">
                  <c:v>41157</c:v>
                </c:pt>
                <c:pt idx="43">
                  <c:v>41158</c:v>
                </c:pt>
                <c:pt idx="44">
                  <c:v>41159</c:v>
                </c:pt>
                <c:pt idx="45">
                  <c:v>41162</c:v>
                </c:pt>
                <c:pt idx="46">
                  <c:v>41163</c:v>
                </c:pt>
                <c:pt idx="47">
                  <c:v>41164</c:v>
                </c:pt>
                <c:pt idx="48">
                  <c:v>41165</c:v>
                </c:pt>
                <c:pt idx="49">
                  <c:v>41166</c:v>
                </c:pt>
                <c:pt idx="50">
                  <c:v>41169</c:v>
                </c:pt>
                <c:pt idx="51">
                  <c:v>41170</c:v>
                </c:pt>
                <c:pt idx="52">
                  <c:v>41171</c:v>
                </c:pt>
                <c:pt idx="53">
                  <c:v>41172</c:v>
                </c:pt>
                <c:pt idx="54">
                  <c:v>41173</c:v>
                </c:pt>
                <c:pt idx="55">
                  <c:v>41176</c:v>
                </c:pt>
                <c:pt idx="56">
                  <c:v>41177</c:v>
                </c:pt>
                <c:pt idx="57">
                  <c:v>41178</c:v>
                </c:pt>
                <c:pt idx="58">
                  <c:v>41179</c:v>
                </c:pt>
                <c:pt idx="59">
                  <c:v>41180</c:v>
                </c:pt>
                <c:pt idx="60">
                  <c:v>41183</c:v>
                </c:pt>
                <c:pt idx="61">
                  <c:v>41184</c:v>
                </c:pt>
                <c:pt idx="62">
                  <c:v>41185</c:v>
                </c:pt>
                <c:pt idx="63">
                  <c:v>41186</c:v>
                </c:pt>
                <c:pt idx="64">
                  <c:v>41187</c:v>
                </c:pt>
                <c:pt idx="65">
                  <c:v>41190</c:v>
                </c:pt>
                <c:pt idx="66">
                  <c:v>41191</c:v>
                </c:pt>
                <c:pt idx="67">
                  <c:v>41192</c:v>
                </c:pt>
                <c:pt idx="68">
                  <c:v>41193</c:v>
                </c:pt>
                <c:pt idx="69">
                  <c:v>41194</c:v>
                </c:pt>
                <c:pt idx="70">
                  <c:v>41197</c:v>
                </c:pt>
                <c:pt idx="71">
                  <c:v>41198</c:v>
                </c:pt>
                <c:pt idx="72">
                  <c:v>41199</c:v>
                </c:pt>
                <c:pt idx="73">
                  <c:v>41200</c:v>
                </c:pt>
                <c:pt idx="74">
                  <c:v>41201</c:v>
                </c:pt>
                <c:pt idx="75">
                  <c:v>41204</c:v>
                </c:pt>
                <c:pt idx="76">
                  <c:v>41205</c:v>
                </c:pt>
                <c:pt idx="77">
                  <c:v>41206</c:v>
                </c:pt>
                <c:pt idx="78">
                  <c:v>41207</c:v>
                </c:pt>
                <c:pt idx="79">
                  <c:v>41208</c:v>
                </c:pt>
                <c:pt idx="80">
                  <c:v>41211</c:v>
                </c:pt>
                <c:pt idx="81">
                  <c:v>41212</c:v>
                </c:pt>
                <c:pt idx="82">
                  <c:v>41213</c:v>
                </c:pt>
                <c:pt idx="83">
                  <c:v>41214</c:v>
                </c:pt>
                <c:pt idx="84">
                  <c:v>41215</c:v>
                </c:pt>
                <c:pt idx="85">
                  <c:v>41218</c:v>
                </c:pt>
                <c:pt idx="86">
                  <c:v>41219</c:v>
                </c:pt>
                <c:pt idx="87">
                  <c:v>41220</c:v>
                </c:pt>
                <c:pt idx="88">
                  <c:v>41221</c:v>
                </c:pt>
                <c:pt idx="89">
                  <c:v>41222</c:v>
                </c:pt>
                <c:pt idx="90">
                  <c:v>41225</c:v>
                </c:pt>
                <c:pt idx="91">
                  <c:v>41226</c:v>
                </c:pt>
                <c:pt idx="92">
                  <c:v>41227</c:v>
                </c:pt>
                <c:pt idx="93">
                  <c:v>41228</c:v>
                </c:pt>
                <c:pt idx="94">
                  <c:v>41229</c:v>
                </c:pt>
                <c:pt idx="95">
                  <c:v>41232</c:v>
                </c:pt>
                <c:pt idx="96">
                  <c:v>41233</c:v>
                </c:pt>
                <c:pt idx="97">
                  <c:v>41234</c:v>
                </c:pt>
                <c:pt idx="98">
                  <c:v>41235</c:v>
                </c:pt>
                <c:pt idx="99">
                  <c:v>41236</c:v>
                </c:pt>
                <c:pt idx="100">
                  <c:v>41239</c:v>
                </c:pt>
                <c:pt idx="101">
                  <c:v>41240</c:v>
                </c:pt>
                <c:pt idx="102">
                  <c:v>41241</c:v>
                </c:pt>
                <c:pt idx="103">
                  <c:v>41242</c:v>
                </c:pt>
                <c:pt idx="104">
                  <c:v>41243</c:v>
                </c:pt>
                <c:pt idx="105">
                  <c:v>41246</c:v>
                </c:pt>
                <c:pt idx="106">
                  <c:v>41247</c:v>
                </c:pt>
                <c:pt idx="107">
                  <c:v>41248</c:v>
                </c:pt>
                <c:pt idx="108">
                  <c:v>41249</c:v>
                </c:pt>
                <c:pt idx="109">
                  <c:v>41250</c:v>
                </c:pt>
                <c:pt idx="110">
                  <c:v>41253</c:v>
                </c:pt>
                <c:pt idx="111">
                  <c:v>41254</c:v>
                </c:pt>
                <c:pt idx="112">
                  <c:v>41255</c:v>
                </c:pt>
                <c:pt idx="113">
                  <c:v>41256</c:v>
                </c:pt>
                <c:pt idx="114">
                  <c:v>41257</c:v>
                </c:pt>
                <c:pt idx="115">
                  <c:v>41260</c:v>
                </c:pt>
                <c:pt idx="116">
                  <c:v>41261</c:v>
                </c:pt>
                <c:pt idx="117">
                  <c:v>41262</c:v>
                </c:pt>
                <c:pt idx="118">
                  <c:v>41263</c:v>
                </c:pt>
                <c:pt idx="119">
                  <c:v>41264</c:v>
                </c:pt>
                <c:pt idx="120">
                  <c:v>41267</c:v>
                </c:pt>
                <c:pt idx="121">
                  <c:v>41268</c:v>
                </c:pt>
                <c:pt idx="122">
                  <c:v>41269</c:v>
                </c:pt>
                <c:pt idx="123">
                  <c:v>41270</c:v>
                </c:pt>
                <c:pt idx="124">
                  <c:v>41271</c:v>
                </c:pt>
                <c:pt idx="125">
                  <c:v>41274</c:v>
                </c:pt>
                <c:pt idx="126">
                  <c:v>41275</c:v>
                </c:pt>
                <c:pt idx="127">
                  <c:v>41276</c:v>
                </c:pt>
                <c:pt idx="128">
                  <c:v>41277</c:v>
                </c:pt>
                <c:pt idx="129">
                  <c:v>41278</c:v>
                </c:pt>
                <c:pt idx="130">
                  <c:v>41281</c:v>
                </c:pt>
                <c:pt idx="131">
                  <c:v>41282</c:v>
                </c:pt>
                <c:pt idx="132">
                  <c:v>41283</c:v>
                </c:pt>
                <c:pt idx="133">
                  <c:v>41284</c:v>
                </c:pt>
                <c:pt idx="134">
                  <c:v>41285</c:v>
                </c:pt>
                <c:pt idx="135">
                  <c:v>41288</c:v>
                </c:pt>
                <c:pt idx="136">
                  <c:v>41289</c:v>
                </c:pt>
                <c:pt idx="137">
                  <c:v>41290</c:v>
                </c:pt>
                <c:pt idx="138">
                  <c:v>41291</c:v>
                </c:pt>
                <c:pt idx="139">
                  <c:v>41292</c:v>
                </c:pt>
                <c:pt idx="140">
                  <c:v>41295</c:v>
                </c:pt>
                <c:pt idx="141">
                  <c:v>41296</c:v>
                </c:pt>
                <c:pt idx="142">
                  <c:v>41297</c:v>
                </c:pt>
                <c:pt idx="143">
                  <c:v>41298</c:v>
                </c:pt>
                <c:pt idx="144">
                  <c:v>41299</c:v>
                </c:pt>
                <c:pt idx="145">
                  <c:v>41302</c:v>
                </c:pt>
                <c:pt idx="146">
                  <c:v>41303</c:v>
                </c:pt>
                <c:pt idx="147">
                  <c:v>41304</c:v>
                </c:pt>
                <c:pt idx="148">
                  <c:v>41305</c:v>
                </c:pt>
                <c:pt idx="149">
                  <c:v>41306</c:v>
                </c:pt>
                <c:pt idx="150">
                  <c:v>41309</c:v>
                </c:pt>
                <c:pt idx="151">
                  <c:v>41310</c:v>
                </c:pt>
                <c:pt idx="152">
                  <c:v>41311</c:v>
                </c:pt>
                <c:pt idx="153">
                  <c:v>41312</c:v>
                </c:pt>
                <c:pt idx="154">
                  <c:v>41313</c:v>
                </c:pt>
                <c:pt idx="155">
                  <c:v>41316</c:v>
                </c:pt>
                <c:pt idx="156">
                  <c:v>41317</c:v>
                </c:pt>
                <c:pt idx="157">
                  <c:v>41318</c:v>
                </c:pt>
                <c:pt idx="158">
                  <c:v>41319</c:v>
                </c:pt>
                <c:pt idx="159">
                  <c:v>41320</c:v>
                </c:pt>
                <c:pt idx="160">
                  <c:v>41323</c:v>
                </c:pt>
                <c:pt idx="161">
                  <c:v>41324</c:v>
                </c:pt>
                <c:pt idx="162">
                  <c:v>41325</c:v>
                </c:pt>
                <c:pt idx="163">
                  <c:v>41326</c:v>
                </c:pt>
                <c:pt idx="164">
                  <c:v>41327</c:v>
                </c:pt>
                <c:pt idx="165">
                  <c:v>41330</c:v>
                </c:pt>
                <c:pt idx="166">
                  <c:v>41331</c:v>
                </c:pt>
                <c:pt idx="167">
                  <c:v>41332</c:v>
                </c:pt>
                <c:pt idx="168">
                  <c:v>41333</c:v>
                </c:pt>
                <c:pt idx="169">
                  <c:v>41334</c:v>
                </c:pt>
                <c:pt idx="170">
                  <c:v>41337</c:v>
                </c:pt>
                <c:pt idx="171">
                  <c:v>41338</c:v>
                </c:pt>
                <c:pt idx="172">
                  <c:v>41339</c:v>
                </c:pt>
                <c:pt idx="173">
                  <c:v>41340</c:v>
                </c:pt>
                <c:pt idx="174">
                  <c:v>41341</c:v>
                </c:pt>
                <c:pt idx="175">
                  <c:v>41344</c:v>
                </c:pt>
                <c:pt idx="176">
                  <c:v>41345</c:v>
                </c:pt>
                <c:pt idx="177">
                  <c:v>41346</c:v>
                </c:pt>
                <c:pt idx="178">
                  <c:v>41347</c:v>
                </c:pt>
                <c:pt idx="179">
                  <c:v>41348</c:v>
                </c:pt>
                <c:pt idx="180">
                  <c:v>41351</c:v>
                </c:pt>
                <c:pt idx="181">
                  <c:v>41352</c:v>
                </c:pt>
                <c:pt idx="182">
                  <c:v>41353</c:v>
                </c:pt>
                <c:pt idx="183">
                  <c:v>41354</c:v>
                </c:pt>
                <c:pt idx="184">
                  <c:v>41355</c:v>
                </c:pt>
                <c:pt idx="185">
                  <c:v>41358</c:v>
                </c:pt>
                <c:pt idx="186">
                  <c:v>41359</c:v>
                </c:pt>
                <c:pt idx="187">
                  <c:v>41360</c:v>
                </c:pt>
                <c:pt idx="188">
                  <c:v>41361</c:v>
                </c:pt>
                <c:pt idx="189">
                  <c:v>41362</c:v>
                </c:pt>
                <c:pt idx="190">
                  <c:v>41365</c:v>
                </c:pt>
                <c:pt idx="191">
                  <c:v>41366</c:v>
                </c:pt>
                <c:pt idx="192">
                  <c:v>41367</c:v>
                </c:pt>
                <c:pt idx="193">
                  <c:v>41368</c:v>
                </c:pt>
                <c:pt idx="194">
                  <c:v>41369</c:v>
                </c:pt>
                <c:pt idx="195">
                  <c:v>41372</c:v>
                </c:pt>
                <c:pt idx="196">
                  <c:v>41373</c:v>
                </c:pt>
                <c:pt idx="197">
                  <c:v>41374</c:v>
                </c:pt>
                <c:pt idx="198">
                  <c:v>41375</c:v>
                </c:pt>
                <c:pt idx="199">
                  <c:v>41376</c:v>
                </c:pt>
                <c:pt idx="200">
                  <c:v>41379</c:v>
                </c:pt>
                <c:pt idx="201">
                  <c:v>41380</c:v>
                </c:pt>
                <c:pt idx="202">
                  <c:v>41381</c:v>
                </c:pt>
                <c:pt idx="203">
                  <c:v>41382</c:v>
                </c:pt>
                <c:pt idx="204">
                  <c:v>41383</c:v>
                </c:pt>
                <c:pt idx="205">
                  <c:v>41386</c:v>
                </c:pt>
                <c:pt idx="206">
                  <c:v>41387</c:v>
                </c:pt>
                <c:pt idx="207">
                  <c:v>41388</c:v>
                </c:pt>
                <c:pt idx="208">
                  <c:v>41389</c:v>
                </c:pt>
                <c:pt idx="209">
                  <c:v>41390</c:v>
                </c:pt>
                <c:pt idx="210">
                  <c:v>41393</c:v>
                </c:pt>
                <c:pt idx="211">
                  <c:v>41394</c:v>
                </c:pt>
                <c:pt idx="212">
                  <c:v>41395</c:v>
                </c:pt>
                <c:pt idx="213">
                  <c:v>41396</c:v>
                </c:pt>
                <c:pt idx="214">
                  <c:v>41397</c:v>
                </c:pt>
                <c:pt idx="215">
                  <c:v>41400</c:v>
                </c:pt>
                <c:pt idx="216">
                  <c:v>41401</c:v>
                </c:pt>
                <c:pt idx="217">
                  <c:v>41402</c:v>
                </c:pt>
                <c:pt idx="218">
                  <c:v>41403</c:v>
                </c:pt>
                <c:pt idx="219">
                  <c:v>41404</c:v>
                </c:pt>
                <c:pt idx="220">
                  <c:v>41407</c:v>
                </c:pt>
                <c:pt idx="221">
                  <c:v>41408</c:v>
                </c:pt>
                <c:pt idx="222">
                  <c:v>41409</c:v>
                </c:pt>
                <c:pt idx="223">
                  <c:v>41410</c:v>
                </c:pt>
                <c:pt idx="224">
                  <c:v>41411</c:v>
                </c:pt>
                <c:pt idx="225">
                  <c:v>41414</c:v>
                </c:pt>
                <c:pt idx="226">
                  <c:v>41415</c:v>
                </c:pt>
                <c:pt idx="227">
                  <c:v>41416</c:v>
                </c:pt>
                <c:pt idx="228">
                  <c:v>41417</c:v>
                </c:pt>
                <c:pt idx="229">
                  <c:v>41418</c:v>
                </c:pt>
                <c:pt idx="230">
                  <c:v>41421</c:v>
                </c:pt>
                <c:pt idx="231">
                  <c:v>41422</c:v>
                </c:pt>
                <c:pt idx="232">
                  <c:v>41423</c:v>
                </c:pt>
                <c:pt idx="233">
                  <c:v>41424</c:v>
                </c:pt>
                <c:pt idx="234">
                  <c:v>41425</c:v>
                </c:pt>
                <c:pt idx="235">
                  <c:v>41428</c:v>
                </c:pt>
                <c:pt idx="236">
                  <c:v>41429</c:v>
                </c:pt>
                <c:pt idx="237">
                  <c:v>41430</c:v>
                </c:pt>
                <c:pt idx="238">
                  <c:v>41431</c:v>
                </c:pt>
                <c:pt idx="239">
                  <c:v>41432</c:v>
                </c:pt>
                <c:pt idx="240">
                  <c:v>41435</c:v>
                </c:pt>
                <c:pt idx="241">
                  <c:v>41436</c:v>
                </c:pt>
                <c:pt idx="242">
                  <c:v>41437</c:v>
                </c:pt>
                <c:pt idx="243">
                  <c:v>41438</c:v>
                </c:pt>
                <c:pt idx="244">
                  <c:v>41439</c:v>
                </c:pt>
                <c:pt idx="245">
                  <c:v>41442</c:v>
                </c:pt>
                <c:pt idx="246">
                  <c:v>41443</c:v>
                </c:pt>
                <c:pt idx="247">
                  <c:v>41444</c:v>
                </c:pt>
                <c:pt idx="248">
                  <c:v>41445</c:v>
                </c:pt>
                <c:pt idx="249">
                  <c:v>41446</c:v>
                </c:pt>
                <c:pt idx="250">
                  <c:v>41449</c:v>
                </c:pt>
                <c:pt idx="251">
                  <c:v>41450</c:v>
                </c:pt>
                <c:pt idx="252">
                  <c:v>41451</c:v>
                </c:pt>
                <c:pt idx="253">
                  <c:v>41452</c:v>
                </c:pt>
                <c:pt idx="254">
                  <c:v>41453</c:v>
                </c:pt>
                <c:pt idx="255">
                  <c:v>41456</c:v>
                </c:pt>
                <c:pt idx="256">
                  <c:v>41457</c:v>
                </c:pt>
                <c:pt idx="257">
                  <c:v>41458</c:v>
                </c:pt>
                <c:pt idx="258">
                  <c:v>41459</c:v>
                </c:pt>
                <c:pt idx="259">
                  <c:v>41460</c:v>
                </c:pt>
                <c:pt idx="260">
                  <c:v>41463</c:v>
                </c:pt>
                <c:pt idx="261">
                  <c:v>41464</c:v>
                </c:pt>
                <c:pt idx="262">
                  <c:v>41465</c:v>
                </c:pt>
                <c:pt idx="263">
                  <c:v>41466</c:v>
                </c:pt>
                <c:pt idx="264">
                  <c:v>41467</c:v>
                </c:pt>
                <c:pt idx="265">
                  <c:v>41470</c:v>
                </c:pt>
                <c:pt idx="266">
                  <c:v>41471</c:v>
                </c:pt>
                <c:pt idx="267">
                  <c:v>41472</c:v>
                </c:pt>
                <c:pt idx="268">
                  <c:v>41473</c:v>
                </c:pt>
                <c:pt idx="269">
                  <c:v>41474</c:v>
                </c:pt>
                <c:pt idx="270">
                  <c:v>41477</c:v>
                </c:pt>
                <c:pt idx="271">
                  <c:v>41478</c:v>
                </c:pt>
                <c:pt idx="272">
                  <c:v>41479</c:v>
                </c:pt>
                <c:pt idx="273">
                  <c:v>41480</c:v>
                </c:pt>
                <c:pt idx="274">
                  <c:v>41481</c:v>
                </c:pt>
                <c:pt idx="275">
                  <c:v>41484</c:v>
                </c:pt>
                <c:pt idx="276">
                  <c:v>41485</c:v>
                </c:pt>
                <c:pt idx="277">
                  <c:v>41486</c:v>
                </c:pt>
                <c:pt idx="278">
                  <c:v>41487</c:v>
                </c:pt>
                <c:pt idx="279">
                  <c:v>41488</c:v>
                </c:pt>
                <c:pt idx="280">
                  <c:v>41491</c:v>
                </c:pt>
                <c:pt idx="281">
                  <c:v>41492</c:v>
                </c:pt>
                <c:pt idx="282">
                  <c:v>41493</c:v>
                </c:pt>
                <c:pt idx="283">
                  <c:v>41494</c:v>
                </c:pt>
                <c:pt idx="284">
                  <c:v>41495</c:v>
                </c:pt>
                <c:pt idx="285">
                  <c:v>41498</c:v>
                </c:pt>
                <c:pt idx="286">
                  <c:v>41499</c:v>
                </c:pt>
                <c:pt idx="287">
                  <c:v>41500</c:v>
                </c:pt>
                <c:pt idx="288">
                  <c:v>41501</c:v>
                </c:pt>
                <c:pt idx="289">
                  <c:v>41502</c:v>
                </c:pt>
                <c:pt idx="290">
                  <c:v>41505</c:v>
                </c:pt>
                <c:pt idx="291">
                  <c:v>41506</c:v>
                </c:pt>
                <c:pt idx="292">
                  <c:v>41507</c:v>
                </c:pt>
                <c:pt idx="293">
                  <c:v>41508</c:v>
                </c:pt>
                <c:pt idx="294">
                  <c:v>41509</c:v>
                </c:pt>
                <c:pt idx="295">
                  <c:v>41512</c:v>
                </c:pt>
                <c:pt idx="296">
                  <c:v>41513</c:v>
                </c:pt>
                <c:pt idx="297">
                  <c:v>41514</c:v>
                </c:pt>
                <c:pt idx="298">
                  <c:v>41515</c:v>
                </c:pt>
                <c:pt idx="299">
                  <c:v>41516</c:v>
                </c:pt>
                <c:pt idx="300">
                  <c:v>41519</c:v>
                </c:pt>
                <c:pt idx="301">
                  <c:v>41520</c:v>
                </c:pt>
                <c:pt idx="302">
                  <c:v>41521</c:v>
                </c:pt>
                <c:pt idx="303">
                  <c:v>41522</c:v>
                </c:pt>
                <c:pt idx="304">
                  <c:v>41523</c:v>
                </c:pt>
                <c:pt idx="305">
                  <c:v>41526</c:v>
                </c:pt>
                <c:pt idx="306">
                  <c:v>41527</c:v>
                </c:pt>
                <c:pt idx="307">
                  <c:v>41528</c:v>
                </c:pt>
                <c:pt idx="308">
                  <c:v>41529</c:v>
                </c:pt>
                <c:pt idx="309">
                  <c:v>41530</c:v>
                </c:pt>
                <c:pt idx="310">
                  <c:v>41533</c:v>
                </c:pt>
                <c:pt idx="311">
                  <c:v>41534</c:v>
                </c:pt>
                <c:pt idx="312">
                  <c:v>41535</c:v>
                </c:pt>
                <c:pt idx="313">
                  <c:v>41536</c:v>
                </c:pt>
                <c:pt idx="314">
                  <c:v>41537</c:v>
                </c:pt>
                <c:pt idx="315">
                  <c:v>41540</c:v>
                </c:pt>
                <c:pt idx="316">
                  <c:v>41541</c:v>
                </c:pt>
                <c:pt idx="317">
                  <c:v>41542</c:v>
                </c:pt>
                <c:pt idx="318">
                  <c:v>41543</c:v>
                </c:pt>
                <c:pt idx="319">
                  <c:v>41544</c:v>
                </c:pt>
                <c:pt idx="320">
                  <c:v>41547</c:v>
                </c:pt>
                <c:pt idx="321">
                  <c:v>41548</c:v>
                </c:pt>
                <c:pt idx="322">
                  <c:v>41549</c:v>
                </c:pt>
                <c:pt idx="323">
                  <c:v>41550</c:v>
                </c:pt>
                <c:pt idx="324">
                  <c:v>41551</c:v>
                </c:pt>
                <c:pt idx="325">
                  <c:v>41554</c:v>
                </c:pt>
                <c:pt idx="326">
                  <c:v>41555</c:v>
                </c:pt>
                <c:pt idx="327">
                  <c:v>41556</c:v>
                </c:pt>
                <c:pt idx="328">
                  <c:v>41557</c:v>
                </c:pt>
                <c:pt idx="329">
                  <c:v>41558</c:v>
                </c:pt>
                <c:pt idx="330">
                  <c:v>41561</c:v>
                </c:pt>
                <c:pt idx="331">
                  <c:v>41562</c:v>
                </c:pt>
                <c:pt idx="332">
                  <c:v>41563</c:v>
                </c:pt>
                <c:pt idx="333">
                  <c:v>41564</c:v>
                </c:pt>
                <c:pt idx="334">
                  <c:v>41565</c:v>
                </c:pt>
                <c:pt idx="335">
                  <c:v>41568</c:v>
                </c:pt>
                <c:pt idx="336">
                  <c:v>41569</c:v>
                </c:pt>
                <c:pt idx="337">
                  <c:v>41570</c:v>
                </c:pt>
                <c:pt idx="338">
                  <c:v>41571</c:v>
                </c:pt>
                <c:pt idx="339">
                  <c:v>41572</c:v>
                </c:pt>
                <c:pt idx="340">
                  <c:v>41575</c:v>
                </c:pt>
                <c:pt idx="341">
                  <c:v>41576</c:v>
                </c:pt>
                <c:pt idx="342">
                  <c:v>41577</c:v>
                </c:pt>
                <c:pt idx="343">
                  <c:v>41578</c:v>
                </c:pt>
                <c:pt idx="344">
                  <c:v>41579</c:v>
                </c:pt>
                <c:pt idx="345">
                  <c:v>41582</c:v>
                </c:pt>
                <c:pt idx="346">
                  <c:v>41583</c:v>
                </c:pt>
                <c:pt idx="347">
                  <c:v>41584</c:v>
                </c:pt>
                <c:pt idx="348">
                  <c:v>41585</c:v>
                </c:pt>
                <c:pt idx="349">
                  <c:v>41586</c:v>
                </c:pt>
                <c:pt idx="350">
                  <c:v>41589</c:v>
                </c:pt>
                <c:pt idx="351">
                  <c:v>41590</c:v>
                </c:pt>
                <c:pt idx="352">
                  <c:v>41591</c:v>
                </c:pt>
                <c:pt idx="353">
                  <c:v>41592</c:v>
                </c:pt>
                <c:pt idx="354">
                  <c:v>41593</c:v>
                </c:pt>
                <c:pt idx="355">
                  <c:v>41596</c:v>
                </c:pt>
                <c:pt idx="356">
                  <c:v>41597</c:v>
                </c:pt>
                <c:pt idx="357">
                  <c:v>41598</c:v>
                </c:pt>
                <c:pt idx="358">
                  <c:v>41599</c:v>
                </c:pt>
                <c:pt idx="359">
                  <c:v>41600</c:v>
                </c:pt>
                <c:pt idx="360">
                  <c:v>41603</c:v>
                </c:pt>
                <c:pt idx="361">
                  <c:v>41604</c:v>
                </c:pt>
                <c:pt idx="362">
                  <c:v>41605</c:v>
                </c:pt>
                <c:pt idx="363">
                  <c:v>41606</c:v>
                </c:pt>
                <c:pt idx="364">
                  <c:v>41607</c:v>
                </c:pt>
                <c:pt idx="365">
                  <c:v>41610</c:v>
                </c:pt>
                <c:pt idx="366">
                  <c:v>41611</c:v>
                </c:pt>
                <c:pt idx="367">
                  <c:v>41612</c:v>
                </c:pt>
                <c:pt idx="368">
                  <c:v>41613</c:v>
                </c:pt>
                <c:pt idx="369">
                  <c:v>41614</c:v>
                </c:pt>
                <c:pt idx="370">
                  <c:v>41617</c:v>
                </c:pt>
                <c:pt idx="371">
                  <c:v>41618</c:v>
                </c:pt>
                <c:pt idx="372">
                  <c:v>41619</c:v>
                </c:pt>
                <c:pt idx="373">
                  <c:v>41620</c:v>
                </c:pt>
                <c:pt idx="374">
                  <c:v>41621</c:v>
                </c:pt>
                <c:pt idx="375">
                  <c:v>41624</c:v>
                </c:pt>
                <c:pt idx="376">
                  <c:v>41625</c:v>
                </c:pt>
                <c:pt idx="377">
                  <c:v>41626</c:v>
                </c:pt>
                <c:pt idx="378">
                  <c:v>41627</c:v>
                </c:pt>
                <c:pt idx="379">
                  <c:v>41628</c:v>
                </c:pt>
                <c:pt idx="380">
                  <c:v>41631</c:v>
                </c:pt>
                <c:pt idx="381">
                  <c:v>41632</c:v>
                </c:pt>
                <c:pt idx="382">
                  <c:v>41633</c:v>
                </c:pt>
                <c:pt idx="383">
                  <c:v>41634</c:v>
                </c:pt>
                <c:pt idx="384">
                  <c:v>41635</c:v>
                </c:pt>
                <c:pt idx="385">
                  <c:v>41638</c:v>
                </c:pt>
                <c:pt idx="386">
                  <c:v>41639</c:v>
                </c:pt>
                <c:pt idx="387">
                  <c:v>41640</c:v>
                </c:pt>
                <c:pt idx="388">
                  <c:v>41641</c:v>
                </c:pt>
                <c:pt idx="389">
                  <c:v>41642</c:v>
                </c:pt>
                <c:pt idx="390">
                  <c:v>41645</c:v>
                </c:pt>
                <c:pt idx="391">
                  <c:v>41646</c:v>
                </c:pt>
                <c:pt idx="392">
                  <c:v>41647</c:v>
                </c:pt>
                <c:pt idx="393">
                  <c:v>41648</c:v>
                </c:pt>
                <c:pt idx="394">
                  <c:v>41649</c:v>
                </c:pt>
                <c:pt idx="395">
                  <c:v>41652</c:v>
                </c:pt>
                <c:pt idx="396">
                  <c:v>41653</c:v>
                </c:pt>
                <c:pt idx="397">
                  <c:v>41654</c:v>
                </c:pt>
                <c:pt idx="398">
                  <c:v>41655</c:v>
                </c:pt>
                <c:pt idx="399">
                  <c:v>41656</c:v>
                </c:pt>
                <c:pt idx="400">
                  <c:v>41659</c:v>
                </c:pt>
                <c:pt idx="401">
                  <c:v>41660</c:v>
                </c:pt>
                <c:pt idx="402">
                  <c:v>41661</c:v>
                </c:pt>
                <c:pt idx="403">
                  <c:v>41662</c:v>
                </c:pt>
                <c:pt idx="404">
                  <c:v>41663</c:v>
                </c:pt>
                <c:pt idx="405">
                  <c:v>41666</c:v>
                </c:pt>
                <c:pt idx="406">
                  <c:v>41667</c:v>
                </c:pt>
                <c:pt idx="407">
                  <c:v>41668</c:v>
                </c:pt>
                <c:pt idx="408">
                  <c:v>41669</c:v>
                </c:pt>
                <c:pt idx="409">
                  <c:v>41670</c:v>
                </c:pt>
                <c:pt idx="410">
                  <c:v>41673</c:v>
                </c:pt>
                <c:pt idx="411">
                  <c:v>41674</c:v>
                </c:pt>
                <c:pt idx="412">
                  <c:v>41675</c:v>
                </c:pt>
                <c:pt idx="413">
                  <c:v>41676</c:v>
                </c:pt>
                <c:pt idx="414">
                  <c:v>41677</c:v>
                </c:pt>
                <c:pt idx="415">
                  <c:v>41680</c:v>
                </c:pt>
                <c:pt idx="416">
                  <c:v>41681</c:v>
                </c:pt>
                <c:pt idx="417">
                  <c:v>41682</c:v>
                </c:pt>
                <c:pt idx="418">
                  <c:v>41683</c:v>
                </c:pt>
                <c:pt idx="419">
                  <c:v>41684</c:v>
                </c:pt>
                <c:pt idx="420">
                  <c:v>41687</c:v>
                </c:pt>
                <c:pt idx="421">
                  <c:v>41688</c:v>
                </c:pt>
                <c:pt idx="422">
                  <c:v>41689</c:v>
                </c:pt>
                <c:pt idx="423">
                  <c:v>41690</c:v>
                </c:pt>
                <c:pt idx="424">
                  <c:v>41691</c:v>
                </c:pt>
                <c:pt idx="425">
                  <c:v>41694</c:v>
                </c:pt>
                <c:pt idx="426">
                  <c:v>41695</c:v>
                </c:pt>
                <c:pt idx="427">
                  <c:v>41696</c:v>
                </c:pt>
                <c:pt idx="428">
                  <c:v>41697</c:v>
                </c:pt>
                <c:pt idx="429">
                  <c:v>41698</c:v>
                </c:pt>
                <c:pt idx="430">
                  <c:v>41701</c:v>
                </c:pt>
                <c:pt idx="431">
                  <c:v>41702</c:v>
                </c:pt>
                <c:pt idx="432">
                  <c:v>41703</c:v>
                </c:pt>
                <c:pt idx="433">
                  <c:v>41704</c:v>
                </c:pt>
                <c:pt idx="434">
                  <c:v>41705</c:v>
                </c:pt>
                <c:pt idx="435">
                  <c:v>41708</c:v>
                </c:pt>
                <c:pt idx="436">
                  <c:v>41709</c:v>
                </c:pt>
                <c:pt idx="437">
                  <c:v>41710</c:v>
                </c:pt>
                <c:pt idx="438">
                  <c:v>41711</c:v>
                </c:pt>
                <c:pt idx="439">
                  <c:v>41712</c:v>
                </c:pt>
                <c:pt idx="440">
                  <c:v>41715</c:v>
                </c:pt>
                <c:pt idx="441">
                  <c:v>41716</c:v>
                </c:pt>
                <c:pt idx="442">
                  <c:v>41717</c:v>
                </c:pt>
                <c:pt idx="443">
                  <c:v>41718</c:v>
                </c:pt>
                <c:pt idx="444">
                  <c:v>41719</c:v>
                </c:pt>
                <c:pt idx="445">
                  <c:v>41722</c:v>
                </c:pt>
                <c:pt idx="446">
                  <c:v>41723</c:v>
                </c:pt>
                <c:pt idx="447">
                  <c:v>41724</c:v>
                </c:pt>
                <c:pt idx="448">
                  <c:v>41725</c:v>
                </c:pt>
                <c:pt idx="449">
                  <c:v>41726</c:v>
                </c:pt>
                <c:pt idx="450">
                  <c:v>41729</c:v>
                </c:pt>
                <c:pt idx="451">
                  <c:v>41730</c:v>
                </c:pt>
                <c:pt idx="452">
                  <c:v>41731</c:v>
                </c:pt>
                <c:pt idx="453">
                  <c:v>41732</c:v>
                </c:pt>
                <c:pt idx="454">
                  <c:v>41733</c:v>
                </c:pt>
                <c:pt idx="455">
                  <c:v>41736</c:v>
                </c:pt>
                <c:pt idx="456">
                  <c:v>41737</c:v>
                </c:pt>
                <c:pt idx="457">
                  <c:v>41738</c:v>
                </c:pt>
                <c:pt idx="458">
                  <c:v>41739</c:v>
                </c:pt>
                <c:pt idx="459">
                  <c:v>41740</c:v>
                </c:pt>
                <c:pt idx="460">
                  <c:v>41743</c:v>
                </c:pt>
                <c:pt idx="461">
                  <c:v>41744</c:v>
                </c:pt>
                <c:pt idx="462">
                  <c:v>41745</c:v>
                </c:pt>
                <c:pt idx="463">
                  <c:v>41746</c:v>
                </c:pt>
                <c:pt idx="464">
                  <c:v>41747</c:v>
                </c:pt>
                <c:pt idx="465">
                  <c:v>41750</c:v>
                </c:pt>
                <c:pt idx="466">
                  <c:v>41751</c:v>
                </c:pt>
                <c:pt idx="467">
                  <c:v>41752</c:v>
                </c:pt>
                <c:pt idx="468">
                  <c:v>41753</c:v>
                </c:pt>
                <c:pt idx="469">
                  <c:v>41754</c:v>
                </c:pt>
                <c:pt idx="470">
                  <c:v>41757</c:v>
                </c:pt>
                <c:pt idx="471">
                  <c:v>41758</c:v>
                </c:pt>
                <c:pt idx="472">
                  <c:v>41759</c:v>
                </c:pt>
                <c:pt idx="473">
                  <c:v>41760</c:v>
                </c:pt>
                <c:pt idx="474">
                  <c:v>41761</c:v>
                </c:pt>
                <c:pt idx="475">
                  <c:v>41764</c:v>
                </c:pt>
                <c:pt idx="476">
                  <c:v>41765</c:v>
                </c:pt>
                <c:pt idx="477">
                  <c:v>41766</c:v>
                </c:pt>
                <c:pt idx="478">
                  <c:v>41767</c:v>
                </c:pt>
                <c:pt idx="479">
                  <c:v>41768</c:v>
                </c:pt>
                <c:pt idx="480">
                  <c:v>41771</c:v>
                </c:pt>
                <c:pt idx="481">
                  <c:v>41772</c:v>
                </c:pt>
                <c:pt idx="482">
                  <c:v>41773</c:v>
                </c:pt>
                <c:pt idx="483">
                  <c:v>41774</c:v>
                </c:pt>
                <c:pt idx="484">
                  <c:v>41775</c:v>
                </c:pt>
                <c:pt idx="485">
                  <c:v>41778</c:v>
                </c:pt>
                <c:pt idx="486">
                  <c:v>41779</c:v>
                </c:pt>
                <c:pt idx="487">
                  <c:v>41780</c:v>
                </c:pt>
                <c:pt idx="488">
                  <c:v>41781</c:v>
                </c:pt>
                <c:pt idx="489">
                  <c:v>41782</c:v>
                </c:pt>
                <c:pt idx="490">
                  <c:v>41785</c:v>
                </c:pt>
                <c:pt idx="491">
                  <c:v>41786</c:v>
                </c:pt>
                <c:pt idx="492">
                  <c:v>41787</c:v>
                </c:pt>
                <c:pt idx="493">
                  <c:v>41788</c:v>
                </c:pt>
                <c:pt idx="494">
                  <c:v>41789</c:v>
                </c:pt>
                <c:pt idx="495">
                  <c:v>41792</c:v>
                </c:pt>
                <c:pt idx="496">
                  <c:v>41793</c:v>
                </c:pt>
                <c:pt idx="497">
                  <c:v>41794</c:v>
                </c:pt>
                <c:pt idx="498">
                  <c:v>41795</c:v>
                </c:pt>
                <c:pt idx="499">
                  <c:v>41796</c:v>
                </c:pt>
                <c:pt idx="500">
                  <c:v>41799</c:v>
                </c:pt>
                <c:pt idx="501">
                  <c:v>41800</c:v>
                </c:pt>
                <c:pt idx="502">
                  <c:v>41801</c:v>
                </c:pt>
                <c:pt idx="503">
                  <c:v>41802</c:v>
                </c:pt>
                <c:pt idx="504">
                  <c:v>41803</c:v>
                </c:pt>
                <c:pt idx="505">
                  <c:v>41806</c:v>
                </c:pt>
                <c:pt idx="506">
                  <c:v>41807</c:v>
                </c:pt>
                <c:pt idx="507">
                  <c:v>41808</c:v>
                </c:pt>
                <c:pt idx="508">
                  <c:v>41809</c:v>
                </c:pt>
                <c:pt idx="509">
                  <c:v>41810</c:v>
                </c:pt>
                <c:pt idx="510">
                  <c:v>41813</c:v>
                </c:pt>
                <c:pt idx="511">
                  <c:v>41814</c:v>
                </c:pt>
                <c:pt idx="512">
                  <c:v>41815</c:v>
                </c:pt>
                <c:pt idx="513">
                  <c:v>41816</c:v>
                </c:pt>
                <c:pt idx="514">
                  <c:v>41817</c:v>
                </c:pt>
                <c:pt idx="515">
                  <c:v>41820</c:v>
                </c:pt>
                <c:pt idx="516">
                  <c:v>41821</c:v>
                </c:pt>
                <c:pt idx="517">
                  <c:v>41822</c:v>
                </c:pt>
                <c:pt idx="518">
                  <c:v>41823</c:v>
                </c:pt>
                <c:pt idx="519">
                  <c:v>41824</c:v>
                </c:pt>
                <c:pt idx="520">
                  <c:v>41827</c:v>
                </c:pt>
                <c:pt idx="521">
                  <c:v>41828</c:v>
                </c:pt>
                <c:pt idx="522">
                  <c:v>41829</c:v>
                </c:pt>
                <c:pt idx="523">
                  <c:v>41830</c:v>
                </c:pt>
                <c:pt idx="524">
                  <c:v>41831</c:v>
                </c:pt>
                <c:pt idx="525">
                  <c:v>41834</c:v>
                </c:pt>
                <c:pt idx="526">
                  <c:v>41835</c:v>
                </c:pt>
                <c:pt idx="527">
                  <c:v>41836</c:v>
                </c:pt>
                <c:pt idx="528">
                  <c:v>41837</c:v>
                </c:pt>
                <c:pt idx="529">
                  <c:v>41838</c:v>
                </c:pt>
                <c:pt idx="530">
                  <c:v>41841</c:v>
                </c:pt>
                <c:pt idx="531">
                  <c:v>41842</c:v>
                </c:pt>
                <c:pt idx="532">
                  <c:v>41843</c:v>
                </c:pt>
                <c:pt idx="533">
                  <c:v>41844</c:v>
                </c:pt>
                <c:pt idx="534">
                  <c:v>41845</c:v>
                </c:pt>
                <c:pt idx="535">
                  <c:v>41848</c:v>
                </c:pt>
                <c:pt idx="536">
                  <c:v>41849</c:v>
                </c:pt>
                <c:pt idx="537">
                  <c:v>41850</c:v>
                </c:pt>
                <c:pt idx="538">
                  <c:v>41851</c:v>
                </c:pt>
                <c:pt idx="539">
                  <c:v>41852</c:v>
                </c:pt>
                <c:pt idx="540">
                  <c:v>41855</c:v>
                </c:pt>
                <c:pt idx="541">
                  <c:v>41856</c:v>
                </c:pt>
                <c:pt idx="542">
                  <c:v>41857</c:v>
                </c:pt>
                <c:pt idx="543">
                  <c:v>41858</c:v>
                </c:pt>
                <c:pt idx="544">
                  <c:v>41859</c:v>
                </c:pt>
                <c:pt idx="545">
                  <c:v>41862</c:v>
                </c:pt>
                <c:pt idx="546">
                  <c:v>41863</c:v>
                </c:pt>
                <c:pt idx="547">
                  <c:v>41864</c:v>
                </c:pt>
                <c:pt idx="548">
                  <c:v>41865</c:v>
                </c:pt>
                <c:pt idx="549">
                  <c:v>41866</c:v>
                </c:pt>
                <c:pt idx="550">
                  <c:v>41869</c:v>
                </c:pt>
                <c:pt idx="551">
                  <c:v>41870</c:v>
                </c:pt>
                <c:pt idx="552">
                  <c:v>41871</c:v>
                </c:pt>
                <c:pt idx="553">
                  <c:v>41872</c:v>
                </c:pt>
                <c:pt idx="554">
                  <c:v>41873</c:v>
                </c:pt>
                <c:pt idx="555">
                  <c:v>41876</c:v>
                </c:pt>
                <c:pt idx="556">
                  <c:v>41877</c:v>
                </c:pt>
                <c:pt idx="557">
                  <c:v>41878</c:v>
                </c:pt>
                <c:pt idx="558">
                  <c:v>41879</c:v>
                </c:pt>
                <c:pt idx="559">
                  <c:v>41880</c:v>
                </c:pt>
                <c:pt idx="560">
                  <c:v>41883</c:v>
                </c:pt>
                <c:pt idx="561">
                  <c:v>41884</c:v>
                </c:pt>
                <c:pt idx="562">
                  <c:v>41885</c:v>
                </c:pt>
                <c:pt idx="563">
                  <c:v>41886</c:v>
                </c:pt>
                <c:pt idx="564">
                  <c:v>41887</c:v>
                </c:pt>
                <c:pt idx="565">
                  <c:v>41890</c:v>
                </c:pt>
                <c:pt idx="566">
                  <c:v>41891</c:v>
                </c:pt>
                <c:pt idx="567">
                  <c:v>41892</c:v>
                </c:pt>
                <c:pt idx="568">
                  <c:v>41893</c:v>
                </c:pt>
                <c:pt idx="569">
                  <c:v>41894</c:v>
                </c:pt>
                <c:pt idx="570">
                  <c:v>41897</c:v>
                </c:pt>
                <c:pt idx="571">
                  <c:v>41898</c:v>
                </c:pt>
                <c:pt idx="572">
                  <c:v>41899</c:v>
                </c:pt>
                <c:pt idx="573">
                  <c:v>41900</c:v>
                </c:pt>
                <c:pt idx="574">
                  <c:v>41901</c:v>
                </c:pt>
                <c:pt idx="575">
                  <c:v>41904</c:v>
                </c:pt>
                <c:pt idx="576">
                  <c:v>41905</c:v>
                </c:pt>
                <c:pt idx="577">
                  <c:v>41906</c:v>
                </c:pt>
                <c:pt idx="578">
                  <c:v>41907</c:v>
                </c:pt>
                <c:pt idx="579">
                  <c:v>41908</c:v>
                </c:pt>
                <c:pt idx="580">
                  <c:v>41911</c:v>
                </c:pt>
                <c:pt idx="581">
                  <c:v>41912</c:v>
                </c:pt>
                <c:pt idx="582">
                  <c:v>41913</c:v>
                </c:pt>
                <c:pt idx="583">
                  <c:v>41914</c:v>
                </c:pt>
                <c:pt idx="584">
                  <c:v>41915</c:v>
                </c:pt>
                <c:pt idx="585">
                  <c:v>41918</c:v>
                </c:pt>
                <c:pt idx="586">
                  <c:v>41919</c:v>
                </c:pt>
                <c:pt idx="587">
                  <c:v>41920</c:v>
                </c:pt>
                <c:pt idx="588">
                  <c:v>41921</c:v>
                </c:pt>
                <c:pt idx="589">
                  <c:v>41922</c:v>
                </c:pt>
                <c:pt idx="590">
                  <c:v>41925</c:v>
                </c:pt>
                <c:pt idx="591">
                  <c:v>41926</c:v>
                </c:pt>
                <c:pt idx="592">
                  <c:v>41927</c:v>
                </c:pt>
                <c:pt idx="593">
                  <c:v>41928</c:v>
                </c:pt>
                <c:pt idx="594">
                  <c:v>41929</c:v>
                </c:pt>
                <c:pt idx="595">
                  <c:v>41932</c:v>
                </c:pt>
                <c:pt idx="596">
                  <c:v>41933</c:v>
                </c:pt>
                <c:pt idx="597">
                  <c:v>41934</c:v>
                </c:pt>
                <c:pt idx="598">
                  <c:v>41935</c:v>
                </c:pt>
                <c:pt idx="599">
                  <c:v>41936</c:v>
                </c:pt>
                <c:pt idx="600">
                  <c:v>41939</c:v>
                </c:pt>
                <c:pt idx="601">
                  <c:v>41940</c:v>
                </c:pt>
                <c:pt idx="602">
                  <c:v>41941</c:v>
                </c:pt>
                <c:pt idx="603">
                  <c:v>41942</c:v>
                </c:pt>
                <c:pt idx="604">
                  <c:v>41943</c:v>
                </c:pt>
                <c:pt idx="605">
                  <c:v>41946</c:v>
                </c:pt>
                <c:pt idx="606">
                  <c:v>41947</c:v>
                </c:pt>
                <c:pt idx="607">
                  <c:v>41948</c:v>
                </c:pt>
                <c:pt idx="608">
                  <c:v>41949</c:v>
                </c:pt>
                <c:pt idx="609">
                  <c:v>41950</c:v>
                </c:pt>
                <c:pt idx="610">
                  <c:v>41953</c:v>
                </c:pt>
                <c:pt idx="611">
                  <c:v>41954</c:v>
                </c:pt>
                <c:pt idx="612">
                  <c:v>41955</c:v>
                </c:pt>
                <c:pt idx="613">
                  <c:v>41956</c:v>
                </c:pt>
                <c:pt idx="614">
                  <c:v>41957</c:v>
                </c:pt>
                <c:pt idx="615">
                  <c:v>41960</c:v>
                </c:pt>
                <c:pt idx="616">
                  <c:v>41961</c:v>
                </c:pt>
                <c:pt idx="617">
                  <c:v>41962</c:v>
                </c:pt>
                <c:pt idx="618">
                  <c:v>41963</c:v>
                </c:pt>
                <c:pt idx="619">
                  <c:v>41964</c:v>
                </c:pt>
                <c:pt idx="620">
                  <c:v>41967</c:v>
                </c:pt>
                <c:pt idx="621">
                  <c:v>41968</c:v>
                </c:pt>
                <c:pt idx="622">
                  <c:v>41969</c:v>
                </c:pt>
                <c:pt idx="623">
                  <c:v>41970</c:v>
                </c:pt>
                <c:pt idx="624">
                  <c:v>41971</c:v>
                </c:pt>
                <c:pt idx="625">
                  <c:v>41974</c:v>
                </c:pt>
                <c:pt idx="626">
                  <c:v>41975</c:v>
                </c:pt>
                <c:pt idx="627">
                  <c:v>41976</c:v>
                </c:pt>
                <c:pt idx="628">
                  <c:v>41977</c:v>
                </c:pt>
                <c:pt idx="629">
                  <c:v>41978</c:v>
                </c:pt>
                <c:pt idx="630">
                  <c:v>41981</c:v>
                </c:pt>
                <c:pt idx="631">
                  <c:v>41982</c:v>
                </c:pt>
                <c:pt idx="632">
                  <c:v>41983</c:v>
                </c:pt>
                <c:pt idx="633">
                  <c:v>41984</c:v>
                </c:pt>
                <c:pt idx="634">
                  <c:v>41985</c:v>
                </c:pt>
                <c:pt idx="635">
                  <c:v>41988</c:v>
                </c:pt>
                <c:pt idx="636">
                  <c:v>41989</c:v>
                </c:pt>
                <c:pt idx="637">
                  <c:v>41990</c:v>
                </c:pt>
                <c:pt idx="638">
                  <c:v>41991</c:v>
                </c:pt>
                <c:pt idx="639">
                  <c:v>41992</c:v>
                </c:pt>
                <c:pt idx="640">
                  <c:v>41995</c:v>
                </c:pt>
                <c:pt idx="641">
                  <c:v>41996</c:v>
                </c:pt>
                <c:pt idx="642">
                  <c:v>41997</c:v>
                </c:pt>
                <c:pt idx="643">
                  <c:v>41998</c:v>
                </c:pt>
                <c:pt idx="644">
                  <c:v>41999</c:v>
                </c:pt>
                <c:pt idx="645">
                  <c:v>42002</c:v>
                </c:pt>
                <c:pt idx="646">
                  <c:v>42003</c:v>
                </c:pt>
                <c:pt idx="647">
                  <c:v>42004</c:v>
                </c:pt>
                <c:pt idx="648">
                  <c:v>42005</c:v>
                </c:pt>
                <c:pt idx="649">
                  <c:v>42006</c:v>
                </c:pt>
                <c:pt idx="650">
                  <c:v>42009</c:v>
                </c:pt>
                <c:pt idx="651">
                  <c:v>42010</c:v>
                </c:pt>
                <c:pt idx="652">
                  <c:v>42011</c:v>
                </c:pt>
                <c:pt idx="653">
                  <c:v>42012</c:v>
                </c:pt>
                <c:pt idx="654">
                  <c:v>42013</c:v>
                </c:pt>
                <c:pt idx="655">
                  <c:v>42016</c:v>
                </c:pt>
                <c:pt idx="656">
                  <c:v>42017</c:v>
                </c:pt>
                <c:pt idx="657">
                  <c:v>42018</c:v>
                </c:pt>
                <c:pt idx="658">
                  <c:v>42019</c:v>
                </c:pt>
                <c:pt idx="659">
                  <c:v>42020</c:v>
                </c:pt>
                <c:pt idx="660">
                  <c:v>42023</c:v>
                </c:pt>
                <c:pt idx="661">
                  <c:v>42024</c:v>
                </c:pt>
                <c:pt idx="662">
                  <c:v>42025</c:v>
                </c:pt>
                <c:pt idx="663">
                  <c:v>42026</c:v>
                </c:pt>
                <c:pt idx="664">
                  <c:v>42027</c:v>
                </c:pt>
                <c:pt idx="665">
                  <c:v>42030</c:v>
                </c:pt>
                <c:pt idx="666">
                  <c:v>42031</c:v>
                </c:pt>
                <c:pt idx="667">
                  <c:v>42032</c:v>
                </c:pt>
                <c:pt idx="668">
                  <c:v>42033</c:v>
                </c:pt>
                <c:pt idx="669">
                  <c:v>42034</c:v>
                </c:pt>
                <c:pt idx="670">
                  <c:v>42037</c:v>
                </c:pt>
                <c:pt idx="671">
                  <c:v>42038</c:v>
                </c:pt>
                <c:pt idx="672">
                  <c:v>42039</c:v>
                </c:pt>
                <c:pt idx="673">
                  <c:v>42040</c:v>
                </c:pt>
                <c:pt idx="674">
                  <c:v>42041</c:v>
                </c:pt>
                <c:pt idx="675">
                  <c:v>42044</c:v>
                </c:pt>
                <c:pt idx="676">
                  <c:v>42045</c:v>
                </c:pt>
                <c:pt idx="677">
                  <c:v>42046</c:v>
                </c:pt>
                <c:pt idx="678">
                  <c:v>42047</c:v>
                </c:pt>
                <c:pt idx="679">
                  <c:v>42048</c:v>
                </c:pt>
                <c:pt idx="680">
                  <c:v>42051</c:v>
                </c:pt>
                <c:pt idx="681">
                  <c:v>42052</c:v>
                </c:pt>
                <c:pt idx="682">
                  <c:v>42053</c:v>
                </c:pt>
                <c:pt idx="683">
                  <c:v>42054</c:v>
                </c:pt>
                <c:pt idx="684">
                  <c:v>42055</c:v>
                </c:pt>
                <c:pt idx="685">
                  <c:v>42058</c:v>
                </c:pt>
                <c:pt idx="686">
                  <c:v>42059</c:v>
                </c:pt>
                <c:pt idx="687">
                  <c:v>42060</c:v>
                </c:pt>
                <c:pt idx="688">
                  <c:v>42061</c:v>
                </c:pt>
                <c:pt idx="689">
                  <c:v>42062</c:v>
                </c:pt>
                <c:pt idx="690">
                  <c:v>42065</c:v>
                </c:pt>
                <c:pt idx="691">
                  <c:v>42066</c:v>
                </c:pt>
                <c:pt idx="692">
                  <c:v>42067</c:v>
                </c:pt>
                <c:pt idx="693">
                  <c:v>42068</c:v>
                </c:pt>
                <c:pt idx="694">
                  <c:v>42069</c:v>
                </c:pt>
                <c:pt idx="695">
                  <c:v>42072</c:v>
                </c:pt>
                <c:pt idx="696">
                  <c:v>42073</c:v>
                </c:pt>
                <c:pt idx="697">
                  <c:v>42074</c:v>
                </c:pt>
                <c:pt idx="698">
                  <c:v>42075</c:v>
                </c:pt>
                <c:pt idx="699">
                  <c:v>42076</c:v>
                </c:pt>
                <c:pt idx="700">
                  <c:v>42079</c:v>
                </c:pt>
                <c:pt idx="701">
                  <c:v>42080</c:v>
                </c:pt>
                <c:pt idx="702">
                  <c:v>42081</c:v>
                </c:pt>
                <c:pt idx="703">
                  <c:v>42082</c:v>
                </c:pt>
                <c:pt idx="704">
                  <c:v>42083</c:v>
                </c:pt>
                <c:pt idx="705">
                  <c:v>42086</c:v>
                </c:pt>
                <c:pt idx="706">
                  <c:v>42087</c:v>
                </c:pt>
                <c:pt idx="707">
                  <c:v>42088</c:v>
                </c:pt>
                <c:pt idx="708">
                  <c:v>42089</c:v>
                </c:pt>
                <c:pt idx="709">
                  <c:v>42090</c:v>
                </c:pt>
                <c:pt idx="710">
                  <c:v>42093</c:v>
                </c:pt>
                <c:pt idx="711">
                  <c:v>42094</c:v>
                </c:pt>
                <c:pt idx="712">
                  <c:v>42095</c:v>
                </c:pt>
                <c:pt idx="713">
                  <c:v>42096</c:v>
                </c:pt>
                <c:pt idx="714">
                  <c:v>42097</c:v>
                </c:pt>
                <c:pt idx="715">
                  <c:v>42100</c:v>
                </c:pt>
                <c:pt idx="716">
                  <c:v>42101</c:v>
                </c:pt>
                <c:pt idx="717">
                  <c:v>42102</c:v>
                </c:pt>
                <c:pt idx="718">
                  <c:v>42103</c:v>
                </c:pt>
                <c:pt idx="719">
                  <c:v>42104</c:v>
                </c:pt>
                <c:pt idx="720">
                  <c:v>42107</c:v>
                </c:pt>
                <c:pt idx="721">
                  <c:v>42108</c:v>
                </c:pt>
                <c:pt idx="722">
                  <c:v>42109</c:v>
                </c:pt>
                <c:pt idx="723">
                  <c:v>42110</c:v>
                </c:pt>
                <c:pt idx="724">
                  <c:v>42111</c:v>
                </c:pt>
                <c:pt idx="725">
                  <c:v>42114</c:v>
                </c:pt>
                <c:pt idx="726">
                  <c:v>42115</c:v>
                </c:pt>
                <c:pt idx="727">
                  <c:v>42116</c:v>
                </c:pt>
                <c:pt idx="728">
                  <c:v>42117</c:v>
                </c:pt>
                <c:pt idx="729">
                  <c:v>42118</c:v>
                </c:pt>
                <c:pt idx="730">
                  <c:v>42121</c:v>
                </c:pt>
                <c:pt idx="731">
                  <c:v>42122</c:v>
                </c:pt>
                <c:pt idx="732">
                  <c:v>42123</c:v>
                </c:pt>
                <c:pt idx="733">
                  <c:v>42124</c:v>
                </c:pt>
                <c:pt idx="734">
                  <c:v>42125</c:v>
                </c:pt>
                <c:pt idx="735">
                  <c:v>42128</c:v>
                </c:pt>
                <c:pt idx="736">
                  <c:v>42129</c:v>
                </c:pt>
                <c:pt idx="737">
                  <c:v>42130</c:v>
                </c:pt>
                <c:pt idx="738">
                  <c:v>42131</c:v>
                </c:pt>
                <c:pt idx="739">
                  <c:v>42132</c:v>
                </c:pt>
                <c:pt idx="740">
                  <c:v>42135</c:v>
                </c:pt>
                <c:pt idx="741">
                  <c:v>42136</c:v>
                </c:pt>
                <c:pt idx="742">
                  <c:v>42137</c:v>
                </c:pt>
                <c:pt idx="743">
                  <c:v>42138</c:v>
                </c:pt>
                <c:pt idx="744">
                  <c:v>42139</c:v>
                </c:pt>
                <c:pt idx="745">
                  <c:v>42142</c:v>
                </c:pt>
                <c:pt idx="746">
                  <c:v>42143</c:v>
                </c:pt>
                <c:pt idx="747">
                  <c:v>42144</c:v>
                </c:pt>
                <c:pt idx="748">
                  <c:v>42145</c:v>
                </c:pt>
                <c:pt idx="749">
                  <c:v>42146</c:v>
                </c:pt>
                <c:pt idx="750">
                  <c:v>42149</c:v>
                </c:pt>
                <c:pt idx="751">
                  <c:v>42150</c:v>
                </c:pt>
                <c:pt idx="752">
                  <c:v>42151</c:v>
                </c:pt>
                <c:pt idx="753">
                  <c:v>42152</c:v>
                </c:pt>
                <c:pt idx="754">
                  <c:v>42153</c:v>
                </c:pt>
                <c:pt idx="755">
                  <c:v>42156</c:v>
                </c:pt>
                <c:pt idx="756">
                  <c:v>42157</c:v>
                </c:pt>
                <c:pt idx="757">
                  <c:v>42158</c:v>
                </c:pt>
                <c:pt idx="758">
                  <c:v>42159</c:v>
                </c:pt>
                <c:pt idx="759">
                  <c:v>42160</c:v>
                </c:pt>
                <c:pt idx="760">
                  <c:v>42163</c:v>
                </c:pt>
                <c:pt idx="761">
                  <c:v>42164</c:v>
                </c:pt>
                <c:pt idx="762">
                  <c:v>42165</c:v>
                </c:pt>
                <c:pt idx="763">
                  <c:v>42166</c:v>
                </c:pt>
                <c:pt idx="764">
                  <c:v>42167</c:v>
                </c:pt>
                <c:pt idx="765">
                  <c:v>42170</c:v>
                </c:pt>
                <c:pt idx="766">
                  <c:v>42171</c:v>
                </c:pt>
                <c:pt idx="767">
                  <c:v>42172</c:v>
                </c:pt>
                <c:pt idx="768">
                  <c:v>42173</c:v>
                </c:pt>
                <c:pt idx="769">
                  <c:v>42174</c:v>
                </c:pt>
                <c:pt idx="770">
                  <c:v>42177</c:v>
                </c:pt>
                <c:pt idx="771">
                  <c:v>42178</c:v>
                </c:pt>
                <c:pt idx="772">
                  <c:v>42179</c:v>
                </c:pt>
                <c:pt idx="773">
                  <c:v>42180</c:v>
                </c:pt>
                <c:pt idx="774">
                  <c:v>42181</c:v>
                </c:pt>
                <c:pt idx="775">
                  <c:v>42184</c:v>
                </c:pt>
                <c:pt idx="776">
                  <c:v>42185</c:v>
                </c:pt>
                <c:pt idx="777">
                  <c:v>42186</c:v>
                </c:pt>
                <c:pt idx="778">
                  <c:v>42187</c:v>
                </c:pt>
                <c:pt idx="779">
                  <c:v>42188</c:v>
                </c:pt>
                <c:pt idx="780">
                  <c:v>42191</c:v>
                </c:pt>
                <c:pt idx="781">
                  <c:v>42192</c:v>
                </c:pt>
                <c:pt idx="782">
                  <c:v>42193</c:v>
                </c:pt>
                <c:pt idx="783">
                  <c:v>42194</c:v>
                </c:pt>
                <c:pt idx="784">
                  <c:v>42195</c:v>
                </c:pt>
                <c:pt idx="785">
                  <c:v>42198</c:v>
                </c:pt>
                <c:pt idx="786">
                  <c:v>42199</c:v>
                </c:pt>
                <c:pt idx="787">
                  <c:v>42200</c:v>
                </c:pt>
                <c:pt idx="788">
                  <c:v>42201</c:v>
                </c:pt>
                <c:pt idx="789">
                  <c:v>42202</c:v>
                </c:pt>
                <c:pt idx="790">
                  <c:v>42205</c:v>
                </c:pt>
                <c:pt idx="791">
                  <c:v>42206</c:v>
                </c:pt>
                <c:pt idx="792">
                  <c:v>42207</c:v>
                </c:pt>
                <c:pt idx="793">
                  <c:v>42208</c:v>
                </c:pt>
                <c:pt idx="794">
                  <c:v>42209</c:v>
                </c:pt>
                <c:pt idx="795">
                  <c:v>42212</c:v>
                </c:pt>
                <c:pt idx="796">
                  <c:v>42213</c:v>
                </c:pt>
                <c:pt idx="797">
                  <c:v>42214</c:v>
                </c:pt>
                <c:pt idx="798">
                  <c:v>42215</c:v>
                </c:pt>
                <c:pt idx="799">
                  <c:v>42216</c:v>
                </c:pt>
                <c:pt idx="800">
                  <c:v>42219</c:v>
                </c:pt>
                <c:pt idx="801">
                  <c:v>42220</c:v>
                </c:pt>
                <c:pt idx="802">
                  <c:v>42221</c:v>
                </c:pt>
                <c:pt idx="803">
                  <c:v>42222</c:v>
                </c:pt>
                <c:pt idx="804">
                  <c:v>42223</c:v>
                </c:pt>
                <c:pt idx="805">
                  <c:v>42226</c:v>
                </c:pt>
                <c:pt idx="806">
                  <c:v>42227</c:v>
                </c:pt>
                <c:pt idx="807">
                  <c:v>42228</c:v>
                </c:pt>
                <c:pt idx="808">
                  <c:v>42229</c:v>
                </c:pt>
                <c:pt idx="809">
                  <c:v>42230</c:v>
                </c:pt>
                <c:pt idx="810">
                  <c:v>42233</c:v>
                </c:pt>
                <c:pt idx="811">
                  <c:v>42234</c:v>
                </c:pt>
                <c:pt idx="812">
                  <c:v>42235</c:v>
                </c:pt>
                <c:pt idx="813">
                  <c:v>42236</c:v>
                </c:pt>
                <c:pt idx="814">
                  <c:v>42237</c:v>
                </c:pt>
                <c:pt idx="815">
                  <c:v>42240</c:v>
                </c:pt>
                <c:pt idx="816">
                  <c:v>42241</c:v>
                </c:pt>
                <c:pt idx="817">
                  <c:v>42242</c:v>
                </c:pt>
                <c:pt idx="818">
                  <c:v>42243</c:v>
                </c:pt>
                <c:pt idx="819">
                  <c:v>42244</c:v>
                </c:pt>
                <c:pt idx="820">
                  <c:v>42247</c:v>
                </c:pt>
                <c:pt idx="821">
                  <c:v>42248</c:v>
                </c:pt>
                <c:pt idx="822">
                  <c:v>42249</c:v>
                </c:pt>
                <c:pt idx="823">
                  <c:v>42250</c:v>
                </c:pt>
                <c:pt idx="824">
                  <c:v>42251</c:v>
                </c:pt>
                <c:pt idx="825">
                  <c:v>42254</c:v>
                </c:pt>
                <c:pt idx="826">
                  <c:v>42255</c:v>
                </c:pt>
                <c:pt idx="827">
                  <c:v>42256</c:v>
                </c:pt>
                <c:pt idx="828">
                  <c:v>42257</c:v>
                </c:pt>
                <c:pt idx="829">
                  <c:v>42258</c:v>
                </c:pt>
                <c:pt idx="830">
                  <c:v>42261</c:v>
                </c:pt>
                <c:pt idx="831">
                  <c:v>42262</c:v>
                </c:pt>
                <c:pt idx="832">
                  <c:v>42263</c:v>
                </c:pt>
                <c:pt idx="833">
                  <c:v>42264</c:v>
                </c:pt>
                <c:pt idx="834">
                  <c:v>42265</c:v>
                </c:pt>
                <c:pt idx="835">
                  <c:v>42268</c:v>
                </c:pt>
                <c:pt idx="836">
                  <c:v>42269</c:v>
                </c:pt>
                <c:pt idx="837">
                  <c:v>42270</c:v>
                </c:pt>
                <c:pt idx="838">
                  <c:v>42271</c:v>
                </c:pt>
                <c:pt idx="839">
                  <c:v>42272</c:v>
                </c:pt>
                <c:pt idx="840">
                  <c:v>42275</c:v>
                </c:pt>
                <c:pt idx="841">
                  <c:v>42276</c:v>
                </c:pt>
                <c:pt idx="842">
                  <c:v>42277</c:v>
                </c:pt>
                <c:pt idx="843">
                  <c:v>42278</c:v>
                </c:pt>
                <c:pt idx="844">
                  <c:v>42279</c:v>
                </c:pt>
                <c:pt idx="845">
                  <c:v>42282</c:v>
                </c:pt>
                <c:pt idx="846">
                  <c:v>42283</c:v>
                </c:pt>
                <c:pt idx="847">
                  <c:v>42284</c:v>
                </c:pt>
                <c:pt idx="848">
                  <c:v>42285</c:v>
                </c:pt>
                <c:pt idx="849">
                  <c:v>42286</c:v>
                </c:pt>
                <c:pt idx="850">
                  <c:v>42289</c:v>
                </c:pt>
                <c:pt idx="851">
                  <c:v>42290</c:v>
                </c:pt>
                <c:pt idx="852">
                  <c:v>42291</c:v>
                </c:pt>
                <c:pt idx="853">
                  <c:v>42292</c:v>
                </c:pt>
                <c:pt idx="854">
                  <c:v>42293</c:v>
                </c:pt>
                <c:pt idx="855">
                  <c:v>42296</c:v>
                </c:pt>
                <c:pt idx="856">
                  <c:v>42297</c:v>
                </c:pt>
                <c:pt idx="857">
                  <c:v>42298</c:v>
                </c:pt>
                <c:pt idx="858">
                  <c:v>42299</c:v>
                </c:pt>
                <c:pt idx="859">
                  <c:v>42300</c:v>
                </c:pt>
                <c:pt idx="860">
                  <c:v>42303</c:v>
                </c:pt>
                <c:pt idx="861">
                  <c:v>42304</c:v>
                </c:pt>
                <c:pt idx="862">
                  <c:v>42305</c:v>
                </c:pt>
                <c:pt idx="863">
                  <c:v>42306</c:v>
                </c:pt>
                <c:pt idx="864">
                  <c:v>42307</c:v>
                </c:pt>
                <c:pt idx="865">
                  <c:v>42310</c:v>
                </c:pt>
                <c:pt idx="866">
                  <c:v>42311</c:v>
                </c:pt>
                <c:pt idx="867">
                  <c:v>42312</c:v>
                </c:pt>
                <c:pt idx="868">
                  <c:v>42313</c:v>
                </c:pt>
                <c:pt idx="869">
                  <c:v>42314</c:v>
                </c:pt>
                <c:pt idx="870">
                  <c:v>42317</c:v>
                </c:pt>
                <c:pt idx="871">
                  <c:v>42318</c:v>
                </c:pt>
                <c:pt idx="872">
                  <c:v>42319</c:v>
                </c:pt>
                <c:pt idx="873">
                  <c:v>42320</c:v>
                </c:pt>
                <c:pt idx="874">
                  <c:v>42321</c:v>
                </c:pt>
                <c:pt idx="875">
                  <c:v>42324</c:v>
                </c:pt>
                <c:pt idx="876">
                  <c:v>42325</c:v>
                </c:pt>
                <c:pt idx="877">
                  <c:v>42326</c:v>
                </c:pt>
                <c:pt idx="878">
                  <c:v>42327</c:v>
                </c:pt>
                <c:pt idx="879">
                  <c:v>42328</c:v>
                </c:pt>
                <c:pt idx="880">
                  <c:v>42331</c:v>
                </c:pt>
                <c:pt idx="881">
                  <c:v>42332</c:v>
                </c:pt>
                <c:pt idx="882">
                  <c:v>42333</c:v>
                </c:pt>
                <c:pt idx="883">
                  <c:v>42334</c:v>
                </c:pt>
                <c:pt idx="884">
                  <c:v>42335</c:v>
                </c:pt>
                <c:pt idx="885">
                  <c:v>42338</c:v>
                </c:pt>
                <c:pt idx="886">
                  <c:v>42339</c:v>
                </c:pt>
                <c:pt idx="887">
                  <c:v>42340</c:v>
                </c:pt>
                <c:pt idx="888">
                  <c:v>42341</c:v>
                </c:pt>
                <c:pt idx="889">
                  <c:v>42342</c:v>
                </c:pt>
                <c:pt idx="890">
                  <c:v>42345</c:v>
                </c:pt>
                <c:pt idx="891">
                  <c:v>42346</c:v>
                </c:pt>
                <c:pt idx="892">
                  <c:v>42347</c:v>
                </c:pt>
                <c:pt idx="893">
                  <c:v>42348</c:v>
                </c:pt>
                <c:pt idx="894">
                  <c:v>42349</c:v>
                </c:pt>
                <c:pt idx="895">
                  <c:v>42352</c:v>
                </c:pt>
                <c:pt idx="896">
                  <c:v>42353</c:v>
                </c:pt>
                <c:pt idx="897">
                  <c:v>42354</c:v>
                </c:pt>
                <c:pt idx="898">
                  <c:v>42355</c:v>
                </c:pt>
                <c:pt idx="899">
                  <c:v>42356</c:v>
                </c:pt>
                <c:pt idx="900">
                  <c:v>42359</c:v>
                </c:pt>
                <c:pt idx="901">
                  <c:v>42360</c:v>
                </c:pt>
                <c:pt idx="902">
                  <c:v>42361</c:v>
                </c:pt>
                <c:pt idx="903">
                  <c:v>42362</c:v>
                </c:pt>
                <c:pt idx="904">
                  <c:v>42363</c:v>
                </c:pt>
                <c:pt idx="905">
                  <c:v>42366</c:v>
                </c:pt>
                <c:pt idx="906">
                  <c:v>42367</c:v>
                </c:pt>
                <c:pt idx="907">
                  <c:v>42368</c:v>
                </c:pt>
                <c:pt idx="908">
                  <c:v>42369</c:v>
                </c:pt>
                <c:pt idx="909">
                  <c:v>42370</c:v>
                </c:pt>
                <c:pt idx="910">
                  <c:v>42373</c:v>
                </c:pt>
                <c:pt idx="911">
                  <c:v>42374</c:v>
                </c:pt>
                <c:pt idx="912">
                  <c:v>42375</c:v>
                </c:pt>
                <c:pt idx="913">
                  <c:v>42376</c:v>
                </c:pt>
                <c:pt idx="914">
                  <c:v>42377</c:v>
                </c:pt>
                <c:pt idx="915">
                  <c:v>42380</c:v>
                </c:pt>
                <c:pt idx="916">
                  <c:v>42381</c:v>
                </c:pt>
                <c:pt idx="917">
                  <c:v>42382</c:v>
                </c:pt>
                <c:pt idx="918">
                  <c:v>42383</c:v>
                </c:pt>
                <c:pt idx="919">
                  <c:v>42384</c:v>
                </c:pt>
                <c:pt idx="920">
                  <c:v>42387</c:v>
                </c:pt>
                <c:pt idx="921">
                  <c:v>42388</c:v>
                </c:pt>
                <c:pt idx="922">
                  <c:v>42389</c:v>
                </c:pt>
                <c:pt idx="923">
                  <c:v>42390</c:v>
                </c:pt>
                <c:pt idx="924">
                  <c:v>42391</c:v>
                </c:pt>
                <c:pt idx="925">
                  <c:v>42394</c:v>
                </c:pt>
                <c:pt idx="926">
                  <c:v>42395</c:v>
                </c:pt>
                <c:pt idx="927">
                  <c:v>42396</c:v>
                </c:pt>
                <c:pt idx="928">
                  <c:v>42397</c:v>
                </c:pt>
                <c:pt idx="929">
                  <c:v>42398</c:v>
                </c:pt>
                <c:pt idx="930">
                  <c:v>42401</c:v>
                </c:pt>
                <c:pt idx="931">
                  <c:v>42402</c:v>
                </c:pt>
                <c:pt idx="932">
                  <c:v>42403</c:v>
                </c:pt>
                <c:pt idx="933">
                  <c:v>42404</c:v>
                </c:pt>
                <c:pt idx="934">
                  <c:v>42405</c:v>
                </c:pt>
                <c:pt idx="935">
                  <c:v>42408</c:v>
                </c:pt>
                <c:pt idx="936">
                  <c:v>42409</c:v>
                </c:pt>
                <c:pt idx="937">
                  <c:v>42410</c:v>
                </c:pt>
                <c:pt idx="938">
                  <c:v>42411</c:v>
                </c:pt>
                <c:pt idx="939">
                  <c:v>42412</c:v>
                </c:pt>
                <c:pt idx="940">
                  <c:v>42415</c:v>
                </c:pt>
                <c:pt idx="941">
                  <c:v>42416</c:v>
                </c:pt>
                <c:pt idx="942">
                  <c:v>42417</c:v>
                </c:pt>
                <c:pt idx="943">
                  <c:v>42418</c:v>
                </c:pt>
                <c:pt idx="944">
                  <c:v>42419</c:v>
                </c:pt>
                <c:pt idx="945">
                  <c:v>42422</c:v>
                </c:pt>
                <c:pt idx="946">
                  <c:v>42423</c:v>
                </c:pt>
                <c:pt idx="947">
                  <c:v>42424</c:v>
                </c:pt>
                <c:pt idx="948">
                  <c:v>42425</c:v>
                </c:pt>
                <c:pt idx="949">
                  <c:v>42426</c:v>
                </c:pt>
                <c:pt idx="950">
                  <c:v>42429</c:v>
                </c:pt>
                <c:pt idx="951">
                  <c:v>42430</c:v>
                </c:pt>
                <c:pt idx="952">
                  <c:v>42431</c:v>
                </c:pt>
                <c:pt idx="953">
                  <c:v>42432</c:v>
                </c:pt>
                <c:pt idx="954">
                  <c:v>42433</c:v>
                </c:pt>
                <c:pt idx="955">
                  <c:v>42436</c:v>
                </c:pt>
                <c:pt idx="956">
                  <c:v>42437</c:v>
                </c:pt>
                <c:pt idx="957">
                  <c:v>42438</c:v>
                </c:pt>
                <c:pt idx="958">
                  <c:v>42439</c:v>
                </c:pt>
                <c:pt idx="959">
                  <c:v>42440</c:v>
                </c:pt>
                <c:pt idx="960">
                  <c:v>42443</c:v>
                </c:pt>
                <c:pt idx="961">
                  <c:v>42444</c:v>
                </c:pt>
                <c:pt idx="962">
                  <c:v>42445</c:v>
                </c:pt>
                <c:pt idx="963">
                  <c:v>42446</c:v>
                </c:pt>
                <c:pt idx="964">
                  <c:v>42447</c:v>
                </c:pt>
                <c:pt idx="965">
                  <c:v>42450</c:v>
                </c:pt>
                <c:pt idx="966">
                  <c:v>42451</c:v>
                </c:pt>
                <c:pt idx="967">
                  <c:v>42452</c:v>
                </c:pt>
                <c:pt idx="968">
                  <c:v>42453</c:v>
                </c:pt>
                <c:pt idx="969">
                  <c:v>42454</c:v>
                </c:pt>
                <c:pt idx="970">
                  <c:v>42457</c:v>
                </c:pt>
                <c:pt idx="971">
                  <c:v>42458</c:v>
                </c:pt>
                <c:pt idx="972">
                  <c:v>42459</c:v>
                </c:pt>
                <c:pt idx="973">
                  <c:v>42460</c:v>
                </c:pt>
                <c:pt idx="974">
                  <c:v>42461</c:v>
                </c:pt>
                <c:pt idx="975">
                  <c:v>42464</c:v>
                </c:pt>
                <c:pt idx="976">
                  <c:v>42465</c:v>
                </c:pt>
                <c:pt idx="977">
                  <c:v>42466</c:v>
                </c:pt>
                <c:pt idx="978">
                  <c:v>42467</c:v>
                </c:pt>
                <c:pt idx="979">
                  <c:v>42468</c:v>
                </c:pt>
                <c:pt idx="980">
                  <c:v>42471</c:v>
                </c:pt>
                <c:pt idx="981">
                  <c:v>42472</c:v>
                </c:pt>
                <c:pt idx="982">
                  <c:v>42473</c:v>
                </c:pt>
                <c:pt idx="983">
                  <c:v>42474</c:v>
                </c:pt>
                <c:pt idx="984">
                  <c:v>42475</c:v>
                </c:pt>
                <c:pt idx="985">
                  <c:v>42478</c:v>
                </c:pt>
                <c:pt idx="986">
                  <c:v>42479</c:v>
                </c:pt>
                <c:pt idx="987">
                  <c:v>42480</c:v>
                </c:pt>
                <c:pt idx="988">
                  <c:v>42481</c:v>
                </c:pt>
                <c:pt idx="989">
                  <c:v>42482</c:v>
                </c:pt>
                <c:pt idx="990">
                  <c:v>42485</c:v>
                </c:pt>
                <c:pt idx="991">
                  <c:v>42486</c:v>
                </c:pt>
                <c:pt idx="992">
                  <c:v>42487</c:v>
                </c:pt>
                <c:pt idx="993">
                  <c:v>42488</c:v>
                </c:pt>
                <c:pt idx="994">
                  <c:v>42489</c:v>
                </c:pt>
                <c:pt idx="995">
                  <c:v>42492</c:v>
                </c:pt>
                <c:pt idx="996">
                  <c:v>42493</c:v>
                </c:pt>
                <c:pt idx="997">
                  <c:v>42494</c:v>
                </c:pt>
                <c:pt idx="998">
                  <c:v>42495</c:v>
                </c:pt>
                <c:pt idx="999">
                  <c:v>42496</c:v>
                </c:pt>
                <c:pt idx="1000">
                  <c:v>42499</c:v>
                </c:pt>
                <c:pt idx="1001">
                  <c:v>42500</c:v>
                </c:pt>
                <c:pt idx="1002">
                  <c:v>42501</c:v>
                </c:pt>
                <c:pt idx="1003">
                  <c:v>42502</c:v>
                </c:pt>
                <c:pt idx="1004">
                  <c:v>42503</c:v>
                </c:pt>
                <c:pt idx="1005">
                  <c:v>42506</c:v>
                </c:pt>
                <c:pt idx="1006">
                  <c:v>42507</c:v>
                </c:pt>
                <c:pt idx="1007">
                  <c:v>42508</c:v>
                </c:pt>
                <c:pt idx="1008">
                  <c:v>42509</c:v>
                </c:pt>
                <c:pt idx="1009">
                  <c:v>42510</c:v>
                </c:pt>
                <c:pt idx="1010">
                  <c:v>42513</c:v>
                </c:pt>
                <c:pt idx="1011">
                  <c:v>42514</c:v>
                </c:pt>
                <c:pt idx="1012">
                  <c:v>42515</c:v>
                </c:pt>
                <c:pt idx="1013">
                  <c:v>42516</c:v>
                </c:pt>
                <c:pt idx="1014">
                  <c:v>42517</c:v>
                </c:pt>
                <c:pt idx="1015">
                  <c:v>42520</c:v>
                </c:pt>
                <c:pt idx="1016">
                  <c:v>42521</c:v>
                </c:pt>
                <c:pt idx="1017">
                  <c:v>42522</c:v>
                </c:pt>
                <c:pt idx="1018">
                  <c:v>42523</c:v>
                </c:pt>
                <c:pt idx="1019">
                  <c:v>42524</c:v>
                </c:pt>
                <c:pt idx="1020">
                  <c:v>42527</c:v>
                </c:pt>
                <c:pt idx="1021">
                  <c:v>42528</c:v>
                </c:pt>
                <c:pt idx="1022">
                  <c:v>42529</c:v>
                </c:pt>
                <c:pt idx="1023">
                  <c:v>42530</c:v>
                </c:pt>
                <c:pt idx="1024">
                  <c:v>42531</c:v>
                </c:pt>
                <c:pt idx="1025">
                  <c:v>42534</c:v>
                </c:pt>
                <c:pt idx="1026">
                  <c:v>42535</c:v>
                </c:pt>
                <c:pt idx="1027">
                  <c:v>42536</c:v>
                </c:pt>
                <c:pt idx="1028">
                  <c:v>42537</c:v>
                </c:pt>
                <c:pt idx="1029">
                  <c:v>42538</c:v>
                </c:pt>
                <c:pt idx="1030">
                  <c:v>42541</c:v>
                </c:pt>
                <c:pt idx="1031">
                  <c:v>42542</c:v>
                </c:pt>
                <c:pt idx="1032">
                  <c:v>42543</c:v>
                </c:pt>
                <c:pt idx="1033">
                  <c:v>42544</c:v>
                </c:pt>
                <c:pt idx="1034">
                  <c:v>42545</c:v>
                </c:pt>
                <c:pt idx="1035">
                  <c:v>42548</c:v>
                </c:pt>
                <c:pt idx="1036">
                  <c:v>42549</c:v>
                </c:pt>
                <c:pt idx="1037">
                  <c:v>42550</c:v>
                </c:pt>
                <c:pt idx="1038">
                  <c:v>42551</c:v>
                </c:pt>
                <c:pt idx="1039">
                  <c:v>42552</c:v>
                </c:pt>
                <c:pt idx="1040">
                  <c:v>42555</c:v>
                </c:pt>
                <c:pt idx="1041">
                  <c:v>42556</c:v>
                </c:pt>
                <c:pt idx="1042">
                  <c:v>42557</c:v>
                </c:pt>
                <c:pt idx="1043">
                  <c:v>42558</c:v>
                </c:pt>
                <c:pt idx="1044">
                  <c:v>42559</c:v>
                </c:pt>
                <c:pt idx="1045">
                  <c:v>42562</c:v>
                </c:pt>
                <c:pt idx="1046">
                  <c:v>42563</c:v>
                </c:pt>
                <c:pt idx="1047">
                  <c:v>42564</c:v>
                </c:pt>
                <c:pt idx="1048">
                  <c:v>42565</c:v>
                </c:pt>
                <c:pt idx="1049">
                  <c:v>42566</c:v>
                </c:pt>
                <c:pt idx="1050">
                  <c:v>42569</c:v>
                </c:pt>
                <c:pt idx="1051">
                  <c:v>42570</c:v>
                </c:pt>
                <c:pt idx="1052">
                  <c:v>42571</c:v>
                </c:pt>
                <c:pt idx="1053">
                  <c:v>42572</c:v>
                </c:pt>
                <c:pt idx="1054">
                  <c:v>42573</c:v>
                </c:pt>
                <c:pt idx="1055">
                  <c:v>42576</c:v>
                </c:pt>
                <c:pt idx="1056">
                  <c:v>42577</c:v>
                </c:pt>
                <c:pt idx="1057">
                  <c:v>42578</c:v>
                </c:pt>
                <c:pt idx="1058">
                  <c:v>42579</c:v>
                </c:pt>
                <c:pt idx="1059">
                  <c:v>42580</c:v>
                </c:pt>
                <c:pt idx="1060">
                  <c:v>42583</c:v>
                </c:pt>
                <c:pt idx="1061">
                  <c:v>42584</c:v>
                </c:pt>
                <c:pt idx="1062">
                  <c:v>42585</c:v>
                </c:pt>
                <c:pt idx="1063">
                  <c:v>42586</c:v>
                </c:pt>
                <c:pt idx="1064">
                  <c:v>42587</c:v>
                </c:pt>
                <c:pt idx="1065">
                  <c:v>42590</c:v>
                </c:pt>
                <c:pt idx="1066">
                  <c:v>42591</c:v>
                </c:pt>
                <c:pt idx="1067">
                  <c:v>42592</c:v>
                </c:pt>
                <c:pt idx="1068">
                  <c:v>42593</c:v>
                </c:pt>
                <c:pt idx="1069">
                  <c:v>42594</c:v>
                </c:pt>
                <c:pt idx="1070">
                  <c:v>42597</c:v>
                </c:pt>
                <c:pt idx="1071">
                  <c:v>42598</c:v>
                </c:pt>
                <c:pt idx="1072">
                  <c:v>42599</c:v>
                </c:pt>
                <c:pt idx="1073">
                  <c:v>42600</c:v>
                </c:pt>
                <c:pt idx="1074">
                  <c:v>42601</c:v>
                </c:pt>
                <c:pt idx="1075">
                  <c:v>42604</c:v>
                </c:pt>
                <c:pt idx="1076">
                  <c:v>42605</c:v>
                </c:pt>
                <c:pt idx="1077">
                  <c:v>42606</c:v>
                </c:pt>
                <c:pt idx="1078">
                  <c:v>42607</c:v>
                </c:pt>
                <c:pt idx="1079">
                  <c:v>42608</c:v>
                </c:pt>
                <c:pt idx="1080">
                  <c:v>42611</c:v>
                </c:pt>
                <c:pt idx="1081">
                  <c:v>42612</c:v>
                </c:pt>
                <c:pt idx="1082">
                  <c:v>42613</c:v>
                </c:pt>
                <c:pt idx="1083">
                  <c:v>42614</c:v>
                </c:pt>
                <c:pt idx="1084">
                  <c:v>42615</c:v>
                </c:pt>
                <c:pt idx="1085">
                  <c:v>42618</c:v>
                </c:pt>
                <c:pt idx="1086">
                  <c:v>42619</c:v>
                </c:pt>
                <c:pt idx="1087">
                  <c:v>42620</c:v>
                </c:pt>
                <c:pt idx="1088">
                  <c:v>42621</c:v>
                </c:pt>
                <c:pt idx="1089">
                  <c:v>42622</c:v>
                </c:pt>
                <c:pt idx="1090">
                  <c:v>42625</c:v>
                </c:pt>
                <c:pt idx="1091">
                  <c:v>42626</c:v>
                </c:pt>
                <c:pt idx="1092">
                  <c:v>42627</c:v>
                </c:pt>
                <c:pt idx="1093">
                  <c:v>42628</c:v>
                </c:pt>
                <c:pt idx="1094">
                  <c:v>42629</c:v>
                </c:pt>
                <c:pt idx="1095">
                  <c:v>42632</c:v>
                </c:pt>
                <c:pt idx="1096">
                  <c:v>42633</c:v>
                </c:pt>
                <c:pt idx="1097">
                  <c:v>42634</c:v>
                </c:pt>
                <c:pt idx="1098">
                  <c:v>42635</c:v>
                </c:pt>
                <c:pt idx="1099">
                  <c:v>42636</c:v>
                </c:pt>
                <c:pt idx="1100">
                  <c:v>42639</c:v>
                </c:pt>
                <c:pt idx="1101">
                  <c:v>42640</c:v>
                </c:pt>
                <c:pt idx="1102">
                  <c:v>42641</c:v>
                </c:pt>
                <c:pt idx="1103">
                  <c:v>42642</c:v>
                </c:pt>
                <c:pt idx="1104">
                  <c:v>42643</c:v>
                </c:pt>
                <c:pt idx="1105">
                  <c:v>42646</c:v>
                </c:pt>
                <c:pt idx="1106">
                  <c:v>42647</c:v>
                </c:pt>
                <c:pt idx="1107">
                  <c:v>42648</c:v>
                </c:pt>
                <c:pt idx="1108">
                  <c:v>42649</c:v>
                </c:pt>
                <c:pt idx="1109">
                  <c:v>42650</c:v>
                </c:pt>
                <c:pt idx="1110">
                  <c:v>42653</c:v>
                </c:pt>
                <c:pt idx="1111">
                  <c:v>42654</c:v>
                </c:pt>
                <c:pt idx="1112">
                  <c:v>42655</c:v>
                </c:pt>
                <c:pt idx="1113">
                  <c:v>42656</c:v>
                </c:pt>
                <c:pt idx="1114">
                  <c:v>42657</c:v>
                </c:pt>
                <c:pt idx="1115">
                  <c:v>42660</c:v>
                </c:pt>
                <c:pt idx="1116">
                  <c:v>42661</c:v>
                </c:pt>
                <c:pt idx="1117">
                  <c:v>42662</c:v>
                </c:pt>
                <c:pt idx="1118">
                  <c:v>42663</c:v>
                </c:pt>
                <c:pt idx="1119">
                  <c:v>42664</c:v>
                </c:pt>
                <c:pt idx="1120">
                  <c:v>42667</c:v>
                </c:pt>
                <c:pt idx="1121">
                  <c:v>42668</c:v>
                </c:pt>
                <c:pt idx="1122">
                  <c:v>42669</c:v>
                </c:pt>
                <c:pt idx="1123">
                  <c:v>42670</c:v>
                </c:pt>
                <c:pt idx="1124">
                  <c:v>42671</c:v>
                </c:pt>
                <c:pt idx="1125">
                  <c:v>42674</c:v>
                </c:pt>
                <c:pt idx="1126">
                  <c:v>42675</c:v>
                </c:pt>
                <c:pt idx="1127">
                  <c:v>42676</c:v>
                </c:pt>
                <c:pt idx="1128">
                  <c:v>42677</c:v>
                </c:pt>
                <c:pt idx="1129">
                  <c:v>42678</c:v>
                </c:pt>
                <c:pt idx="1130">
                  <c:v>42681</c:v>
                </c:pt>
                <c:pt idx="1131">
                  <c:v>42682</c:v>
                </c:pt>
                <c:pt idx="1132">
                  <c:v>42683</c:v>
                </c:pt>
                <c:pt idx="1133">
                  <c:v>42684</c:v>
                </c:pt>
                <c:pt idx="1134">
                  <c:v>42685</c:v>
                </c:pt>
                <c:pt idx="1135">
                  <c:v>42688</c:v>
                </c:pt>
                <c:pt idx="1136">
                  <c:v>42689</c:v>
                </c:pt>
                <c:pt idx="1137">
                  <c:v>42690</c:v>
                </c:pt>
                <c:pt idx="1138">
                  <c:v>42691</c:v>
                </c:pt>
                <c:pt idx="1139">
                  <c:v>42692</c:v>
                </c:pt>
                <c:pt idx="1140">
                  <c:v>42695</c:v>
                </c:pt>
                <c:pt idx="1141">
                  <c:v>42696</c:v>
                </c:pt>
                <c:pt idx="1142">
                  <c:v>42697</c:v>
                </c:pt>
                <c:pt idx="1143">
                  <c:v>42698</c:v>
                </c:pt>
                <c:pt idx="1144">
                  <c:v>42699</c:v>
                </c:pt>
                <c:pt idx="1145">
                  <c:v>42702</c:v>
                </c:pt>
                <c:pt idx="1146">
                  <c:v>42703</c:v>
                </c:pt>
                <c:pt idx="1147">
                  <c:v>42704</c:v>
                </c:pt>
                <c:pt idx="1148">
                  <c:v>42705</c:v>
                </c:pt>
                <c:pt idx="1149">
                  <c:v>42706</c:v>
                </c:pt>
                <c:pt idx="1150">
                  <c:v>42709</c:v>
                </c:pt>
                <c:pt idx="1151">
                  <c:v>42710</c:v>
                </c:pt>
                <c:pt idx="1152">
                  <c:v>42711</c:v>
                </c:pt>
                <c:pt idx="1153">
                  <c:v>42712</c:v>
                </c:pt>
                <c:pt idx="1154">
                  <c:v>42713</c:v>
                </c:pt>
                <c:pt idx="1155">
                  <c:v>42716</c:v>
                </c:pt>
                <c:pt idx="1156">
                  <c:v>42717</c:v>
                </c:pt>
                <c:pt idx="1157">
                  <c:v>42718</c:v>
                </c:pt>
                <c:pt idx="1158">
                  <c:v>42719</c:v>
                </c:pt>
                <c:pt idx="1159">
                  <c:v>42720</c:v>
                </c:pt>
                <c:pt idx="1160">
                  <c:v>42723</c:v>
                </c:pt>
                <c:pt idx="1161">
                  <c:v>42724</c:v>
                </c:pt>
                <c:pt idx="1162">
                  <c:v>42725</c:v>
                </c:pt>
                <c:pt idx="1163">
                  <c:v>42726</c:v>
                </c:pt>
                <c:pt idx="1164">
                  <c:v>42727</c:v>
                </c:pt>
                <c:pt idx="1165">
                  <c:v>42730</c:v>
                </c:pt>
                <c:pt idx="1166">
                  <c:v>42731</c:v>
                </c:pt>
                <c:pt idx="1167">
                  <c:v>42732</c:v>
                </c:pt>
                <c:pt idx="1168">
                  <c:v>42733</c:v>
                </c:pt>
                <c:pt idx="1169">
                  <c:v>42734</c:v>
                </c:pt>
                <c:pt idx="1170">
                  <c:v>42737</c:v>
                </c:pt>
                <c:pt idx="1171">
                  <c:v>42738</c:v>
                </c:pt>
                <c:pt idx="1172">
                  <c:v>42739</c:v>
                </c:pt>
                <c:pt idx="1173">
                  <c:v>42740</c:v>
                </c:pt>
                <c:pt idx="1174">
                  <c:v>42741</c:v>
                </c:pt>
                <c:pt idx="1175">
                  <c:v>42744</c:v>
                </c:pt>
                <c:pt idx="1176">
                  <c:v>42745</c:v>
                </c:pt>
                <c:pt idx="1177">
                  <c:v>42746</c:v>
                </c:pt>
                <c:pt idx="1178">
                  <c:v>42747</c:v>
                </c:pt>
                <c:pt idx="1179">
                  <c:v>42748</c:v>
                </c:pt>
                <c:pt idx="1180">
                  <c:v>42751</c:v>
                </c:pt>
                <c:pt idx="1181">
                  <c:v>42752</c:v>
                </c:pt>
                <c:pt idx="1182">
                  <c:v>42753</c:v>
                </c:pt>
                <c:pt idx="1183">
                  <c:v>42754</c:v>
                </c:pt>
                <c:pt idx="1184">
                  <c:v>42755</c:v>
                </c:pt>
                <c:pt idx="1185">
                  <c:v>42758</c:v>
                </c:pt>
                <c:pt idx="1186">
                  <c:v>42759</c:v>
                </c:pt>
                <c:pt idx="1187">
                  <c:v>42760</c:v>
                </c:pt>
                <c:pt idx="1188">
                  <c:v>42761</c:v>
                </c:pt>
                <c:pt idx="1189">
                  <c:v>42762</c:v>
                </c:pt>
                <c:pt idx="1190">
                  <c:v>42765</c:v>
                </c:pt>
                <c:pt idx="1191">
                  <c:v>42766</c:v>
                </c:pt>
                <c:pt idx="1192">
                  <c:v>42767</c:v>
                </c:pt>
                <c:pt idx="1193">
                  <c:v>42768</c:v>
                </c:pt>
                <c:pt idx="1194">
                  <c:v>42769</c:v>
                </c:pt>
                <c:pt idx="1195">
                  <c:v>42772</c:v>
                </c:pt>
                <c:pt idx="1196">
                  <c:v>42773</c:v>
                </c:pt>
                <c:pt idx="1197">
                  <c:v>42774</c:v>
                </c:pt>
                <c:pt idx="1198">
                  <c:v>42775</c:v>
                </c:pt>
                <c:pt idx="1199">
                  <c:v>42776</c:v>
                </c:pt>
                <c:pt idx="1200">
                  <c:v>42779</c:v>
                </c:pt>
                <c:pt idx="1201">
                  <c:v>42780</c:v>
                </c:pt>
                <c:pt idx="1202">
                  <c:v>42781</c:v>
                </c:pt>
                <c:pt idx="1203">
                  <c:v>42782</c:v>
                </c:pt>
                <c:pt idx="1204">
                  <c:v>42783</c:v>
                </c:pt>
                <c:pt idx="1205">
                  <c:v>42786</c:v>
                </c:pt>
                <c:pt idx="1206">
                  <c:v>42787</c:v>
                </c:pt>
                <c:pt idx="1207">
                  <c:v>42788</c:v>
                </c:pt>
                <c:pt idx="1208">
                  <c:v>42789</c:v>
                </c:pt>
                <c:pt idx="1209">
                  <c:v>42790</c:v>
                </c:pt>
                <c:pt idx="1210">
                  <c:v>42793</c:v>
                </c:pt>
                <c:pt idx="1211">
                  <c:v>42794</c:v>
                </c:pt>
                <c:pt idx="1212">
                  <c:v>42795</c:v>
                </c:pt>
                <c:pt idx="1213">
                  <c:v>42796</c:v>
                </c:pt>
                <c:pt idx="1214">
                  <c:v>42797</c:v>
                </c:pt>
                <c:pt idx="1215">
                  <c:v>42800</c:v>
                </c:pt>
                <c:pt idx="1216">
                  <c:v>42801</c:v>
                </c:pt>
                <c:pt idx="1217">
                  <c:v>42802</c:v>
                </c:pt>
                <c:pt idx="1218">
                  <c:v>42803</c:v>
                </c:pt>
                <c:pt idx="1219">
                  <c:v>42804</c:v>
                </c:pt>
                <c:pt idx="1220">
                  <c:v>42807</c:v>
                </c:pt>
                <c:pt idx="1221">
                  <c:v>42808</c:v>
                </c:pt>
                <c:pt idx="1222">
                  <c:v>42809</c:v>
                </c:pt>
                <c:pt idx="1223">
                  <c:v>42810</c:v>
                </c:pt>
                <c:pt idx="1224">
                  <c:v>42811</c:v>
                </c:pt>
                <c:pt idx="1225">
                  <c:v>42814</c:v>
                </c:pt>
                <c:pt idx="1226">
                  <c:v>42815</c:v>
                </c:pt>
                <c:pt idx="1227">
                  <c:v>42816</c:v>
                </c:pt>
                <c:pt idx="1228">
                  <c:v>42817</c:v>
                </c:pt>
                <c:pt idx="1229">
                  <c:v>42818</c:v>
                </c:pt>
                <c:pt idx="1230">
                  <c:v>42821</c:v>
                </c:pt>
                <c:pt idx="1231">
                  <c:v>42822</c:v>
                </c:pt>
                <c:pt idx="1232">
                  <c:v>42823</c:v>
                </c:pt>
                <c:pt idx="1233">
                  <c:v>42824</c:v>
                </c:pt>
                <c:pt idx="1234">
                  <c:v>42825</c:v>
                </c:pt>
                <c:pt idx="1235">
                  <c:v>42828</c:v>
                </c:pt>
                <c:pt idx="1236">
                  <c:v>42829</c:v>
                </c:pt>
                <c:pt idx="1237">
                  <c:v>42830</c:v>
                </c:pt>
                <c:pt idx="1238">
                  <c:v>42831</c:v>
                </c:pt>
                <c:pt idx="1239">
                  <c:v>42832</c:v>
                </c:pt>
                <c:pt idx="1240">
                  <c:v>42835</c:v>
                </c:pt>
                <c:pt idx="1241">
                  <c:v>42836</c:v>
                </c:pt>
                <c:pt idx="1242">
                  <c:v>42837</c:v>
                </c:pt>
                <c:pt idx="1243">
                  <c:v>42838</c:v>
                </c:pt>
                <c:pt idx="1244">
                  <c:v>42839</c:v>
                </c:pt>
                <c:pt idx="1245">
                  <c:v>42842</c:v>
                </c:pt>
                <c:pt idx="1246">
                  <c:v>42843</c:v>
                </c:pt>
                <c:pt idx="1247">
                  <c:v>42844</c:v>
                </c:pt>
                <c:pt idx="1248">
                  <c:v>42845</c:v>
                </c:pt>
                <c:pt idx="1249">
                  <c:v>42846</c:v>
                </c:pt>
                <c:pt idx="1250">
                  <c:v>42849</c:v>
                </c:pt>
                <c:pt idx="1251">
                  <c:v>42850</c:v>
                </c:pt>
                <c:pt idx="1252">
                  <c:v>42851</c:v>
                </c:pt>
                <c:pt idx="1253">
                  <c:v>42852</c:v>
                </c:pt>
                <c:pt idx="1254">
                  <c:v>42853</c:v>
                </c:pt>
                <c:pt idx="1255">
                  <c:v>42856</c:v>
                </c:pt>
                <c:pt idx="1256">
                  <c:v>42857</c:v>
                </c:pt>
                <c:pt idx="1257">
                  <c:v>42858</c:v>
                </c:pt>
                <c:pt idx="1258">
                  <c:v>42859</c:v>
                </c:pt>
                <c:pt idx="1259">
                  <c:v>42860</c:v>
                </c:pt>
                <c:pt idx="1260">
                  <c:v>42863</c:v>
                </c:pt>
                <c:pt idx="1261">
                  <c:v>42864</c:v>
                </c:pt>
                <c:pt idx="1262">
                  <c:v>42865</c:v>
                </c:pt>
                <c:pt idx="1263">
                  <c:v>42866</c:v>
                </c:pt>
                <c:pt idx="1264">
                  <c:v>42867</c:v>
                </c:pt>
                <c:pt idx="1265">
                  <c:v>42870</c:v>
                </c:pt>
                <c:pt idx="1266">
                  <c:v>42871</c:v>
                </c:pt>
                <c:pt idx="1267">
                  <c:v>42872</c:v>
                </c:pt>
                <c:pt idx="1268">
                  <c:v>42873</c:v>
                </c:pt>
                <c:pt idx="1269">
                  <c:v>42874</c:v>
                </c:pt>
                <c:pt idx="1270">
                  <c:v>42877</c:v>
                </c:pt>
                <c:pt idx="1271">
                  <c:v>42878</c:v>
                </c:pt>
                <c:pt idx="1272">
                  <c:v>42879</c:v>
                </c:pt>
                <c:pt idx="1273">
                  <c:v>42880</c:v>
                </c:pt>
                <c:pt idx="1274">
                  <c:v>42881</c:v>
                </c:pt>
                <c:pt idx="1275">
                  <c:v>42884</c:v>
                </c:pt>
                <c:pt idx="1276">
                  <c:v>42885</c:v>
                </c:pt>
                <c:pt idx="1277">
                  <c:v>42886</c:v>
                </c:pt>
                <c:pt idx="1278">
                  <c:v>42887</c:v>
                </c:pt>
                <c:pt idx="1279">
                  <c:v>42888</c:v>
                </c:pt>
                <c:pt idx="1280">
                  <c:v>42891</c:v>
                </c:pt>
                <c:pt idx="1281">
                  <c:v>42892</c:v>
                </c:pt>
                <c:pt idx="1282">
                  <c:v>42893</c:v>
                </c:pt>
                <c:pt idx="1283">
                  <c:v>42894</c:v>
                </c:pt>
                <c:pt idx="1284">
                  <c:v>42895</c:v>
                </c:pt>
                <c:pt idx="1285">
                  <c:v>42898</c:v>
                </c:pt>
                <c:pt idx="1286">
                  <c:v>42899</c:v>
                </c:pt>
                <c:pt idx="1287">
                  <c:v>42900</c:v>
                </c:pt>
                <c:pt idx="1288">
                  <c:v>42901</c:v>
                </c:pt>
                <c:pt idx="1289">
                  <c:v>42902</c:v>
                </c:pt>
                <c:pt idx="1290">
                  <c:v>42905</c:v>
                </c:pt>
                <c:pt idx="1291">
                  <c:v>42906</c:v>
                </c:pt>
                <c:pt idx="1292">
                  <c:v>42907</c:v>
                </c:pt>
                <c:pt idx="1293">
                  <c:v>42908</c:v>
                </c:pt>
                <c:pt idx="1294">
                  <c:v>42909</c:v>
                </c:pt>
                <c:pt idx="1295">
                  <c:v>42912</c:v>
                </c:pt>
                <c:pt idx="1296">
                  <c:v>42913</c:v>
                </c:pt>
                <c:pt idx="1297">
                  <c:v>42914</c:v>
                </c:pt>
                <c:pt idx="1298">
                  <c:v>42915</c:v>
                </c:pt>
                <c:pt idx="1299">
                  <c:v>42916</c:v>
                </c:pt>
                <c:pt idx="1300">
                  <c:v>42919</c:v>
                </c:pt>
                <c:pt idx="1301">
                  <c:v>42920</c:v>
                </c:pt>
                <c:pt idx="1302">
                  <c:v>42921</c:v>
                </c:pt>
                <c:pt idx="1303">
                  <c:v>42922</c:v>
                </c:pt>
                <c:pt idx="1304">
                  <c:v>42923</c:v>
                </c:pt>
                <c:pt idx="1305">
                  <c:v>42926</c:v>
                </c:pt>
                <c:pt idx="1306">
                  <c:v>42927</c:v>
                </c:pt>
                <c:pt idx="1307">
                  <c:v>42928</c:v>
                </c:pt>
                <c:pt idx="1308">
                  <c:v>42929</c:v>
                </c:pt>
                <c:pt idx="1309">
                  <c:v>42930</c:v>
                </c:pt>
                <c:pt idx="1310">
                  <c:v>42933</c:v>
                </c:pt>
                <c:pt idx="1311">
                  <c:v>42934</c:v>
                </c:pt>
                <c:pt idx="1312">
                  <c:v>42935</c:v>
                </c:pt>
                <c:pt idx="1313">
                  <c:v>42936</c:v>
                </c:pt>
                <c:pt idx="1314">
                  <c:v>42937</c:v>
                </c:pt>
                <c:pt idx="1315">
                  <c:v>42940</c:v>
                </c:pt>
                <c:pt idx="1316">
                  <c:v>42941</c:v>
                </c:pt>
                <c:pt idx="1317">
                  <c:v>42942</c:v>
                </c:pt>
                <c:pt idx="1318">
                  <c:v>42943</c:v>
                </c:pt>
                <c:pt idx="1319">
                  <c:v>42944</c:v>
                </c:pt>
                <c:pt idx="1320">
                  <c:v>42947</c:v>
                </c:pt>
                <c:pt idx="1321">
                  <c:v>42948</c:v>
                </c:pt>
                <c:pt idx="1322">
                  <c:v>42949</c:v>
                </c:pt>
                <c:pt idx="1323">
                  <c:v>42950</c:v>
                </c:pt>
                <c:pt idx="1324">
                  <c:v>42951</c:v>
                </c:pt>
                <c:pt idx="1325">
                  <c:v>42954</c:v>
                </c:pt>
                <c:pt idx="1326">
                  <c:v>42955</c:v>
                </c:pt>
                <c:pt idx="1327">
                  <c:v>42956</c:v>
                </c:pt>
                <c:pt idx="1328">
                  <c:v>42957</c:v>
                </c:pt>
                <c:pt idx="1329">
                  <c:v>42958</c:v>
                </c:pt>
                <c:pt idx="1330">
                  <c:v>42961</c:v>
                </c:pt>
                <c:pt idx="1331">
                  <c:v>42962</c:v>
                </c:pt>
                <c:pt idx="1332">
                  <c:v>42963</c:v>
                </c:pt>
                <c:pt idx="1333">
                  <c:v>42964</c:v>
                </c:pt>
                <c:pt idx="1334">
                  <c:v>42965</c:v>
                </c:pt>
                <c:pt idx="1335">
                  <c:v>42968</c:v>
                </c:pt>
                <c:pt idx="1336">
                  <c:v>42969</c:v>
                </c:pt>
                <c:pt idx="1337">
                  <c:v>42970</c:v>
                </c:pt>
                <c:pt idx="1338">
                  <c:v>42971</c:v>
                </c:pt>
                <c:pt idx="1339">
                  <c:v>42972</c:v>
                </c:pt>
                <c:pt idx="1340">
                  <c:v>42975</c:v>
                </c:pt>
                <c:pt idx="1341">
                  <c:v>42976</c:v>
                </c:pt>
                <c:pt idx="1342">
                  <c:v>42977</c:v>
                </c:pt>
                <c:pt idx="1343">
                  <c:v>42978</c:v>
                </c:pt>
                <c:pt idx="1344">
                  <c:v>42979</c:v>
                </c:pt>
                <c:pt idx="1345">
                  <c:v>42982</c:v>
                </c:pt>
                <c:pt idx="1346">
                  <c:v>42983</c:v>
                </c:pt>
                <c:pt idx="1347">
                  <c:v>42984</c:v>
                </c:pt>
                <c:pt idx="1348">
                  <c:v>42985</c:v>
                </c:pt>
                <c:pt idx="1349">
                  <c:v>42986</c:v>
                </c:pt>
                <c:pt idx="1350">
                  <c:v>42989</c:v>
                </c:pt>
                <c:pt idx="1351">
                  <c:v>42990</c:v>
                </c:pt>
                <c:pt idx="1352">
                  <c:v>42991</c:v>
                </c:pt>
                <c:pt idx="1353">
                  <c:v>42992</c:v>
                </c:pt>
                <c:pt idx="1354">
                  <c:v>42993</c:v>
                </c:pt>
                <c:pt idx="1355">
                  <c:v>42996</c:v>
                </c:pt>
                <c:pt idx="1356">
                  <c:v>42997</c:v>
                </c:pt>
                <c:pt idx="1357">
                  <c:v>42998</c:v>
                </c:pt>
                <c:pt idx="1358">
                  <c:v>42999</c:v>
                </c:pt>
                <c:pt idx="1359">
                  <c:v>43000</c:v>
                </c:pt>
                <c:pt idx="1360">
                  <c:v>43003</c:v>
                </c:pt>
                <c:pt idx="1361">
                  <c:v>43004</c:v>
                </c:pt>
                <c:pt idx="1362">
                  <c:v>43005</c:v>
                </c:pt>
                <c:pt idx="1363">
                  <c:v>43006</c:v>
                </c:pt>
                <c:pt idx="1364">
                  <c:v>43007</c:v>
                </c:pt>
                <c:pt idx="1365">
                  <c:v>43010</c:v>
                </c:pt>
                <c:pt idx="1366">
                  <c:v>43011</c:v>
                </c:pt>
                <c:pt idx="1367">
                  <c:v>43012</c:v>
                </c:pt>
                <c:pt idx="1368">
                  <c:v>43013</c:v>
                </c:pt>
                <c:pt idx="1369">
                  <c:v>43014</c:v>
                </c:pt>
                <c:pt idx="1370">
                  <c:v>43017</c:v>
                </c:pt>
                <c:pt idx="1371">
                  <c:v>43018</c:v>
                </c:pt>
                <c:pt idx="1372">
                  <c:v>43019</c:v>
                </c:pt>
                <c:pt idx="1373">
                  <c:v>43020</c:v>
                </c:pt>
                <c:pt idx="1374">
                  <c:v>43021</c:v>
                </c:pt>
                <c:pt idx="1375">
                  <c:v>43024</c:v>
                </c:pt>
                <c:pt idx="1376">
                  <c:v>43025</c:v>
                </c:pt>
                <c:pt idx="1377">
                  <c:v>43026</c:v>
                </c:pt>
                <c:pt idx="1378">
                  <c:v>43027</c:v>
                </c:pt>
                <c:pt idx="1379">
                  <c:v>43028</c:v>
                </c:pt>
                <c:pt idx="1380">
                  <c:v>43031</c:v>
                </c:pt>
                <c:pt idx="1381">
                  <c:v>43032</c:v>
                </c:pt>
                <c:pt idx="1382">
                  <c:v>43033</c:v>
                </c:pt>
                <c:pt idx="1383">
                  <c:v>43034</c:v>
                </c:pt>
                <c:pt idx="1384">
                  <c:v>43035</c:v>
                </c:pt>
                <c:pt idx="1385">
                  <c:v>43038</c:v>
                </c:pt>
                <c:pt idx="1386">
                  <c:v>43039</c:v>
                </c:pt>
                <c:pt idx="1387">
                  <c:v>43040</c:v>
                </c:pt>
                <c:pt idx="1388">
                  <c:v>43041</c:v>
                </c:pt>
                <c:pt idx="1389">
                  <c:v>43042</c:v>
                </c:pt>
                <c:pt idx="1390">
                  <c:v>43045</c:v>
                </c:pt>
                <c:pt idx="1391">
                  <c:v>43046</c:v>
                </c:pt>
                <c:pt idx="1392">
                  <c:v>43047</c:v>
                </c:pt>
                <c:pt idx="1393">
                  <c:v>43048</c:v>
                </c:pt>
                <c:pt idx="1394">
                  <c:v>43049</c:v>
                </c:pt>
                <c:pt idx="1395">
                  <c:v>43052</c:v>
                </c:pt>
                <c:pt idx="1396">
                  <c:v>43053</c:v>
                </c:pt>
                <c:pt idx="1397">
                  <c:v>43054</c:v>
                </c:pt>
                <c:pt idx="1398">
                  <c:v>43055</c:v>
                </c:pt>
                <c:pt idx="1399">
                  <c:v>43056</c:v>
                </c:pt>
                <c:pt idx="1400">
                  <c:v>43059</c:v>
                </c:pt>
                <c:pt idx="1401">
                  <c:v>43060</c:v>
                </c:pt>
                <c:pt idx="1402">
                  <c:v>43061</c:v>
                </c:pt>
                <c:pt idx="1403">
                  <c:v>43062</c:v>
                </c:pt>
                <c:pt idx="1404">
                  <c:v>43063</c:v>
                </c:pt>
                <c:pt idx="1405">
                  <c:v>43066</c:v>
                </c:pt>
                <c:pt idx="1406">
                  <c:v>43067</c:v>
                </c:pt>
                <c:pt idx="1407">
                  <c:v>43068</c:v>
                </c:pt>
                <c:pt idx="1408">
                  <c:v>43069</c:v>
                </c:pt>
                <c:pt idx="1409">
                  <c:v>43070</c:v>
                </c:pt>
                <c:pt idx="1410">
                  <c:v>43073</c:v>
                </c:pt>
                <c:pt idx="1411">
                  <c:v>43074</c:v>
                </c:pt>
                <c:pt idx="1412">
                  <c:v>43075</c:v>
                </c:pt>
                <c:pt idx="1413">
                  <c:v>43076</c:v>
                </c:pt>
                <c:pt idx="1414">
                  <c:v>43077</c:v>
                </c:pt>
                <c:pt idx="1415">
                  <c:v>43080</c:v>
                </c:pt>
                <c:pt idx="1416">
                  <c:v>43081</c:v>
                </c:pt>
                <c:pt idx="1417">
                  <c:v>43082</c:v>
                </c:pt>
                <c:pt idx="1418">
                  <c:v>43083</c:v>
                </c:pt>
                <c:pt idx="1419">
                  <c:v>43084</c:v>
                </c:pt>
                <c:pt idx="1420">
                  <c:v>43087</c:v>
                </c:pt>
                <c:pt idx="1421">
                  <c:v>43088</c:v>
                </c:pt>
                <c:pt idx="1422">
                  <c:v>43089</c:v>
                </c:pt>
                <c:pt idx="1423">
                  <c:v>43090</c:v>
                </c:pt>
                <c:pt idx="1424">
                  <c:v>43091</c:v>
                </c:pt>
                <c:pt idx="1425">
                  <c:v>43094</c:v>
                </c:pt>
                <c:pt idx="1426">
                  <c:v>43095</c:v>
                </c:pt>
                <c:pt idx="1427">
                  <c:v>43096</c:v>
                </c:pt>
                <c:pt idx="1428">
                  <c:v>43097</c:v>
                </c:pt>
                <c:pt idx="1429">
                  <c:v>43098</c:v>
                </c:pt>
                <c:pt idx="1430">
                  <c:v>43101</c:v>
                </c:pt>
                <c:pt idx="1431">
                  <c:v>43102</c:v>
                </c:pt>
                <c:pt idx="1432">
                  <c:v>43103</c:v>
                </c:pt>
                <c:pt idx="1433">
                  <c:v>43104</c:v>
                </c:pt>
                <c:pt idx="1434">
                  <c:v>43105</c:v>
                </c:pt>
                <c:pt idx="1435">
                  <c:v>43108</c:v>
                </c:pt>
                <c:pt idx="1436">
                  <c:v>43109</c:v>
                </c:pt>
                <c:pt idx="1437">
                  <c:v>43110</c:v>
                </c:pt>
                <c:pt idx="1438">
                  <c:v>43111</c:v>
                </c:pt>
                <c:pt idx="1439">
                  <c:v>43112</c:v>
                </c:pt>
                <c:pt idx="1440">
                  <c:v>43115</c:v>
                </c:pt>
                <c:pt idx="1441">
                  <c:v>43116</c:v>
                </c:pt>
                <c:pt idx="1442">
                  <c:v>43117</c:v>
                </c:pt>
                <c:pt idx="1443">
                  <c:v>43118</c:v>
                </c:pt>
                <c:pt idx="1444">
                  <c:v>43119</c:v>
                </c:pt>
                <c:pt idx="1445">
                  <c:v>43122</c:v>
                </c:pt>
                <c:pt idx="1446">
                  <c:v>43123</c:v>
                </c:pt>
                <c:pt idx="1447">
                  <c:v>43124</c:v>
                </c:pt>
                <c:pt idx="1448">
                  <c:v>43125</c:v>
                </c:pt>
                <c:pt idx="1449">
                  <c:v>43126</c:v>
                </c:pt>
                <c:pt idx="1450">
                  <c:v>43129</c:v>
                </c:pt>
                <c:pt idx="1451">
                  <c:v>43130</c:v>
                </c:pt>
                <c:pt idx="1452">
                  <c:v>43131</c:v>
                </c:pt>
              </c:numCache>
            </c:numRef>
          </c:cat>
          <c:val>
            <c:numRef>
              <c:f>'Amundi Fds Global MV BRUT USD'!$E$5:$E$1457</c:f>
              <c:numCache>
                <c:formatCode>#,##0.00_);[Red]\(#,##0.00\)</c:formatCode>
                <c:ptCount val="1453"/>
                <c:pt idx="0">
                  <c:v>100</c:v>
                </c:pt>
                <c:pt idx="1">
                  <c:v>99.565216581837205</c:v>
                </c:pt>
                <c:pt idx="2">
                  <c:v>99.572130710423394</c:v>
                </c:pt>
                <c:pt idx="3">
                  <c:v>98.646487027349394</c:v>
                </c:pt>
                <c:pt idx="4">
                  <c:v>100.12985659078302</c:v>
                </c:pt>
                <c:pt idx="5">
                  <c:v>100.11421610554501</c:v>
                </c:pt>
                <c:pt idx="6">
                  <c:v>100.42207377486201</c:v>
                </c:pt>
                <c:pt idx="7">
                  <c:v>101.243001339503</c:v>
                </c:pt>
                <c:pt idx="8">
                  <c:v>101.961863845072</c:v>
                </c:pt>
                <c:pt idx="9">
                  <c:v>100.617226061268</c:v>
                </c:pt>
                <c:pt idx="10">
                  <c:v>99.040659365139206</c:v>
                </c:pt>
                <c:pt idx="11">
                  <c:v>98.294848161581498</c:v>
                </c:pt>
                <c:pt idx="12">
                  <c:v>98.207824966645106</c:v>
                </c:pt>
                <c:pt idx="13">
                  <c:v>100.340560953973</c:v>
                </c:pt>
                <c:pt idx="14">
                  <c:v>102.15809572168402</c:v>
                </c:pt>
                <c:pt idx="15">
                  <c:v>102.47853705467401</c:v>
                </c:pt>
                <c:pt idx="16">
                  <c:v>102.206793964615</c:v>
                </c:pt>
                <c:pt idx="17">
                  <c:v>102.01475337176001</c:v>
                </c:pt>
                <c:pt idx="18">
                  <c:v>100.944095841204</c:v>
                </c:pt>
                <c:pt idx="19">
                  <c:v>102.966753199919</c:v>
                </c:pt>
                <c:pt idx="20">
                  <c:v>103.641892867008</c:v>
                </c:pt>
                <c:pt idx="21">
                  <c:v>104.34198705496701</c:v>
                </c:pt>
                <c:pt idx="22">
                  <c:v>104.374695697712</c:v>
                </c:pt>
                <c:pt idx="23">
                  <c:v>104.53187818297999</c:v>
                </c:pt>
                <c:pt idx="24">
                  <c:v>104.57950503422599</c:v>
                </c:pt>
                <c:pt idx="25">
                  <c:v>104.4187769471</c:v>
                </c:pt>
                <c:pt idx="26">
                  <c:v>104.52824184867799</c:v>
                </c:pt>
                <c:pt idx="27">
                  <c:v>104.52824184867799</c:v>
                </c:pt>
                <c:pt idx="28">
                  <c:v>105.39952488709102</c:v>
                </c:pt>
                <c:pt idx="29">
                  <c:v>105.615663319989</c:v>
                </c:pt>
                <c:pt idx="30">
                  <c:v>105.59561144977101</c:v>
                </c:pt>
                <c:pt idx="31">
                  <c:v>105.90403410688801</c:v>
                </c:pt>
                <c:pt idx="32">
                  <c:v>105.453573310145</c:v>
                </c:pt>
                <c:pt idx="33">
                  <c:v>105.24599471355801</c:v>
                </c:pt>
                <c:pt idx="34">
                  <c:v>105.30040174118599</c:v>
                </c:pt>
                <c:pt idx="35">
                  <c:v>105.365384472816</c:v>
                </c:pt>
                <c:pt idx="36">
                  <c:v>105.18282521059901</c:v>
                </c:pt>
                <c:pt idx="37">
                  <c:v>105.11611068677999</c:v>
                </c:pt>
                <c:pt idx="38">
                  <c:v>104.20810176289601</c:v>
                </c:pt>
                <c:pt idx="39">
                  <c:v>104.797910906738</c:v>
                </c:pt>
                <c:pt idx="40">
                  <c:v>104.93677557341002</c:v>
                </c:pt>
                <c:pt idx="41">
                  <c:v>104.43982445338401</c:v>
                </c:pt>
                <c:pt idx="42">
                  <c:v>104.34493100162598</c:v>
                </c:pt>
                <c:pt idx="43">
                  <c:v>106.35065870618401</c:v>
                </c:pt>
                <c:pt idx="44">
                  <c:v>107.54386588006599</c:v>
                </c:pt>
                <c:pt idx="45">
                  <c:v>107.077662762133</c:v>
                </c:pt>
                <c:pt idx="46">
                  <c:v>107.522748008528</c:v>
                </c:pt>
                <c:pt idx="47">
                  <c:v>107.94780165506199</c:v>
                </c:pt>
                <c:pt idx="48">
                  <c:v>109.00102577434301</c:v>
                </c:pt>
                <c:pt idx="49">
                  <c:v>110.48771289811302</c:v>
                </c:pt>
                <c:pt idx="50">
                  <c:v>110.057236188546</c:v>
                </c:pt>
                <c:pt idx="51">
                  <c:v>109.636945591873</c:v>
                </c:pt>
                <c:pt idx="52">
                  <c:v>109.99810100318402</c:v>
                </c:pt>
                <c:pt idx="53">
                  <c:v>109.42893699257299</c:v>
                </c:pt>
                <c:pt idx="54">
                  <c:v>109.72188817017199</c:v>
                </c:pt>
                <c:pt idx="55">
                  <c:v>109.22274333266</c:v>
                </c:pt>
                <c:pt idx="56">
                  <c:v>108.85779681576599</c:v>
                </c:pt>
                <c:pt idx="57">
                  <c:v>107.49761370120601</c:v>
                </c:pt>
                <c:pt idx="58">
                  <c:v>108.38614807273102</c:v>
                </c:pt>
                <c:pt idx="59">
                  <c:v>107.677062399589</c:v>
                </c:pt>
                <c:pt idx="60">
                  <c:v>108.28473753962902</c:v>
                </c:pt>
                <c:pt idx="61">
                  <c:v>108.34396949335398</c:v>
                </c:pt>
                <c:pt idx="62">
                  <c:v>108.304285200842</c:v>
                </c:pt>
                <c:pt idx="63">
                  <c:v>109.13348975283901</c:v>
                </c:pt>
                <c:pt idx="64">
                  <c:v>109.60893253872402</c:v>
                </c:pt>
                <c:pt idx="65">
                  <c:v>108.930985265725</c:v>
                </c:pt>
                <c:pt idx="66">
                  <c:v>107.872118401797</c:v>
                </c:pt>
                <c:pt idx="67">
                  <c:v>107.19795903889499</c:v>
                </c:pt>
                <c:pt idx="68">
                  <c:v>107.50818850143401</c:v>
                </c:pt>
                <c:pt idx="69">
                  <c:v>107.278596361092</c:v>
                </c:pt>
                <c:pt idx="70">
                  <c:v>107.833881115861</c:v>
                </c:pt>
                <c:pt idx="71">
                  <c:v>109.201740304963</c:v>
                </c:pt>
                <c:pt idx="72">
                  <c:v>110.05428330097999</c:v>
                </c:pt>
                <c:pt idx="73">
                  <c:v>110.04730632783</c:v>
                </c:pt>
                <c:pt idx="74">
                  <c:v>108.63012490447099</c:v>
                </c:pt>
                <c:pt idx="75">
                  <c:v>108.51566348886502</c:v>
                </c:pt>
                <c:pt idx="76">
                  <c:v>106.80296613895599</c:v>
                </c:pt>
                <c:pt idx="77">
                  <c:v>106.713217549257</c:v>
                </c:pt>
                <c:pt idx="78">
                  <c:v>107.04393233843402</c:v>
                </c:pt>
                <c:pt idx="79">
                  <c:v>106.83545826329602</c:v>
                </c:pt>
                <c:pt idx="80">
                  <c:v>106.56807210583898</c:v>
                </c:pt>
                <c:pt idx="81">
                  <c:v>106.998884954743</c:v>
                </c:pt>
                <c:pt idx="82">
                  <c:v>106.949436644027</c:v>
                </c:pt>
                <c:pt idx="83">
                  <c:v>106.949436644027</c:v>
                </c:pt>
                <c:pt idx="84">
                  <c:v>107.30445417170201</c:v>
                </c:pt>
                <c:pt idx="85">
                  <c:v>107.111270950411</c:v>
                </c:pt>
                <c:pt idx="86">
                  <c:v>107.773156676366</c:v>
                </c:pt>
                <c:pt idx="87">
                  <c:v>105.986058173307</c:v>
                </c:pt>
                <c:pt idx="88">
                  <c:v>104.978386485942</c:v>
                </c:pt>
                <c:pt idx="89">
                  <c:v>104.943227292534</c:v>
                </c:pt>
                <c:pt idx="90">
                  <c:v>104.80538566564299</c:v>
                </c:pt>
                <c:pt idx="91">
                  <c:v>104.61562765061501</c:v>
                </c:pt>
                <c:pt idx="92">
                  <c:v>103.436691163509</c:v>
                </c:pt>
                <c:pt idx="93">
                  <c:v>103.17224846854801</c:v>
                </c:pt>
                <c:pt idx="94">
                  <c:v>103.132522892935</c:v>
                </c:pt>
                <c:pt idx="95">
                  <c:v>105.409081489184</c:v>
                </c:pt>
                <c:pt idx="96">
                  <c:v>105.449456200404</c:v>
                </c:pt>
                <c:pt idx="97">
                  <c:v>105.71239679086</c:v>
                </c:pt>
                <c:pt idx="98">
                  <c:v>106.22161454358501</c:v>
                </c:pt>
                <c:pt idx="99">
                  <c:v>107.40910512158102</c:v>
                </c:pt>
                <c:pt idx="100">
                  <c:v>107.228589582659</c:v>
                </c:pt>
                <c:pt idx="101">
                  <c:v>106.962982019968</c:v>
                </c:pt>
                <c:pt idx="102">
                  <c:v>107.350270666985</c:v>
                </c:pt>
                <c:pt idx="103">
                  <c:v>108.250943851757</c:v>
                </c:pt>
                <c:pt idx="104">
                  <c:v>108.31892288437798</c:v>
                </c:pt>
                <c:pt idx="105">
                  <c:v>108.221774323064</c:v>
                </c:pt>
                <c:pt idx="106">
                  <c:v>108.203448822391</c:v>
                </c:pt>
                <c:pt idx="107">
                  <c:v>108.333991732622</c:v>
                </c:pt>
                <c:pt idx="108">
                  <c:v>108.648272490796</c:v>
                </c:pt>
                <c:pt idx="109">
                  <c:v>108.78610959881701</c:v>
                </c:pt>
                <c:pt idx="110">
                  <c:v>108.89078433731601</c:v>
                </c:pt>
                <c:pt idx="111">
                  <c:v>109.549141568561</c:v>
                </c:pt>
                <c:pt idx="112">
                  <c:v>109.75715210451999</c:v>
                </c:pt>
                <c:pt idx="113">
                  <c:v>109.387720222296</c:v>
                </c:pt>
                <c:pt idx="114">
                  <c:v>109.216103208955</c:v>
                </c:pt>
                <c:pt idx="115">
                  <c:v>110.022253812046</c:v>
                </c:pt>
                <c:pt idx="116">
                  <c:v>111.07056734037502</c:v>
                </c:pt>
                <c:pt idx="117">
                  <c:v>111.15375146515601</c:v>
                </c:pt>
                <c:pt idx="118">
                  <c:v>111.405949605324</c:v>
                </c:pt>
                <c:pt idx="119">
                  <c:v>110.52430550921</c:v>
                </c:pt>
                <c:pt idx="120">
                  <c:v>110.52430550921</c:v>
                </c:pt>
                <c:pt idx="121">
                  <c:v>110.52430550921</c:v>
                </c:pt>
                <c:pt idx="122">
                  <c:v>110.52430550921</c:v>
                </c:pt>
                <c:pt idx="123">
                  <c:v>110.167882451726</c:v>
                </c:pt>
                <c:pt idx="124">
                  <c:v>109.39405238504301</c:v>
                </c:pt>
                <c:pt idx="125">
                  <c:v>110.35599308059298</c:v>
                </c:pt>
                <c:pt idx="126">
                  <c:v>110.35599308059298</c:v>
                </c:pt>
                <c:pt idx="127">
                  <c:v>112.748317464135</c:v>
                </c:pt>
                <c:pt idx="128">
                  <c:v>112.50374782126799</c:v>
                </c:pt>
                <c:pt idx="129">
                  <c:v>112.97604056776601</c:v>
                </c:pt>
                <c:pt idx="130">
                  <c:v>112.71216221505101</c:v>
                </c:pt>
                <c:pt idx="131">
                  <c:v>112.34229881306599</c:v>
                </c:pt>
                <c:pt idx="132">
                  <c:v>112.74795944055799</c:v>
                </c:pt>
                <c:pt idx="133">
                  <c:v>113.68489326090598</c:v>
                </c:pt>
                <c:pt idx="134">
                  <c:v>113.97461893399698</c:v>
                </c:pt>
                <c:pt idx="135">
                  <c:v>113.831774240718</c:v>
                </c:pt>
                <c:pt idx="136">
                  <c:v>114.048960954511</c:v>
                </c:pt>
                <c:pt idx="137">
                  <c:v>113.743296550793</c:v>
                </c:pt>
                <c:pt idx="138">
                  <c:v>114.341283621915</c:v>
                </c:pt>
                <c:pt idx="139">
                  <c:v>114.50314981860701</c:v>
                </c:pt>
                <c:pt idx="140">
                  <c:v>114.624632911893</c:v>
                </c:pt>
                <c:pt idx="141">
                  <c:v>114.962731953475</c:v>
                </c:pt>
                <c:pt idx="142">
                  <c:v>114.919472621898</c:v>
                </c:pt>
                <c:pt idx="143">
                  <c:v>115.186739610309</c:v>
                </c:pt>
                <c:pt idx="144">
                  <c:v>115.95648142346</c:v>
                </c:pt>
                <c:pt idx="145">
                  <c:v>115.757692415419</c:v>
                </c:pt>
                <c:pt idx="146">
                  <c:v>116.391399471657</c:v>
                </c:pt>
                <c:pt idx="147">
                  <c:v>116.305060401288</c:v>
                </c:pt>
                <c:pt idx="148">
                  <c:v>115.97747960951099</c:v>
                </c:pt>
                <c:pt idx="149">
                  <c:v>116.913029590623</c:v>
                </c:pt>
                <c:pt idx="150">
                  <c:v>115.50201697287798</c:v>
                </c:pt>
                <c:pt idx="151">
                  <c:v>115.95844567920702</c:v>
                </c:pt>
                <c:pt idx="152">
                  <c:v>116.23121364887299</c:v>
                </c:pt>
                <c:pt idx="153">
                  <c:v>115.718443935595</c:v>
                </c:pt>
                <c:pt idx="154">
                  <c:v>116.424385605268</c:v>
                </c:pt>
                <c:pt idx="155">
                  <c:v>116.035321978581</c:v>
                </c:pt>
                <c:pt idx="156">
                  <c:v>116.709575882688</c:v>
                </c:pt>
                <c:pt idx="157">
                  <c:v>116.75623940778502</c:v>
                </c:pt>
                <c:pt idx="158">
                  <c:v>116.57920924064599</c:v>
                </c:pt>
                <c:pt idx="159">
                  <c:v>116.19830172155501</c:v>
                </c:pt>
                <c:pt idx="160">
                  <c:v>116.34061651282801</c:v>
                </c:pt>
                <c:pt idx="161">
                  <c:v>117.289218635273</c:v>
                </c:pt>
                <c:pt idx="162">
                  <c:v>116.49583548473402</c:v>
                </c:pt>
                <c:pt idx="163">
                  <c:v>115.02799249874801</c:v>
                </c:pt>
                <c:pt idx="164">
                  <c:v>115.85671805057601</c:v>
                </c:pt>
                <c:pt idx="165">
                  <c:v>114.966880082028</c:v>
                </c:pt>
                <c:pt idx="166">
                  <c:v>114.56959204826001</c:v>
                </c:pt>
                <c:pt idx="167">
                  <c:v>115.68922789482401</c:v>
                </c:pt>
                <c:pt idx="168">
                  <c:v>116.16896115365101</c:v>
                </c:pt>
                <c:pt idx="169">
                  <c:v>115.88857030299199</c:v>
                </c:pt>
                <c:pt idx="170">
                  <c:v>116.166082472379</c:v>
                </c:pt>
                <c:pt idx="171">
                  <c:v>117.436452700183</c:v>
                </c:pt>
                <c:pt idx="172">
                  <c:v>117.628733535508</c:v>
                </c:pt>
                <c:pt idx="173">
                  <c:v>117.86641306435199</c:v>
                </c:pt>
                <c:pt idx="174">
                  <c:v>118.18901909723</c:v>
                </c:pt>
                <c:pt idx="175">
                  <c:v>118.698704101064</c:v>
                </c:pt>
                <c:pt idx="176">
                  <c:v>118.57400444417601</c:v>
                </c:pt>
                <c:pt idx="177">
                  <c:v>118.327742581507</c:v>
                </c:pt>
                <c:pt idx="178">
                  <c:v>119.18741780611998</c:v>
                </c:pt>
                <c:pt idx="179">
                  <c:v>119.544675821581</c:v>
                </c:pt>
                <c:pt idx="180">
                  <c:v>118.43829588508601</c:v>
                </c:pt>
                <c:pt idx="181">
                  <c:v>118.09132075088399</c:v>
                </c:pt>
                <c:pt idx="182">
                  <c:v>118.741938675691</c:v>
                </c:pt>
                <c:pt idx="183">
                  <c:v>118.11765581867</c:v>
                </c:pt>
                <c:pt idx="184">
                  <c:v>118.590029452932</c:v>
                </c:pt>
                <c:pt idx="185">
                  <c:v>118.126743813994</c:v>
                </c:pt>
                <c:pt idx="186">
                  <c:v>118.63838658576999</c:v>
                </c:pt>
                <c:pt idx="187">
                  <c:v>118.425349614412</c:v>
                </c:pt>
                <c:pt idx="188">
                  <c:v>118.89863906213701</c:v>
                </c:pt>
                <c:pt idx="189">
                  <c:v>118.89863906213701</c:v>
                </c:pt>
                <c:pt idx="190">
                  <c:v>118.89863906213701</c:v>
                </c:pt>
                <c:pt idx="191">
                  <c:v>118.971153780927</c:v>
                </c:pt>
                <c:pt idx="192">
                  <c:v>118.17292698326098</c:v>
                </c:pt>
                <c:pt idx="193">
                  <c:v>117.89932993014899</c:v>
                </c:pt>
                <c:pt idx="194">
                  <c:v>117.64536000579699</c:v>
                </c:pt>
                <c:pt idx="195">
                  <c:v>118.28562768591399</c:v>
                </c:pt>
                <c:pt idx="196">
                  <c:v>118.83080208340699</c:v>
                </c:pt>
                <c:pt idx="197">
                  <c:v>120.450861284781</c:v>
                </c:pt>
                <c:pt idx="198">
                  <c:v>121.32771037617</c:v>
                </c:pt>
                <c:pt idx="199">
                  <c:v>120.82491900462099</c:v>
                </c:pt>
                <c:pt idx="200">
                  <c:v>118.73469550884901</c:v>
                </c:pt>
                <c:pt idx="201">
                  <c:v>119.37780849515801</c:v>
                </c:pt>
                <c:pt idx="202">
                  <c:v>117.884921546963</c:v>
                </c:pt>
                <c:pt idx="203">
                  <c:v>117.30766030317102</c:v>
                </c:pt>
                <c:pt idx="204">
                  <c:v>118.03200016276098</c:v>
                </c:pt>
                <c:pt idx="205">
                  <c:v>118.44133056419</c:v>
                </c:pt>
                <c:pt idx="206">
                  <c:v>119.840691502822</c:v>
                </c:pt>
                <c:pt idx="207">
                  <c:v>120.44616695401299</c:v>
                </c:pt>
                <c:pt idx="208">
                  <c:v>121.158545043209</c:v>
                </c:pt>
                <c:pt idx="209">
                  <c:v>121.064034501088</c:v>
                </c:pt>
                <c:pt idx="210">
                  <c:v>121.98150203215199</c:v>
                </c:pt>
                <c:pt idx="211">
                  <c:v>122.63398860633798</c:v>
                </c:pt>
                <c:pt idx="212">
                  <c:v>122.63398860633798</c:v>
                </c:pt>
                <c:pt idx="213">
                  <c:v>122.12648618420501</c:v>
                </c:pt>
                <c:pt idx="214">
                  <c:v>123.194635225735</c:v>
                </c:pt>
                <c:pt idx="215">
                  <c:v>123.159668084282</c:v>
                </c:pt>
                <c:pt idx="216">
                  <c:v>124.01860260162501</c:v>
                </c:pt>
                <c:pt idx="217">
                  <c:v>125.03400755951</c:v>
                </c:pt>
                <c:pt idx="218">
                  <c:v>125.03400755951</c:v>
                </c:pt>
                <c:pt idx="219">
                  <c:v>124.44242563087799</c:v>
                </c:pt>
                <c:pt idx="220">
                  <c:v>124.59665413114101</c:v>
                </c:pt>
                <c:pt idx="221">
                  <c:v>125.33293290855801</c:v>
                </c:pt>
                <c:pt idx="222">
                  <c:v>125.779055429173</c:v>
                </c:pt>
                <c:pt idx="223">
                  <c:v>125.55144158535101</c:v>
                </c:pt>
                <c:pt idx="224">
                  <c:v>125.98019202220701</c:v>
                </c:pt>
                <c:pt idx="225">
                  <c:v>125.98019202220701</c:v>
                </c:pt>
                <c:pt idx="226">
                  <c:v>126.64671701327602</c:v>
                </c:pt>
                <c:pt idx="227">
                  <c:v>126.02490320200501</c:v>
                </c:pt>
                <c:pt idx="228">
                  <c:v>124.41198868839601</c:v>
                </c:pt>
                <c:pt idx="229">
                  <c:v>124.36584331624501</c:v>
                </c:pt>
                <c:pt idx="230">
                  <c:v>124.10423866500699</c:v>
                </c:pt>
                <c:pt idx="231">
                  <c:v>124.73590716237099</c:v>
                </c:pt>
                <c:pt idx="232">
                  <c:v>124.11085383809699</c:v>
                </c:pt>
                <c:pt idx="233">
                  <c:v>124.330788379612</c:v>
                </c:pt>
                <c:pt idx="234">
                  <c:v>122.68029798117598</c:v>
                </c:pt>
                <c:pt idx="235">
                  <c:v>122.75447325540398</c:v>
                </c:pt>
                <c:pt idx="236">
                  <c:v>122.819370063959</c:v>
                </c:pt>
                <c:pt idx="237">
                  <c:v>120.96838284758</c:v>
                </c:pt>
                <c:pt idx="238">
                  <c:v>121.308666665741</c:v>
                </c:pt>
                <c:pt idx="239">
                  <c:v>122.587058919827</c:v>
                </c:pt>
                <c:pt idx="240">
                  <c:v>122.83413698716301</c:v>
                </c:pt>
                <c:pt idx="241">
                  <c:v>122.025479638039</c:v>
                </c:pt>
                <c:pt idx="242">
                  <c:v>121.58137075795898</c:v>
                </c:pt>
                <c:pt idx="243">
                  <c:v>122.14085225140498</c:v>
                </c:pt>
                <c:pt idx="244">
                  <c:v>122.110067420525</c:v>
                </c:pt>
                <c:pt idx="245">
                  <c:v>123.20704200794501</c:v>
                </c:pt>
                <c:pt idx="246">
                  <c:v>123.71508091672298</c:v>
                </c:pt>
                <c:pt idx="247">
                  <c:v>123.039666825144</c:v>
                </c:pt>
                <c:pt idx="248">
                  <c:v>118.792295892456</c:v>
                </c:pt>
                <c:pt idx="249">
                  <c:v>118.56884938238299</c:v>
                </c:pt>
                <c:pt idx="250">
                  <c:v>116.89804776289601</c:v>
                </c:pt>
                <c:pt idx="251">
                  <c:v>117.86680688382999</c:v>
                </c:pt>
                <c:pt idx="252">
                  <c:v>118.97735273385702</c:v>
                </c:pt>
                <c:pt idx="253">
                  <c:v>119.86255944214498</c:v>
                </c:pt>
                <c:pt idx="254">
                  <c:v>119.657397052812</c:v>
                </c:pt>
                <c:pt idx="255">
                  <c:v>120.56471100684098</c:v>
                </c:pt>
                <c:pt idx="256">
                  <c:v>120.619184913738</c:v>
                </c:pt>
                <c:pt idx="257">
                  <c:v>120.266554898496</c:v>
                </c:pt>
                <c:pt idx="258">
                  <c:v>120.904928526731</c:v>
                </c:pt>
                <c:pt idx="259">
                  <c:v>120.976732717845</c:v>
                </c:pt>
                <c:pt idx="260">
                  <c:v>121.69744131072299</c:v>
                </c:pt>
                <c:pt idx="261">
                  <c:v>122.612819929796</c:v>
                </c:pt>
                <c:pt idx="262">
                  <c:v>123.02301708267601</c:v>
                </c:pt>
                <c:pt idx="263">
                  <c:v>124.97670503396002</c:v>
                </c:pt>
                <c:pt idx="264">
                  <c:v>125.113321272547</c:v>
                </c:pt>
                <c:pt idx="265">
                  <c:v>125.33333980048</c:v>
                </c:pt>
                <c:pt idx="266">
                  <c:v>125.29944463171002</c:v>
                </c:pt>
                <c:pt idx="267">
                  <c:v>125.54494028777398</c:v>
                </c:pt>
                <c:pt idx="268">
                  <c:v>126.196884371675</c:v>
                </c:pt>
                <c:pt idx="269">
                  <c:v>126.398309010362</c:v>
                </c:pt>
                <c:pt idx="270">
                  <c:v>126.99235643420398</c:v>
                </c:pt>
                <c:pt idx="271">
                  <c:v>126.92476741230001</c:v>
                </c:pt>
                <c:pt idx="272">
                  <c:v>126.80949895887601</c:v>
                </c:pt>
                <c:pt idx="273">
                  <c:v>126.75588986677199</c:v>
                </c:pt>
                <c:pt idx="274">
                  <c:v>126.62972516010799</c:v>
                </c:pt>
                <c:pt idx="275">
                  <c:v>126.02016891151999</c:v>
                </c:pt>
                <c:pt idx="276">
                  <c:v>126.14722147921201</c:v>
                </c:pt>
                <c:pt idx="277">
                  <c:v>125.95686503674899</c:v>
                </c:pt>
                <c:pt idx="278">
                  <c:v>127.38290276653601</c:v>
                </c:pt>
                <c:pt idx="279">
                  <c:v>128.13087586182701</c:v>
                </c:pt>
                <c:pt idx="280">
                  <c:v>127.85597014410199</c:v>
                </c:pt>
                <c:pt idx="281">
                  <c:v>127.656509664328</c:v>
                </c:pt>
                <c:pt idx="282">
                  <c:v>126.96967667997198</c:v>
                </c:pt>
                <c:pt idx="283">
                  <c:v>127.69174890628202</c:v>
                </c:pt>
                <c:pt idx="284">
                  <c:v>127.626170878148</c:v>
                </c:pt>
                <c:pt idx="285">
                  <c:v>127.39132571337699</c:v>
                </c:pt>
                <c:pt idx="286">
                  <c:v>127.665415549211</c:v>
                </c:pt>
                <c:pt idx="287">
                  <c:v>127.69932091771501</c:v>
                </c:pt>
                <c:pt idx="288">
                  <c:v>127.69932091771501</c:v>
                </c:pt>
                <c:pt idx="289">
                  <c:v>126.18893887567599</c:v>
                </c:pt>
                <c:pt idx="290">
                  <c:v>125.587869612765</c:v>
                </c:pt>
                <c:pt idx="291">
                  <c:v>125.529384079452</c:v>
                </c:pt>
                <c:pt idx="292">
                  <c:v>124.636928329791</c:v>
                </c:pt>
                <c:pt idx="293">
                  <c:v>125.31998079563</c:v>
                </c:pt>
                <c:pt idx="294">
                  <c:v>126.22378475003802</c:v>
                </c:pt>
                <c:pt idx="295">
                  <c:v>125.88983054469</c:v>
                </c:pt>
                <c:pt idx="296">
                  <c:v>124.219309611555</c:v>
                </c:pt>
                <c:pt idx="297">
                  <c:v>123.87147498836998</c:v>
                </c:pt>
                <c:pt idx="298">
                  <c:v>123.97057718608799</c:v>
                </c:pt>
                <c:pt idx="299">
                  <c:v>123.27587413857599</c:v>
                </c:pt>
                <c:pt idx="300">
                  <c:v>123.99661129716399</c:v>
                </c:pt>
                <c:pt idx="301">
                  <c:v>124.41048493773002</c:v>
                </c:pt>
                <c:pt idx="302">
                  <c:v>125.285990956543</c:v>
                </c:pt>
                <c:pt idx="303">
                  <c:v>125.40111813073899</c:v>
                </c:pt>
                <c:pt idx="304">
                  <c:v>125.811092793851</c:v>
                </c:pt>
                <c:pt idx="305">
                  <c:v>126.950761240883</c:v>
                </c:pt>
                <c:pt idx="306">
                  <c:v>128.05985043331901</c:v>
                </c:pt>
                <c:pt idx="307">
                  <c:v>128.62439448084399</c:v>
                </c:pt>
                <c:pt idx="308">
                  <c:v>128.40509261333901</c:v>
                </c:pt>
                <c:pt idx="309">
                  <c:v>128.47258841742001</c:v>
                </c:pt>
                <c:pt idx="310">
                  <c:v>129.54704628496401</c:v>
                </c:pt>
                <c:pt idx="311">
                  <c:v>129.60842944652401</c:v>
                </c:pt>
                <c:pt idx="312">
                  <c:v>130.80868821945799</c:v>
                </c:pt>
                <c:pt idx="313">
                  <c:v>131.788027498709</c:v>
                </c:pt>
                <c:pt idx="314">
                  <c:v>130.96166221698601</c:v>
                </c:pt>
                <c:pt idx="315">
                  <c:v>130.51716016298101</c:v>
                </c:pt>
                <c:pt idx="316">
                  <c:v>130.334859735154</c:v>
                </c:pt>
                <c:pt idx="317">
                  <c:v>130.18928777500901</c:v>
                </c:pt>
                <c:pt idx="318">
                  <c:v>130.52777898990999</c:v>
                </c:pt>
                <c:pt idx="319">
                  <c:v>130.38832616009199</c:v>
                </c:pt>
                <c:pt idx="320">
                  <c:v>129.44124951116399</c:v>
                </c:pt>
                <c:pt idx="321">
                  <c:v>130.27212740054401</c:v>
                </c:pt>
                <c:pt idx="322">
                  <c:v>130.07371742882299</c:v>
                </c:pt>
                <c:pt idx="323">
                  <c:v>129.384359622956</c:v>
                </c:pt>
                <c:pt idx="324">
                  <c:v>129.78113211826701</c:v>
                </c:pt>
                <c:pt idx="325">
                  <c:v>128.850204876118</c:v>
                </c:pt>
                <c:pt idx="326">
                  <c:v>127.751896157028</c:v>
                </c:pt>
                <c:pt idx="327">
                  <c:v>127.48238442018301</c:v>
                </c:pt>
                <c:pt idx="328">
                  <c:v>129.68343380419901</c:v>
                </c:pt>
                <c:pt idx="329">
                  <c:v>130.64284770930101</c:v>
                </c:pt>
                <c:pt idx="330">
                  <c:v>131.09785629632799</c:v>
                </c:pt>
                <c:pt idx="331">
                  <c:v>130.71345688537099</c:v>
                </c:pt>
                <c:pt idx="332">
                  <c:v>131.73839733577299</c:v>
                </c:pt>
                <c:pt idx="333">
                  <c:v>133.107995966864</c:v>
                </c:pt>
                <c:pt idx="334">
                  <c:v>134.07423443010299</c:v>
                </c:pt>
                <c:pt idx="335">
                  <c:v>134.209039021622</c:v>
                </c:pt>
                <c:pt idx="336">
                  <c:v>135.14131714753699</c:v>
                </c:pt>
                <c:pt idx="337">
                  <c:v>134.388161296238</c:v>
                </c:pt>
                <c:pt idx="338">
                  <c:v>134.91560548956201</c:v>
                </c:pt>
                <c:pt idx="339">
                  <c:v>134.919713561565</c:v>
                </c:pt>
                <c:pt idx="340">
                  <c:v>135.110038533329</c:v>
                </c:pt>
                <c:pt idx="341">
                  <c:v>135.458955845373</c:v>
                </c:pt>
                <c:pt idx="342">
                  <c:v>135.25731110546201</c:v>
                </c:pt>
                <c:pt idx="343">
                  <c:v>134.50803128221699</c:v>
                </c:pt>
                <c:pt idx="344">
                  <c:v>134.50803128221699</c:v>
                </c:pt>
                <c:pt idx="345">
                  <c:v>134.58996813445501</c:v>
                </c:pt>
                <c:pt idx="346">
                  <c:v>134.22862809504699</c:v>
                </c:pt>
                <c:pt idx="347">
                  <c:v>134.972574296598</c:v>
                </c:pt>
                <c:pt idx="348">
                  <c:v>133.387149486493</c:v>
                </c:pt>
                <c:pt idx="349">
                  <c:v>134.06037947932299</c:v>
                </c:pt>
                <c:pt idx="350">
                  <c:v>134.44597319521699</c:v>
                </c:pt>
                <c:pt idx="351">
                  <c:v>134.258051003209</c:v>
                </c:pt>
                <c:pt idx="352">
                  <c:v>134.54870685331301</c:v>
                </c:pt>
                <c:pt idx="353">
                  <c:v>135.50757068288399</c:v>
                </c:pt>
                <c:pt idx="354">
                  <c:v>136.23906294459499</c:v>
                </c:pt>
                <c:pt idx="355">
                  <c:v>136.35787464360999</c:v>
                </c:pt>
                <c:pt idx="356">
                  <c:v>135.83209981751901</c:v>
                </c:pt>
                <c:pt idx="357">
                  <c:v>135.42129700701301</c:v>
                </c:pt>
                <c:pt idx="358">
                  <c:v>135.84689801775599</c:v>
                </c:pt>
                <c:pt idx="359">
                  <c:v>136.425982883621</c:v>
                </c:pt>
                <c:pt idx="360">
                  <c:v>136.473529073046</c:v>
                </c:pt>
                <c:pt idx="361">
                  <c:v>136.330283265541</c:v>
                </c:pt>
                <c:pt idx="362">
                  <c:v>136.589300734868</c:v>
                </c:pt>
                <c:pt idx="363">
                  <c:v>136.93276022086201</c:v>
                </c:pt>
                <c:pt idx="364">
                  <c:v>136.898447121217</c:v>
                </c:pt>
                <c:pt idx="365">
                  <c:v>136.30808060709799</c:v>
                </c:pt>
                <c:pt idx="366">
                  <c:v>135.63910951967901</c:v>
                </c:pt>
                <c:pt idx="367">
                  <c:v>134.93865479048799</c:v>
                </c:pt>
                <c:pt idx="368">
                  <c:v>134.44815580919399</c:v>
                </c:pt>
                <c:pt idx="369">
                  <c:v>135.61184830958501</c:v>
                </c:pt>
                <c:pt idx="370">
                  <c:v>136.03455663056101</c:v>
                </c:pt>
                <c:pt idx="371">
                  <c:v>135.751946143471</c:v>
                </c:pt>
                <c:pt idx="372">
                  <c:v>134.57427884542599</c:v>
                </c:pt>
                <c:pt idx="373">
                  <c:v>133.630442903774</c:v>
                </c:pt>
                <c:pt idx="374">
                  <c:v>133.54662203800001</c:v>
                </c:pt>
                <c:pt idx="375">
                  <c:v>134.43798393073899</c:v>
                </c:pt>
                <c:pt idx="376">
                  <c:v>133.98177148459399</c:v>
                </c:pt>
                <c:pt idx="377">
                  <c:v>135.748323591721</c:v>
                </c:pt>
                <c:pt idx="378">
                  <c:v>136.147423724444</c:v>
                </c:pt>
                <c:pt idx="379">
                  <c:v>136.84366596346999</c:v>
                </c:pt>
                <c:pt idx="380">
                  <c:v>137.75411630344499</c:v>
                </c:pt>
                <c:pt idx="381">
                  <c:v>137.75411630344499</c:v>
                </c:pt>
                <c:pt idx="382">
                  <c:v>137.75411630344499</c:v>
                </c:pt>
                <c:pt idx="383">
                  <c:v>137.75411630344499</c:v>
                </c:pt>
                <c:pt idx="384">
                  <c:v>139.205188344427</c:v>
                </c:pt>
                <c:pt idx="385">
                  <c:v>139.378794564131</c:v>
                </c:pt>
                <c:pt idx="386">
                  <c:v>139.795176919667</c:v>
                </c:pt>
                <c:pt idx="387">
                  <c:v>139.795176919667</c:v>
                </c:pt>
                <c:pt idx="388">
                  <c:v>138.47120618561101</c:v>
                </c:pt>
                <c:pt idx="389">
                  <c:v>138.54549184936701</c:v>
                </c:pt>
                <c:pt idx="390">
                  <c:v>138.13453539729699</c:v>
                </c:pt>
                <c:pt idx="391">
                  <c:v>138.68145553091799</c:v>
                </c:pt>
                <c:pt idx="392">
                  <c:v>138.909332147002</c:v>
                </c:pt>
                <c:pt idx="393">
                  <c:v>138.58971909051701</c:v>
                </c:pt>
                <c:pt idx="394">
                  <c:v>139.325436979394</c:v>
                </c:pt>
                <c:pt idx="395">
                  <c:v>138.514685521579</c:v>
                </c:pt>
                <c:pt idx="396">
                  <c:v>139.04810133641701</c:v>
                </c:pt>
                <c:pt idx="397">
                  <c:v>139.752745574096</c:v>
                </c:pt>
                <c:pt idx="398">
                  <c:v>139.697915935335</c:v>
                </c:pt>
                <c:pt idx="399">
                  <c:v>139.529163368827</c:v>
                </c:pt>
                <c:pt idx="400">
                  <c:v>139.51204692397101</c:v>
                </c:pt>
                <c:pt idx="401">
                  <c:v>139.71419309701</c:v>
                </c:pt>
                <c:pt idx="402">
                  <c:v>139.91430723126001</c:v>
                </c:pt>
                <c:pt idx="403">
                  <c:v>138.967354722133</c:v>
                </c:pt>
                <c:pt idx="404">
                  <c:v>136.26571739962401</c:v>
                </c:pt>
                <c:pt idx="405">
                  <c:v>135.13772438804699</c:v>
                </c:pt>
                <c:pt idx="406">
                  <c:v>135.679595298256</c:v>
                </c:pt>
                <c:pt idx="407">
                  <c:v>135.05051579035</c:v>
                </c:pt>
                <c:pt idx="408">
                  <c:v>135.375000962841</c:v>
                </c:pt>
                <c:pt idx="409">
                  <c:v>134.61737814446701</c:v>
                </c:pt>
                <c:pt idx="410">
                  <c:v>132.38268719709299</c:v>
                </c:pt>
                <c:pt idx="411">
                  <c:v>132.217729189876</c:v>
                </c:pt>
                <c:pt idx="412">
                  <c:v>132.44234347266601</c:v>
                </c:pt>
                <c:pt idx="413">
                  <c:v>134.17921929216101</c:v>
                </c:pt>
                <c:pt idx="414">
                  <c:v>135.790050251868</c:v>
                </c:pt>
                <c:pt idx="415">
                  <c:v>136.21258320842799</c:v>
                </c:pt>
                <c:pt idx="416">
                  <c:v>137.708073025467</c:v>
                </c:pt>
                <c:pt idx="417">
                  <c:v>138.02643990684899</c:v>
                </c:pt>
                <c:pt idx="418">
                  <c:v>138.49496817681501</c:v>
                </c:pt>
                <c:pt idx="419">
                  <c:v>139.08411230445199</c:v>
                </c:pt>
                <c:pt idx="420">
                  <c:v>139.386253151939</c:v>
                </c:pt>
                <c:pt idx="421">
                  <c:v>139.98513147324101</c:v>
                </c:pt>
                <c:pt idx="422">
                  <c:v>139.55188740797999</c:v>
                </c:pt>
                <c:pt idx="423">
                  <c:v>139.643354297814</c:v>
                </c:pt>
                <c:pt idx="424">
                  <c:v>139.975358804629</c:v>
                </c:pt>
                <c:pt idx="425">
                  <c:v>140.701236984237</c:v>
                </c:pt>
                <c:pt idx="426">
                  <c:v>140.798126226996</c:v>
                </c:pt>
                <c:pt idx="427">
                  <c:v>140.43271413743099</c:v>
                </c:pt>
                <c:pt idx="428">
                  <c:v>140.76249171307001</c:v>
                </c:pt>
                <c:pt idx="429">
                  <c:v>141.35646476923</c:v>
                </c:pt>
                <c:pt idx="430">
                  <c:v>139.68516120017199</c:v>
                </c:pt>
                <c:pt idx="431">
                  <c:v>141.57953137148701</c:v>
                </c:pt>
                <c:pt idx="432">
                  <c:v>141.71071789784801</c:v>
                </c:pt>
                <c:pt idx="433">
                  <c:v>142.33463375810899</c:v>
                </c:pt>
                <c:pt idx="434">
                  <c:v>141.92547262062101</c:v>
                </c:pt>
                <c:pt idx="435">
                  <c:v>141.53727264673199</c:v>
                </c:pt>
                <c:pt idx="436">
                  <c:v>141.17450687171299</c:v>
                </c:pt>
                <c:pt idx="437">
                  <c:v>140.67105335666901</c:v>
                </c:pt>
                <c:pt idx="438">
                  <c:v>139.50745032989499</c:v>
                </c:pt>
                <c:pt idx="439">
                  <c:v>138.618493766847</c:v>
                </c:pt>
                <c:pt idx="440">
                  <c:v>139.70631218856801</c:v>
                </c:pt>
                <c:pt idx="441">
                  <c:v>140.68445032002299</c:v>
                </c:pt>
                <c:pt idx="442">
                  <c:v>140.062627438736</c:v>
                </c:pt>
                <c:pt idx="443">
                  <c:v>139.75308797529499</c:v>
                </c:pt>
                <c:pt idx="444">
                  <c:v>139.686688642625</c:v>
                </c:pt>
                <c:pt idx="445">
                  <c:v>139.06846604151599</c:v>
                </c:pt>
                <c:pt idx="446">
                  <c:v>139.89575875665301</c:v>
                </c:pt>
                <c:pt idx="447">
                  <c:v>139.795388273649</c:v>
                </c:pt>
                <c:pt idx="448">
                  <c:v>139.79694157049099</c:v>
                </c:pt>
                <c:pt idx="449">
                  <c:v>140.53956177433801</c:v>
                </c:pt>
                <c:pt idx="450">
                  <c:v>141.561049259707</c:v>
                </c:pt>
                <c:pt idx="451">
                  <c:v>142.39937576310501</c:v>
                </c:pt>
                <c:pt idx="452">
                  <c:v>142.73453608700501</c:v>
                </c:pt>
                <c:pt idx="453">
                  <c:v>142.54607082371399</c:v>
                </c:pt>
                <c:pt idx="454">
                  <c:v>141.81051267687499</c:v>
                </c:pt>
                <c:pt idx="455">
                  <c:v>140.379835907916</c:v>
                </c:pt>
                <c:pt idx="456">
                  <c:v>140.77750081540299</c:v>
                </c:pt>
                <c:pt idx="457">
                  <c:v>141.76974301645899</c:v>
                </c:pt>
                <c:pt idx="458">
                  <c:v>140.152461402791</c:v>
                </c:pt>
                <c:pt idx="459">
                  <c:v>138.66729733171499</c:v>
                </c:pt>
                <c:pt idx="460">
                  <c:v>139.198992135097</c:v>
                </c:pt>
                <c:pt idx="461">
                  <c:v>139.40211428712001</c:v>
                </c:pt>
                <c:pt idx="462">
                  <c:v>140.94784767135499</c:v>
                </c:pt>
                <c:pt idx="463">
                  <c:v>141.375762601513</c:v>
                </c:pt>
                <c:pt idx="464">
                  <c:v>141.375762601513</c:v>
                </c:pt>
                <c:pt idx="465">
                  <c:v>141.375762601513</c:v>
                </c:pt>
                <c:pt idx="466">
                  <c:v>142.41915440310501</c:v>
                </c:pt>
                <c:pt idx="467">
                  <c:v>142.21343519221401</c:v>
                </c:pt>
                <c:pt idx="468">
                  <c:v>142.38034777188699</c:v>
                </c:pt>
                <c:pt idx="469">
                  <c:v>141.512825368965</c:v>
                </c:pt>
                <c:pt idx="470">
                  <c:v>141.684432666737</c:v>
                </c:pt>
                <c:pt idx="471">
                  <c:v>142.519076033255</c:v>
                </c:pt>
                <c:pt idx="472">
                  <c:v>143.01159814471001</c:v>
                </c:pt>
                <c:pt idx="473">
                  <c:v>143.01159814471001</c:v>
                </c:pt>
                <c:pt idx="474">
                  <c:v>143.150066183749</c:v>
                </c:pt>
                <c:pt idx="475">
                  <c:v>143.24828729874301</c:v>
                </c:pt>
                <c:pt idx="476">
                  <c:v>142.721765471243</c:v>
                </c:pt>
                <c:pt idx="477">
                  <c:v>142.81740308397801</c:v>
                </c:pt>
                <c:pt idx="478">
                  <c:v>143.08028134631201</c:v>
                </c:pt>
                <c:pt idx="479">
                  <c:v>142.815020219525</c:v>
                </c:pt>
                <c:pt idx="480">
                  <c:v>143.82957550083</c:v>
                </c:pt>
                <c:pt idx="481">
                  <c:v>144.117676188442</c:v>
                </c:pt>
                <c:pt idx="482">
                  <c:v>143.92068281776</c:v>
                </c:pt>
                <c:pt idx="483">
                  <c:v>142.88021498296899</c:v>
                </c:pt>
                <c:pt idx="484">
                  <c:v>143.018013486934</c:v>
                </c:pt>
                <c:pt idx="485">
                  <c:v>143.22819940667901</c:v>
                </c:pt>
                <c:pt idx="486">
                  <c:v>142.57524035240601</c:v>
                </c:pt>
                <c:pt idx="487">
                  <c:v>143.32383708396901</c:v>
                </c:pt>
                <c:pt idx="488">
                  <c:v>143.832729381256</c:v>
                </c:pt>
                <c:pt idx="489">
                  <c:v>144.315349261655</c:v>
                </c:pt>
                <c:pt idx="490">
                  <c:v>144.765637114805</c:v>
                </c:pt>
                <c:pt idx="491">
                  <c:v>145.15150509380101</c:v>
                </c:pt>
                <c:pt idx="492">
                  <c:v>145.04162920104099</c:v>
                </c:pt>
                <c:pt idx="493">
                  <c:v>145.04162920104099</c:v>
                </c:pt>
                <c:pt idx="494">
                  <c:v>145.825324960491</c:v>
                </c:pt>
                <c:pt idx="495">
                  <c:v>146.020650061379</c:v>
                </c:pt>
                <c:pt idx="496">
                  <c:v>145.90202718655499</c:v>
                </c:pt>
                <c:pt idx="497">
                  <c:v>146.08861669938699</c:v>
                </c:pt>
                <c:pt idx="498">
                  <c:v>146.76285746649501</c:v>
                </c:pt>
                <c:pt idx="499">
                  <c:v>147.53023206984801</c:v>
                </c:pt>
                <c:pt idx="500">
                  <c:v>147.53023206984801</c:v>
                </c:pt>
                <c:pt idx="501">
                  <c:v>147.60916271185999</c:v>
                </c:pt>
                <c:pt idx="502">
                  <c:v>147.28766228496499</c:v>
                </c:pt>
                <c:pt idx="503">
                  <c:v>146.81793680507499</c:v>
                </c:pt>
                <c:pt idx="504">
                  <c:v>146.96586929354601</c:v>
                </c:pt>
                <c:pt idx="505">
                  <c:v>146.948256805928</c:v>
                </c:pt>
                <c:pt idx="506">
                  <c:v>147.099582836298</c:v>
                </c:pt>
                <c:pt idx="507">
                  <c:v>147.87918530690499</c:v>
                </c:pt>
                <c:pt idx="508">
                  <c:v>148.79222014974599</c:v>
                </c:pt>
                <c:pt idx="509">
                  <c:v>148.71032377366799</c:v>
                </c:pt>
                <c:pt idx="510">
                  <c:v>148.71032377366799</c:v>
                </c:pt>
                <c:pt idx="511">
                  <c:v>147.903451184338</c:v>
                </c:pt>
                <c:pt idx="512">
                  <c:v>147.94688271712201</c:v>
                </c:pt>
                <c:pt idx="513">
                  <c:v>147.899465799643</c:v>
                </c:pt>
                <c:pt idx="514">
                  <c:v>148.21371111696899</c:v>
                </c:pt>
                <c:pt idx="515">
                  <c:v>148.434026147298</c:v>
                </c:pt>
                <c:pt idx="516">
                  <c:v>149.41187791153601</c:v>
                </c:pt>
                <c:pt idx="517">
                  <c:v>149.60594444270799</c:v>
                </c:pt>
                <c:pt idx="518">
                  <c:v>150.21796144169301</c:v>
                </c:pt>
                <c:pt idx="519">
                  <c:v>150.160761139427</c:v>
                </c:pt>
                <c:pt idx="520">
                  <c:v>149.43015186482</c:v>
                </c:pt>
                <c:pt idx="521">
                  <c:v>148.32544329677299</c:v>
                </c:pt>
                <c:pt idx="522">
                  <c:v>148.70927975342099</c:v>
                </c:pt>
                <c:pt idx="523">
                  <c:v>147.72605414955001</c:v>
                </c:pt>
                <c:pt idx="524">
                  <c:v>147.86106134781201</c:v>
                </c:pt>
                <c:pt idx="525">
                  <c:v>148.801061285684</c:v>
                </c:pt>
                <c:pt idx="526">
                  <c:v>148.324516960799</c:v>
                </c:pt>
                <c:pt idx="527">
                  <c:v>149.19070103595701</c:v>
                </c:pt>
                <c:pt idx="528">
                  <c:v>147.798979504469</c:v>
                </c:pt>
                <c:pt idx="529">
                  <c:v>148.583340796567</c:v>
                </c:pt>
                <c:pt idx="530">
                  <c:v>148.22885798026701</c:v>
                </c:pt>
                <c:pt idx="531">
                  <c:v>149.13984051396099</c:v>
                </c:pt>
                <c:pt idx="532">
                  <c:v>149.43073079656099</c:v>
                </c:pt>
                <c:pt idx="533">
                  <c:v>149.61489025502999</c:v>
                </c:pt>
                <c:pt idx="534">
                  <c:v>148.932503289561</c:v>
                </c:pt>
                <c:pt idx="535">
                  <c:v>148.932911989031</c:v>
                </c:pt>
                <c:pt idx="536">
                  <c:v>148.59432203683201</c:v>
                </c:pt>
                <c:pt idx="537">
                  <c:v>148.264579450154</c:v>
                </c:pt>
                <c:pt idx="538">
                  <c:v>146.065114833678</c:v>
                </c:pt>
                <c:pt idx="539">
                  <c:v>145.334265768488</c:v>
                </c:pt>
                <c:pt idx="540">
                  <c:v>145.71263258547</c:v>
                </c:pt>
                <c:pt idx="541">
                  <c:v>144.702392146726</c:v>
                </c:pt>
                <c:pt idx="542">
                  <c:v>144.315621846319</c:v>
                </c:pt>
                <c:pt idx="543">
                  <c:v>143.61073839905501</c:v>
                </c:pt>
                <c:pt idx="544">
                  <c:v>144.11298782903799</c:v>
                </c:pt>
                <c:pt idx="545">
                  <c:v>145.064006352403</c:v>
                </c:pt>
                <c:pt idx="546">
                  <c:v>144.87576703258799</c:v>
                </c:pt>
                <c:pt idx="547">
                  <c:v>145.736335928203</c:v>
                </c:pt>
                <c:pt idx="548">
                  <c:v>146.334698614215</c:v>
                </c:pt>
                <c:pt idx="549">
                  <c:v>146.334698614215</c:v>
                </c:pt>
                <c:pt idx="550">
                  <c:v>147.343964139138</c:v>
                </c:pt>
                <c:pt idx="551">
                  <c:v>148.012209592944</c:v>
                </c:pt>
                <c:pt idx="552">
                  <c:v>148.11684385528301</c:v>
                </c:pt>
                <c:pt idx="553">
                  <c:v>148.64141424125799</c:v>
                </c:pt>
                <c:pt idx="554">
                  <c:v>148.14200453343599</c:v>
                </c:pt>
                <c:pt idx="555">
                  <c:v>148.940462600389</c:v>
                </c:pt>
                <c:pt idx="556">
                  <c:v>149.27594754050901</c:v>
                </c:pt>
                <c:pt idx="557">
                  <c:v>149.434592170565</c:v>
                </c:pt>
                <c:pt idx="558">
                  <c:v>148.90334680103399</c:v>
                </c:pt>
                <c:pt idx="559">
                  <c:v>149.28369107531799</c:v>
                </c:pt>
                <c:pt idx="560">
                  <c:v>149.257408555528</c:v>
                </c:pt>
                <c:pt idx="561">
                  <c:v>149.16981491787001</c:v>
                </c:pt>
                <c:pt idx="562">
                  <c:v>149.609057879251</c:v>
                </c:pt>
                <c:pt idx="563">
                  <c:v>149.32425903276399</c:v>
                </c:pt>
                <c:pt idx="564">
                  <c:v>149.499910912422</c:v>
                </c:pt>
                <c:pt idx="565">
                  <c:v>148.97413789388</c:v>
                </c:pt>
                <c:pt idx="566">
                  <c:v>148.027603606127</c:v>
                </c:pt>
                <c:pt idx="567">
                  <c:v>148.26315710369499</c:v>
                </c:pt>
                <c:pt idx="568">
                  <c:v>148.385674114327</c:v>
                </c:pt>
                <c:pt idx="569">
                  <c:v>147.746922805433</c:v>
                </c:pt>
                <c:pt idx="570">
                  <c:v>147.52380982020901</c:v>
                </c:pt>
                <c:pt idx="571">
                  <c:v>148.01076681473899</c:v>
                </c:pt>
                <c:pt idx="572">
                  <c:v>148.25323941164999</c:v>
                </c:pt>
                <c:pt idx="573">
                  <c:v>148.893867213389</c:v>
                </c:pt>
                <c:pt idx="574">
                  <c:v>148.68991216915799</c:v>
                </c:pt>
                <c:pt idx="575">
                  <c:v>147.51330015625601</c:v>
                </c:pt>
                <c:pt idx="576">
                  <c:v>146.65054554800901</c:v>
                </c:pt>
                <c:pt idx="577">
                  <c:v>147.29111031151899</c:v>
                </c:pt>
                <c:pt idx="578">
                  <c:v>145.534185042628</c:v>
                </c:pt>
                <c:pt idx="579">
                  <c:v>146.03215135897</c:v>
                </c:pt>
                <c:pt idx="580">
                  <c:v>145.55116421068399</c:v>
                </c:pt>
                <c:pt idx="581">
                  <c:v>145.23196669652901</c:v>
                </c:pt>
                <c:pt idx="582">
                  <c:v>143.59734295275001</c:v>
                </c:pt>
                <c:pt idx="583">
                  <c:v>142.644693117488</c:v>
                </c:pt>
                <c:pt idx="584">
                  <c:v>143.27262664008299</c:v>
                </c:pt>
                <c:pt idx="585">
                  <c:v>143.661744105873</c:v>
                </c:pt>
                <c:pt idx="586">
                  <c:v>142.083325125128</c:v>
                </c:pt>
                <c:pt idx="587">
                  <c:v>143.13891790669999</c:v>
                </c:pt>
                <c:pt idx="588">
                  <c:v>141.38859183346801</c:v>
                </c:pt>
                <c:pt idx="589">
                  <c:v>139.14876606238099</c:v>
                </c:pt>
                <c:pt idx="590">
                  <c:v>138.03349328117099</c:v>
                </c:pt>
                <c:pt idx="591">
                  <c:v>137.78818109120999</c:v>
                </c:pt>
                <c:pt idx="592">
                  <c:v>136.46573292568399</c:v>
                </c:pt>
                <c:pt idx="593">
                  <c:v>136.24499509055599</c:v>
                </c:pt>
                <c:pt idx="594">
                  <c:v>138.03764718742201</c:v>
                </c:pt>
                <c:pt idx="595">
                  <c:v>139.10828615833501</c:v>
                </c:pt>
                <c:pt idx="596">
                  <c:v>141.25564630486801</c:v>
                </c:pt>
                <c:pt idx="597">
                  <c:v>140.92638352530099</c:v>
                </c:pt>
                <c:pt idx="598">
                  <c:v>142.035874090184</c:v>
                </c:pt>
                <c:pt idx="599">
                  <c:v>142.71309982883099</c:v>
                </c:pt>
                <c:pt idx="600">
                  <c:v>142.624108988995</c:v>
                </c:pt>
                <c:pt idx="601">
                  <c:v>144.141192288589</c:v>
                </c:pt>
                <c:pt idx="602">
                  <c:v>144.303225457509</c:v>
                </c:pt>
                <c:pt idx="603">
                  <c:v>144.556044490349</c:v>
                </c:pt>
                <c:pt idx="604">
                  <c:v>146.17147301246101</c:v>
                </c:pt>
                <c:pt idx="605">
                  <c:v>145.40293893174501</c:v>
                </c:pt>
                <c:pt idx="606">
                  <c:v>145.32994166224401</c:v>
                </c:pt>
                <c:pt idx="607">
                  <c:v>146.06011270334099</c:v>
                </c:pt>
                <c:pt idx="608">
                  <c:v>146.185440612202</c:v>
                </c:pt>
                <c:pt idx="609">
                  <c:v>146.172144613304</c:v>
                </c:pt>
                <c:pt idx="610">
                  <c:v>146.835082009307</c:v>
                </c:pt>
                <c:pt idx="611">
                  <c:v>147.02924637400301</c:v>
                </c:pt>
                <c:pt idx="612">
                  <c:v>146.89721062294899</c:v>
                </c:pt>
                <c:pt idx="613">
                  <c:v>147.020650709514</c:v>
                </c:pt>
                <c:pt idx="614">
                  <c:v>147.11117186451199</c:v>
                </c:pt>
                <c:pt idx="615">
                  <c:v>146.92386536847599</c:v>
                </c:pt>
                <c:pt idx="616">
                  <c:v>148.075879205647</c:v>
                </c:pt>
                <c:pt idx="617">
                  <c:v>147.780201309902</c:v>
                </c:pt>
                <c:pt idx="618">
                  <c:v>147.85833901942499</c:v>
                </c:pt>
                <c:pt idx="619">
                  <c:v>148.87749896421499</c:v>
                </c:pt>
                <c:pt idx="620">
                  <c:v>149.12483463939199</c:v>
                </c:pt>
                <c:pt idx="621">
                  <c:v>149.36765677085901</c:v>
                </c:pt>
                <c:pt idx="622">
                  <c:v>149.82506174667</c:v>
                </c:pt>
                <c:pt idx="623">
                  <c:v>149.54458933041599</c:v>
                </c:pt>
                <c:pt idx="624">
                  <c:v>149.10088482460301</c:v>
                </c:pt>
                <c:pt idx="625">
                  <c:v>148.28295175340401</c:v>
                </c:pt>
                <c:pt idx="626">
                  <c:v>148.81121505638299</c:v>
                </c:pt>
                <c:pt idx="627">
                  <c:v>149.147114344561</c:v>
                </c:pt>
                <c:pt idx="628">
                  <c:v>148.88561365959899</c:v>
                </c:pt>
                <c:pt idx="629">
                  <c:v>149.05003969904101</c:v>
                </c:pt>
                <c:pt idx="630">
                  <c:v>148.027464489501</c:v>
                </c:pt>
                <c:pt idx="631">
                  <c:v>147.64280637326399</c:v>
                </c:pt>
                <c:pt idx="632">
                  <c:v>145.630103341715</c:v>
                </c:pt>
                <c:pt idx="633">
                  <c:v>145.705556423133</c:v>
                </c:pt>
                <c:pt idx="634">
                  <c:v>143.64852834918599</c:v>
                </c:pt>
                <c:pt idx="635">
                  <c:v>141.90062180780501</c:v>
                </c:pt>
                <c:pt idx="636">
                  <c:v>141.98418571129201</c:v>
                </c:pt>
                <c:pt idx="637">
                  <c:v>143.435192035</c:v>
                </c:pt>
                <c:pt idx="638">
                  <c:v>146.34825370572401</c:v>
                </c:pt>
                <c:pt idx="639">
                  <c:v>147.26618642212799</c:v>
                </c:pt>
                <c:pt idx="640">
                  <c:v>147.811797536082</c:v>
                </c:pt>
                <c:pt idx="641">
                  <c:v>147.887506966513</c:v>
                </c:pt>
                <c:pt idx="642">
                  <c:v>147.887506966513</c:v>
                </c:pt>
                <c:pt idx="643">
                  <c:v>147.887506966513</c:v>
                </c:pt>
                <c:pt idx="644">
                  <c:v>147.887506966513</c:v>
                </c:pt>
                <c:pt idx="645">
                  <c:v>148.579187406758</c:v>
                </c:pt>
                <c:pt idx="646">
                  <c:v>147.669499722848</c:v>
                </c:pt>
                <c:pt idx="647">
                  <c:v>146.69661622970199</c:v>
                </c:pt>
                <c:pt idx="648">
                  <c:v>146.69661622970199</c:v>
                </c:pt>
                <c:pt idx="649">
                  <c:v>146.28437173843099</c:v>
                </c:pt>
                <c:pt idx="650">
                  <c:v>143.41711326460199</c:v>
                </c:pt>
                <c:pt idx="651">
                  <c:v>141.96936049467001</c:v>
                </c:pt>
                <c:pt idx="652">
                  <c:v>142.660256943332</c:v>
                </c:pt>
                <c:pt idx="653">
                  <c:v>145.40541088248199</c:v>
                </c:pt>
                <c:pt idx="654">
                  <c:v>144.51562972257901</c:v>
                </c:pt>
                <c:pt idx="655">
                  <c:v>143.907603466377</c:v>
                </c:pt>
                <c:pt idx="656">
                  <c:v>144.04162235559801</c:v>
                </c:pt>
                <c:pt idx="657">
                  <c:v>142.94364312665201</c:v>
                </c:pt>
                <c:pt idx="658">
                  <c:v>142.69890457489799</c:v>
                </c:pt>
                <c:pt idx="659">
                  <c:v>143.791582685734</c:v>
                </c:pt>
                <c:pt idx="660">
                  <c:v>144.370399582636</c:v>
                </c:pt>
                <c:pt idx="661">
                  <c:v>144.66260779353101</c:v>
                </c:pt>
                <c:pt idx="662">
                  <c:v>145.44830615456399</c:v>
                </c:pt>
                <c:pt idx="663">
                  <c:v>146.84023720021</c:v>
                </c:pt>
                <c:pt idx="664">
                  <c:v>146.60582003693801</c:v>
                </c:pt>
                <c:pt idx="665">
                  <c:v>147.01978056890999</c:v>
                </c:pt>
                <c:pt idx="666">
                  <c:v>146.422838905974</c:v>
                </c:pt>
                <c:pt idx="667">
                  <c:v>145.03162190626699</c:v>
                </c:pt>
                <c:pt idx="668">
                  <c:v>145.434405014482</c:v>
                </c:pt>
                <c:pt idx="669">
                  <c:v>144.038523831324</c:v>
                </c:pt>
                <c:pt idx="670">
                  <c:v>145.48377437409201</c:v>
                </c:pt>
                <c:pt idx="671">
                  <c:v>147.27768374956901</c:v>
                </c:pt>
                <c:pt idx="672">
                  <c:v>147.28728399102999</c:v>
                </c:pt>
                <c:pt idx="673">
                  <c:v>148.371238036926</c:v>
                </c:pt>
                <c:pt idx="674">
                  <c:v>147.79085341507701</c:v>
                </c:pt>
                <c:pt idx="675">
                  <c:v>147.25130016848999</c:v>
                </c:pt>
                <c:pt idx="676">
                  <c:v>148.25249060269201</c:v>
                </c:pt>
                <c:pt idx="677">
                  <c:v>147.91090754498799</c:v>
                </c:pt>
                <c:pt idx="678">
                  <c:v>149.63434931412201</c:v>
                </c:pt>
                <c:pt idx="679">
                  <c:v>150.58262759501</c:v>
                </c:pt>
                <c:pt idx="680">
                  <c:v>150.64613049370601</c:v>
                </c:pt>
                <c:pt idx="681">
                  <c:v>150.82901062793701</c:v>
                </c:pt>
                <c:pt idx="682">
                  <c:v>151.199378690815</c:v>
                </c:pt>
                <c:pt idx="683">
                  <c:v>151.38102975709199</c:v>
                </c:pt>
                <c:pt idx="684">
                  <c:v>152.01532688085501</c:v>
                </c:pt>
                <c:pt idx="685">
                  <c:v>152.21260310049101</c:v>
                </c:pt>
                <c:pt idx="686">
                  <c:v>152.614892457655</c:v>
                </c:pt>
                <c:pt idx="687">
                  <c:v>152.803379863407</c:v>
                </c:pt>
                <c:pt idx="688">
                  <c:v>152.572668237697</c:v>
                </c:pt>
                <c:pt idx="689">
                  <c:v>152.47754393626201</c:v>
                </c:pt>
                <c:pt idx="690">
                  <c:v>152.81005884939</c:v>
                </c:pt>
                <c:pt idx="691">
                  <c:v>152.136384683964</c:v>
                </c:pt>
                <c:pt idx="692">
                  <c:v>151.49340493975001</c:v>
                </c:pt>
                <c:pt idx="693">
                  <c:v>151.78259677296299</c:v>
                </c:pt>
                <c:pt idx="694">
                  <c:v>149.92079641826601</c:v>
                </c:pt>
                <c:pt idx="695">
                  <c:v>149.91564519751299</c:v>
                </c:pt>
                <c:pt idx="696">
                  <c:v>147.40233757220901</c:v>
                </c:pt>
                <c:pt idx="697">
                  <c:v>147.27285169011401</c:v>
                </c:pt>
                <c:pt idx="698">
                  <c:v>148.83929324580899</c:v>
                </c:pt>
                <c:pt idx="699">
                  <c:v>148.083592851362</c:v>
                </c:pt>
                <c:pt idx="700">
                  <c:v>149.83463952289401</c:v>
                </c:pt>
                <c:pt idx="701">
                  <c:v>149.53775005367601</c:v>
                </c:pt>
                <c:pt idx="702">
                  <c:v>151.04982893121999</c:v>
                </c:pt>
                <c:pt idx="703">
                  <c:v>150.82914629085599</c:v>
                </c:pt>
                <c:pt idx="704">
                  <c:v>152.84562648404699</c:v>
                </c:pt>
                <c:pt idx="705">
                  <c:v>153.14877549132399</c:v>
                </c:pt>
                <c:pt idx="706">
                  <c:v>152.674658154426</c:v>
                </c:pt>
                <c:pt idx="707">
                  <c:v>151.30659939267801</c:v>
                </c:pt>
                <c:pt idx="708">
                  <c:v>150.32494428963099</c:v>
                </c:pt>
                <c:pt idx="709">
                  <c:v>150.42478464468499</c:v>
                </c:pt>
                <c:pt idx="710">
                  <c:v>151.50774557217099</c:v>
                </c:pt>
                <c:pt idx="711">
                  <c:v>150.09072947488099</c:v>
                </c:pt>
                <c:pt idx="712">
                  <c:v>149.870321259007</c:v>
                </c:pt>
                <c:pt idx="713">
                  <c:v>150.857991848881</c:v>
                </c:pt>
                <c:pt idx="714">
                  <c:v>150.857991848881</c:v>
                </c:pt>
                <c:pt idx="715">
                  <c:v>150.857991848881</c:v>
                </c:pt>
                <c:pt idx="716">
                  <c:v>152.15889856340701</c:v>
                </c:pt>
                <c:pt idx="717">
                  <c:v>152.37469317489001</c:v>
                </c:pt>
                <c:pt idx="718">
                  <c:v>152.84959469703799</c:v>
                </c:pt>
                <c:pt idx="719">
                  <c:v>153.51055240858199</c:v>
                </c:pt>
                <c:pt idx="720">
                  <c:v>152.87905143216699</c:v>
                </c:pt>
                <c:pt idx="721">
                  <c:v>153.55120564355201</c:v>
                </c:pt>
                <c:pt idx="722">
                  <c:v>153.89766204381101</c:v>
                </c:pt>
                <c:pt idx="723">
                  <c:v>154.15147519566801</c:v>
                </c:pt>
                <c:pt idx="724">
                  <c:v>152.644309846341</c:v>
                </c:pt>
                <c:pt idx="725">
                  <c:v>153.54333328868401</c:v>
                </c:pt>
                <c:pt idx="726">
                  <c:v>153.79846649916101</c:v>
                </c:pt>
                <c:pt idx="727">
                  <c:v>154.21891235127899</c:v>
                </c:pt>
                <c:pt idx="728">
                  <c:v>154.734440221124</c:v>
                </c:pt>
                <c:pt idx="729">
                  <c:v>155.40061738835101</c:v>
                </c:pt>
                <c:pt idx="730">
                  <c:v>155.554343745377</c:v>
                </c:pt>
                <c:pt idx="731">
                  <c:v>155.72133885897301</c:v>
                </c:pt>
                <c:pt idx="732">
                  <c:v>155.086792616389</c:v>
                </c:pt>
                <c:pt idx="733">
                  <c:v>153.610744977237</c:v>
                </c:pt>
                <c:pt idx="734">
                  <c:v>153.610744977237</c:v>
                </c:pt>
                <c:pt idx="735">
                  <c:v>154.712352180577</c:v>
                </c:pt>
                <c:pt idx="736">
                  <c:v>153.227102638312</c:v>
                </c:pt>
                <c:pt idx="737">
                  <c:v>153.205436627902</c:v>
                </c:pt>
                <c:pt idx="738">
                  <c:v>152.94313590937</c:v>
                </c:pt>
                <c:pt idx="739">
                  <c:v>155.164439544403</c:v>
                </c:pt>
                <c:pt idx="740">
                  <c:v>154.72531885072101</c:v>
                </c:pt>
                <c:pt idx="741">
                  <c:v>154.38327170511701</c:v>
                </c:pt>
                <c:pt idx="742">
                  <c:v>154.85497893523501</c:v>
                </c:pt>
                <c:pt idx="743">
                  <c:v>154.85497893523501</c:v>
                </c:pt>
                <c:pt idx="744">
                  <c:v>156.39091286041801</c:v>
                </c:pt>
                <c:pt idx="745">
                  <c:v>156.562978210171</c:v>
                </c:pt>
                <c:pt idx="746">
                  <c:v>156.14821473964099</c:v>
                </c:pt>
                <c:pt idx="747">
                  <c:v>156.18225425401499</c:v>
                </c:pt>
                <c:pt idx="748">
                  <c:v>156.80287282429799</c:v>
                </c:pt>
                <c:pt idx="749">
                  <c:v>156.184424182881</c:v>
                </c:pt>
                <c:pt idx="750">
                  <c:v>156.184424182881</c:v>
                </c:pt>
                <c:pt idx="751">
                  <c:v>154.25573519877801</c:v>
                </c:pt>
                <c:pt idx="752">
                  <c:v>155.348817457937</c:v>
                </c:pt>
                <c:pt idx="753">
                  <c:v>155.180808406853</c:v>
                </c:pt>
                <c:pt idx="754">
                  <c:v>154.13988975027101</c:v>
                </c:pt>
                <c:pt idx="755">
                  <c:v>154.06217184372699</c:v>
                </c:pt>
                <c:pt idx="756">
                  <c:v>154.425884160523</c:v>
                </c:pt>
                <c:pt idx="757">
                  <c:v>155.09153094157901</c:v>
                </c:pt>
                <c:pt idx="758">
                  <c:v>153.85050693026599</c:v>
                </c:pt>
                <c:pt idx="759">
                  <c:v>152.553687210444</c:v>
                </c:pt>
                <c:pt idx="760">
                  <c:v>151.85826556584601</c:v>
                </c:pt>
                <c:pt idx="761">
                  <c:v>151.81310856729101</c:v>
                </c:pt>
                <c:pt idx="762">
                  <c:v>153.99356146047899</c:v>
                </c:pt>
                <c:pt idx="763">
                  <c:v>154.265409162368</c:v>
                </c:pt>
                <c:pt idx="764">
                  <c:v>153.46622187898501</c:v>
                </c:pt>
                <c:pt idx="765">
                  <c:v>152.333721488729</c:v>
                </c:pt>
                <c:pt idx="766">
                  <c:v>152.90631202898601</c:v>
                </c:pt>
                <c:pt idx="767">
                  <c:v>152.772597679293</c:v>
                </c:pt>
                <c:pt idx="768">
                  <c:v>154.39121400562999</c:v>
                </c:pt>
                <c:pt idx="769">
                  <c:v>153.89392781142899</c:v>
                </c:pt>
                <c:pt idx="770">
                  <c:v>155.74291981780399</c:v>
                </c:pt>
                <c:pt idx="771">
                  <c:v>155.74291981780399</c:v>
                </c:pt>
                <c:pt idx="772">
                  <c:v>154.84790745315701</c:v>
                </c:pt>
                <c:pt idx="773">
                  <c:v>154.493429543058</c:v>
                </c:pt>
                <c:pt idx="774">
                  <c:v>154.068049085425</c:v>
                </c:pt>
                <c:pt idx="775">
                  <c:v>150.72467706408699</c:v>
                </c:pt>
                <c:pt idx="776">
                  <c:v>150.55578266963099</c:v>
                </c:pt>
                <c:pt idx="777">
                  <c:v>151.57517546531199</c:v>
                </c:pt>
                <c:pt idx="778">
                  <c:v>151.58857894875001</c:v>
                </c:pt>
                <c:pt idx="779">
                  <c:v>151.35225940596499</c:v>
                </c:pt>
                <c:pt idx="780">
                  <c:v>150.041687926977</c:v>
                </c:pt>
                <c:pt idx="781">
                  <c:v>149.649549338692</c:v>
                </c:pt>
                <c:pt idx="782">
                  <c:v>148.10005825623</c:v>
                </c:pt>
                <c:pt idx="783">
                  <c:v>149.021456945555</c:v>
                </c:pt>
                <c:pt idx="784">
                  <c:v>151.264861112581</c:v>
                </c:pt>
                <c:pt idx="785">
                  <c:v>152.603453585019</c:v>
                </c:pt>
                <c:pt idx="786">
                  <c:v>153.53464756957999</c:v>
                </c:pt>
                <c:pt idx="787">
                  <c:v>153.42415791750599</c:v>
                </c:pt>
                <c:pt idx="788">
                  <c:v>154.62501076039399</c:v>
                </c:pt>
                <c:pt idx="789">
                  <c:v>154.53102408436101</c:v>
                </c:pt>
                <c:pt idx="790">
                  <c:v>154.65073671684701</c:v>
                </c:pt>
                <c:pt idx="791">
                  <c:v>154.27756007972999</c:v>
                </c:pt>
                <c:pt idx="792">
                  <c:v>153.30953046572401</c:v>
                </c:pt>
                <c:pt idx="793">
                  <c:v>152.98734000745301</c:v>
                </c:pt>
                <c:pt idx="794">
                  <c:v>151.486962839363</c:v>
                </c:pt>
                <c:pt idx="795">
                  <c:v>150.45442310292299</c:v>
                </c:pt>
                <c:pt idx="796">
                  <c:v>151.62504351445099</c:v>
                </c:pt>
                <c:pt idx="797">
                  <c:v>152.81973190920601</c:v>
                </c:pt>
                <c:pt idx="798">
                  <c:v>152.74858053334901</c:v>
                </c:pt>
                <c:pt idx="799">
                  <c:v>153.25825950126401</c:v>
                </c:pt>
                <c:pt idx="800">
                  <c:v>152.87793740171901</c:v>
                </c:pt>
                <c:pt idx="801">
                  <c:v>152.67918806289799</c:v>
                </c:pt>
                <c:pt idx="802">
                  <c:v>153.03964672908401</c:v>
                </c:pt>
                <c:pt idx="803">
                  <c:v>152.20150243296001</c:v>
                </c:pt>
                <c:pt idx="804">
                  <c:v>151.74465485970501</c:v>
                </c:pt>
                <c:pt idx="805">
                  <c:v>153.420919017778</c:v>
                </c:pt>
                <c:pt idx="806">
                  <c:v>151.96010894209101</c:v>
                </c:pt>
                <c:pt idx="807">
                  <c:v>151.35241566201799</c:v>
                </c:pt>
                <c:pt idx="808">
                  <c:v>151.34102530267401</c:v>
                </c:pt>
                <c:pt idx="809">
                  <c:v>151.55715882937</c:v>
                </c:pt>
                <c:pt idx="810">
                  <c:v>152.02189037744401</c:v>
                </c:pt>
                <c:pt idx="811">
                  <c:v>151.62338863987799</c:v>
                </c:pt>
                <c:pt idx="812">
                  <c:v>150.04597946508201</c:v>
                </c:pt>
                <c:pt idx="813">
                  <c:v>147.55734163959099</c:v>
                </c:pt>
                <c:pt idx="814">
                  <c:v>143.54413591092199</c:v>
                </c:pt>
                <c:pt idx="815">
                  <c:v>138.20349863969801</c:v>
                </c:pt>
                <c:pt idx="816">
                  <c:v>137.72376312143601</c:v>
                </c:pt>
                <c:pt idx="817">
                  <c:v>140.56952126597699</c:v>
                </c:pt>
                <c:pt idx="818">
                  <c:v>143.54359061248101</c:v>
                </c:pt>
                <c:pt idx="819">
                  <c:v>144.207326008563</c:v>
                </c:pt>
                <c:pt idx="820">
                  <c:v>143.11645592970001</c:v>
                </c:pt>
                <c:pt idx="821">
                  <c:v>139.231558110675</c:v>
                </c:pt>
                <c:pt idx="822">
                  <c:v>140.546136213046</c:v>
                </c:pt>
                <c:pt idx="823">
                  <c:v>141.18379437512499</c:v>
                </c:pt>
                <c:pt idx="824">
                  <c:v>138.820718890991</c:v>
                </c:pt>
                <c:pt idx="825">
                  <c:v>139.079885321624</c:v>
                </c:pt>
                <c:pt idx="826">
                  <c:v>141.56203630991999</c:v>
                </c:pt>
                <c:pt idx="827">
                  <c:v>141.67568378029199</c:v>
                </c:pt>
                <c:pt idx="828">
                  <c:v>141.451077308691</c:v>
                </c:pt>
                <c:pt idx="829">
                  <c:v>141.60871975032001</c:v>
                </c:pt>
                <c:pt idx="830">
                  <c:v>141.02869160272101</c:v>
                </c:pt>
                <c:pt idx="831">
                  <c:v>142.22595791570299</c:v>
                </c:pt>
                <c:pt idx="832">
                  <c:v>143.952160036283</c:v>
                </c:pt>
                <c:pt idx="833">
                  <c:v>143.88226871491401</c:v>
                </c:pt>
                <c:pt idx="834">
                  <c:v>141.95482490530699</c:v>
                </c:pt>
                <c:pt idx="835">
                  <c:v>141.806325524654</c:v>
                </c:pt>
                <c:pt idx="836">
                  <c:v>139.357565948011</c:v>
                </c:pt>
                <c:pt idx="837">
                  <c:v>139.00521410146601</c:v>
                </c:pt>
                <c:pt idx="838">
                  <c:v>138.199888773059</c:v>
                </c:pt>
                <c:pt idx="839">
                  <c:v>138.83777210395101</c:v>
                </c:pt>
                <c:pt idx="840">
                  <c:v>135.92404864478601</c:v>
                </c:pt>
                <c:pt idx="841">
                  <c:v>135.09029362346001</c:v>
                </c:pt>
                <c:pt idx="842">
                  <c:v>137.837702833555</c:v>
                </c:pt>
                <c:pt idx="843">
                  <c:v>138.37212025582201</c:v>
                </c:pt>
                <c:pt idx="844">
                  <c:v>140.05059611002699</c:v>
                </c:pt>
                <c:pt idx="845">
                  <c:v>142.699637955143</c:v>
                </c:pt>
                <c:pt idx="846">
                  <c:v>143.005843816262</c:v>
                </c:pt>
                <c:pt idx="847">
                  <c:v>144.11477536470801</c:v>
                </c:pt>
                <c:pt idx="848">
                  <c:v>145.00237132842199</c:v>
                </c:pt>
                <c:pt idx="849">
                  <c:v>145.89346234721</c:v>
                </c:pt>
                <c:pt idx="850">
                  <c:v>145.94740170412101</c:v>
                </c:pt>
                <c:pt idx="851">
                  <c:v>144.794995370854</c:v>
                </c:pt>
                <c:pt idx="852">
                  <c:v>144.09640903282099</c:v>
                </c:pt>
                <c:pt idx="853">
                  <c:v>146.08294477575299</c:v>
                </c:pt>
                <c:pt idx="854">
                  <c:v>146.76150270941201</c:v>
                </c:pt>
                <c:pt idx="855">
                  <c:v>146.44605666389899</c:v>
                </c:pt>
                <c:pt idx="856">
                  <c:v>146.238880698586</c:v>
                </c:pt>
                <c:pt idx="857">
                  <c:v>145.84084630896101</c:v>
                </c:pt>
                <c:pt idx="858">
                  <c:v>147.296359010743</c:v>
                </c:pt>
                <c:pt idx="859">
                  <c:v>148.80374239552401</c:v>
                </c:pt>
                <c:pt idx="860">
                  <c:v>148.66234060956</c:v>
                </c:pt>
                <c:pt idx="861">
                  <c:v>147.90096516054899</c:v>
                </c:pt>
                <c:pt idx="862">
                  <c:v>149.46823434719701</c:v>
                </c:pt>
                <c:pt idx="863">
                  <c:v>148.83013653139099</c:v>
                </c:pt>
                <c:pt idx="864">
                  <c:v>148.760529801969</c:v>
                </c:pt>
                <c:pt idx="865">
                  <c:v>149.57945031071301</c:v>
                </c:pt>
                <c:pt idx="866">
                  <c:v>149.77548267923601</c:v>
                </c:pt>
                <c:pt idx="867">
                  <c:v>149.48953907398899</c:v>
                </c:pt>
                <c:pt idx="868">
                  <c:v>149.25004079699701</c:v>
                </c:pt>
                <c:pt idx="869">
                  <c:v>148.708531073573</c:v>
                </c:pt>
                <c:pt idx="870">
                  <c:v>147.61089234144501</c:v>
                </c:pt>
                <c:pt idx="871">
                  <c:v>147.53197393265799</c:v>
                </c:pt>
                <c:pt idx="872">
                  <c:v>147.66107167613899</c:v>
                </c:pt>
                <c:pt idx="873">
                  <c:v>145.91818550196101</c:v>
                </c:pt>
                <c:pt idx="874">
                  <c:v>144.41853897051701</c:v>
                </c:pt>
                <c:pt idx="875">
                  <c:v>145.581930255977</c:v>
                </c:pt>
                <c:pt idx="876">
                  <c:v>146.35058428040099</c:v>
                </c:pt>
                <c:pt idx="877">
                  <c:v>147.70510170091299</c:v>
                </c:pt>
                <c:pt idx="878">
                  <c:v>148.506925906048</c:v>
                </c:pt>
                <c:pt idx="879">
                  <c:v>148.71675047762</c:v>
                </c:pt>
                <c:pt idx="880">
                  <c:v>148.23865046734801</c:v>
                </c:pt>
                <c:pt idx="881">
                  <c:v>148.08119413858699</c:v>
                </c:pt>
                <c:pt idx="882">
                  <c:v>148.29609139941601</c:v>
                </c:pt>
                <c:pt idx="883">
                  <c:v>148.82795398196799</c:v>
                </c:pt>
                <c:pt idx="884">
                  <c:v>148.53196780248899</c:v>
                </c:pt>
                <c:pt idx="885">
                  <c:v>148.02035007816099</c:v>
                </c:pt>
                <c:pt idx="886">
                  <c:v>149.40031570603901</c:v>
                </c:pt>
                <c:pt idx="887">
                  <c:v>148.201589281759</c:v>
                </c:pt>
                <c:pt idx="888">
                  <c:v>146.63329873376699</c:v>
                </c:pt>
                <c:pt idx="889">
                  <c:v>148.07970772101399</c:v>
                </c:pt>
                <c:pt idx="890">
                  <c:v>147.36895645712301</c:v>
                </c:pt>
                <c:pt idx="891">
                  <c:v>145.986426306238</c:v>
                </c:pt>
                <c:pt idx="892">
                  <c:v>145.440833945592</c:v>
                </c:pt>
                <c:pt idx="893">
                  <c:v>145.40667729566499</c:v>
                </c:pt>
                <c:pt idx="894">
                  <c:v>143.14140502792699</c:v>
                </c:pt>
                <c:pt idx="895">
                  <c:v>142.660598602145</c:v>
                </c:pt>
                <c:pt idx="896">
                  <c:v>143.92188231939599</c:v>
                </c:pt>
                <c:pt idx="897">
                  <c:v>145.85353687617601</c:v>
                </c:pt>
                <c:pt idx="898">
                  <c:v>144.682846454448</c:v>
                </c:pt>
                <c:pt idx="899">
                  <c:v>142.807311673676</c:v>
                </c:pt>
                <c:pt idx="900">
                  <c:v>143.271796330086</c:v>
                </c:pt>
                <c:pt idx="901">
                  <c:v>144.261978701305</c:v>
                </c:pt>
                <c:pt idx="902">
                  <c:v>146.13283787233999</c:v>
                </c:pt>
                <c:pt idx="903">
                  <c:v>146.13283787233999</c:v>
                </c:pt>
                <c:pt idx="904">
                  <c:v>146.13283787233999</c:v>
                </c:pt>
                <c:pt idx="905">
                  <c:v>146.05286162847599</c:v>
                </c:pt>
                <c:pt idx="906">
                  <c:v>147.406015447833</c:v>
                </c:pt>
                <c:pt idx="907">
                  <c:v>146.60820370833201</c:v>
                </c:pt>
                <c:pt idx="908">
                  <c:v>145.418538650323</c:v>
                </c:pt>
                <c:pt idx="909">
                  <c:v>145.418538650323</c:v>
                </c:pt>
                <c:pt idx="910">
                  <c:v>142.64197956861801</c:v>
                </c:pt>
                <c:pt idx="911">
                  <c:v>142.62085708137801</c:v>
                </c:pt>
                <c:pt idx="912">
                  <c:v>140.85229849935101</c:v>
                </c:pt>
                <c:pt idx="913">
                  <c:v>137.89445150709</c:v>
                </c:pt>
                <c:pt idx="914">
                  <c:v>136.596210247751</c:v>
                </c:pt>
                <c:pt idx="915">
                  <c:v>136.25707315728499</c:v>
                </c:pt>
                <c:pt idx="916">
                  <c:v>136.618121245444</c:v>
                </c:pt>
                <c:pt idx="917">
                  <c:v>135.10280692187999</c:v>
                </c:pt>
                <c:pt idx="918">
                  <c:v>135.522142294091</c:v>
                </c:pt>
                <c:pt idx="919">
                  <c:v>133.06999582474299</c:v>
                </c:pt>
                <c:pt idx="920">
                  <c:v>132.462225368833</c:v>
                </c:pt>
                <c:pt idx="921">
                  <c:v>133.026406034693</c:v>
                </c:pt>
                <c:pt idx="922">
                  <c:v>130.51809046910299</c:v>
                </c:pt>
                <c:pt idx="923">
                  <c:v>131.06137100838001</c:v>
                </c:pt>
                <c:pt idx="924">
                  <c:v>134.46985687311999</c:v>
                </c:pt>
                <c:pt idx="925">
                  <c:v>133.101609835902</c:v>
                </c:pt>
                <c:pt idx="926">
                  <c:v>134.380692282751</c:v>
                </c:pt>
                <c:pt idx="927">
                  <c:v>134.01509320882101</c:v>
                </c:pt>
                <c:pt idx="928">
                  <c:v>134.136661385965</c:v>
                </c:pt>
                <c:pt idx="929">
                  <c:v>136.71899364574099</c:v>
                </c:pt>
                <c:pt idx="930">
                  <c:v>137.1117525457</c:v>
                </c:pt>
                <c:pt idx="931">
                  <c:v>134.695253920943</c:v>
                </c:pt>
                <c:pt idx="932">
                  <c:v>134.88360127401799</c:v>
                </c:pt>
                <c:pt idx="933">
                  <c:v>135.602938228608</c:v>
                </c:pt>
                <c:pt idx="934">
                  <c:v>133.41814805990001</c:v>
                </c:pt>
                <c:pt idx="935">
                  <c:v>131.20609451849501</c:v>
                </c:pt>
                <c:pt idx="936">
                  <c:v>130.341445180536</c:v>
                </c:pt>
                <c:pt idx="937">
                  <c:v>130.20437214879601</c:v>
                </c:pt>
                <c:pt idx="938">
                  <c:v>128.66312061162799</c:v>
                </c:pt>
                <c:pt idx="939">
                  <c:v>130.20720941785601</c:v>
                </c:pt>
                <c:pt idx="940">
                  <c:v>131.74122750375099</c:v>
                </c:pt>
                <c:pt idx="941">
                  <c:v>133.16974657706899</c:v>
                </c:pt>
                <c:pt idx="942">
                  <c:v>135.314254251774</c:v>
                </c:pt>
                <c:pt idx="943">
                  <c:v>135.28739089586301</c:v>
                </c:pt>
                <c:pt idx="944">
                  <c:v>134.82920638278199</c:v>
                </c:pt>
                <c:pt idx="945">
                  <c:v>136.57311265947601</c:v>
                </c:pt>
                <c:pt idx="946">
                  <c:v>135.06103733247201</c:v>
                </c:pt>
                <c:pt idx="947">
                  <c:v>134.53960068567599</c:v>
                </c:pt>
                <c:pt idx="948">
                  <c:v>136.26987627662899</c:v>
                </c:pt>
                <c:pt idx="949">
                  <c:v>136.328658021839</c:v>
                </c:pt>
                <c:pt idx="950">
                  <c:v>135.70145097207401</c:v>
                </c:pt>
                <c:pt idx="951">
                  <c:v>138.17112917038699</c:v>
                </c:pt>
                <c:pt idx="952">
                  <c:v>139.30567599526</c:v>
                </c:pt>
                <c:pt idx="953">
                  <c:v>140.24297987874399</c:v>
                </c:pt>
                <c:pt idx="954">
                  <c:v>141.10019709655899</c:v>
                </c:pt>
                <c:pt idx="955">
                  <c:v>141.07096611124101</c:v>
                </c:pt>
                <c:pt idx="956">
                  <c:v>139.859252230018</c:v>
                </c:pt>
                <c:pt idx="957">
                  <c:v>140.293004603545</c:v>
                </c:pt>
                <c:pt idx="958">
                  <c:v>140.19048523669699</c:v>
                </c:pt>
                <c:pt idx="959">
                  <c:v>142.762357410975</c:v>
                </c:pt>
                <c:pt idx="960">
                  <c:v>142.883178134822</c:v>
                </c:pt>
                <c:pt idx="961">
                  <c:v>142.152820367582</c:v>
                </c:pt>
                <c:pt idx="962">
                  <c:v>142.36401664199701</c:v>
                </c:pt>
                <c:pt idx="963">
                  <c:v>144.27414143228299</c:v>
                </c:pt>
                <c:pt idx="964">
                  <c:v>144.51118602768099</c:v>
                </c:pt>
                <c:pt idx="965">
                  <c:v>144.35947695856399</c:v>
                </c:pt>
                <c:pt idx="966">
                  <c:v>144.36073330112299</c:v>
                </c:pt>
                <c:pt idx="967">
                  <c:v>143.28926482715499</c:v>
                </c:pt>
                <c:pt idx="968">
                  <c:v>142.50316761133101</c:v>
                </c:pt>
                <c:pt idx="969">
                  <c:v>142.50316761133101</c:v>
                </c:pt>
                <c:pt idx="970">
                  <c:v>142.50316761133101</c:v>
                </c:pt>
                <c:pt idx="971">
                  <c:v>143.82081267044401</c:v>
                </c:pt>
                <c:pt idx="972">
                  <c:v>145.32328936986801</c:v>
                </c:pt>
                <c:pt idx="973">
                  <c:v>144.910025486189</c:v>
                </c:pt>
                <c:pt idx="974">
                  <c:v>144.22755479252299</c:v>
                </c:pt>
                <c:pt idx="975">
                  <c:v>144.29388605165099</c:v>
                </c:pt>
                <c:pt idx="976">
                  <c:v>142.340807760421</c:v>
                </c:pt>
                <c:pt idx="977">
                  <c:v>143.677236210801</c:v>
                </c:pt>
                <c:pt idx="978">
                  <c:v>142.67862724536801</c:v>
                </c:pt>
                <c:pt idx="979">
                  <c:v>143.61257351196599</c:v>
                </c:pt>
                <c:pt idx="980">
                  <c:v>143.62945610532401</c:v>
                </c:pt>
                <c:pt idx="981">
                  <c:v>144.69554150825499</c:v>
                </c:pt>
                <c:pt idx="982">
                  <c:v>146.64171096443101</c:v>
                </c:pt>
                <c:pt idx="983">
                  <c:v>147.168924017579</c:v>
                </c:pt>
                <c:pt idx="984">
                  <c:v>147.042337990888</c:v>
                </c:pt>
                <c:pt idx="985">
                  <c:v>147.47399264062801</c:v>
                </c:pt>
                <c:pt idx="986">
                  <c:v>149.025716238298</c:v>
                </c:pt>
                <c:pt idx="987">
                  <c:v>149.21748334271399</c:v>
                </c:pt>
                <c:pt idx="988">
                  <c:v>148.82801879546801</c:v>
                </c:pt>
                <c:pt idx="989">
                  <c:v>148.45885762580599</c:v>
                </c:pt>
                <c:pt idx="990">
                  <c:v>148.15815868502699</c:v>
                </c:pt>
                <c:pt idx="991">
                  <c:v>148.436319279912</c:v>
                </c:pt>
                <c:pt idx="992">
                  <c:v>148.48048383788699</c:v>
                </c:pt>
                <c:pt idx="993">
                  <c:v>147.76387834625601</c:v>
                </c:pt>
                <c:pt idx="994">
                  <c:v>147.20300423405601</c:v>
                </c:pt>
                <c:pt idx="995">
                  <c:v>147.651806089243</c:v>
                </c:pt>
                <c:pt idx="996">
                  <c:v>146.16358213022701</c:v>
                </c:pt>
                <c:pt idx="997">
                  <c:v>144.896328889508</c:v>
                </c:pt>
                <c:pt idx="998">
                  <c:v>144.896328889508</c:v>
                </c:pt>
                <c:pt idx="999">
                  <c:v>144.89323068800999</c:v>
                </c:pt>
                <c:pt idx="1000">
                  <c:v>144.87891403787501</c:v>
                </c:pt>
                <c:pt idx="1001">
                  <c:v>146.61012406648899</c:v>
                </c:pt>
                <c:pt idx="1002">
                  <c:v>145.858486297128</c:v>
                </c:pt>
                <c:pt idx="1003">
                  <c:v>145.60452521684999</c:v>
                </c:pt>
                <c:pt idx="1004">
                  <c:v>144.39012286648401</c:v>
                </c:pt>
                <c:pt idx="1005">
                  <c:v>144.39012286648401</c:v>
                </c:pt>
                <c:pt idx="1006">
                  <c:v>144.95436411747301</c:v>
                </c:pt>
                <c:pt idx="1007">
                  <c:v>144.92825502544</c:v>
                </c:pt>
                <c:pt idx="1008">
                  <c:v>143.77223001374</c:v>
                </c:pt>
                <c:pt idx="1009">
                  <c:v>144.86577974995001</c:v>
                </c:pt>
                <c:pt idx="1010">
                  <c:v>144.519607134697</c:v>
                </c:pt>
                <c:pt idx="1011">
                  <c:v>146.18037608918701</c:v>
                </c:pt>
                <c:pt idx="1012">
                  <c:v>147.47326287547801</c:v>
                </c:pt>
                <c:pt idx="1013">
                  <c:v>147.78083592057001</c:v>
                </c:pt>
                <c:pt idx="1014">
                  <c:v>148.148509994829</c:v>
                </c:pt>
                <c:pt idx="1015">
                  <c:v>148.21930667170599</c:v>
                </c:pt>
                <c:pt idx="1016">
                  <c:v>148.029787252988</c:v>
                </c:pt>
                <c:pt idx="1017">
                  <c:v>147.88853672004299</c:v>
                </c:pt>
                <c:pt idx="1018">
                  <c:v>147.99656420150399</c:v>
                </c:pt>
                <c:pt idx="1019">
                  <c:v>148.423659634675</c:v>
                </c:pt>
                <c:pt idx="1020">
                  <c:v>149.124444144509</c:v>
                </c:pt>
                <c:pt idx="1021">
                  <c:v>149.82738770564401</c:v>
                </c:pt>
                <c:pt idx="1022">
                  <c:v>150.28457839020601</c:v>
                </c:pt>
                <c:pt idx="1023">
                  <c:v>149.36777406780001</c:v>
                </c:pt>
                <c:pt idx="1024">
                  <c:v>147.296736723679</c:v>
                </c:pt>
                <c:pt idx="1025">
                  <c:v>145.583722665571</c:v>
                </c:pt>
                <c:pt idx="1026">
                  <c:v>144.24449093448499</c:v>
                </c:pt>
                <c:pt idx="1027">
                  <c:v>144.54705164950599</c:v>
                </c:pt>
                <c:pt idx="1028">
                  <c:v>144.05832070819</c:v>
                </c:pt>
                <c:pt idx="1029">
                  <c:v>144.740662775462</c:v>
                </c:pt>
                <c:pt idx="1030">
                  <c:v>147.259436619003</c:v>
                </c:pt>
                <c:pt idx="1031">
                  <c:v>147.67875611061501</c:v>
                </c:pt>
                <c:pt idx="1032">
                  <c:v>147.60375552942401</c:v>
                </c:pt>
                <c:pt idx="1033">
                  <c:v>147.60375552942401</c:v>
                </c:pt>
                <c:pt idx="1034">
                  <c:v>142.379194846883</c:v>
                </c:pt>
                <c:pt idx="1035">
                  <c:v>139.10274399081101</c:v>
                </c:pt>
                <c:pt idx="1036">
                  <c:v>141.55961632618099</c:v>
                </c:pt>
                <c:pt idx="1037">
                  <c:v>144.69703877111499</c:v>
                </c:pt>
                <c:pt idx="1038">
                  <c:v>146.37105195116999</c:v>
                </c:pt>
                <c:pt idx="1039">
                  <c:v>147.00666287169099</c:v>
                </c:pt>
                <c:pt idx="1040">
                  <c:v>147.06339101664801</c:v>
                </c:pt>
                <c:pt idx="1041">
                  <c:v>145.71013603916899</c:v>
                </c:pt>
                <c:pt idx="1042">
                  <c:v>145.31169830816199</c:v>
                </c:pt>
                <c:pt idx="1043">
                  <c:v>145.60195475475601</c:v>
                </c:pt>
                <c:pt idx="1044">
                  <c:v>147.23094895544301</c:v>
                </c:pt>
                <c:pt idx="1045">
                  <c:v>148.463411548842</c:v>
                </c:pt>
                <c:pt idx="1046">
                  <c:v>149.75131815359001</c:v>
                </c:pt>
                <c:pt idx="1047">
                  <c:v>150.084563477421</c:v>
                </c:pt>
                <c:pt idx="1048">
                  <c:v>150.86989697201801</c:v>
                </c:pt>
                <c:pt idx="1049">
                  <c:v>150.63469042679699</c:v>
                </c:pt>
                <c:pt idx="1050">
                  <c:v>150.935001196684</c:v>
                </c:pt>
                <c:pt idx="1051">
                  <c:v>150.475148994807</c:v>
                </c:pt>
                <c:pt idx="1052">
                  <c:v>151.244563028529</c:v>
                </c:pt>
                <c:pt idx="1053">
                  <c:v>151.076184753528</c:v>
                </c:pt>
                <c:pt idx="1054">
                  <c:v>151.21795524696699</c:v>
                </c:pt>
                <c:pt idx="1055">
                  <c:v>150.950840964067</c:v>
                </c:pt>
                <c:pt idx="1056">
                  <c:v>151.13522313824899</c:v>
                </c:pt>
                <c:pt idx="1057">
                  <c:v>151.17600777548901</c:v>
                </c:pt>
                <c:pt idx="1058">
                  <c:v>151.295532907168</c:v>
                </c:pt>
                <c:pt idx="1059">
                  <c:v>152.55500158819899</c:v>
                </c:pt>
                <c:pt idx="1060">
                  <c:v>152.19003596294201</c:v>
                </c:pt>
                <c:pt idx="1061">
                  <c:v>151.208259851024</c:v>
                </c:pt>
                <c:pt idx="1062">
                  <c:v>150.956753420669</c:v>
                </c:pt>
                <c:pt idx="1063">
                  <c:v>151.36813890712301</c:v>
                </c:pt>
                <c:pt idx="1064">
                  <c:v>152.16754474240199</c:v>
                </c:pt>
                <c:pt idx="1065">
                  <c:v>152.46272201195899</c:v>
                </c:pt>
                <c:pt idx="1066">
                  <c:v>153.228610100906</c:v>
                </c:pt>
                <c:pt idx="1067">
                  <c:v>153.16082395945801</c:v>
                </c:pt>
                <c:pt idx="1068">
                  <c:v>153.96514680893901</c:v>
                </c:pt>
                <c:pt idx="1069">
                  <c:v>154.00416563335901</c:v>
                </c:pt>
                <c:pt idx="1070">
                  <c:v>154.00416563335901</c:v>
                </c:pt>
                <c:pt idx="1071">
                  <c:v>153.569604382189</c:v>
                </c:pt>
                <c:pt idx="1072">
                  <c:v>153.66211403344201</c:v>
                </c:pt>
                <c:pt idx="1073">
                  <c:v>154.13719043584101</c:v>
                </c:pt>
                <c:pt idx="1074">
                  <c:v>153.706003424541</c:v>
                </c:pt>
                <c:pt idx="1075">
                  <c:v>153.77628746794801</c:v>
                </c:pt>
                <c:pt idx="1076">
                  <c:v>154.30796790778101</c:v>
                </c:pt>
                <c:pt idx="1077">
                  <c:v>153.66086492107399</c:v>
                </c:pt>
                <c:pt idx="1078">
                  <c:v>153.32329481316901</c:v>
                </c:pt>
                <c:pt idx="1079">
                  <c:v>153.21802945842501</c:v>
                </c:pt>
                <c:pt idx="1080">
                  <c:v>153.19355861798101</c:v>
                </c:pt>
                <c:pt idx="1081">
                  <c:v>153.03368372569801</c:v>
                </c:pt>
                <c:pt idx="1082">
                  <c:v>152.681789382414</c:v>
                </c:pt>
                <c:pt idx="1083">
                  <c:v>153.046985340905</c:v>
                </c:pt>
                <c:pt idx="1084">
                  <c:v>154.03415343248901</c:v>
                </c:pt>
                <c:pt idx="1085">
                  <c:v>154.28290099617001</c:v>
                </c:pt>
                <c:pt idx="1086">
                  <c:v>155.04354545348099</c:v>
                </c:pt>
                <c:pt idx="1087">
                  <c:v>155.20340030135</c:v>
                </c:pt>
                <c:pt idx="1088">
                  <c:v>154.94252951452199</c:v>
                </c:pt>
                <c:pt idx="1089">
                  <c:v>151.703373856925</c:v>
                </c:pt>
                <c:pt idx="1090">
                  <c:v>152.40242567079699</c:v>
                </c:pt>
                <c:pt idx="1091">
                  <c:v>150.565824243256</c:v>
                </c:pt>
                <c:pt idx="1092">
                  <c:v>150.36640120554401</c:v>
                </c:pt>
                <c:pt idx="1093">
                  <c:v>151.47234597490399</c:v>
                </c:pt>
                <c:pt idx="1094">
                  <c:v>150.71552319009999</c:v>
                </c:pt>
                <c:pt idx="1095">
                  <c:v>151.324397444445</c:v>
                </c:pt>
                <c:pt idx="1096">
                  <c:v>151.340247540674</c:v>
                </c:pt>
                <c:pt idx="1097">
                  <c:v>152.98547290740001</c:v>
                </c:pt>
                <c:pt idx="1098">
                  <c:v>154.67044618586499</c:v>
                </c:pt>
                <c:pt idx="1099">
                  <c:v>153.70665172092799</c:v>
                </c:pt>
                <c:pt idx="1100">
                  <c:v>152.39423812478</c:v>
                </c:pt>
                <c:pt idx="1101">
                  <c:v>152.84944502562399</c:v>
                </c:pt>
                <c:pt idx="1102">
                  <c:v>153.48374641003599</c:v>
                </c:pt>
                <c:pt idx="1103">
                  <c:v>152.965354868021</c:v>
                </c:pt>
                <c:pt idx="1104">
                  <c:v>153.492823882849</c:v>
                </c:pt>
                <c:pt idx="1105">
                  <c:v>153.24799363032199</c:v>
                </c:pt>
                <c:pt idx="1106">
                  <c:v>152.80855342028599</c:v>
                </c:pt>
                <c:pt idx="1107">
                  <c:v>153.13148645793001</c:v>
                </c:pt>
                <c:pt idx="1108">
                  <c:v>152.89589264559001</c:v>
                </c:pt>
                <c:pt idx="1109">
                  <c:v>152.364200844029</c:v>
                </c:pt>
                <c:pt idx="1110">
                  <c:v>152.97733606955401</c:v>
                </c:pt>
                <c:pt idx="1111">
                  <c:v>151.29065882222599</c:v>
                </c:pt>
                <c:pt idx="1112">
                  <c:v>150.87257875968999</c:v>
                </c:pt>
                <c:pt idx="1113">
                  <c:v>150.34922782293199</c:v>
                </c:pt>
                <c:pt idx="1114">
                  <c:v>150.713679104005</c:v>
                </c:pt>
                <c:pt idx="1115">
                  <c:v>150.193126606308</c:v>
                </c:pt>
                <c:pt idx="1116">
                  <c:v>151.37315656300399</c:v>
                </c:pt>
                <c:pt idx="1117">
                  <c:v>151.88458097654899</c:v>
                </c:pt>
                <c:pt idx="1118">
                  <c:v>151.65941658595</c:v>
                </c:pt>
                <c:pt idx="1119">
                  <c:v>151.40364021123099</c:v>
                </c:pt>
                <c:pt idx="1120">
                  <c:v>151.86088538044899</c:v>
                </c:pt>
                <c:pt idx="1121">
                  <c:v>151.414149197353</c:v>
                </c:pt>
                <c:pt idx="1122">
                  <c:v>151.30130534336899</c:v>
                </c:pt>
                <c:pt idx="1123">
                  <c:v>150.845340369886</c:v>
                </c:pt>
                <c:pt idx="1124">
                  <c:v>150.52309729906301</c:v>
                </c:pt>
                <c:pt idx="1125">
                  <c:v>150.52229339217601</c:v>
                </c:pt>
                <c:pt idx="1126">
                  <c:v>150.52229339217601</c:v>
                </c:pt>
                <c:pt idx="1127">
                  <c:v>148.92068967352901</c:v>
                </c:pt>
                <c:pt idx="1128">
                  <c:v>148.43181580682599</c:v>
                </c:pt>
                <c:pt idx="1129">
                  <c:v>147.82781902657501</c:v>
                </c:pt>
                <c:pt idx="1130">
                  <c:v>150.09903189701501</c:v>
                </c:pt>
                <c:pt idx="1131">
                  <c:v>150.67728435483701</c:v>
                </c:pt>
                <c:pt idx="1132">
                  <c:v>151.102570206709</c:v>
                </c:pt>
                <c:pt idx="1133">
                  <c:v>151.56517478745499</c:v>
                </c:pt>
                <c:pt idx="1134">
                  <c:v>151.182921097134</c:v>
                </c:pt>
                <c:pt idx="1135">
                  <c:v>150.79653406141799</c:v>
                </c:pt>
                <c:pt idx="1136">
                  <c:v>151.664277275671</c:v>
                </c:pt>
                <c:pt idx="1137">
                  <c:v>151.379819281057</c:v>
                </c:pt>
                <c:pt idx="1138">
                  <c:v>152.15093860702501</c:v>
                </c:pt>
                <c:pt idx="1139">
                  <c:v>151.30342265968301</c:v>
                </c:pt>
                <c:pt idx="1140">
                  <c:v>152.478028520462</c:v>
                </c:pt>
                <c:pt idx="1141">
                  <c:v>152.71263941412499</c:v>
                </c:pt>
                <c:pt idx="1142">
                  <c:v>152.41712697355999</c:v>
                </c:pt>
                <c:pt idx="1143">
                  <c:v>152.74595855614299</c:v>
                </c:pt>
                <c:pt idx="1144">
                  <c:v>153.42277714464601</c:v>
                </c:pt>
                <c:pt idx="1145">
                  <c:v>152.733716680393</c:v>
                </c:pt>
                <c:pt idx="1146">
                  <c:v>152.96866929742501</c:v>
                </c:pt>
                <c:pt idx="1147">
                  <c:v>152.68665672132801</c:v>
                </c:pt>
                <c:pt idx="1148">
                  <c:v>152.38398022641499</c:v>
                </c:pt>
                <c:pt idx="1149">
                  <c:v>152.411398886835</c:v>
                </c:pt>
                <c:pt idx="1150">
                  <c:v>153.237666722364</c:v>
                </c:pt>
                <c:pt idx="1151">
                  <c:v>154.10691007218699</c:v>
                </c:pt>
                <c:pt idx="1152">
                  <c:v>156.03895157330899</c:v>
                </c:pt>
                <c:pt idx="1153">
                  <c:v>156.372599689802</c:v>
                </c:pt>
                <c:pt idx="1154">
                  <c:v>157.01351876496</c:v>
                </c:pt>
                <c:pt idx="1155">
                  <c:v>157.02881213646299</c:v>
                </c:pt>
                <c:pt idx="1156">
                  <c:v>158.26904841198601</c:v>
                </c:pt>
                <c:pt idx="1157">
                  <c:v>157.356333117774</c:v>
                </c:pt>
                <c:pt idx="1158">
                  <c:v>156.538894572289</c:v>
                </c:pt>
                <c:pt idx="1159">
                  <c:v>156.56109574596101</c:v>
                </c:pt>
                <c:pt idx="1160">
                  <c:v>156.93079711419699</c:v>
                </c:pt>
                <c:pt idx="1161">
                  <c:v>157.17381555826699</c:v>
                </c:pt>
                <c:pt idx="1162">
                  <c:v>157.06220932581201</c:v>
                </c:pt>
                <c:pt idx="1163">
                  <c:v>156.871536110596</c:v>
                </c:pt>
                <c:pt idx="1164">
                  <c:v>156.99546804383101</c:v>
                </c:pt>
                <c:pt idx="1165">
                  <c:v>156.99546804383101</c:v>
                </c:pt>
                <c:pt idx="1166">
                  <c:v>157.122213296117</c:v>
                </c:pt>
                <c:pt idx="1167">
                  <c:v>156.25493200716201</c:v>
                </c:pt>
                <c:pt idx="1168">
                  <c:v>156.49254081569799</c:v>
                </c:pt>
                <c:pt idx="1169">
                  <c:v>156.34020175161399</c:v>
                </c:pt>
                <c:pt idx="1170">
                  <c:v>156.50742603645</c:v>
                </c:pt>
                <c:pt idx="1171">
                  <c:v>156.94648220713199</c:v>
                </c:pt>
                <c:pt idx="1172">
                  <c:v>158.387193158136</c:v>
                </c:pt>
                <c:pt idx="1173">
                  <c:v>159.14686166874199</c:v>
                </c:pt>
                <c:pt idx="1174">
                  <c:v>159.22645800479</c:v>
                </c:pt>
                <c:pt idx="1175">
                  <c:v>158.67704322924999</c:v>
                </c:pt>
                <c:pt idx="1176">
                  <c:v>158.91945937256901</c:v>
                </c:pt>
                <c:pt idx="1177">
                  <c:v>158.79536543786301</c:v>
                </c:pt>
                <c:pt idx="1178">
                  <c:v>159.267777676181</c:v>
                </c:pt>
                <c:pt idx="1179">
                  <c:v>159.69580102693101</c:v>
                </c:pt>
                <c:pt idx="1180">
                  <c:v>159.29726504278901</c:v>
                </c:pt>
                <c:pt idx="1181">
                  <c:v>159.21717318042101</c:v>
                </c:pt>
                <c:pt idx="1182">
                  <c:v>159.481146235729</c:v>
                </c:pt>
                <c:pt idx="1183">
                  <c:v>158.62220122815299</c:v>
                </c:pt>
                <c:pt idx="1184">
                  <c:v>159.222067729386</c:v>
                </c:pt>
                <c:pt idx="1185">
                  <c:v>159.11200239915999</c:v>
                </c:pt>
                <c:pt idx="1186">
                  <c:v>159.932082643489</c:v>
                </c:pt>
                <c:pt idx="1187">
                  <c:v>161.29374523592901</c:v>
                </c:pt>
                <c:pt idx="1188">
                  <c:v>161.11103546307999</c:v>
                </c:pt>
                <c:pt idx="1189">
                  <c:v>161.084477034028</c:v>
                </c:pt>
                <c:pt idx="1190">
                  <c:v>160.08220171608801</c:v>
                </c:pt>
                <c:pt idx="1191">
                  <c:v>160.11349624317199</c:v>
                </c:pt>
                <c:pt idx="1192">
                  <c:v>160.21637260071199</c:v>
                </c:pt>
                <c:pt idx="1193">
                  <c:v>160.385028431135</c:v>
                </c:pt>
                <c:pt idx="1194">
                  <c:v>161.320278359311</c:v>
                </c:pt>
                <c:pt idx="1195">
                  <c:v>160.67002701165501</c:v>
                </c:pt>
                <c:pt idx="1196">
                  <c:v>160.592650570258</c:v>
                </c:pt>
                <c:pt idx="1197">
                  <c:v>161.05759873356999</c:v>
                </c:pt>
                <c:pt idx="1198">
                  <c:v>161.54656775475499</c:v>
                </c:pt>
                <c:pt idx="1199">
                  <c:v>162.19096803788</c:v>
                </c:pt>
                <c:pt idx="1200">
                  <c:v>162.98411953179999</c:v>
                </c:pt>
                <c:pt idx="1201">
                  <c:v>163.028869735265</c:v>
                </c:pt>
                <c:pt idx="1202">
                  <c:v>163.92713775173499</c:v>
                </c:pt>
                <c:pt idx="1203">
                  <c:v>164.243003503393</c:v>
                </c:pt>
                <c:pt idx="1204">
                  <c:v>164.24077563616399</c:v>
                </c:pt>
                <c:pt idx="1205">
                  <c:v>164.270767663665</c:v>
                </c:pt>
                <c:pt idx="1206">
                  <c:v>164.834345512331</c:v>
                </c:pt>
                <c:pt idx="1207">
                  <c:v>164.79453301303499</c:v>
                </c:pt>
                <c:pt idx="1208">
                  <c:v>165.11063348768701</c:v>
                </c:pt>
                <c:pt idx="1209">
                  <c:v>164.72622352194099</c:v>
                </c:pt>
                <c:pt idx="1210">
                  <c:v>164.80716948292701</c:v>
                </c:pt>
                <c:pt idx="1211">
                  <c:v>164.55559391386799</c:v>
                </c:pt>
                <c:pt idx="1212">
                  <c:v>166.15466477387099</c:v>
                </c:pt>
                <c:pt idx="1213">
                  <c:v>165.516281300956</c:v>
                </c:pt>
                <c:pt idx="1214">
                  <c:v>165.53264467620599</c:v>
                </c:pt>
                <c:pt idx="1215">
                  <c:v>165.24264115719501</c:v>
                </c:pt>
                <c:pt idx="1216">
                  <c:v>164.79023376057401</c:v>
                </c:pt>
                <c:pt idx="1217">
                  <c:v>164.29117687962901</c:v>
                </c:pt>
                <c:pt idx="1218">
                  <c:v>164.41406204901699</c:v>
                </c:pt>
                <c:pt idx="1219">
                  <c:v>165.310120596513</c:v>
                </c:pt>
                <c:pt idx="1220">
                  <c:v>165.70534460434999</c:v>
                </c:pt>
                <c:pt idx="1221">
                  <c:v>165.078474500863</c:v>
                </c:pt>
                <c:pt idx="1222">
                  <c:v>166.08653668311101</c:v>
                </c:pt>
                <c:pt idx="1223">
                  <c:v>167.01502373571901</c:v>
                </c:pt>
                <c:pt idx="1224">
                  <c:v>166.93329749507899</c:v>
                </c:pt>
                <c:pt idx="1225">
                  <c:v>166.71352388987401</c:v>
                </c:pt>
                <c:pt idx="1226">
                  <c:v>165.45525009477601</c:v>
                </c:pt>
                <c:pt idx="1227">
                  <c:v>165.12172234160099</c:v>
                </c:pt>
                <c:pt idx="1228">
                  <c:v>165.33566376469301</c:v>
                </c:pt>
                <c:pt idx="1229">
                  <c:v>165.41714895592301</c:v>
                </c:pt>
                <c:pt idx="1230">
                  <c:v>165.36230198406901</c:v>
                </c:pt>
                <c:pt idx="1231">
                  <c:v>166.594606836644</c:v>
                </c:pt>
                <c:pt idx="1232">
                  <c:v>166.538624079214</c:v>
                </c:pt>
                <c:pt idx="1233">
                  <c:v>166.85218856429199</c:v>
                </c:pt>
                <c:pt idx="1234">
                  <c:v>166.30842415092201</c:v>
                </c:pt>
                <c:pt idx="1235">
                  <c:v>165.88979979055199</c:v>
                </c:pt>
                <c:pt idx="1236">
                  <c:v>165.99479601433899</c:v>
                </c:pt>
                <c:pt idx="1237">
                  <c:v>165.64375415578999</c:v>
                </c:pt>
                <c:pt idx="1238">
                  <c:v>165.74562816351599</c:v>
                </c:pt>
                <c:pt idx="1239">
                  <c:v>165.65017582443201</c:v>
                </c:pt>
                <c:pt idx="1240">
                  <c:v>165.794369561651</c:v>
                </c:pt>
                <c:pt idx="1241">
                  <c:v>165.90509771320299</c:v>
                </c:pt>
                <c:pt idx="1242">
                  <c:v>165.46671443446999</c:v>
                </c:pt>
                <c:pt idx="1243">
                  <c:v>164.58816063183201</c:v>
                </c:pt>
                <c:pt idx="1244">
                  <c:v>164.58816063183201</c:v>
                </c:pt>
                <c:pt idx="1245">
                  <c:v>164.58816063183201</c:v>
                </c:pt>
                <c:pt idx="1246">
                  <c:v>164.979271209579</c:v>
                </c:pt>
                <c:pt idx="1247">
                  <c:v>164.78868630598399</c:v>
                </c:pt>
                <c:pt idx="1248">
                  <c:v>165.839721000705</c:v>
                </c:pt>
                <c:pt idx="1249">
                  <c:v>165.43491301933599</c:v>
                </c:pt>
                <c:pt idx="1250">
                  <c:v>168.104746376778</c:v>
                </c:pt>
                <c:pt idx="1251">
                  <c:v>169.047386496445</c:v>
                </c:pt>
                <c:pt idx="1252">
                  <c:v>169.091390925051</c:v>
                </c:pt>
                <c:pt idx="1253">
                  <c:v>169.013842540669</c:v>
                </c:pt>
                <c:pt idx="1254">
                  <c:v>168.770932323523</c:v>
                </c:pt>
                <c:pt idx="1255">
                  <c:v>168.770932323523</c:v>
                </c:pt>
                <c:pt idx="1256">
                  <c:v>169.50881959254599</c:v>
                </c:pt>
                <c:pt idx="1257">
                  <c:v>169.25579311131699</c:v>
                </c:pt>
                <c:pt idx="1258">
                  <c:v>169.58691211337299</c:v>
                </c:pt>
                <c:pt idx="1259">
                  <c:v>170.52533758027101</c:v>
                </c:pt>
                <c:pt idx="1260">
                  <c:v>170.62484273203901</c:v>
                </c:pt>
                <c:pt idx="1261">
                  <c:v>170.28519914085601</c:v>
                </c:pt>
                <c:pt idx="1262">
                  <c:v>170.54663904702201</c:v>
                </c:pt>
                <c:pt idx="1263">
                  <c:v>170.18806720252601</c:v>
                </c:pt>
                <c:pt idx="1264">
                  <c:v>170.36146519917801</c:v>
                </c:pt>
                <c:pt idx="1265">
                  <c:v>171.178390852973</c:v>
                </c:pt>
                <c:pt idx="1266">
                  <c:v>171.64559351256599</c:v>
                </c:pt>
                <c:pt idx="1267">
                  <c:v>169.54572368286301</c:v>
                </c:pt>
                <c:pt idx="1268">
                  <c:v>169.44216717090501</c:v>
                </c:pt>
                <c:pt idx="1269">
                  <c:v>170.69254062642099</c:v>
                </c:pt>
                <c:pt idx="1270">
                  <c:v>171.62945411185601</c:v>
                </c:pt>
                <c:pt idx="1271">
                  <c:v>171.79521241086499</c:v>
                </c:pt>
                <c:pt idx="1272">
                  <c:v>171.90743556584201</c:v>
                </c:pt>
                <c:pt idx="1273">
                  <c:v>171.90743556584201</c:v>
                </c:pt>
                <c:pt idx="1274">
                  <c:v>172.33152959815601</c:v>
                </c:pt>
                <c:pt idx="1275">
                  <c:v>172.29187981044001</c:v>
                </c:pt>
                <c:pt idx="1276">
                  <c:v>172.15526270035701</c:v>
                </c:pt>
                <c:pt idx="1277">
                  <c:v>172.341195460058</c:v>
                </c:pt>
                <c:pt idx="1278">
                  <c:v>173.39784452738101</c:v>
                </c:pt>
                <c:pt idx="1279">
                  <c:v>174.49367484020499</c:v>
                </c:pt>
                <c:pt idx="1280">
                  <c:v>174.49367484020499</c:v>
                </c:pt>
                <c:pt idx="1281">
                  <c:v>173.68206392568499</c:v>
                </c:pt>
                <c:pt idx="1282">
                  <c:v>173.79017174619</c:v>
                </c:pt>
                <c:pt idx="1283">
                  <c:v>173.55279559488</c:v>
                </c:pt>
                <c:pt idx="1284">
                  <c:v>173.42783994403399</c:v>
                </c:pt>
                <c:pt idx="1285">
                  <c:v>173.06968522347199</c:v>
                </c:pt>
                <c:pt idx="1286">
                  <c:v>173.996347492014</c:v>
                </c:pt>
                <c:pt idx="1287">
                  <c:v>174.16706650914799</c:v>
                </c:pt>
                <c:pt idx="1288">
                  <c:v>172.92094140425601</c:v>
                </c:pt>
                <c:pt idx="1289">
                  <c:v>173.52829896460199</c:v>
                </c:pt>
                <c:pt idx="1290">
                  <c:v>174.73108630325299</c:v>
                </c:pt>
                <c:pt idx="1291">
                  <c:v>173.47277690592</c:v>
                </c:pt>
                <c:pt idx="1292">
                  <c:v>173.25352768324501</c:v>
                </c:pt>
                <c:pt idx="1293">
                  <c:v>173.396958247958</c:v>
                </c:pt>
                <c:pt idx="1294">
                  <c:v>173.396958247958</c:v>
                </c:pt>
                <c:pt idx="1295">
                  <c:v>173.937256301074</c:v>
                </c:pt>
                <c:pt idx="1296">
                  <c:v>173.04827410958001</c:v>
                </c:pt>
                <c:pt idx="1297">
                  <c:v>174.36385394849</c:v>
                </c:pt>
                <c:pt idx="1298">
                  <c:v>173.28523975387299</c:v>
                </c:pt>
                <c:pt idx="1299">
                  <c:v>173.004278428215</c:v>
                </c:pt>
                <c:pt idx="1300">
                  <c:v>173.38690547399099</c:v>
                </c:pt>
                <c:pt idx="1301">
                  <c:v>173.236818517643</c:v>
                </c:pt>
                <c:pt idx="1302">
                  <c:v>173.372110049631</c:v>
                </c:pt>
                <c:pt idx="1303">
                  <c:v>172.380936561216</c:v>
                </c:pt>
                <c:pt idx="1304">
                  <c:v>172.759052580939</c:v>
                </c:pt>
                <c:pt idx="1305">
                  <c:v>173.11371431219499</c:v>
                </c:pt>
                <c:pt idx="1306">
                  <c:v>172.98489486652099</c:v>
                </c:pt>
                <c:pt idx="1307">
                  <c:v>174.54359208046699</c:v>
                </c:pt>
                <c:pt idx="1308">
                  <c:v>174.91455179247501</c:v>
                </c:pt>
                <c:pt idx="1309">
                  <c:v>175.921559109188</c:v>
                </c:pt>
                <c:pt idx="1310">
                  <c:v>175.96983296571599</c:v>
                </c:pt>
                <c:pt idx="1311">
                  <c:v>176.06834267508401</c:v>
                </c:pt>
                <c:pt idx="1312">
                  <c:v>176.879258974804</c:v>
                </c:pt>
                <c:pt idx="1313">
                  <c:v>177.31334577695301</c:v>
                </c:pt>
                <c:pt idx="1314">
                  <c:v>176.90392238364501</c:v>
                </c:pt>
                <c:pt idx="1315">
                  <c:v>176.556494781493</c:v>
                </c:pt>
                <c:pt idx="1316">
                  <c:v>177.077186460371</c:v>
                </c:pt>
                <c:pt idx="1317">
                  <c:v>177.19614143982599</c:v>
                </c:pt>
                <c:pt idx="1318">
                  <c:v>177.35864366740299</c:v>
                </c:pt>
                <c:pt idx="1319">
                  <c:v>177.07355057795499</c:v>
                </c:pt>
                <c:pt idx="1320">
                  <c:v>177.14469181863299</c:v>
                </c:pt>
                <c:pt idx="1321">
                  <c:v>177.98763657440199</c:v>
                </c:pt>
                <c:pt idx="1322">
                  <c:v>177.998265794731</c:v>
                </c:pt>
                <c:pt idx="1323">
                  <c:v>177.88819000654999</c:v>
                </c:pt>
                <c:pt idx="1324">
                  <c:v>177.808547933087</c:v>
                </c:pt>
                <c:pt idx="1325">
                  <c:v>178.171419869262</c:v>
                </c:pt>
                <c:pt idx="1326">
                  <c:v>177.733341194612</c:v>
                </c:pt>
                <c:pt idx="1327">
                  <c:v>177.29649158791699</c:v>
                </c:pt>
                <c:pt idx="1328">
                  <c:v>175.437124483068</c:v>
                </c:pt>
                <c:pt idx="1329">
                  <c:v>175.21870973420499</c:v>
                </c:pt>
                <c:pt idx="1330">
                  <c:v>176.568970766961</c:v>
                </c:pt>
                <c:pt idx="1331">
                  <c:v>176.568970766961</c:v>
                </c:pt>
                <c:pt idx="1332">
                  <c:v>176.75652470338099</c:v>
                </c:pt>
                <c:pt idx="1333">
                  <c:v>175.17357671793701</c:v>
                </c:pt>
                <c:pt idx="1334">
                  <c:v>174.646616269595</c:v>
                </c:pt>
                <c:pt idx="1335">
                  <c:v>174.81432020015399</c:v>
                </c:pt>
                <c:pt idx="1336">
                  <c:v>175.99599889867201</c:v>
                </c:pt>
                <c:pt idx="1337">
                  <c:v>175.733600572558</c:v>
                </c:pt>
                <c:pt idx="1338">
                  <c:v>175.51708781587601</c:v>
                </c:pt>
                <c:pt idx="1339">
                  <c:v>175.970613890924</c:v>
                </c:pt>
                <c:pt idx="1340">
                  <c:v>176.13082014545299</c:v>
                </c:pt>
                <c:pt idx="1341">
                  <c:v>176.036595292719</c:v>
                </c:pt>
                <c:pt idx="1342">
                  <c:v>176.28336736803399</c:v>
                </c:pt>
                <c:pt idx="1343">
                  <c:v>177.394141937413</c:v>
                </c:pt>
                <c:pt idx="1344">
                  <c:v>177.95188118071599</c:v>
                </c:pt>
                <c:pt idx="1345">
                  <c:v>177.73223326463901</c:v>
                </c:pt>
                <c:pt idx="1346">
                  <c:v>176.94830291130501</c:v>
                </c:pt>
                <c:pt idx="1347">
                  <c:v>177.36047645632499</c:v>
                </c:pt>
                <c:pt idx="1348">
                  <c:v>177.890112075422</c:v>
                </c:pt>
                <c:pt idx="1349">
                  <c:v>177.88920252382101</c:v>
                </c:pt>
                <c:pt idx="1350">
                  <c:v>179.47204344433399</c:v>
                </c:pt>
                <c:pt idx="1351">
                  <c:v>180.04965425496201</c:v>
                </c:pt>
                <c:pt idx="1352">
                  <c:v>179.91319817802099</c:v>
                </c:pt>
                <c:pt idx="1353">
                  <c:v>179.64240524483401</c:v>
                </c:pt>
                <c:pt idx="1354">
                  <c:v>180.041973080552</c:v>
                </c:pt>
                <c:pt idx="1355">
                  <c:v>180.3101286401</c:v>
                </c:pt>
                <c:pt idx="1356">
                  <c:v>180.81122753362499</c:v>
                </c:pt>
                <c:pt idx="1357">
                  <c:v>181.05048572953601</c:v>
                </c:pt>
                <c:pt idx="1358">
                  <c:v>180.29917683704301</c:v>
                </c:pt>
                <c:pt idx="1359">
                  <c:v>180.68711139190299</c:v>
                </c:pt>
                <c:pt idx="1360">
                  <c:v>180.19535974770099</c:v>
                </c:pt>
                <c:pt idx="1361">
                  <c:v>179.67364841819401</c:v>
                </c:pt>
                <c:pt idx="1362">
                  <c:v>180.21154733892701</c:v>
                </c:pt>
                <c:pt idx="1363">
                  <c:v>180.63061319284901</c:v>
                </c:pt>
                <c:pt idx="1364">
                  <c:v>181.375617519976</c:v>
                </c:pt>
                <c:pt idx="1365">
                  <c:v>181.75288131318601</c:v>
                </c:pt>
                <c:pt idx="1366">
                  <c:v>182.205587342527</c:v>
                </c:pt>
                <c:pt idx="1367">
                  <c:v>182.32959219094801</c:v>
                </c:pt>
                <c:pt idx="1368">
                  <c:v>182.823483261647</c:v>
                </c:pt>
                <c:pt idx="1369">
                  <c:v>182.656163919162</c:v>
                </c:pt>
                <c:pt idx="1370">
                  <c:v>182.574384194473</c:v>
                </c:pt>
                <c:pt idx="1371">
                  <c:v>183.34164676213899</c:v>
                </c:pt>
                <c:pt idx="1372">
                  <c:v>183.61647743435299</c:v>
                </c:pt>
                <c:pt idx="1373">
                  <c:v>183.55286714795</c:v>
                </c:pt>
                <c:pt idx="1374">
                  <c:v>183.950090787828</c:v>
                </c:pt>
                <c:pt idx="1375">
                  <c:v>184.12220306926901</c:v>
                </c:pt>
                <c:pt idx="1376">
                  <c:v>183.89352574178301</c:v>
                </c:pt>
                <c:pt idx="1377">
                  <c:v>184.175710615919</c:v>
                </c:pt>
                <c:pt idx="1378">
                  <c:v>184.44334698963601</c:v>
                </c:pt>
                <c:pt idx="1379">
                  <c:v>184.65738221154899</c:v>
                </c:pt>
                <c:pt idx="1380">
                  <c:v>184.159539389456</c:v>
                </c:pt>
                <c:pt idx="1381">
                  <c:v>184.281629689695</c:v>
                </c:pt>
                <c:pt idx="1382">
                  <c:v>183.56854526891601</c:v>
                </c:pt>
                <c:pt idx="1383">
                  <c:v>183.772789714461</c:v>
                </c:pt>
                <c:pt idx="1384">
                  <c:v>184.58545526857199</c:v>
                </c:pt>
                <c:pt idx="1385">
                  <c:v>184.59253214101599</c:v>
                </c:pt>
                <c:pt idx="1386">
                  <c:v>184.803339437598</c:v>
                </c:pt>
                <c:pt idx="1387">
                  <c:v>184.803339437598</c:v>
                </c:pt>
                <c:pt idx="1388">
                  <c:v>185.40381934308999</c:v>
                </c:pt>
                <c:pt idx="1389">
                  <c:v>185.613515449657</c:v>
                </c:pt>
                <c:pt idx="1390">
                  <c:v>185.74095699518199</c:v>
                </c:pt>
                <c:pt idx="1391">
                  <c:v>185.74387834749299</c:v>
                </c:pt>
                <c:pt idx="1392">
                  <c:v>186.102490829537</c:v>
                </c:pt>
                <c:pt idx="1393">
                  <c:v>185.38895329525499</c:v>
                </c:pt>
                <c:pt idx="1394">
                  <c:v>185.22517929640699</c:v>
                </c:pt>
                <c:pt idx="1395">
                  <c:v>184.83945314535899</c:v>
                </c:pt>
                <c:pt idx="1396">
                  <c:v>184.51135184436799</c:v>
                </c:pt>
                <c:pt idx="1397">
                  <c:v>183.54380755694899</c:v>
                </c:pt>
                <c:pt idx="1398">
                  <c:v>184.932151459414</c:v>
                </c:pt>
                <c:pt idx="1399">
                  <c:v>184.69668030210499</c:v>
                </c:pt>
                <c:pt idx="1400">
                  <c:v>184.93646020150101</c:v>
                </c:pt>
                <c:pt idx="1401">
                  <c:v>185.97931738855101</c:v>
                </c:pt>
                <c:pt idx="1402">
                  <c:v>186.25124946418899</c:v>
                </c:pt>
                <c:pt idx="1403">
                  <c:v>186.55692461636099</c:v>
                </c:pt>
                <c:pt idx="1404">
                  <c:v>187.129557989045</c:v>
                </c:pt>
                <c:pt idx="1405">
                  <c:v>186.79545043263201</c:v>
                </c:pt>
                <c:pt idx="1406">
                  <c:v>187.77960598757301</c:v>
                </c:pt>
                <c:pt idx="1407">
                  <c:v>187.76187236197401</c:v>
                </c:pt>
                <c:pt idx="1408">
                  <c:v>188.80757249894901</c:v>
                </c:pt>
                <c:pt idx="1409">
                  <c:v>188.084988187889</c:v>
                </c:pt>
                <c:pt idx="1410">
                  <c:v>188.14360706013099</c:v>
                </c:pt>
                <c:pt idx="1411">
                  <c:v>187.57518553206</c:v>
                </c:pt>
                <c:pt idx="1412">
                  <c:v>187.08542590237499</c:v>
                </c:pt>
                <c:pt idx="1413">
                  <c:v>187.58922843553401</c:v>
                </c:pt>
                <c:pt idx="1414">
                  <c:v>188.49659028958101</c:v>
                </c:pt>
                <c:pt idx="1415">
                  <c:v>189.205495562995</c:v>
                </c:pt>
                <c:pt idx="1416">
                  <c:v>189.411878208487</c:v>
                </c:pt>
                <c:pt idx="1417">
                  <c:v>189.49937314112401</c:v>
                </c:pt>
                <c:pt idx="1418">
                  <c:v>188.89685625836299</c:v>
                </c:pt>
                <c:pt idx="1419">
                  <c:v>189.627794474393</c:v>
                </c:pt>
                <c:pt idx="1420">
                  <c:v>191.315551699259</c:v>
                </c:pt>
                <c:pt idx="1421">
                  <c:v>190.62441571823501</c:v>
                </c:pt>
                <c:pt idx="1422">
                  <c:v>190.55418312538501</c:v>
                </c:pt>
                <c:pt idx="1423">
                  <c:v>191.04003260955099</c:v>
                </c:pt>
                <c:pt idx="1424">
                  <c:v>190.93331075860499</c:v>
                </c:pt>
                <c:pt idx="1425">
                  <c:v>190.93331075860499</c:v>
                </c:pt>
                <c:pt idx="1426">
                  <c:v>190.93331075860499</c:v>
                </c:pt>
                <c:pt idx="1427">
                  <c:v>191.29115732454301</c:v>
                </c:pt>
                <c:pt idx="1428">
                  <c:v>191.66640447539601</c:v>
                </c:pt>
                <c:pt idx="1429">
                  <c:v>191.36090933561999</c:v>
                </c:pt>
                <c:pt idx="1430">
                  <c:v>191.36090933561999</c:v>
                </c:pt>
                <c:pt idx="1431">
                  <c:v>192.51012812288201</c:v>
                </c:pt>
                <c:pt idx="1432">
                  <c:v>193.384843694583</c:v>
                </c:pt>
                <c:pt idx="1433">
                  <c:v>194.958557951161</c:v>
                </c:pt>
                <c:pt idx="1434">
                  <c:v>196.21848833154601</c:v>
                </c:pt>
                <c:pt idx="1435">
                  <c:v>196.343550595436</c:v>
                </c:pt>
                <c:pt idx="1436">
                  <c:v>196.71797724869501</c:v>
                </c:pt>
                <c:pt idx="1437">
                  <c:v>196.76442722492899</c:v>
                </c:pt>
                <c:pt idx="1438">
                  <c:v>197.635150795019</c:v>
                </c:pt>
                <c:pt idx="1439">
                  <c:v>198.86692551964299</c:v>
                </c:pt>
                <c:pt idx="1440">
                  <c:v>199.653220565119</c:v>
                </c:pt>
                <c:pt idx="1441">
                  <c:v>199.149757076285</c:v>
                </c:pt>
                <c:pt idx="1442">
                  <c:v>200.20080997559398</c:v>
                </c:pt>
                <c:pt idx="1443">
                  <c:v>199.92128435933799</c:v>
                </c:pt>
                <c:pt idx="1444">
                  <c:v>200.89499319172299</c:v>
                </c:pt>
                <c:pt idx="1445">
                  <c:v>202.139317623945</c:v>
                </c:pt>
                <c:pt idx="1446">
                  <c:v>202.96545437998</c:v>
                </c:pt>
                <c:pt idx="1447">
                  <c:v>203.17433918808004</c:v>
                </c:pt>
                <c:pt idx="1448">
                  <c:v>203.363880620148</c:v>
                </c:pt>
                <c:pt idx="1449">
                  <c:v>204.68977106680799</c:v>
                </c:pt>
                <c:pt idx="1450">
                  <c:v>203.357453916195</c:v>
                </c:pt>
                <c:pt idx="1451">
                  <c:v>201.53859967086197</c:v>
                </c:pt>
                <c:pt idx="1452">
                  <c:v>201.46480459494799</c:v>
                </c:pt>
              </c:numCache>
            </c:numRef>
          </c:val>
          <c:smooth val="0"/>
          <c:extLst xmlns:c16r2="http://schemas.microsoft.com/office/drawing/2015/06/chart">
            <c:ext xmlns:c16="http://schemas.microsoft.com/office/drawing/2014/chart" uri="{C3380CC4-5D6E-409C-BE32-E72D297353CC}">
              <c16:uniqueId val="{00000002-7127-4EE7-81B7-88A877082DDF}"/>
            </c:ext>
          </c:extLst>
        </c:ser>
        <c:dLbls>
          <c:showLegendKey val="0"/>
          <c:showVal val="0"/>
          <c:showCatName val="0"/>
          <c:showSerName val="0"/>
          <c:showPercent val="0"/>
          <c:showBubbleSize val="0"/>
        </c:dLbls>
        <c:marker val="1"/>
        <c:smooth val="0"/>
        <c:axId val="460405376"/>
        <c:axId val="460407168"/>
      </c:lineChart>
      <c:dateAx>
        <c:axId val="460405376"/>
        <c:scaling>
          <c:orientation val="minMax"/>
        </c:scaling>
        <c:delete val="0"/>
        <c:axPos val="b"/>
        <c:numFmt formatCode="[$-409]mmm\-yy;@" sourceLinked="0"/>
        <c:majorTickMark val="out"/>
        <c:minorTickMark val="none"/>
        <c:tickLblPos val="low"/>
        <c:spPr>
          <a:ln>
            <a:solidFill>
              <a:srgbClr val="767A7E"/>
            </a:solidFill>
          </a:ln>
        </c:spPr>
        <c:crossAx val="460407168"/>
        <c:crosses val="autoZero"/>
        <c:auto val="1"/>
        <c:lblOffset val="100"/>
        <c:baseTimeUnit val="days"/>
      </c:dateAx>
      <c:valAx>
        <c:axId val="460407168"/>
        <c:scaling>
          <c:orientation val="minMax"/>
          <c:max val="220"/>
          <c:min val="100"/>
        </c:scaling>
        <c:delete val="0"/>
        <c:axPos val="l"/>
        <c:majorGridlines>
          <c:spPr>
            <a:ln>
              <a:solidFill>
                <a:srgbClr val="F2F2F2"/>
              </a:solidFill>
            </a:ln>
          </c:spPr>
        </c:majorGridlines>
        <c:numFmt formatCode="General" sourceLinked="0"/>
        <c:majorTickMark val="out"/>
        <c:minorTickMark val="none"/>
        <c:tickLblPos val="nextTo"/>
        <c:spPr>
          <a:ln>
            <a:solidFill>
              <a:srgbClr val="767A7E"/>
            </a:solidFill>
          </a:ln>
        </c:spPr>
        <c:crossAx val="460405376"/>
        <c:crosses val="autoZero"/>
        <c:crossBetween val="between"/>
      </c:valAx>
      <c:valAx>
        <c:axId val="460408704"/>
        <c:scaling>
          <c:orientation val="minMax"/>
        </c:scaling>
        <c:delete val="0"/>
        <c:axPos val="r"/>
        <c:numFmt formatCode="General" sourceLinked="0"/>
        <c:majorTickMark val="out"/>
        <c:minorTickMark val="none"/>
        <c:tickLblPos val="nextTo"/>
        <c:crossAx val="460410240"/>
        <c:crosses val="max"/>
        <c:crossBetween val="between"/>
      </c:valAx>
      <c:dateAx>
        <c:axId val="460410240"/>
        <c:scaling>
          <c:orientation val="minMax"/>
        </c:scaling>
        <c:delete val="1"/>
        <c:axPos val="b"/>
        <c:numFmt formatCode="m/d/yyyy" sourceLinked="1"/>
        <c:majorTickMark val="out"/>
        <c:minorTickMark val="none"/>
        <c:tickLblPos val="nextTo"/>
        <c:crossAx val="460408704"/>
        <c:crosses val="autoZero"/>
        <c:auto val="1"/>
        <c:lblOffset val="100"/>
        <c:baseTimeUnit val="days"/>
      </c:dateAx>
    </c:plotArea>
    <c:legend>
      <c:legendPos val="b"/>
      <c:layout>
        <c:manualLayout>
          <c:xMode val="edge"/>
          <c:yMode val="edge"/>
          <c:x val="1.4266401929664261E-3"/>
          <c:y val="0.78265616672347904"/>
          <c:w val="0.99714646265437834"/>
          <c:h val="0.18146724872736997"/>
        </c:manualLayout>
      </c:layout>
      <c:overlay val="0"/>
    </c:legend>
    <c:plotVisOnly val="1"/>
    <c:dispBlanksAs val="gap"/>
    <c:showDLblsOverMax val="0"/>
  </c:chart>
  <c:spPr>
    <a:ln w="9525">
      <a:noFill/>
    </a:ln>
  </c:spPr>
  <c:txPr>
    <a:bodyPr/>
    <a:lstStyle/>
    <a:p>
      <a:pPr>
        <a:defRPr>
          <a:solidFill>
            <a:srgbClr val="003C64"/>
          </a:solidFill>
        </a:defRPr>
      </a:pPr>
      <a:endParaRPr lang="en-US"/>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xMode val="edge"/>
          <c:yMode val="edge"/>
          <c:x val="3.0765023586518083E-2"/>
          <c:y val="2.5749967812540235E-2"/>
          <c:w val="0.96923497641348189"/>
          <c:h val="0.86906141367323286"/>
        </c:manualLayout>
      </c:layout>
      <c:barChart>
        <c:barDir val="bar"/>
        <c:grouping val="clustered"/>
        <c:varyColors val="0"/>
        <c:ser>
          <c:idx val="1"/>
          <c:order val="0"/>
          <c:tx>
            <c:strRef>
              <c:f>'Global Min Var'!$N$22</c:f>
              <c:strCache>
                <c:ptCount val="1"/>
                <c:pt idx="0">
                  <c:v>MSCI World</c:v>
                </c:pt>
              </c:strCache>
            </c:strRef>
          </c:tx>
          <c:spPr>
            <a:solidFill>
              <a:srgbClr val="00A0E3"/>
            </a:solidFill>
            <a:ln>
              <a:noFill/>
              <a:round/>
            </a:ln>
            <a:effectLst/>
            <a:extLst>
              <a:ext uri="{91240B29-F687-4F45-9708-019B960494DF}">
                <a14:hiddenLine xmlns:a14="http://schemas.microsoft.com/office/drawing/2010/main">
                  <a:noFill/>
                  <a:round/>
                </a14:hiddenLine>
              </a:ext>
            </a:extLst>
          </c:spPr>
          <c:invertIfNegative val="0"/>
          <c:cat>
            <c:strRef>
              <c:f>'Global Min Var'!$L$23:$L$33</c:f>
              <c:strCache>
                <c:ptCount val="11"/>
                <c:pt idx="0">
                  <c:v>Energy</c:v>
                </c:pt>
                <c:pt idx="1">
                  <c:v>Real Estate</c:v>
                </c:pt>
                <c:pt idx="2">
                  <c:v>Materials</c:v>
                </c:pt>
                <c:pt idx="3">
                  <c:v>Telecommunication Services</c:v>
                </c:pt>
                <c:pt idx="4">
                  <c:v>Financials</c:v>
                </c:pt>
                <c:pt idx="5">
                  <c:v>Utilities</c:v>
                </c:pt>
                <c:pt idx="6">
                  <c:v>Information Technology</c:v>
                </c:pt>
                <c:pt idx="7">
                  <c:v>Consumer Discretionary</c:v>
                </c:pt>
                <c:pt idx="8">
                  <c:v>Consumer Staples</c:v>
                </c:pt>
                <c:pt idx="9">
                  <c:v>Health Care</c:v>
                </c:pt>
                <c:pt idx="10">
                  <c:v>Industrials</c:v>
                </c:pt>
              </c:strCache>
            </c:strRef>
          </c:cat>
          <c:val>
            <c:numRef>
              <c:f>'Global Min Var'!$N$23:$N$33</c:f>
              <c:numCache>
                <c:formatCode>0\.0%</c:formatCode>
                <c:ptCount val="11"/>
                <c:pt idx="0">
                  <c:v>6.1780450920393075E-2</c:v>
                </c:pt>
                <c:pt idx="1">
                  <c:v>2.9153397367752968E-2</c:v>
                </c:pt>
                <c:pt idx="2">
                  <c:v>5.2493211315054883E-2</c:v>
                </c:pt>
                <c:pt idx="3">
                  <c:v>2.6621207985404134E-2</c:v>
                </c:pt>
                <c:pt idx="4">
                  <c:v>0.18252667783504353</c:v>
                </c:pt>
                <c:pt idx="5">
                  <c:v>2.7695129529298177E-2</c:v>
                </c:pt>
                <c:pt idx="6">
                  <c:v>0.1702403843729888</c:v>
                </c:pt>
                <c:pt idx="7">
                  <c:v>0.12614791632491149</c:v>
                </c:pt>
                <c:pt idx="8">
                  <c:v>8.7412601082783703E-2</c:v>
                </c:pt>
                <c:pt idx="9">
                  <c:v>0.11908412561372114</c:v>
                </c:pt>
                <c:pt idx="10">
                  <c:v>0.11684489765264816</c:v>
                </c:pt>
              </c:numCache>
            </c:numRef>
          </c:val>
          <c:extLst xmlns:c16r2="http://schemas.microsoft.com/office/drawing/2015/06/chart">
            <c:ext xmlns:c16="http://schemas.microsoft.com/office/drawing/2014/chart" uri="{C3380CC4-5D6E-409C-BE32-E72D297353CC}">
              <c16:uniqueId val="{00000000-3391-4CB7-8435-ACBB676D381B}"/>
            </c:ext>
          </c:extLst>
        </c:ser>
        <c:ser>
          <c:idx val="0"/>
          <c:order val="1"/>
          <c:tx>
            <c:strRef>
              <c:f>'Global Min Var'!$M$22</c:f>
              <c:strCache>
                <c:ptCount val="1"/>
                <c:pt idx="0">
                  <c:v>Amundi Fds Eq Global Conservative</c:v>
                </c:pt>
              </c:strCache>
            </c:strRef>
          </c:tx>
          <c:spPr>
            <a:solidFill>
              <a:srgbClr val="003C64"/>
            </a:solidFill>
            <a:ln>
              <a:noFill/>
              <a:round/>
            </a:ln>
            <a:effectLst/>
            <a:extLst>
              <a:ext uri="{91240B29-F687-4F45-9708-019B960494DF}">
                <a14:hiddenLine xmlns:a14="http://schemas.microsoft.com/office/drawing/2010/main">
                  <a:noFill/>
                  <a:round/>
                </a14:hiddenLine>
              </a:ext>
            </a:extLst>
          </c:spPr>
          <c:invertIfNegative val="0"/>
          <c:cat>
            <c:strRef>
              <c:f>'Global Min Var'!$L$23:$L$33</c:f>
              <c:strCache>
                <c:ptCount val="11"/>
                <c:pt idx="0">
                  <c:v>Energy</c:v>
                </c:pt>
                <c:pt idx="1">
                  <c:v>Real Estate</c:v>
                </c:pt>
                <c:pt idx="2">
                  <c:v>Materials</c:v>
                </c:pt>
                <c:pt idx="3">
                  <c:v>Telecommunication Services</c:v>
                </c:pt>
                <c:pt idx="4">
                  <c:v>Financials</c:v>
                </c:pt>
                <c:pt idx="5">
                  <c:v>Utilities</c:v>
                </c:pt>
                <c:pt idx="6">
                  <c:v>Information Technology</c:v>
                </c:pt>
                <c:pt idx="7">
                  <c:v>Consumer Discretionary</c:v>
                </c:pt>
                <c:pt idx="8">
                  <c:v>Consumer Staples</c:v>
                </c:pt>
                <c:pt idx="9">
                  <c:v>Health Care</c:v>
                </c:pt>
                <c:pt idx="10">
                  <c:v>Industrials</c:v>
                </c:pt>
              </c:strCache>
            </c:strRef>
          </c:cat>
          <c:val>
            <c:numRef>
              <c:f>'Global Min Var'!$M$23:$M$33</c:f>
              <c:numCache>
                <c:formatCode>0\.0%</c:formatCode>
                <c:ptCount val="11"/>
                <c:pt idx="0">
                  <c:v>0</c:v>
                </c:pt>
                <c:pt idx="1">
                  <c:v>0</c:v>
                </c:pt>
                <c:pt idx="2">
                  <c:v>3.1704629655629556E-2</c:v>
                </c:pt>
                <c:pt idx="3">
                  <c:v>6.2429163328400608E-2</c:v>
                </c:pt>
                <c:pt idx="4">
                  <c:v>8.5706751283798205E-2</c:v>
                </c:pt>
                <c:pt idx="5">
                  <c:v>9.9224706042325292E-2</c:v>
                </c:pt>
                <c:pt idx="6">
                  <c:v>9.978894699483451E-2</c:v>
                </c:pt>
                <c:pt idx="7">
                  <c:v>0.10891360714330479</c:v>
                </c:pt>
                <c:pt idx="8">
                  <c:v>0.15932379018995485</c:v>
                </c:pt>
                <c:pt idx="9">
                  <c:v>0.17320356705631978</c:v>
                </c:pt>
                <c:pt idx="10">
                  <c:v>0.17970483830543249</c:v>
                </c:pt>
              </c:numCache>
            </c:numRef>
          </c:val>
          <c:extLst xmlns:c16r2="http://schemas.microsoft.com/office/drawing/2015/06/chart">
            <c:ext xmlns:c16="http://schemas.microsoft.com/office/drawing/2014/chart" uri="{C3380CC4-5D6E-409C-BE32-E72D297353CC}">
              <c16:uniqueId val="{00000001-3391-4CB7-8435-ACBB676D381B}"/>
            </c:ext>
          </c:extLst>
        </c:ser>
        <c:dLbls>
          <c:showLegendKey val="0"/>
          <c:showVal val="0"/>
          <c:showCatName val="0"/>
          <c:showSerName val="0"/>
          <c:showPercent val="0"/>
          <c:showBubbleSize val="0"/>
        </c:dLbls>
        <c:gapWidth val="150"/>
        <c:axId val="460270976"/>
        <c:axId val="460272768"/>
      </c:barChart>
      <c:catAx>
        <c:axId val="460270976"/>
        <c:scaling>
          <c:orientation val="minMax"/>
        </c:scaling>
        <c:delete val="0"/>
        <c:axPos val="l"/>
        <c:numFmt formatCode="General" sourceLinked="1"/>
        <c:majorTickMark val="out"/>
        <c:minorTickMark val="none"/>
        <c:tickLblPos val="low"/>
        <c:spPr>
          <a:ln>
            <a:solidFill>
              <a:srgbClr val="003C64"/>
            </a:solidFill>
          </a:ln>
        </c:spPr>
        <c:txPr>
          <a:bodyPr/>
          <a:lstStyle/>
          <a:p>
            <a:pPr>
              <a:defRPr sz="900" b="0" i="0" u="none">
                <a:solidFill>
                  <a:srgbClr val="003C64"/>
                </a:solidFill>
                <a:latin typeface="Arial"/>
                <a:ea typeface="Arial"/>
                <a:cs typeface="Arial"/>
              </a:defRPr>
            </a:pPr>
            <a:endParaRPr lang="en-US"/>
          </a:p>
        </c:txPr>
        <c:crossAx val="460272768"/>
        <c:crossesAt val="0"/>
        <c:auto val="1"/>
        <c:lblAlgn val="ctr"/>
        <c:lblOffset val="100"/>
        <c:noMultiLvlLbl val="0"/>
      </c:catAx>
      <c:valAx>
        <c:axId val="460272768"/>
        <c:scaling>
          <c:orientation val="minMax"/>
          <c:max val="0.21000000000000002"/>
          <c:min val="0"/>
        </c:scaling>
        <c:delete val="0"/>
        <c:axPos val="b"/>
        <c:majorGridlines>
          <c:spPr>
            <a:ln w="3175">
              <a:solidFill>
                <a:srgbClr val="FFFFFF"/>
              </a:solidFill>
            </a:ln>
          </c:spPr>
        </c:majorGridlines>
        <c:numFmt formatCode="0%" sourceLinked="0"/>
        <c:majorTickMark val="out"/>
        <c:minorTickMark val="none"/>
        <c:tickLblPos val="nextTo"/>
        <c:spPr>
          <a:ln>
            <a:solidFill>
              <a:srgbClr val="003C64"/>
            </a:solidFill>
          </a:ln>
        </c:spPr>
        <c:txPr>
          <a:bodyPr/>
          <a:lstStyle/>
          <a:p>
            <a:pPr>
              <a:defRPr sz="900" b="0" i="0" u="none">
                <a:solidFill>
                  <a:srgbClr val="003C64"/>
                </a:solidFill>
                <a:latin typeface="Arial"/>
                <a:ea typeface="Arial"/>
                <a:cs typeface="Arial"/>
              </a:defRPr>
            </a:pPr>
            <a:endParaRPr lang="en-US"/>
          </a:p>
        </c:txPr>
        <c:crossAx val="460270976"/>
        <c:crosses val="autoZero"/>
        <c:crossBetween val="between"/>
      </c:valAx>
    </c:plotArea>
    <c:legend>
      <c:legendPos val="b"/>
      <c:legendEntry>
        <c:idx val="0"/>
        <c:txPr>
          <a:bodyPr/>
          <a:lstStyle/>
          <a:p>
            <a:pPr>
              <a:defRPr sz="900" b="0" i="0" u="none">
                <a:solidFill>
                  <a:srgbClr val="003C64"/>
                </a:solidFill>
                <a:latin typeface="Arial"/>
                <a:ea typeface="Arial"/>
                <a:cs typeface="Arial"/>
              </a:defRPr>
            </a:pPr>
            <a:endParaRPr lang="en-US"/>
          </a:p>
        </c:txPr>
      </c:legendEntry>
      <c:legendEntry>
        <c:idx val="1"/>
        <c:txPr>
          <a:bodyPr/>
          <a:lstStyle/>
          <a:p>
            <a:pPr>
              <a:defRPr sz="900" b="0" i="0" u="none">
                <a:solidFill>
                  <a:srgbClr val="00A0E3"/>
                </a:solidFill>
                <a:latin typeface="Arial"/>
                <a:ea typeface="Arial"/>
                <a:cs typeface="Arial"/>
              </a:defRPr>
            </a:pPr>
            <a:endParaRPr lang="en-US"/>
          </a:p>
        </c:txPr>
      </c:legendEntry>
      <c:layout>
        <c:manualLayout>
          <c:xMode val="edge"/>
          <c:yMode val="edge"/>
          <c:x val="4.7856703356805905E-2"/>
          <c:y val="0.89732504468227681"/>
          <c:w val="0.95214329664319408"/>
          <c:h val="0.10267495531772318"/>
        </c:manualLayout>
      </c:layout>
      <c:overlay val="0"/>
      <c:txPr>
        <a:bodyPr/>
        <a:lstStyle/>
        <a:p>
          <a:pPr>
            <a:defRPr sz="900" b="0" i="0" u="none">
              <a:latin typeface="Arial"/>
              <a:ea typeface="Arial"/>
              <a:cs typeface="Arial"/>
            </a:defRPr>
          </a:pPr>
          <a:endParaRPr lang="en-US"/>
        </a:p>
      </c:txPr>
    </c:legend>
    <c:plotVisOnly val="1"/>
    <c:dispBlanksAs val="gap"/>
    <c:showDLblsOverMax val="0"/>
  </c:chart>
  <c:spPr>
    <a:ln w="6350">
      <a:noFill/>
    </a:ln>
  </c:spPr>
  <c:txPr>
    <a:bodyPr/>
    <a:lstStyle/>
    <a:p>
      <a:pPr>
        <a:defRPr sz="900"/>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xMode val="edge"/>
          <c:yMode val="edge"/>
          <c:x val="1.3834607270086121E-2"/>
          <c:y val="1.2993762993762994E-2"/>
          <c:w val="0.98616539272991388"/>
          <c:h val="0.94204781704781704"/>
        </c:manualLayout>
      </c:layout>
      <c:barChart>
        <c:barDir val="bar"/>
        <c:grouping val="clustered"/>
        <c:varyColors val="0"/>
        <c:ser>
          <c:idx val="0"/>
          <c:order val="0"/>
          <c:tx>
            <c:strRef>
              <c:f>'Global Min Var'!$M$37</c:f>
              <c:strCache>
                <c:ptCount val="1"/>
                <c:pt idx="0">
                  <c:v>Amundi Fds Eq Global Conservative</c:v>
                </c:pt>
              </c:strCache>
            </c:strRef>
          </c:tx>
          <c:spPr>
            <a:solidFill>
              <a:schemeClr val="tx1"/>
            </a:solidFill>
          </c:spPr>
          <c:invertIfNegative val="0"/>
          <c:cat>
            <c:strRef>
              <c:f>'Global Min Var'!$L$38:$L$50</c:f>
              <c:strCache>
                <c:ptCount val="13"/>
                <c:pt idx="0">
                  <c:v>USA</c:v>
                </c:pt>
                <c:pt idx="1">
                  <c:v>Japan</c:v>
                </c:pt>
                <c:pt idx="2">
                  <c:v>Switzerland</c:v>
                </c:pt>
                <c:pt idx="3">
                  <c:v>France</c:v>
                </c:pt>
                <c:pt idx="4">
                  <c:v>Germany</c:v>
                </c:pt>
                <c:pt idx="5">
                  <c:v>United Kingdom</c:v>
                </c:pt>
                <c:pt idx="6">
                  <c:v>Australia</c:v>
                </c:pt>
                <c:pt idx="7">
                  <c:v>Belgium</c:v>
                </c:pt>
                <c:pt idx="8">
                  <c:v>Canada</c:v>
                </c:pt>
                <c:pt idx="9">
                  <c:v>Denmark</c:v>
                </c:pt>
                <c:pt idx="10">
                  <c:v>Sweden</c:v>
                </c:pt>
                <c:pt idx="11">
                  <c:v>Spain</c:v>
                </c:pt>
                <c:pt idx="12">
                  <c:v>Italy</c:v>
                </c:pt>
              </c:strCache>
            </c:strRef>
          </c:cat>
          <c:val>
            <c:numRef>
              <c:f>'Global Min Var'!$M$38:$M$50</c:f>
              <c:numCache>
                <c:formatCode>0\.0%</c:formatCode>
                <c:ptCount val="13"/>
                <c:pt idx="0">
                  <c:v>0.61103957183778224</c:v>
                </c:pt>
                <c:pt idx="1">
                  <c:v>0.12098941568206881</c:v>
                </c:pt>
                <c:pt idx="2">
                  <c:v>7.1743068330039989E-2</c:v>
                </c:pt>
                <c:pt idx="3">
                  <c:v>3.9723198131729524E-2</c:v>
                </c:pt>
                <c:pt idx="4">
                  <c:v>3.540754402582167E-2</c:v>
                </c:pt>
                <c:pt idx="5">
                  <c:v>3.5407493457630584E-2</c:v>
                </c:pt>
                <c:pt idx="6">
                  <c:v>1.8969104733063173E-2</c:v>
                </c:pt>
                <c:pt idx="7">
                  <c:v>1.7522064140351248E-2</c:v>
                </c:pt>
                <c:pt idx="8">
                  <c:v>1.6588311138184507E-2</c:v>
                </c:pt>
                <c:pt idx="9">
                  <c:v>1.5435511571911075E-2</c:v>
                </c:pt>
                <c:pt idx="10">
                  <c:v>1.0316843107789157E-2</c:v>
                </c:pt>
                <c:pt idx="11">
                  <c:v>4.4110520012474452E-3</c:v>
                </c:pt>
                <c:pt idx="12">
                  <c:v>2.4468218423807052E-3</c:v>
                </c:pt>
              </c:numCache>
            </c:numRef>
          </c:val>
        </c:ser>
        <c:ser>
          <c:idx val="1"/>
          <c:order val="1"/>
          <c:tx>
            <c:strRef>
              <c:f>'Global Min Var'!$N$37</c:f>
              <c:strCache>
                <c:ptCount val="1"/>
                <c:pt idx="0">
                  <c:v>MSCI World</c:v>
                </c:pt>
              </c:strCache>
            </c:strRef>
          </c:tx>
          <c:spPr>
            <a:solidFill>
              <a:schemeClr val="accent1"/>
            </a:solidFill>
          </c:spPr>
          <c:invertIfNegative val="0"/>
          <c:cat>
            <c:strRef>
              <c:f>'Global Min Var'!$L$38:$L$50</c:f>
              <c:strCache>
                <c:ptCount val="13"/>
                <c:pt idx="0">
                  <c:v>USA</c:v>
                </c:pt>
                <c:pt idx="1">
                  <c:v>Japan</c:v>
                </c:pt>
                <c:pt idx="2">
                  <c:v>Switzerland</c:v>
                </c:pt>
                <c:pt idx="3">
                  <c:v>France</c:v>
                </c:pt>
                <c:pt idx="4">
                  <c:v>Germany</c:v>
                </c:pt>
                <c:pt idx="5">
                  <c:v>United Kingdom</c:v>
                </c:pt>
                <c:pt idx="6">
                  <c:v>Australia</c:v>
                </c:pt>
                <c:pt idx="7">
                  <c:v>Belgium</c:v>
                </c:pt>
                <c:pt idx="8">
                  <c:v>Canada</c:v>
                </c:pt>
                <c:pt idx="9">
                  <c:v>Denmark</c:v>
                </c:pt>
                <c:pt idx="10">
                  <c:v>Sweden</c:v>
                </c:pt>
                <c:pt idx="11">
                  <c:v>Spain</c:v>
                </c:pt>
                <c:pt idx="12">
                  <c:v>Italy</c:v>
                </c:pt>
              </c:strCache>
            </c:strRef>
          </c:cat>
          <c:val>
            <c:numRef>
              <c:f>'Global Min Var'!$N$38:$N$50</c:f>
              <c:numCache>
                <c:formatCode>0\.0%</c:formatCode>
                <c:ptCount val="13"/>
                <c:pt idx="0">
                  <c:v>0.59403024052293141</c:v>
                </c:pt>
                <c:pt idx="1">
                  <c:v>9.0284953452461111E-2</c:v>
                </c:pt>
                <c:pt idx="2">
                  <c:v>2.9722733129241972E-2</c:v>
                </c:pt>
                <c:pt idx="3">
                  <c:v>4.0156243838994424E-2</c:v>
                </c:pt>
                <c:pt idx="4">
                  <c:v>3.6793422308031273E-2</c:v>
                </c:pt>
                <c:pt idx="5">
                  <c:v>6.4605697942125437E-2</c:v>
                </c:pt>
                <c:pt idx="6">
                  <c:v>2.5162795118579006E-2</c:v>
                </c:pt>
                <c:pt idx="7">
                  <c:v>4.1042723947006298E-3</c:v>
                </c:pt>
                <c:pt idx="8">
                  <c:v>3.3908036857670049E-2</c:v>
                </c:pt>
                <c:pt idx="9">
                  <c:v>6.697393420937091E-3</c:v>
                </c:pt>
                <c:pt idx="10">
                  <c:v>1.0098722720918656E-2</c:v>
                </c:pt>
                <c:pt idx="11">
                  <c:v>1.2273569869917202E-2</c:v>
                </c:pt>
                <c:pt idx="12">
                  <c:v>9.1616813051474504E-3</c:v>
                </c:pt>
              </c:numCache>
            </c:numRef>
          </c:val>
        </c:ser>
        <c:dLbls>
          <c:showLegendKey val="0"/>
          <c:showVal val="0"/>
          <c:showCatName val="0"/>
          <c:showSerName val="0"/>
          <c:showPercent val="0"/>
          <c:showBubbleSize val="0"/>
        </c:dLbls>
        <c:gapWidth val="150"/>
        <c:axId val="460306688"/>
        <c:axId val="460316672"/>
      </c:barChart>
      <c:catAx>
        <c:axId val="460306688"/>
        <c:scaling>
          <c:orientation val="maxMin"/>
        </c:scaling>
        <c:delete val="0"/>
        <c:axPos val="l"/>
        <c:majorTickMark val="out"/>
        <c:minorTickMark val="none"/>
        <c:tickLblPos val="nextTo"/>
        <c:crossAx val="460316672"/>
        <c:crosses val="autoZero"/>
        <c:auto val="1"/>
        <c:lblAlgn val="ctr"/>
        <c:lblOffset val="100"/>
        <c:noMultiLvlLbl val="0"/>
      </c:catAx>
      <c:valAx>
        <c:axId val="460316672"/>
        <c:scaling>
          <c:orientation val="minMax"/>
        </c:scaling>
        <c:delete val="0"/>
        <c:axPos val="t"/>
        <c:majorGridlines>
          <c:spPr>
            <a:ln w="3175">
              <a:solidFill>
                <a:srgbClr val="FFFFFF"/>
              </a:solidFill>
            </a:ln>
          </c:spPr>
        </c:majorGridlines>
        <c:numFmt formatCode="0%" sourceLinked="0"/>
        <c:majorTickMark val="out"/>
        <c:minorTickMark val="none"/>
        <c:tickLblPos val="nextTo"/>
        <c:crossAx val="460306688"/>
        <c:crosses val="autoZero"/>
        <c:crossBetween val="between"/>
      </c:valAx>
    </c:plotArea>
    <c:legend>
      <c:legendPos val="b"/>
      <c:legendEntry>
        <c:idx val="1"/>
        <c:txPr>
          <a:bodyPr/>
          <a:lstStyle/>
          <a:p>
            <a:pPr>
              <a:defRPr sz="1000">
                <a:solidFill>
                  <a:schemeClr val="accent1"/>
                </a:solidFill>
              </a:defRPr>
            </a:pPr>
            <a:endParaRPr lang="en-US"/>
          </a:p>
        </c:txPr>
      </c:legendEntry>
      <c:layout>
        <c:manualLayout>
          <c:xMode val="edge"/>
          <c:yMode val="edge"/>
          <c:x val="1.3834607270086121E-2"/>
          <c:y val="0.94457111373942082"/>
          <c:w val="0.98616539272991388"/>
          <c:h val="5.5428886260579173E-2"/>
        </c:manualLayout>
      </c:layout>
      <c:overlay val="0"/>
      <c:txPr>
        <a:bodyPr/>
        <a:lstStyle/>
        <a:p>
          <a:pPr>
            <a:defRPr sz="1000"/>
          </a:pPr>
          <a:endParaRPr lang="en-US"/>
        </a:p>
      </c:txPr>
    </c:legend>
    <c:plotVisOnly val="1"/>
    <c:dispBlanksAs val="gap"/>
    <c:showDLblsOverMax val="0"/>
  </c:chart>
  <c:spPr>
    <a:ln>
      <a:noFill/>
    </a:ln>
  </c:spPr>
  <c:txPr>
    <a:bodyPr/>
    <a:lstStyle/>
    <a:p>
      <a:pPr>
        <a:defRPr sz="900"/>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xMode val="edge"/>
          <c:yMode val="edge"/>
          <c:x val="1.2678288431061807E-2"/>
          <c:y val="2.0600504712365453E-2"/>
          <c:w val="0.98732171156893822"/>
          <c:h val="0.7982695576041613"/>
        </c:manualLayout>
      </c:layout>
      <c:barChart>
        <c:barDir val="col"/>
        <c:grouping val="clustered"/>
        <c:varyColors val="0"/>
        <c:ser>
          <c:idx val="0"/>
          <c:order val="0"/>
          <c:tx>
            <c:strRef>
              <c:f>'Amundi Fds EM MinVar BRUT'!$Q$51</c:f>
              <c:strCache>
                <c:ptCount val="1"/>
                <c:pt idx="0">
                  <c:v>Amundi Fds Emerging Conservative</c:v>
                </c:pt>
              </c:strCache>
            </c:strRef>
          </c:tx>
          <c:spPr>
            <a:solidFill>
              <a:srgbClr val="003C64"/>
            </a:solidFill>
            <a:ln>
              <a:noFill/>
              <a:round/>
            </a:ln>
            <a:effectLst/>
            <a:extLst>
              <a:ext uri="{91240B29-F687-4F45-9708-019B960494DF}">
                <a14:hiddenLine xmlns:a14="http://schemas.microsoft.com/office/drawing/2010/main">
                  <a:noFill/>
                  <a:round/>
                </a14:hiddenLine>
              </a:ext>
            </a:extLst>
          </c:spPr>
          <c:invertIfNegative val="0"/>
          <c:dLbls>
            <c:dLbl>
              <c:idx val="0"/>
              <c:layout>
                <c:manualLayout>
                  <c:x val="-1.2678288431061807E-2"/>
                  <c:y val="1.030025235618268E-2"/>
                </c:manualLayout>
              </c:layout>
              <c:tx>
                <c:rich>
                  <a:bodyPr/>
                  <a:lstStyle/>
                  <a:p>
                    <a:r>
                      <a:rPr lang="en-US" smtClean="0"/>
                      <a:t>4.9</a:t>
                    </a:r>
                    <a:r>
                      <a:rPr lang="en-US"/>
                      <a:t>%</a:t>
                    </a:r>
                  </a:p>
                </c:rich>
              </c:tx>
              <c:showLegendKey val="0"/>
              <c:showVal val="1"/>
              <c:showCatName val="0"/>
              <c:showSerName val="0"/>
              <c:showPercent val="0"/>
              <c:showBubbleSize val="0"/>
            </c:dLbl>
            <c:dLbl>
              <c:idx val="1"/>
              <c:tx>
                <c:rich>
                  <a:bodyPr/>
                  <a:lstStyle/>
                  <a:p>
                    <a:r>
                      <a:rPr lang="en-US" smtClean="0"/>
                      <a:t>0.0</a:t>
                    </a:r>
                    <a:r>
                      <a:rPr lang="en-US"/>
                      <a:t>%</a:t>
                    </a:r>
                  </a:p>
                </c:rich>
              </c:tx>
              <c:showLegendKey val="0"/>
              <c:showVal val="1"/>
              <c:showCatName val="0"/>
              <c:showSerName val="0"/>
              <c:showPercent val="0"/>
              <c:showBubbleSize val="0"/>
            </c:dLbl>
            <c:dLbl>
              <c:idx val="2"/>
              <c:layout>
                <c:manualLayout>
                  <c:x val="-2.2187004754358162E-2"/>
                  <c:y val="0"/>
                </c:manualLayout>
              </c:layout>
              <c:tx>
                <c:rich>
                  <a:bodyPr/>
                  <a:lstStyle/>
                  <a:p>
                    <a:r>
                      <a:rPr lang="en-US" dirty="0"/>
                      <a:t>-</a:t>
                    </a:r>
                    <a:r>
                      <a:rPr lang="en-US" dirty="0" smtClean="0"/>
                      <a:t>10.6</a:t>
                    </a:r>
                    <a:r>
                      <a:rPr lang="en-US" dirty="0"/>
                      <a:t>%</a:t>
                    </a:r>
                  </a:p>
                </c:rich>
              </c:tx>
              <c:showLegendKey val="0"/>
              <c:showVal val="1"/>
              <c:showCatName val="0"/>
              <c:showSerName val="0"/>
              <c:showPercent val="0"/>
              <c:showBubbleSize val="0"/>
            </c:dLbl>
            <c:dLbl>
              <c:idx val="3"/>
              <c:layout>
                <c:manualLayout>
                  <c:x val="-1.9017432646592711E-2"/>
                  <c:y val="1.0300252356182727E-2"/>
                </c:manualLayout>
              </c:layout>
              <c:tx>
                <c:rich>
                  <a:bodyPr/>
                  <a:lstStyle/>
                  <a:p>
                    <a:r>
                      <a:rPr lang="en-US" smtClean="0"/>
                      <a:t>5.5</a:t>
                    </a:r>
                    <a:r>
                      <a:rPr lang="en-US"/>
                      <a:t>%</a:t>
                    </a:r>
                  </a:p>
                </c:rich>
              </c:tx>
              <c:showLegendKey val="0"/>
              <c:showVal val="1"/>
              <c:showCatName val="0"/>
              <c:showSerName val="0"/>
              <c:showPercent val="0"/>
              <c:showBubbleSize val="0"/>
            </c:dLbl>
            <c:dLbl>
              <c:idx val="4"/>
              <c:layout>
                <c:manualLayout>
                  <c:x val="-1.9017432646592711E-2"/>
                  <c:y val="2.0600504712365453E-2"/>
                </c:manualLayout>
              </c:layout>
              <c:tx>
                <c:rich>
                  <a:bodyPr/>
                  <a:lstStyle/>
                  <a:p>
                    <a:r>
                      <a:rPr lang="en-US" smtClean="0"/>
                      <a:t>29.0</a:t>
                    </a:r>
                    <a:r>
                      <a:rPr lang="en-US"/>
                      <a:t>%</a:t>
                    </a:r>
                  </a:p>
                </c:rich>
              </c:tx>
              <c:showLegendKey val="0"/>
              <c:showVal val="1"/>
              <c:showCatName val="0"/>
              <c:showSerName val="0"/>
              <c:showPercent val="0"/>
              <c:showBubbleSize val="0"/>
            </c:dLbl>
            <c:dLbl>
              <c:idx val="5"/>
              <c:layout>
                <c:manualLayout>
                  <c:x val="-6.3391442155309036E-3"/>
                  <c:y val="2.0600504712365453E-2"/>
                </c:manualLayout>
              </c:layout>
              <c:showLegendKey val="0"/>
              <c:showVal val="1"/>
              <c:showCatName val="0"/>
              <c:showSerName val="0"/>
              <c:showPercent val="0"/>
              <c:showBubbleSize val="0"/>
            </c:dLbl>
            <c:numFmt formatCode="0.0%" sourceLinked="0"/>
            <c:spPr>
              <a:noFill/>
              <a:ln>
                <a:noFill/>
              </a:ln>
              <a:effectLst/>
            </c:spPr>
            <c:txPr>
              <a:bodyPr/>
              <a:lstStyle/>
              <a:p>
                <a:pPr>
                  <a:defRPr sz="900" b="0" i="0">
                    <a:solidFill>
                      <a:srgbClr val="003C64"/>
                    </a:solidFill>
                    <a:latin typeface="Arial(Corps)"/>
                    <a:ea typeface="Arial(Corps)"/>
                    <a:cs typeface="Arial(Corp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Amundi Fds EM MinVar BRUT'!$P$52:$P$57</c:f>
              <c:strCache>
                <c:ptCount val="6"/>
                <c:pt idx="0">
                  <c:v>2013 (partial)</c:v>
                </c:pt>
                <c:pt idx="1">
                  <c:v>2014</c:v>
                </c:pt>
                <c:pt idx="2">
                  <c:v>2015</c:v>
                </c:pt>
                <c:pt idx="3">
                  <c:v>2016</c:v>
                </c:pt>
                <c:pt idx="4">
                  <c:v>2017</c:v>
                </c:pt>
                <c:pt idx="5">
                  <c:v>YTD</c:v>
                </c:pt>
              </c:strCache>
            </c:strRef>
          </c:cat>
          <c:val>
            <c:numRef>
              <c:f>'Amundi Fds EM MinVar BRUT'!$Q$52:$Q$57</c:f>
              <c:numCache>
                <c:formatCode>0\.0%</c:formatCode>
                <c:ptCount val="6"/>
                <c:pt idx="0">
                  <c:v>4.9175780458569962E-2</c:v>
                </c:pt>
                <c:pt idx="1">
                  <c:v>3.8390399402254971E-4</c:v>
                </c:pt>
                <c:pt idx="2">
                  <c:v>-0.10552699720092651</c:v>
                </c:pt>
                <c:pt idx="3">
                  <c:v>5.4518023278008698E-2</c:v>
                </c:pt>
                <c:pt idx="4">
                  <c:v>0.28998256882375117</c:v>
                </c:pt>
                <c:pt idx="5">
                  <c:v>5.7214815790582518E-2</c:v>
                </c:pt>
              </c:numCache>
            </c:numRef>
          </c:val>
          <c:extLst xmlns:c16r2="http://schemas.microsoft.com/office/drawing/2015/06/chart">
            <c:ext xmlns:c16="http://schemas.microsoft.com/office/drawing/2014/chart" uri="{C3380CC4-5D6E-409C-BE32-E72D297353CC}">
              <c16:uniqueId val="{00000000-8594-4F38-A9CF-A4B6A6769904}"/>
            </c:ext>
          </c:extLst>
        </c:ser>
        <c:ser>
          <c:idx val="1"/>
          <c:order val="1"/>
          <c:tx>
            <c:strRef>
              <c:f>'Amundi Fds EM MinVar BRUT'!$R$51</c:f>
              <c:strCache>
                <c:ptCount val="1"/>
                <c:pt idx="0">
                  <c:v>MSCI EM</c:v>
                </c:pt>
              </c:strCache>
            </c:strRef>
          </c:tx>
          <c:spPr>
            <a:solidFill>
              <a:srgbClr val="00A0E3"/>
            </a:solidFill>
            <a:ln>
              <a:noFill/>
              <a:round/>
            </a:ln>
            <a:effectLst/>
            <a:extLst>
              <a:ext uri="{91240B29-F687-4F45-9708-019B960494DF}">
                <a14:hiddenLine xmlns:a14="http://schemas.microsoft.com/office/drawing/2010/main">
                  <a:noFill/>
                  <a:round/>
                </a14:hiddenLine>
              </a:ext>
            </a:extLst>
          </c:spPr>
          <c:invertIfNegative val="0"/>
          <c:dLbls>
            <c:dLbl>
              <c:idx val="0"/>
              <c:layout>
                <c:manualLayout>
                  <c:x val="2.5356576862123628E-2"/>
                  <c:y val="1.0300252356182727E-2"/>
                </c:manualLayout>
              </c:layout>
              <c:tx>
                <c:rich>
                  <a:bodyPr/>
                  <a:lstStyle/>
                  <a:p>
                    <a:r>
                      <a:rPr lang="en-US" smtClean="0"/>
                      <a:t>7.4</a:t>
                    </a:r>
                    <a:r>
                      <a:rPr lang="en-US"/>
                      <a:t>%</a:t>
                    </a:r>
                  </a:p>
                </c:rich>
              </c:tx>
              <c:showLegendKey val="0"/>
              <c:showVal val="1"/>
              <c:showCatName val="0"/>
              <c:showSerName val="0"/>
              <c:showPercent val="0"/>
              <c:showBubbleSize val="0"/>
            </c:dLbl>
            <c:dLbl>
              <c:idx val="1"/>
              <c:tx>
                <c:rich>
                  <a:bodyPr/>
                  <a:lstStyle/>
                  <a:p>
                    <a:r>
                      <a:rPr lang="en-US"/>
                      <a:t>-</a:t>
                    </a:r>
                    <a:r>
                      <a:rPr lang="en-US" smtClean="0"/>
                      <a:t>2.2</a:t>
                    </a:r>
                    <a:r>
                      <a:rPr lang="en-US"/>
                      <a:t>%</a:t>
                    </a:r>
                  </a:p>
                </c:rich>
              </c:tx>
              <c:showLegendKey val="0"/>
              <c:showVal val="1"/>
              <c:showCatName val="0"/>
              <c:showSerName val="0"/>
              <c:showPercent val="0"/>
              <c:showBubbleSize val="0"/>
            </c:dLbl>
            <c:dLbl>
              <c:idx val="2"/>
              <c:tx>
                <c:rich>
                  <a:bodyPr/>
                  <a:lstStyle/>
                  <a:p>
                    <a:r>
                      <a:rPr lang="en-US"/>
                      <a:t>-</a:t>
                    </a:r>
                    <a:r>
                      <a:rPr lang="en-US" smtClean="0"/>
                      <a:t>14.9</a:t>
                    </a:r>
                    <a:r>
                      <a:rPr lang="en-US"/>
                      <a:t>%</a:t>
                    </a:r>
                  </a:p>
                </c:rich>
              </c:tx>
              <c:showLegendKey val="0"/>
              <c:showVal val="1"/>
              <c:showCatName val="0"/>
              <c:showSerName val="0"/>
              <c:showPercent val="0"/>
              <c:showBubbleSize val="0"/>
            </c:dLbl>
            <c:dLbl>
              <c:idx val="3"/>
              <c:layout>
                <c:manualLayout>
                  <c:x val="3.1695721077654518E-3"/>
                  <c:y val="1.0300252356182727E-2"/>
                </c:manualLayout>
              </c:layout>
              <c:tx>
                <c:rich>
                  <a:bodyPr/>
                  <a:lstStyle/>
                  <a:p>
                    <a:r>
                      <a:rPr lang="en-US" smtClean="0"/>
                      <a:t>11.2</a:t>
                    </a:r>
                    <a:r>
                      <a:rPr lang="en-US"/>
                      <a:t>%</a:t>
                    </a:r>
                  </a:p>
                </c:rich>
              </c:tx>
              <c:showLegendKey val="0"/>
              <c:showVal val="1"/>
              <c:showCatName val="0"/>
              <c:showSerName val="0"/>
              <c:showPercent val="0"/>
              <c:showBubbleSize val="0"/>
            </c:dLbl>
            <c:dLbl>
              <c:idx val="4"/>
              <c:tx>
                <c:rich>
                  <a:bodyPr/>
                  <a:lstStyle/>
                  <a:p>
                    <a:r>
                      <a:rPr lang="en-US" smtClean="0"/>
                      <a:t>37.3</a:t>
                    </a:r>
                    <a:r>
                      <a:rPr lang="en-US"/>
                      <a:t>%</a:t>
                    </a:r>
                  </a:p>
                </c:rich>
              </c:tx>
              <c:showLegendKey val="0"/>
              <c:showVal val="1"/>
              <c:showCatName val="0"/>
              <c:showSerName val="0"/>
              <c:showPercent val="0"/>
              <c:showBubbleSize val="0"/>
            </c:dLbl>
            <c:dLbl>
              <c:idx val="5"/>
              <c:layout>
                <c:manualLayout>
                  <c:x val="1.5847860538827259E-2"/>
                  <c:y val="1.0300252356182727E-2"/>
                </c:manualLayout>
              </c:layout>
              <c:showLegendKey val="0"/>
              <c:showVal val="1"/>
              <c:showCatName val="0"/>
              <c:showSerName val="0"/>
              <c:showPercent val="0"/>
              <c:showBubbleSize val="0"/>
            </c:dLbl>
            <c:numFmt formatCode="0.0%" sourceLinked="0"/>
            <c:spPr>
              <a:noFill/>
              <a:ln>
                <a:noFill/>
              </a:ln>
              <a:effectLst/>
            </c:spPr>
            <c:txPr>
              <a:bodyPr/>
              <a:lstStyle/>
              <a:p>
                <a:pPr>
                  <a:defRPr sz="900" b="0" i="0">
                    <a:solidFill>
                      <a:srgbClr val="00A0E3"/>
                    </a:solidFill>
                    <a:latin typeface="Arial(Corps)"/>
                    <a:ea typeface="Arial(Corps)"/>
                    <a:cs typeface="Arial(Corp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Amundi Fds EM MinVar BRUT'!$P$52:$P$57</c:f>
              <c:strCache>
                <c:ptCount val="6"/>
                <c:pt idx="0">
                  <c:v>2013 (partial)</c:v>
                </c:pt>
                <c:pt idx="1">
                  <c:v>2014</c:v>
                </c:pt>
                <c:pt idx="2">
                  <c:v>2015</c:v>
                </c:pt>
                <c:pt idx="3">
                  <c:v>2016</c:v>
                </c:pt>
                <c:pt idx="4">
                  <c:v>2017</c:v>
                </c:pt>
                <c:pt idx="5">
                  <c:v>YTD</c:v>
                </c:pt>
              </c:strCache>
            </c:strRef>
          </c:cat>
          <c:val>
            <c:numRef>
              <c:f>'Amundi Fds EM MinVar BRUT'!$R$52:$R$57</c:f>
              <c:numCache>
                <c:formatCode>0\.0%</c:formatCode>
                <c:ptCount val="6"/>
                <c:pt idx="0">
                  <c:v>7.4478733605721104E-2</c:v>
                </c:pt>
                <c:pt idx="1">
                  <c:v>-2.1804764024657919E-2</c:v>
                </c:pt>
                <c:pt idx="2">
                  <c:v>-0.14917741733036016</c:v>
                </c:pt>
                <c:pt idx="3">
                  <c:v>0.11186843472797481</c:v>
                </c:pt>
                <c:pt idx="4">
                  <c:v>0.37283130440400791</c:v>
                </c:pt>
                <c:pt idx="5">
                  <c:v>8.3345776209332145E-2</c:v>
                </c:pt>
              </c:numCache>
            </c:numRef>
          </c:val>
          <c:extLst xmlns:c16r2="http://schemas.microsoft.com/office/drawing/2015/06/chart">
            <c:ext xmlns:c16="http://schemas.microsoft.com/office/drawing/2014/chart" uri="{C3380CC4-5D6E-409C-BE32-E72D297353CC}">
              <c16:uniqueId val="{00000001-8594-4F38-A9CF-A4B6A6769904}"/>
            </c:ext>
          </c:extLst>
        </c:ser>
        <c:dLbls>
          <c:showLegendKey val="0"/>
          <c:showVal val="0"/>
          <c:showCatName val="0"/>
          <c:showSerName val="0"/>
          <c:showPercent val="0"/>
          <c:showBubbleSize val="0"/>
        </c:dLbls>
        <c:gapWidth val="150"/>
        <c:axId val="472783488"/>
        <c:axId val="472834432"/>
      </c:barChart>
      <c:catAx>
        <c:axId val="472783488"/>
        <c:scaling>
          <c:orientation val="minMax"/>
        </c:scaling>
        <c:delete val="0"/>
        <c:axPos val="b"/>
        <c:numFmt formatCode="General" sourceLinked="0"/>
        <c:majorTickMark val="out"/>
        <c:minorTickMark val="none"/>
        <c:tickLblPos val="low"/>
        <c:spPr>
          <a:ln>
            <a:solidFill>
              <a:srgbClr val="003C64"/>
            </a:solidFill>
          </a:ln>
        </c:spPr>
        <c:txPr>
          <a:bodyPr/>
          <a:lstStyle/>
          <a:p>
            <a:pPr>
              <a:defRPr sz="900" b="0" i="0" u="none">
                <a:solidFill>
                  <a:srgbClr val="003C64"/>
                </a:solidFill>
                <a:latin typeface="Arial"/>
                <a:ea typeface="Arial"/>
                <a:cs typeface="Arial"/>
              </a:defRPr>
            </a:pPr>
            <a:endParaRPr lang="en-US"/>
          </a:p>
        </c:txPr>
        <c:crossAx val="472834432"/>
        <c:crosses val="autoZero"/>
        <c:auto val="1"/>
        <c:lblAlgn val="ctr"/>
        <c:lblOffset val="100"/>
        <c:noMultiLvlLbl val="0"/>
      </c:catAx>
      <c:valAx>
        <c:axId val="472834432"/>
        <c:scaling>
          <c:orientation val="minMax"/>
        </c:scaling>
        <c:delete val="1"/>
        <c:axPos val="l"/>
        <c:numFmt formatCode="0\.0%" sourceLinked="1"/>
        <c:majorTickMark val="none"/>
        <c:minorTickMark val="none"/>
        <c:tickLblPos val="nextTo"/>
        <c:crossAx val="472783488"/>
        <c:crosses val="autoZero"/>
        <c:crossBetween val="between"/>
      </c:valAx>
    </c:plotArea>
    <c:legend>
      <c:legendPos val="b"/>
      <c:legendEntry>
        <c:idx val="0"/>
        <c:txPr>
          <a:bodyPr/>
          <a:lstStyle/>
          <a:p>
            <a:pPr>
              <a:defRPr sz="900" b="0" i="0" u="none">
                <a:solidFill>
                  <a:srgbClr val="003C64"/>
                </a:solidFill>
                <a:latin typeface="Arial"/>
                <a:ea typeface="Arial"/>
                <a:cs typeface="Arial"/>
              </a:defRPr>
            </a:pPr>
            <a:endParaRPr lang="en-US"/>
          </a:p>
        </c:txPr>
      </c:legendEntry>
      <c:legendEntry>
        <c:idx val="1"/>
        <c:txPr>
          <a:bodyPr/>
          <a:lstStyle/>
          <a:p>
            <a:pPr>
              <a:defRPr sz="900" b="0" i="0" u="none">
                <a:solidFill>
                  <a:srgbClr val="00A0E3"/>
                </a:solidFill>
                <a:latin typeface="Arial"/>
                <a:ea typeface="Arial"/>
                <a:cs typeface="Arial"/>
              </a:defRPr>
            </a:pPr>
            <a:endParaRPr lang="en-US"/>
          </a:p>
        </c:txPr>
      </c:legendEntry>
      <c:layout>
        <c:manualLayout>
          <c:xMode val="edge"/>
          <c:yMode val="edge"/>
          <c:x val="1.2678288431061807E-2"/>
          <c:y val="0.8034196837822527"/>
          <c:w val="0.98732171156893822"/>
          <c:h val="0.10300252356182726"/>
        </c:manualLayout>
      </c:layout>
      <c:overlay val="0"/>
      <c:txPr>
        <a:bodyPr/>
        <a:lstStyle/>
        <a:p>
          <a:pPr>
            <a:defRPr sz="900" b="0" i="0" u="none">
              <a:latin typeface="Arial"/>
              <a:ea typeface="Arial"/>
              <a:cs typeface="Arial"/>
            </a:defRPr>
          </a:pPr>
          <a:endParaRPr lang="en-US"/>
        </a:p>
      </c:txPr>
    </c:legend>
    <c:plotVisOnly val="1"/>
    <c:dispBlanksAs val="gap"/>
    <c:showDLblsOverMax val="0"/>
  </c:chart>
  <c:spPr>
    <a:noFill/>
    <a:ln w="9525">
      <a:noFill/>
    </a:ln>
  </c:sp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xMode val="edge"/>
          <c:yMode val="edge"/>
          <c:x val="1.3053552197891852E-2"/>
          <c:y val="2.391772303276728E-2"/>
          <c:w val="0.98694644780210816"/>
          <c:h val="0.86701745993781387"/>
        </c:manualLayout>
      </c:layout>
      <c:areaChart>
        <c:grouping val="standard"/>
        <c:varyColors val="0"/>
        <c:ser>
          <c:idx val="2"/>
          <c:order val="2"/>
          <c:tx>
            <c:strRef>
              <c:f>'Amundi Fds EM MinVar BRUT'!$M$4</c:f>
              <c:strCache>
                <c:ptCount val="1"/>
                <c:pt idx="0">
                  <c:v>Excess return</c:v>
                </c:pt>
              </c:strCache>
            </c:strRef>
          </c:tx>
          <c:spPr>
            <a:solidFill>
              <a:srgbClr val="E7E6E6"/>
            </a:solidFill>
          </c:spPr>
          <c:cat>
            <c:numRef>
              <c:f>'Amundi Fds EM MinVar BRUT'!$C$5:$C$1155</c:f>
              <c:numCache>
                <c:formatCode>m/d/yyyy</c:formatCode>
                <c:ptCount val="1151"/>
                <c:pt idx="0">
                  <c:v>41521</c:v>
                </c:pt>
                <c:pt idx="1">
                  <c:v>41522</c:v>
                </c:pt>
                <c:pt idx="2">
                  <c:v>41523</c:v>
                </c:pt>
                <c:pt idx="3">
                  <c:v>41526</c:v>
                </c:pt>
                <c:pt idx="4">
                  <c:v>41527</c:v>
                </c:pt>
                <c:pt idx="5">
                  <c:v>41528</c:v>
                </c:pt>
                <c:pt idx="6">
                  <c:v>41529</c:v>
                </c:pt>
                <c:pt idx="7">
                  <c:v>41530</c:v>
                </c:pt>
                <c:pt idx="8">
                  <c:v>41533</c:v>
                </c:pt>
                <c:pt idx="9">
                  <c:v>41534</c:v>
                </c:pt>
                <c:pt idx="10">
                  <c:v>41535</c:v>
                </c:pt>
                <c:pt idx="11">
                  <c:v>41536</c:v>
                </c:pt>
                <c:pt idx="12">
                  <c:v>41537</c:v>
                </c:pt>
                <c:pt idx="13">
                  <c:v>41540</c:v>
                </c:pt>
                <c:pt idx="14">
                  <c:v>41541</c:v>
                </c:pt>
                <c:pt idx="15">
                  <c:v>41542</c:v>
                </c:pt>
                <c:pt idx="16">
                  <c:v>41543</c:v>
                </c:pt>
                <c:pt idx="17">
                  <c:v>41544</c:v>
                </c:pt>
                <c:pt idx="18">
                  <c:v>41547</c:v>
                </c:pt>
                <c:pt idx="19">
                  <c:v>41548</c:v>
                </c:pt>
                <c:pt idx="20">
                  <c:v>41549</c:v>
                </c:pt>
                <c:pt idx="21">
                  <c:v>41550</c:v>
                </c:pt>
                <c:pt idx="22">
                  <c:v>41551</c:v>
                </c:pt>
                <c:pt idx="23">
                  <c:v>41554</c:v>
                </c:pt>
                <c:pt idx="24">
                  <c:v>41555</c:v>
                </c:pt>
                <c:pt idx="25">
                  <c:v>41556</c:v>
                </c:pt>
                <c:pt idx="26">
                  <c:v>41557</c:v>
                </c:pt>
                <c:pt idx="27">
                  <c:v>41558</c:v>
                </c:pt>
                <c:pt idx="28">
                  <c:v>41561</c:v>
                </c:pt>
                <c:pt idx="29">
                  <c:v>41562</c:v>
                </c:pt>
                <c:pt idx="30">
                  <c:v>41563</c:v>
                </c:pt>
                <c:pt idx="31">
                  <c:v>41564</c:v>
                </c:pt>
                <c:pt idx="32">
                  <c:v>41565</c:v>
                </c:pt>
                <c:pt idx="33">
                  <c:v>41568</c:v>
                </c:pt>
                <c:pt idx="34">
                  <c:v>41569</c:v>
                </c:pt>
                <c:pt idx="35">
                  <c:v>41570</c:v>
                </c:pt>
                <c:pt idx="36">
                  <c:v>41571</c:v>
                </c:pt>
                <c:pt idx="37">
                  <c:v>41572</c:v>
                </c:pt>
                <c:pt idx="38">
                  <c:v>41575</c:v>
                </c:pt>
                <c:pt idx="39">
                  <c:v>41576</c:v>
                </c:pt>
                <c:pt idx="40">
                  <c:v>41577</c:v>
                </c:pt>
                <c:pt idx="41">
                  <c:v>41578</c:v>
                </c:pt>
                <c:pt idx="42">
                  <c:v>41579</c:v>
                </c:pt>
                <c:pt idx="43">
                  <c:v>41582</c:v>
                </c:pt>
                <c:pt idx="44">
                  <c:v>41583</c:v>
                </c:pt>
                <c:pt idx="45">
                  <c:v>41584</c:v>
                </c:pt>
                <c:pt idx="46">
                  <c:v>41585</c:v>
                </c:pt>
                <c:pt idx="47">
                  <c:v>41586</c:v>
                </c:pt>
                <c:pt idx="48">
                  <c:v>41589</c:v>
                </c:pt>
                <c:pt idx="49">
                  <c:v>41590</c:v>
                </c:pt>
                <c:pt idx="50">
                  <c:v>41591</c:v>
                </c:pt>
                <c:pt idx="51">
                  <c:v>41592</c:v>
                </c:pt>
                <c:pt idx="52">
                  <c:v>41593</c:v>
                </c:pt>
                <c:pt idx="53">
                  <c:v>41596</c:v>
                </c:pt>
                <c:pt idx="54">
                  <c:v>41597</c:v>
                </c:pt>
                <c:pt idx="55">
                  <c:v>41598</c:v>
                </c:pt>
                <c:pt idx="56">
                  <c:v>41599</c:v>
                </c:pt>
                <c:pt idx="57">
                  <c:v>41600</c:v>
                </c:pt>
                <c:pt idx="58">
                  <c:v>41603</c:v>
                </c:pt>
                <c:pt idx="59">
                  <c:v>41604</c:v>
                </c:pt>
                <c:pt idx="60">
                  <c:v>41605</c:v>
                </c:pt>
                <c:pt idx="61">
                  <c:v>41606</c:v>
                </c:pt>
                <c:pt idx="62">
                  <c:v>41607</c:v>
                </c:pt>
                <c:pt idx="63">
                  <c:v>41610</c:v>
                </c:pt>
                <c:pt idx="64">
                  <c:v>41611</c:v>
                </c:pt>
                <c:pt idx="65">
                  <c:v>41612</c:v>
                </c:pt>
                <c:pt idx="66">
                  <c:v>41613</c:v>
                </c:pt>
                <c:pt idx="67">
                  <c:v>41614</c:v>
                </c:pt>
                <c:pt idx="68">
                  <c:v>41617</c:v>
                </c:pt>
                <c:pt idx="69">
                  <c:v>41618</c:v>
                </c:pt>
                <c:pt idx="70">
                  <c:v>41619</c:v>
                </c:pt>
                <c:pt idx="71">
                  <c:v>41620</c:v>
                </c:pt>
                <c:pt idx="72">
                  <c:v>41621</c:v>
                </c:pt>
                <c:pt idx="73">
                  <c:v>41624</c:v>
                </c:pt>
                <c:pt idx="74">
                  <c:v>41625</c:v>
                </c:pt>
                <c:pt idx="75">
                  <c:v>41626</c:v>
                </c:pt>
                <c:pt idx="76">
                  <c:v>41627</c:v>
                </c:pt>
                <c:pt idx="77">
                  <c:v>41628</c:v>
                </c:pt>
                <c:pt idx="78">
                  <c:v>41631</c:v>
                </c:pt>
                <c:pt idx="79">
                  <c:v>41632</c:v>
                </c:pt>
                <c:pt idx="80">
                  <c:v>41633</c:v>
                </c:pt>
                <c:pt idx="81">
                  <c:v>41634</c:v>
                </c:pt>
                <c:pt idx="82">
                  <c:v>41635</c:v>
                </c:pt>
                <c:pt idx="83">
                  <c:v>41638</c:v>
                </c:pt>
                <c:pt idx="84">
                  <c:v>41639</c:v>
                </c:pt>
                <c:pt idx="85">
                  <c:v>41640</c:v>
                </c:pt>
                <c:pt idx="86">
                  <c:v>41641</c:v>
                </c:pt>
                <c:pt idx="87">
                  <c:v>41642</c:v>
                </c:pt>
                <c:pt idx="88">
                  <c:v>41645</c:v>
                </c:pt>
                <c:pt idx="89">
                  <c:v>41646</c:v>
                </c:pt>
                <c:pt idx="90">
                  <c:v>41647</c:v>
                </c:pt>
                <c:pt idx="91">
                  <c:v>41648</c:v>
                </c:pt>
                <c:pt idx="92">
                  <c:v>41649</c:v>
                </c:pt>
                <c:pt idx="93">
                  <c:v>41652</c:v>
                </c:pt>
                <c:pt idx="94">
                  <c:v>41653</c:v>
                </c:pt>
                <c:pt idx="95">
                  <c:v>41654</c:v>
                </c:pt>
                <c:pt idx="96">
                  <c:v>41655</c:v>
                </c:pt>
                <c:pt idx="97">
                  <c:v>41656</c:v>
                </c:pt>
                <c:pt idx="98">
                  <c:v>41659</c:v>
                </c:pt>
                <c:pt idx="99">
                  <c:v>41660</c:v>
                </c:pt>
                <c:pt idx="100">
                  <c:v>41661</c:v>
                </c:pt>
                <c:pt idx="101">
                  <c:v>41662</c:v>
                </c:pt>
                <c:pt idx="102">
                  <c:v>41663</c:v>
                </c:pt>
                <c:pt idx="103">
                  <c:v>41666</c:v>
                </c:pt>
                <c:pt idx="104">
                  <c:v>41667</c:v>
                </c:pt>
                <c:pt idx="105">
                  <c:v>41668</c:v>
                </c:pt>
                <c:pt idx="106">
                  <c:v>41669</c:v>
                </c:pt>
                <c:pt idx="107">
                  <c:v>41670</c:v>
                </c:pt>
                <c:pt idx="108">
                  <c:v>41673</c:v>
                </c:pt>
                <c:pt idx="109">
                  <c:v>41674</c:v>
                </c:pt>
                <c:pt idx="110">
                  <c:v>41675</c:v>
                </c:pt>
                <c:pt idx="111">
                  <c:v>41676</c:v>
                </c:pt>
                <c:pt idx="112">
                  <c:v>41677</c:v>
                </c:pt>
                <c:pt idx="113">
                  <c:v>41680</c:v>
                </c:pt>
                <c:pt idx="114">
                  <c:v>41681</c:v>
                </c:pt>
                <c:pt idx="115">
                  <c:v>41682</c:v>
                </c:pt>
                <c:pt idx="116">
                  <c:v>41683</c:v>
                </c:pt>
                <c:pt idx="117">
                  <c:v>41684</c:v>
                </c:pt>
                <c:pt idx="118">
                  <c:v>41687</c:v>
                </c:pt>
                <c:pt idx="119">
                  <c:v>41688</c:v>
                </c:pt>
                <c:pt idx="120">
                  <c:v>41689</c:v>
                </c:pt>
                <c:pt idx="121">
                  <c:v>41690</c:v>
                </c:pt>
                <c:pt idx="122">
                  <c:v>41691</c:v>
                </c:pt>
                <c:pt idx="123">
                  <c:v>41694</c:v>
                </c:pt>
                <c:pt idx="124">
                  <c:v>41695</c:v>
                </c:pt>
                <c:pt idx="125">
                  <c:v>41696</c:v>
                </c:pt>
                <c:pt idx="126">
                  <c:v>41697</c:v>
                </c:pt>
                <c:pt idx="127">
                  <c:v>41698</c:v>
                </c:pt>
                <c:pt idx="128">
                  <c:v>41701</c:v>
                </c:pt>
                <c:pt idx="129">
                  <c:v>41702</c:v>
                </c:pt>
                <c:pt idx="130">
                  <c:v>41703</c:v>
                </c:pt>
                <c:pt idx="131">
                  <c:v>41704</c:v>
                </c:pt>
                <c:pt idx="132">
                  <c:v>41705</c:v>
                </c:pt>
                <c:pt idx="133">
                  <c:v>41708</c:v>
                </c:pt>
                <c:pt idx="134">
                  <c:v>41709</c:v>
                </c:pt>
                <c:pt idx="135">
                  <c:v>41710</c:v>
                </c:pt>
                <c:pt idx="136">
                  <c:v>41711</c:v>
                </c:pt>
                <c:pt idx="137">
                  <c:v>41712</c:v>
                </c:pt>
                <c:pt idx="138">
                  <c:v>41715</c:v>
                </c:pt>
                <c:pt idx="139">
                  <c:v>41716</c:v>
                </c:pt>
                <c:pt idx="140">
                  <c:v>41717</c:v>
                </c:pt>
                <c:pt idx="141">
                  <c:v>41718</c:v>
                </c:pt>
                <c:pt idx="142">
                  <c:v>41719</c:v>
                </c:pt>
                <c:pt idx="143">
                  <c:v>41722</c:v>
                </c:pt>
                <c:pt idx="144">
                  <c:v>41723</c:v>
                </c:pt>
                <c:pt idx="145">
                  <c:v>41724</c:v>
                </c:pt>
                <c:pt idx="146">
                  <c:v>41725</c:v>
                </c:pt>
                <c:pt idx="147">
                  <c:v>41726</c:v>
                </c:pt>
                <c:pt idx="148">
                  <c:v>41729</c:v>
                </c:pt>
                <c:pt idx="149">
                  <c:v>41730</c:v>
                </c:pt>
                <c:pt idx="150">
                  <c:v>41731</c:v>
                </c:pt>
                <c:pt idx="151">
                  <c:v>41732</c:v>
                </c:pt>
                <c:pt idx="152">
                  <c:v>41733</c:v>
                </c:pt>
                <c:pt idx="153">
                  <c:v>41736</c:v>
                </c:pt>
                <c:pt idx="154">
                  <c:v>41737</c:v>
                </c:pt>
                <c:pt idx="155">
                  <c:v>41738</c:v>
                </c:pt>
                <c:pt idx="156">
                  <c:v>41739</c:v>
                </c:pt>
                <c:pt idx="157">
                  <c:v>41740</c:v>
                </c:pt>
                <c:pt idx="158">
                  <c:v>41743</c:v>
                </c:pt>
                <c:pt idx="159">
                  <c:v>41744</c:v>
                </c:pt>
                <c:pt idx="160">
                  <c:v>41745</c:v>
                </c:pt>
                <c:pt idx="161">
                  <c:v>41746</c:v>
                </c:pt>
                <c:pt idx="162">
                  <c:v>41747</c:v>
                </c:pt>
                <c:pt idx="163">
                  <c:v>41750</c:v>
                </c:pt>
                <c:pt idx="164">
                  <c:v>41751</c:v>
                </c:pt>
                <c:pt idx="165">
                  <c:v>41752</c:v>
                </c:pt>
                <c:pt idx="166">
                  <c:v>41753</c:v>
                </c:pt>
                <c:pt idx="167">
                  <c:v>41754</c:v>
                </c:pt>
                <c:pt idx="168">
                  <c:v>41757</c:v>
                </c:pt>
                <c:pt idx="169">
                  <c:v>41758</c:v>
                </c:pt>
                <c:pt idx="170">
                  <c:v>41759</c:v>
                </c:pt>
                <c:pt idx="171">
                  <c:v>41760</c:v>
                </c:pt>
                <c:pt idx="172">
                  <c:v>41761</c:v>
                </c:pt>
                <c:pt idx="173">
                  <c:v>41764</c:v>
                </c:pt>
                <c:pt idx="174">
                  <c:v>41765</c:v>
                </c:pt>
                <c:pt idx="175">
                  <c:v>41766</c:v>
                </c:pt>
                <c:pt idx="176">
                  <c:v>41767</c:v>
                </c:pt>
                <c:pt idx="177">
                  <c:v>41768</c:v>
                </c:pt>
                <c:pt idx="178">
                  <c:v>41771</c:v>
                </c:pt>
                <c:pt idx="179">
                  <c:v>41772</c:v>
                </c:pt>
                <c:pt idx="180">
                  <c:v>41773</c:v>
                </c:pt>
                <c:pt idx="181">
                  <c:v>41774</c:v>
                </c:pt>
                <c:pt idx="182">
                  <c:v>41775</c:v>
                </c:pt>
                <c:pt idx="183">
                  <c:v>41778</c:v>
                </c:pt>
                <c:pt idx="184">
                  <c:v>41779</c:v>
                </c:pt>
                <c:pt idx="185">
                  <c:v>41780</c:v>
                </c:pt>
                <c:pt idx="186">
                  <c:v>41781</c:v>
                </c:pt>
                <c:pt idx="187">
                  <c:v>41782</c:v>
                </c:pt>
                <c:pt idx="188">
                  <c:v>41785</c:v>
                </c:pt>
                <c:pt idx="189">
                  <c:v>41786</c:v>
                </c:pt>
                <c:pt idx="190">
                  <c:v>41787</c:v>
                </c:pt>
                <c:pt idx="191">
                  <c:v>41788</c:v>
                </c:pt>
                <c:pt idx="192">
                  <c:v>41789</c:v>
                </c:pt>
                <c:pt idx="193">
                  <c:v>41792</c:v>
                </c:pt>
                <c:pt idx="194">
                  <c:v>41793</c:v>
                </c:pt>
                <c:pt idx="195">
                  <c:v>41794</c:v>
                </c:pt>
                <c:pt idx="196">
                  <c:v>41795</c:v>
                </c:pt>
                <c:pt idx="197">
                  <c:v>41796</c:v>
                </c:pt>
                <c:pt idx="198">
                  <c:v>41799</c:v>
                </c:pt>
                <c:pt idx="199">
                  <c:v>41800</c:v>
                </c:pt>
                <c:pt idx="200">
                  <c:v>41801</c:v>
                </c:pt>
                <c:pt idx="201">
                  <c:v>41802</c:v>
                </c:pt>
                <c:pt idx="202">
                  <c:v>41803</c:v>
                </c:pt>
                <c:pt idx="203">
                  <c:v>41806</c:v>
                </c:pt>
                <c:pt idx="204">
                  <c:v>41807</c:v>
                </c:pt>
                <c:pt idx="205">
                  <c:v>41808</c:v>
                </c:pt>
                <c:pt idx="206">
                  <c:v>41809</c:v>
                </c:pt>
                <c:pt idx="207">
                  <c:v>41810</c:v>
                </c:pt>
                <c:pt idx="208">
                  <c:v>41813</c:v>
                </c:pt>
                <c:pt idx="209">
                  <c:v>41814</c:v>
                </c:pt>
                <c:pt idx="210">
                  <c:v>41815</c:v>
                </c:pt>
                <c:pt idx="211">
                  <c:v>41816</c:v>
                </c:pt>
                <c:pt idx="212">
                  <c:v>41817</c:v>
                </c:pt>
                <c:pt idx="213">
                  <c:v>41820</c:v>
                </c:pt>
                <c:pt idx="214">
                  <c:v>41821</c:v>
                </c:pt>
                <c:pt idx="215">
                  <c:v>41822</c:v>
                </c:pt>
                <c:pt idx="216">
                  <c:v>41823</c:v>
                </c:pt>
                <c:pt idx="217">
                  <c:v>41824</c:v>
                </c:pt>
                <c:pt idx="218">
                  <c:v>41827</c:v>
                </c:pt>
                <c:pt idx="219">
                  <c:v>41828</c:v>
                </c:pt>
                <c:pt idx="220">
                  <c:v>41829</c:v>
                </c:pt>
                <c:pt idx="221">
                  <c:v>41830</c:v>
                </c:pt>
                <c:pt idx="222">
                  <c:v>41831</c:v>
                </c:pt>
                <c:pt idx="223">
                  <c:v>41834</c:v>
                </c:pt>
                <c:pt idx="224">
                  <c:v>41835</c:v>
                </c:pt>
                <c:pt idx="225">
                  <c:v>41836</c:v>
                </c:pt>
                <c:pt idx="226">
                  <c:v>41837</c:v>
                </c:pt>
                <c:pt idx="227">
                  <c:v>41838</c:v>
                </c:pt>
                <c:pt idx="228">
                  <c:v>41841</c:v>
                </c:pt>
                <c:pt idx="229">
                  <c:v>41842</c:v>
                </c:pt>
                <c:pt idx="230">
                  <c:v>41843</c:v>
                </c:pt>
                <c:pt idx="231">
                  <c:v>41844</c:v>
                </c:pt>
                <c:pt idx="232">
                  <c:v>41845</c:v>
                </c:pt>
                <c:pt idx="233">
                  <c:v>41848</c:v>
                </c:pt>
                <c:pt idx="234">
                  <c:v>41849</c:v>
                </c:pt>
                <c:pt idx="235">
                  <c:v>41850</c:v>
                </c:pt>
                <c:pt idx="236">
                  <c:v>41851</c:v>
                </c:pt>
                <c:pt idx="237">
                  <c:v>41852</c:v>
                </c:pt>
                <c:pt idx="238">
                  <c:v>41855</c:v>
                </c:pt>
                <c:pt idx="239">
                  <c:v>41856</c:v>
                </c:pt>
                <c:pt idx="240">
                  <c:v>41857</c:v>
                </c:pt>
                <c:pt idx="241">
                  <c:v>41858</c:v>
                </c:pt>
                <c:pt idx="242">
                  <c:v>41859</c:v>
                </c:pt>
                <c:pt idx="243">
                  <c:v>41862</c:v>
                </c:pt>
                <c:pt idx="244">
                  <c:v>41863</c:v>
                </c:pt>
                <c:pt idx="245">
                  <c:v>41864</c:v>
                </c:pt>
                <c:pt idx="246">
                  <c:v>41865</c:v>
                </c:pt>
                <c:pt idx="247">
                  <c:v>41866</c:v>
                </c:pt>
                <c:pt idx="248">
                  <c:v>41869</c:v>
                </c:pt>
                <c:pt idx="249">
                  <c:v>41870</c:v>
                </c:pt>
                <c:pt idx="250">
                  <c:v>41871</c:v>
                </c:pt>
                <c:pt idx="251">
                  <c:v>41872</c:v>
                </c:pt>
                <c:pt idx="252">
                  <c:v>41873</c:v>
                </c:pt>
                <c:pt idx="253">
                  <c:v>41876</c:v>
                </c:pt>
                <c:pt idx="254">
                  <c:v>41877</c:v>
                </c:pt>
                <c:pt idx="255">
                  <c:v>41878</c:v>
                </c:pt>
                <c:pt idx="256">
                  <c:v>41879</c:v>
                </c:pt>
                <c:pt idx="257">
                  <c:v>41880</c:v>
                </c:pt>
                <c:pt idx="258">
                  <c:v>41883</c:v>
                </c:pt>
                <c:pt idx="259">
                  <c:v>41884</c:v>
                </c:pt>
                <c:pt idx="260">
                  <c:v>41885</c:v>
                </c:pt>
                <c:pt idx="261">
                  <c:v>41886</c:v>
                </c:pt>
                <c:pt idx="262">
                  <c:v>41887</c:v>
                </c:pt>
                <c:pt idx="263">
                  <c:v>41890</c:v>
                </c:pt>
                <c:pt idx="264">
                  <c:v>41891</c:v>
                </c:pt>
                <c:pt idx="265">
                  <c:v>41892</c:v>
                </c:pt>
                <c:pt idx="266">
                  <c:v>41893</c:v>
                </c:pt>
                <c:pt idx="267">
                  <c:v>41894</c:v>
                </c:pt>
                <c:pt idx="268">
                  <c:v>41897</c:v>
                </c:pt>
                <c:pt idx="269">
                  <c:v>41898</c:v>
                </c:pt>
                <c:pt idx="270">
                  <c:v>41899</c:v>
                </c:pt>
                <c:pt idx="271">
                  <c:v>41900</c:v>
                </c:pt>
                <c:pt idx="272">
                  <c:v>41901</c:v>
                </c:pt>
                <c:pt idx="273">
                  <c:v>41904</c:v>
                </c:pt>
                <c:pt idx="274">
                  <c:v>41905</c:v>
                </c:pt>
                <c:pt idx="275">
                  <c:v>41906</c:v>
                </c:pt>
                <c:pt idx="276">
                  <c:v>41907</c:v>
                </c:pt>
                <c:pt idx="277">
                  <c:v>41908</c:v>
                </c:pt>
                <c:pt idx="278">
                  <c:v>41911</c:v>
                </c:pt>
                <c:pt idx="279">
                  <c:v>41912</c:v>
                </c:pt>
                <c:pt idx="280">
                  <c:v>41913</c:v>
                </c:pt>
                <c:pt idx="281">
                  <c:v>41914</c:v>
                </c:pt>
                <c:pt idx="282">
                  <c:v>41915</c:v>
                </c:pt>
                <c:pt idx="283">
                  <c:v>41918</c:v>
                </c:pt>
                <c:pt idx="284">
                  <c:v>41919</c:v>
                </c:pt>
                <c:pt idx="285">
                  <c:v>41920</c:v>
                </c:pt>
                <c:pt idx="286">
                  <c:v>41921</c:v>
                </c:pt>
                <c:pt idx="287">
                  <c:v>41922</c:v>
                </c:pt>
                <c:pt idx="288">
                  <c:v>41925</c:v>
                </c:pt>
                <c:pt idx="289">
                  <c:v>41926</c:v>
                </c:pt>
                <c:pt idx="290">
                  <c:v>41927</c:v>
                </c:pt>
                <c:pt idx="291">
                  <c:v>41928</c:v>
                </c:pt>
                <c:pt idx="292">
                  <c:v>41929</c:v>
                </c:pt>
                <c:pt idx="293">
                  <c:v>41932</c:v>
                </c:pt>
                <c:pt idx="294">
                  <c:v>41933</c:v>
                </c:pt>
                <c:pt idx="295">
                  <c:v>41934</c:v>
                </c:pt>
                <c:pt idx="296">
                  <c:v>41935</c:v>
                </c:pt>
                <c:pt idx="297">
                  <c:v>41936</c:v>
                </c:pt>
                <c:pt idx="298">
                  <c:v>41939</c:v>
                </c:pt>
                <c:pt idx="299">
                  <c:v>41940</c:v>
                </c:pt>
                <c:pt idx="300">
                  <c:v>41941</c:v>
                </c:pt>
                <c:pt idx="301">
                  <c:v>41942</c:v>
                </c:pt>
                <c:pt idx="302">
                  <c:v>41943</c:v>
                </c:pt>
                <c:pt idx="303">
                  <c:v>41946</c:v>
                </c:pt>
                <c:pt idx="304">
                  <c:v>41947</c:v>
                </c:pt>
                <c:pt idx="305">
                  <c:v>41948</c:v>
                </c:pt>
                <c:pt idx="306">
                  <c:v>41949</c:v>
                </c:pt>
                <c:pt idx="307">
                  <c:v>41950</c:v>
                </c:pt>
                <c:pt idx="308">
                  <c:v>41953</c:v>
                </c:pt>
                <c:pt idx="309">
                  <c:v>41954</c:v>
                </c:pt>
                <c:pt idx="310">
                  <c:v>41955</c:v>
                </c:pt>
                <c:pt idx="311">
                  <c:v>41956</c:v>
                </c:pt>
                <c:pt idx="312">
                  <c:v>41957</c:v>
                </c:pt>
                <c:pt idx="313">
                  <c:v>41960</c:v>
                </c:pt>
                <c:pt idx="314">
                  <c:v>41961</c:v>
                </c:pt>
                <c:pt idx="315">
                  <c:v>41962</c:v>
                </c:pt>
                <c:pt idx="316">
                  <c:v>41963</c:v>
                </c:pt>
                <c:pt idx="317">
                  <c:v>41964</c:v>
                </c:pt>
                <c:pt idx="318">
                  <c:v>41967</c:v>
                </c:pt>
                <c:pt idx="319">
                  <c:v>41968</c:v>
                </c:pt>
                <c:pt idx="320">
                  <c:v>41969</c:v>
                </c:pt>
                <c:pt idx="321">
                  <c:v>41970</c:v>
                </c:pt>
                <c:pt idx="322">
                  <c:v>41971</c:v>
                </c:pt>
                <c:pt idx="323">
                  <c:v>41974</c:v>
                </c:pt>
                <c:pt idx="324">
                  <c:v>41975</c:v>
                </c:pt>
                <c:pt idx="325">
                  <c:v>41976</c:v>
                </c:pt>
                <c:pt idx="326">
                  <c:v>41977</c:v>
                </c:pt>
                <c:pt idx="327">
                  <c:v>41978</c:v>
                </c:pt>
                <c:pt idx="328">
                  <c:v>41981</c:v>
                </c:pt>
                <c:pt idx="329">
                  <c:v>41982</c:v>
                </c:pt>
                <c:pt idx="330">
                  <c:v>41983</c:v>
                </c:pt>
                <c:pt idx="331">
                  <c:v>41984</c:v>
                </c:pt>
                <c:pt idx="332">
                  <c:v>41985</c:v>
                </c:pt>
                <c:pt idx="333">
                  <c:v>41988</c:v>
                </c:pt>
                <c:pt idx="334">
                  <c:v>41989</c:v>
                </c:pt>
                <c:pt idx="335">
                  <c:v>41990</c:v>
                </c:pt>
                <c:pt idx="336">
                  <c:v>41991</c:v>
                </c:pt>
                <c:pt idx="337">
                  <c:v>41992</c:v>
                </c:pt>
                <c:pt idx="338">
                  <c:v>41995</c:v>
                </c:pt>
                <c:pt idx="339">
                  <c:v>41996</c:v>
                </c:pt>
                <c:pt idx="340">
                  <c:v>41997</c:v>
                </c:pt>
                <c:pt idx="341">
                  <c:v>41998</c:v>
                </c:pt>
                <c:pt idx="342">
                  <c:v>41999</c:v>
                </c:pt>
                <c:pt idx="343">
                  <c:v>42002</c:v>
                </c:pt>
                <c:pt idx="344">
                  <c:v>42003</c:v>
                </c:pt>
                <c:pt idx="345">
                  <c:v>42004</c:v>
                </c:pt>
                <c:pt idx="346">
                  <c:v>42005</c:v>
                </c:pt>
                <c:pt idx="347">
                  <c:v>42006</c:v>
                </c:pt>
                <c:pt idx="348">
                  <c:v>42009</c:v>
                </c:pt>
                <c:pt idx="349">
                  <c:v>42010</c:v>
                </c:pt>
                <c:pt idx="350">
                  <c:v>42011</c:v>
                </c:pt>
                <c:pt idx="351">
                  <c:v>42012</c:v>
                </c:pt>
                <c:pt idx="352">
                  <c:v>42013</c:v>
                </c:pt>
                <c:pt idx="353">
                  <c:v>42016</c:v>
                </c:pt>
                <c:pt idx="354">
                  <c:v>42017</c:v>
                </c:pt>
                <c:pt idx="355">
                  <c:v>42018</c:v>
                </c:pt>
                <c:pt idx="356">
                  <c:v>42019</c:v>
                </c:pt>
                <c:pt idx="357">
                  <c:v>42020</c:v>
                </c:pt>
                <c:pt idx="358">
                  <c:v>42023</c:v>
                </c:pt>
                <c:pt idx="359">
                  <c:v>42024</c:v>
                </c:pt>
                <c:pt idx="360">
                  <c:v>42025</c:v>
                </c:pt>
                <c:pt idx="361">
                  <c:v>42026</c:v>
                </c:pt>
                <c:pt idx="362">
                  <c:v>42027</c:v>
                </c:pt>
                <c:pt idx="363">
                  <c:v>42030</c:v>
                </c:pt>
                <c:pt idx="364">
                  <c:v>42031</c:v>
                </c:pt>
                <c:pt idx="365">
                  <c:v>42032</c:v>
                </c:pt>
                <c:pt idx="366">
                  <c:v>42033</c:v>
                </c:pt>
                <c:pt idx="367">
                  <c:v>42034</c:v>
                </c:pt>
                <c:pt idx="368">
                  <c:v>42037</c:v>
                </c:pt>
                <c:pt idx="369">
                  <c:v>42038</c:v>
                </c:pt>
                <c:pt idx="370">
                  <c:v>42039</c:v>
                </c:pt>
                <c:pt idx="371">
                  <c:v>42040</c:v>
                </c:pt>
                <c:pt idx="372">
                  <c:v>42041</c:v>
                </c:pt>
                <c:pt idx="373">
                  <c:v>42044</c:v>
                </c:pt>
                <c:pt idx="374">
                  <c:v>42045</c:v>
                </c:pt>
                <c:pt idx="375">
                  <c:v>42046</c:v>
                </c:pt>
                <c:pt idx="376">
                  <c:v>42047</c:v>
                </c:pt>
                <c:pt idx="377">
                  <c:v>42048</c:v>
                </c:pt>
                <c:pt idx="378">
                  <c:v>42051</c:v>
                </c:pt>
                <c:pt idx="379">
                  <c:v>42052</c:v>
                </c:pt>
                <c:pt idx="380">
                  <c:v>42053</c:v>
                </c:pt>
                <c:pt idx="381">
                  <c:v>42054</c:v>
                </c:pt>
                <c:pt idx="382">
                  <c:v>42055</c:v>
                </c:pt>
                <c:pt idx="383">
                  <c:v>42058</c:v>
                </c:pt>
                <c:pt idx="384">
                  <c:v>42059</c:v>
                </c:pt>
                <c:pt idx="385">
                  <c:v>42060</c:v>
                </c:pt>
                <c:pt idx="386">
                  <c:v>42061</c:v>
                </c:pt>
                <c:pt idx="387">
                  <c:v>42062</c:v>
                </c:pt>
                <c:pt idx="388">
                  <c:v>42065</c:v>
                </c:pt>
                <c:pt idx="389">
                  <c:v>42066</c:v>
                </c:pt>
                <c:pt idx="390">
                  <c:v>42067</c:v>
                </c:pt>
                <c:pt idx="391">
                  <c:v>42068</c:v>
                </c:pt>
                <c:pt idx="392">
                  <c:v>42069</c:v>
                </c:pt>
                <c:pt idx="393">
                  <c:v>42072</c:v>
                </c:pt>
                <c:pt idx="394">
                  <c:v>42073</c:v>
                </c:pt>
                <c:pt idx="395">
                  <c:v>42074</c:v>
                </c:pt>
                <c:pt idx="396">
                  <c:v>42075</c:v>
                </c:pt>
                <c:pt idx="397">
                  <c:v>42076</c:v>
                </c:pt>
                <c:pt idx="398">
                  <c:v>42079</c:v>
                </c:pt>
                <c:pt idx="399">
                  <c:v>42080</c:v>
                </c:pt>
                <c:pt idx="400">
                  <c:v>42081</c:v>
                </c:pt>
                <c:pt idx="401">
                  <c:v>42082</c:v>
                </c:pt>
                <c:pt idx="402">
                  <c:v>42083</c:v>
                </c:pt>
                <c:pt idx="403">
                  <c:v>42086</c:v>
                </c:pt>
                <c:pt idx="404">
                  <c:v>42087</c:v>
                </c:pt>
                <c:pt idx="405">
                  <c:v>42088</c:v>
                </c:pt>
                <c:pt idx="406">
                  <c:v>42089</c:v>
                </c:pt>
                <c:pt idx="407">
                  <c:v>42090</c:v>
                </c:pt>
                <c:pt idx="408">
                  <c:v>42093</c:v>
                </c:pt>
                <c:pt idx="409">
                  <c:v>42094</c:v>
                </c:pt>
                <c:pt idx="410">
                  <c:v>42095</c:v>
                </c:pt>
                <c:pt idx="411">
                  <c:v>42096</c:v>
                </c:pt>
                <c:pt idx="412">
                  <c:v>42097</c:v>
                </c:pt>
                <c:pt idx="413">
                  <c:v>42100</c:v>
                </c:pt>
                <c:pt idx="414">
                  <c:v>42101</c:v>
                </c:pt>
                <c:pt idx="415">
                  <c:v>42102</c:v>
                </c:pt>
                <c:pt idx="416">
                  <c:v>42103</c:v>
                </c:pt>
                <c:pt idx="417">
                  <c:v>42104</c:v>
                </c:pt>
                <c:pt idx="418">
                  <c:v>42107</c:v>
                </c:pt>
                <c:pt idx="419">
                  <c:v>42108</c:v>
                </c:pt>
                <c:pt idx="420">
                  <c:v>42109</c:v>
                </c:pt>
                <c:pt idx="421">
                  <c:v>42110</c:v>
                </c:pt>
                <c:pt idx="422">
                  <c:v>42111</c:v>
                </c:pt>
                <c:pt idx="423">
                  <c:v>42114</c:v>
                </c:pt>
                <c:pt idx="424">
                  <c:v>42115</c:v>
                </c:pt>
                <c:pt idx="425">
                  <c:v>42116</c:v>
                </c:pt>
                <c:pt idx="426">
                  <c:v>42117</c:v>
                </c:pt>
                <c:pt idx="427">
                  <c:v>42118</c:v>
                </c:pt>
                <c:pt idx="428">
                  <c:v>42121</c:v>
                </c:pt>
                <c:pt idx="429">
                  <c:v>42122</c:v>
                </c:pt>
                <c:pt idx="430">
                  <c:v>42123</c:v>
                </c:pt>
                <c:pt idx="431">
                  <c:v>42124</c:v>
                </c:pt>
                <c:pt idx="432">
                  <c:v>42125</c:v>
                </c:pt>
                <c:pt idx="433">
                  <c:v>42128</c:v>
                </c:pt>
                <c:pt idx="434">
                  <c:v>42129</c:v>
                </c:pt>
                <c:pt idx="435">
                  <c:v>42130</c:v>
                </c:pt>
                <c:pt idx="436">
                  <c:v>42131</c:v>
                </c:pt>
                <c:pt idx="437">
                  <c:v>42132</c:v>
                </c:pt>
                <c:pt idx="438">
                  <c:v>42135</c:v>
                </c:pt>
                <c:pt idx="439">
                  <c:v>42136</c:v>
                </c:pt>
                <c:pt idx="440">
                  <c:v>42137</c:v>
                </c:pt>
                <c:pt idx="441">
                  <c:v>42138</c:v>
                </c:pt>
                <c:pt idx="442">
                  <c:v>42139</c:v>
                </c:pt>
                <c:pt idx="443">
                  <c:v>42142</c:v>
                </c:pt>
                <c:pt idx="444">
                  <c:v>42143</c:v>
                </c:pt>
                <c:pt idx="445">
                  <c:v>42144</c:v>
                </c:pt>
                <c:pt idx="446">
                  <c:v>42145</c:v>
                </c:pt>
                <c:pt idx="447">
                  <c:v>42146</c:v>
                </c:pt>
                <c:pt idx="448">
                  <c:v>42149</c:v>
                </c:pt>
                <c:pt idx="449">
                  <c:v>42150</c:v>
                </c:pt>
                <c:pt idx="450">
                  <c:v>42151</c:v>
                </c:pt>
                <c:pt idx="451">
                  <c:v>42152</c:v>
                </c:pt>
                <c:pt idx="452">
                  <c:v>42153</c:v>
                </c:pt>
                <c:pt idx="453">
                  <c:v>42156</c:v>
                </c:pt>
                <c:pt idx="454">
                  <c:v>42157</c:v>
                </c:pt>
                <c:pt idx="455">
                  <c:v>42158</c:v>
                </c:pt>
                <c:pt idx="456">
                  <c:v>42159</c:v>
                </c:pt>
                <c:pt idx="457">
                  <c:v>42160</c:v>
                </c:pt>
                <c:pt idx="458">
                  <c:v>42163</c:v>
                </c:pt>
                <c:pt idx="459">
                  <c:v>42164</c:v>
                </c:pt>
                <c:pt idx="460">
                  <c:v>42165</c:v>
                </c:pt>
                <c:pt idx="461">
                  <c:v>42166</c:v>
                </c:pt>
                <c:pt idx="462">
                  <c:v>42167</c:v>
                </c:pt>
                <c:pt idx="463">
                  <c:v>42170</c:v>
                </c:pt>
                <c:pt idx="464">
                  <c:v>42171</c:v>
                </c:pt>
                <c:pt idx="465">
                  <c:v>42172</c:v>
                </c:pt>
                <c:pt idx="466">
                  <c:v>42173</c:v>
                </c:pt>
                <c:pt idx="467">
                  <c:v>42174</c:v>
                </c:pt>
                <c:pt idx="468">
                  <c:v>42177</c:v>
                </c:pt>
                <c:pt idx="469">
                  <c:v>42178</c:v>
                </c:pt>
                <c:pt idx="470">
                  <c:v>42179</c:v>
                </c:pt>
                <c:pt idx="471">
                  <c:v>42180</c:v>
                </c:pt>
                <c:pt idx="472">
                  <c:v>42181</c:v>
                </c:pt>
                <c:pt idx="473">
                  <c:v>42184</c:v>
                </c:pt>
                <c:pt idx="474">
                  <c:v>42185</c:v>
                </c:pt>
                <c:pt idx="475">
                  <c:v>42186</c:v>
                </c:pt>
                <c:pt idx="476">
                  <c:v>42187</c:v>
                </c:pt>
                <c:pt idx="477">
                  <c:v>42188</c:v>
                </c:pt>
                <c:pt idx="478">
                  <c:v>42191</c:v>
                </c:pt>
                <c:pt idx="479">
                  <c:v>42192</c:v>
                </c:pt>
                <c:pt idx="480">
                  <c:v>42193</c:v>
                </c:pt>
                <c:pt idx="481">
                  <c:v>42194</c:v>
                </c:pt>
                <c:pt idx="482">
                  <c:v>42195</c:v>
                </c:pt>
                <c:pt idx="483">
                  <c:v>42198</c:v>
                </c:pt>
                <c:pt idx="484">
                  <c:v>42199</c:v>
                </c:pt>
                <c:pt idx="485">
                  <c:v>42200</c:v>
                </c:pt>
                <c:pt idx="486">
                  <c:v>42201</c:v>
                </c:pt>
                <c:pt idx="487">
                  <c:v>42202</c:v>
                </c:pt>
                <c:pt idx="488">
                  <c:v>42205</c:v>
                </c:pt>
                <c:pt idx="489">
                  <c:v>42206</c:v>
                </c:pt>
                <c:pt idx="490">
                  <c:v>42207</c:v>
                </c:pt>
                <c:pt idx="491">
                  <c:v>42208</c:v>
                </c:pt>
                <c:pt idx="492">
                  <c:v>42209</c:v>
                </c:pt>
                <c:pt idx="493">
                  <c:v>42212</c:v>
                </c:pt>
                <c:pt idx="494">
                  <c:v>42213</c:v>
                </c:pt>
                <c:pt idx="495">
                  <c:v>42214</c:v>
                </c:pt>
                <c:pt idx="496">
                  <c:v>42215</c:v>
                </c:pt>
                <c:pt idx="497">
                  <c:v>42216</c:v>
                </c:pt>
                <c:pt idx="498">
                  <c:v>42219</c:v>
                </c:pt>
                <c:pt idx="499">
                  <c:v>42220</c:v>
                </c:pt>
                <c:pt idx="500">
                  <c:v>42221</c:v>
                </c:pt>
                <c:pt idx="501">
                  <c:v>42222</c:v>
                </c:pt>
                <c:pt idx="502">
                  <c:v>42223</c:v>
                </c:pt>
                <c:pt idx="503">
                  <c:v>42226</c:v>
                </c:pt>
                <c:pt idx="504">
                  <c:v>42227</c:v>
                </c:pt>
                <c:pt idx="505">
                  <c:v>42228</c:v>
                </c:pt>
                <c:pt idx="506">
                  <c:v>42229</c:v>
                </c:pt>
                <c:pt idx="507">
                  <c:v>42230</c:v>
                </c:pt>
                <c:pt idx="508">
                  <c:v>42233</c:v>
                </c:pt>
                <c:pt idx="509">
                  <c:v>42234</c:v>
                </c:pt>
                <c:pt idx="510">
                  <c:v>42235</c:v>
                </c:pt>
                <c:pt idx="511">
                  <c:v>42236</c:v>
                </c:pt>
                <c:pt idx="512">
                  <c:v>42237</c:v>
                </c:pt>
                <c:pt idx="513">
                  <c:v>42240</c:v>
                </c:pt>
                <c:pt idx="514">
                  <c:v>42241</c:v>
                </c:pt>
                <c:pt idx="515">
                  <c:v>42242</c:v>
                </c:pt>
                <c:pt idx="516">
                  <c:v>42243</c:v>
                </c:pt>
                <c:pt idx="517">
                  <c:v>42244</c:v>
                </c:pt>
                <c:pt idx="518">
                  <c:v>42247</c:v>
                </c:pt>
                <c:pt idx="519">
                  <c:v>42248</c:v>
                </c:pt>
                <c:pt idx="520">
                  <c:v>42249</c:v>
                </c:pt>
                <c:pt idx="521">
                  <c:v>42250</c:v>
                </c:pt>
                <c:pt idx="522">
                  <c:v>42251</c:v>
                </c:pt>
                <c:pt idx="523">
                  <c:v>42254</c:v>
                </c:pt>
                <c:pt idx="524">
                  <c:v>42255</c:v>
                </c:pt>
                <c:pt idx="525">
                  <c:v>42256</c:v>
                </c:pt>
                <c:pt idx="526">
                  <c:v>42257</c:v>
                </c:pt>
                <c:pt idx="527">
                  <c:v>42258</c:v>
                </c:pt>
                <c:pt idx="528">
                  <c:v>42261</c:v>
                </c:pt>
                <c:pt idx="529">
                  <c:v>42262</c:v>
                </c:pt>
                <c:pt idx="530">
                  <c:v>42263</c:v>
                </c:pt>
                <c:pt idx="531">
                  <c:v>42264</c:v>
                </c:pt>
                <c:pt idx="532">
                  <c:v>42265</c:v>
                </c:pt>
                <c:pt idx="533">
                  <c:v>42268</c:v>
                </c:pt>
                <c:pt idx="534">
                  <c:v>42269</c:v>
                </c:pt>
                <c:pt idx="535">
                  <c:v>42270</c:v>
                </c:pt>
                <c:pt idx="536">
                  <c:v>42271</c:v>
                </c:pt>
                <c:pt idx="537">
                  <c:v>42272</c:v>
                </c:pt>
                <c:pt idx="538">
                  <c:v>42275</c:v>
                </c:pt>
                <c:pt idx="539">
                  <c:v>42276</c:v>
                </c:pt>
                <c:pt idx="540">
                  <c:v>42277</c:v>
                </c:pt>
                <c:pt idx="541">
                  <c:v>42278</c:v>
                </c:pt>
                <c:pt idx="542">
                  <c:v>42279</c:v>
                </c:pt>
                <c:pt idx="543">
                  <c:v>42282</c:v>
                </c:pt>
                <c:pt idx="544">
                  <c:v>42283</c:v>
                </c:pt>
                <c:pt idx="545">
                  <c:v>42284</c:v>
                </c:pt>
                <c:pt idx="546">
                  <c:v>42285</c:v>
                </c:pt>
                <c:pt idx="547">
                  <c:v>42286</c:v>
                </c:pt>
                <c:pt idx="548">
                  <c:v>42289</c:v>
                </c:pt>
                <c:pt idx="549">
                  <c:v>42290</c:v>
                </c:pt>
                <c:pt idx="550">
                  <c:v>42291</c:v>
                </c:pt>
                <c:pt idx="551">
                  <c:v>42292</c:v>
                </c:pt>
                <c:pt idx="552">
                  <c:v>42293</c:v>
                </c:pt>
                <c:pt idx="553">
                  <c:v>42296</c:v>
                </c:pt>
                <c:pt idx="554">
                  <c:v>42297</c:v>
                </c:pt>
                <c:pt idx="555">
                  <c:v>42298</c:v>
                </c:pt>
                <c:pt idx="556">
                  <c:v>42299</c:v>
                </c:pt>
                <c:pt idx="557">
                  <c:v>42300</c:v>
                </c:pt>
                <c:pt idx="558">
                  <c:v>42303</c:v>
                </c:pt>
                <c:pt idx="559">
                  <c:v>42304</c:v>
                </c:pt>
                <c:pt idx="560">
                  <c:v>42305</c:v>
                </c:pt>
                <c:pt idx="561">
                  <c:v>42306</c:v>
                </c:pt>
                <c:pt idx="562">
                  <c:v>42307</c:v>
                </c:pt>
                <c:pt idx="563">
                  <c:v>42310</c:v>
                </c:pt>
                <c:pt idx="564">
                  <c:v>42311</c:v>
                </c:pt>
                <c:pt idx="565">
                  <c:v>42312</c:v>
                </c:pt>
                <c:pt idx="566">
                  <c:v>42313</c:v>
                </c:pt>
                <c:pt idx="567">
                  <c:v>42314</c:v>
                </c:pt>
                <c:pt idx="568">
                  <c:v>42317</c:v>
                </c:pt>
                <c:pt idx="569">
                  <c:v>42318</c:v>
                </c:pt>
                <c:pt idx="570">
                  <c:v>42319</c:v>
                </c:pt>
                <c:pt idx="571">
                  <c:v>42320</c:v>
                </c:pt>
                <c:pt idx="572">
                  <c:v>42321</c:v>
                </c:pt>
                <c:pt idx="573">
                  <c:v>42324</c:v>
                </c:pt>
                <c:pt idx="574">
                  <c:v>42325</c:v>
                </c:pt>
                <c:pt idx="575">
                  <c:v>42326</c:v>
                </c:pt>
                <c:pt idx="576">
                  <c:v>42327</c:v>
                </c:pt>
                <c:pt idx="577">
                  <c:v>42328</c:v>
                </c:pt>
                <c:pt idx="578">
                  <c:v>42331</c:v>
                </c:pt>
                <c:pt idx="579">
                  <c:v>42332</c:v>
                </c:pt>
                <c:pt idx="580">
                  <c:v>42333</c:v>
                </c:pt>
                <c:pt idx="581">
                  <c:v>42334</c:v>
                </c:pt>
                <c:pt idx="582">
                  <c:v>42335</c:v>
                </c:pt>
                <c:pt idx="583">
                  <c:v>42338</c:v>
                </c:pt>
                <c:pt idx="584">
                  <c:v>42339</c:v>
                </c:pt>
                <c:pt idx="585">
                  <c:v>42340</c:v>
                </c:pt>
                <c:pt idx="586">
                  <c:v>42341</c:v>
                </c:pt>
                <c:pt idx="587">
                  <c:v>42342</c:v>
                </c:pt>
                <c:pt idx="588">
                  <c:v>42345</c:v>
                </c:pt>
                <c:pt idx="589">
                  <c:v>42346</c:v>
                </c:pt>
                <c:pt idx="590">
                  <c:v>42347</c:v>
                </c:pt>
                <c:pt idx="591">
                  <c:v>42348</c:v>
                </c:pt>
                <c:pt idx="592">
                  <c:v>42349</c:v>
                </c:pt>
                <c:pt idx="593">
                  <c:v>42352</c:v>
                </c:pt>
                <c:pt idx="594">
                  <c:v>42353</c:v>
                </c:pt>
                <c:pt idx="595">
                  <c:v>42354</c:v>
                </c:pt>
                <c:pt idx="596">
                  <c:v>42355</c:v>
                </c:pt>
                <c:pt idx="597">
                  <c:v>42356</c:v>
                </c:pt>
                <c:pt idx="598">
                  <c:v>42359</c:v>
                </c:pt>
                <c:pt idx="599">
                  <c:v>42360</c:v>
                </c:pt>
                <c:pt idx="600">
                  <c:v>42361</c:v>
                </c:pt>
                <c:pt idx="601">
                  <c:v>42362</c:v>
                </c:pt>
                <c:pt idx="602">
                  <c:v>42363</c:v>
                </c:pt>
                <c:pt idx="603">
                  <c:v>42366</c:v>
                </c:pt>
                <c:pt idx="604">
                  <c:v>42367</c:v>
                </c:pt>
                <c:pt idx="605">
                  <c:v>42368</c:v>
                </c:pt>
                <c:pt idx="606">
                  <c:v>42369</c:v>
                </c:pt>
                <c:pt idx="607">
                  <c:v>42370</c:v>
                </c:pt>
                <c:pt idx="608">
                  <c:v>42373</c:v>
                </c:pt>
                <c:pt idx="609">
                  <c:v>42374</c:v>
                </c:pt>
                <c:pt idx="610">
                  <c:v>42375</c:v>
                </c:pt>
                <c:pt idx="611">
                  <c:v>42376</c:v>
                </c:pt>
                <c:pt idx="612">
                  <c:v>42377</c:v>
                </c:pt>
                <c:pt idx="613">
                  <c:v>42380</c:v>
                </c:pt>
                <c:pt idx="614">
                  <c:v>42381</c:v>
                </c:pt>
                <c:pt idx="615">
                  <c:v>42382</c:v>
                </c:pt>
                <c:pt idx="616">
                  <c:v>42383</c:v>
                </c:pt>
                <c:pt idx="617">
                  <c:v>42384</c:v>
                </c:pt>
                <c:pt idx="618">
                  <c:v>42387</c:v>
                </c:pt>
                <c:pt idx="619">
                  <c:v>42388</c:v>
                </c:pt>
                <c:pt idx="620">
                  <c:v>42389</c:v>
                </c:pt>
                <c:pt idx="621">
                  <c:v>42390</c:v>
                </c:pt>
                <c:pt idx="622">
                  <c:v>42391</c:v>
                </c:pt>
                <c:pt idx="623">
                  <c:v>42394</c:v>
                </c:pt>
                <c:pt idx="624">
                  <c:v>42395</c:v>
                </c:pt>
                <c:pt idx="625">
                  <c:v>42396</c:v>
                </c:pt>
                <c:pt idx="626">
                  <c:v>42397</c:v>
                </c:pt>
                <c:pt idx="627">
                  <c:v>42398</c:v>
                </c:pt>
                <c:pt idx="628">
                  <c:v>42401</c:v>
                </c:pt>
                <c:pt idx="629">
                  <c:v>42402</c:v>
                </c:pt>
                <c:pt idx="630">
                  <c:v>42403</c:v>
                </c:pt>
                <c:pt idx="631">
                  <c:v>42404</c:v>
                </c:pt>
                <c:pt idx="632">
                  <c:v>42405</c:v>
                </c:pt>
                <c:pt idx="633">
                  <c:v>42408</c:v>
                </c:pt>
                <c:pt idx="634">
                  <c:v>42409</c:v>
                </c:pt>
                <c:pt idx="635">
                  <c:v>42410</c:v>
                </c:pt>
                <c:pt idx="636">
                  <c:v>42411</c:v>
                </c:pt>
                <c:pt idx="637">
                  <c:v>42412</c:v>
                </c:pt>
                <c:pt idx="638">
                  <c:v>42415</c:v>
                </c:pt>
                <c:pt idx="639">
                  <c:v>42416</c:v>
                </c:pt>
                <c:pt idx="640">
                  <c:v>42417</c:v>
                </c:pt>
                <c:pt idx="641">
                  <c:v>42418</c:v>
                </c:pt>
                <c:pt idx="642">
                  <c:v>42419</c:v>
                </c:pt>
                <c:pt idx="643">
                  <c:v>42422</c:v>
                </c:pt>
                <c:pt idx="644">
                  <c:v>42423</c:v>
                </c:pt>
                <c:pt idx="645">
                  <c:v>42424</c:v>
                </c:pt>
                <c:pt idx="646">
                  <c:v>42425</c:v>
                </c:pt>
                <c:pt idx="647">
                  <c:v>42426</c:v>
                </c:pt>
                <c:pt idx="648">
                  <c:v>42429</c:v>
                </c:pt>
                <c:pt idx="649">
                  <c:v>42430</c:v>
                </c:pt>
                <c:pt idx="650">
                  <c:v>42431</c:v>
                </c:pt>
                <c:pt idx="651">
                  <c:v>42432</c:v>
                </c:pt>
                <c:pt idx="652">
                  <c:v>42433</c:v>
                </c:pt>
                <c:pt idx="653">
                  <c:v>42436</c:v>
                </c:pt>
                <c:pt idx="654">
                  <c:v>42437</c:v>
                </c:pt>
                <c:pt idx="655">
                  <c:v>42438</c:v>
                </c:pt>
                <c:pt idx="656">
                  <c:v>42439</c:v>
                </c:pt>
                <c:pt idx="657">
                  <c:v>42440</c:v>
                </c:pt>
                <c:pt idx="658">
                  <c:v>42443</c:v>
                </c:pt>
                <c:pt idx="659">
                  <c:v>42444</c:v>
                </c:pt>
                <c:pt idx="660">
                  <c:v>42445</c:v>
                </c:pt>
                <c:pt idx="661">
                  <c:v>42446</c:v>
                </c:pt>
                <c:pt idx="662">
                  <c:v>42447</c:v>
                </c:pt>
                <c:pt idx="663">
                  <c:v>42450</c:v>
                </c:pt>
                <c:pt idx="664">
                  <c:v>42451</c:v>
                </c:pt>
                <c:pt idx="665">
                  <c:v>42452</c:v>
                </c:pt>
                <c:pt idx="666">
                  <c:v>42453</c:v>
                </c:pt>
                <c:pt idx="667">
                  <c:v>42454</c:v>
                </c:pt>
                <c:pt idx="668">
                  <c:v>42457</c:v>
                </c:pt>
                <c:pt idx="669">
                  <c:v>42458</c:v>
                </c:pt>
                <c:pt idx="670">
                  <c:v>42459</c:v>
                </c:pt>
                <c:pt idx="671">
                  <c:v>42460</c:v>
                </c:pt>
                <c:pt idx="672">
                  <c:v>42461</c:v>
                </c:pt>
                <c:pt idx="673">
                  <c:v>42464</c:v>
                </c:pt>
                <c:pt idx="674">
                  <c:v>42465</c:v>
                </c:pt>
                <c:pt idx="675">
                  <c:v>42466</c:v>
                </c:pt>
                <c:pt idx="676">
                  <c:v>42467</c:v>
                </c:pt>
                <c:pt idx="677">
                  <c:v>42468</c:v>
                </c:pt>
                <c:pt idx="678">
                  <c:v>42471</c:v>
                </c:pt>
                <c:pt idx="679">
                  <c:v>42472</c:v>
                </c:pt>
                <c:pt idx="680">
                  <c:v>42473</c:v>
                </c:pt>
                <c:pt idx="681">
                  <c:v>42474</c:v>
                </c:pt>
                <c:pt idx="682">
                  <c:v>42475</c:v>
                </c:pt>
                <c:pt idx="683">
                  <c:v>42478</c:v>
                </c:pt>
                <c:pt idx="684">
                  <c:v>42479</c:v>
                </c:pt>
                <c:pt idx="685">
                  <c:v>42480</c:v>
                </c:pt>
                <c:pt idx="686">
                  <c:v>42481</c:v>
                </c:pt>
                <c:pt idx="687">
                  <c:v>42482</c:v>
                </c:pt>
                <c:pt idx="688">
                  <c:v>42485</c:v>
                </c:pt>
                <c:pt idx="689">
                  <c:v>42486</c:v>
                </c:pt>
                <c:pt idx="690">
                  <c:v>42487</c:v>
                </c:pt>
                <c:pt idx="691">
                  <c:v>42488</c:v>
                </c:pt>
                <c:pt idx="692">
                  <c:v>42489</c:v>
                </c:pt>
                <c:pt idx="693">
                  <c:v>42492</c:v>
                </c:pt>
                <c:pt idx="694">
                  <c:v>42493</c:v>
                </c:pt>
                <c:pt idx="695">
                  <c:v>42494</c:v>
                </c:pt>
                <c:pt idx="696">
                  <c:v>42495</c:v>
                </c:pt>
                <c:pt idx="697">
                  <c:v>42496</c:v>
                </c:pt>
                <c:pt idx="698">
                  <c:v>42499</c:v>
                </c:pt>
                <c:pt idx="699">
                  <c:v>42500</c:v>
                </c:pt>
                <c:pt idx="700">
                  <c:v>42501</c:v>
                </c:pt>
                <c:pt idx="701">
                  <c:v>42502</c:v>
                </c:pt>
                <c:pt idx="702">
                  <c:v>42503</c:v>
                </c:pt>
                <c:pt idx="703">
                  <c:v>42506</c:v>
                </c:pt>
                <c:pt idx="704">
                  <c:v>42507</c:v>
                </c:pt>
                <c:pt idx="705">
                  <c:v>42508</c:v>
                </c:pt>
                <c:pt idx="706">
                  <c:v>42509</c:v>
                </c:pt>
                <c:pt idx="707">
                  <c:v>42510</c:v>
                </c:pt>
                <c:pt idx="708">
                  <c:v>42513</c:v>
                </c:pt>
                <c:pt idx="709">
                  <c:v>42514</c:v>
                </c:pt>
                <c:pt idx="710">
                  <c:v>42515</c:v>
                </c:pt>
                <c:pt idx="711">
                  <c:v>42516</c:v>
                </c:pt>
                <c:pt idx="712">
                  <c:v>42517</c:v>
                </c:pt>
                <c:pt idx="713">
                  <c:v>42520</c:v>
                </c:pt>
                <c:pt idx="714">
                  <c:v>42521</c:v>
                </c:pt>
                <c:pt idx="715">
                  <c:v>42522</c:v>
                </c:pt>
                <c:pt idx="716">
                  <c:v>42523</c:v>
                </c:pt>
                <c:pt idx="717">
                  <c:v>42524</c:v>
                </c:pt>
                <c:pt idx="718">
                  <c:v>42527</c:v>
                </c:pt>
                <c:pt idx="719">
                  <c:v>42528</c:v>
                </c:pt>
                <c:pt idx="720">
                  <c:v>42529</c:v>
                </c:pt>
                <c:pt idx="721">
                  <c:v>42530</c:v>
                </c:pt>
                <c:pt idx="722">
                  <c:v>42531</c:v>
                </c:pt>
                <c:pt idx="723">
                  <c:v>42534</c:v>
                </c:pt>
                <c:pt idx="724">
                  <c:v>42535</c:v>
                </c:pt>
                <c:pt idx="725">
                  <c:v>42536</c:v>
                </c:pt>
                <c:pt idx="726">
                  <c:v>42537</c:v>
                </c:pt>
                <c:pt idx="727">
                  <c:v>42538</c:v>
                </c:pt>
                <c:pt idx="728">
                  <c:v>42541</c:v>
                </c:pt>
                <c:pt idx="729">
                  <c:v>42542</c:v>
                </c:pt>
                <c:pt idx="730">
                  <c:v>42543</c:v>
                </c:pt>
                <c:pt idx="731">
                  <c:v>42544</c:v>
                </c:pt>
                <c:pt idx="732">
                  <c:v>42545</c:v>
                </c:pt>
                <c:pt idx="733">
                  <c:v>42548</c:v>
                </c:pt>
                <c:pt idx="734">
                  <c:v>42549</c:v>
                </c:pt>
                <c:pt idx="735">
                  <c:v>42550</c:v>
                </c:pt>
                <c:pt idx="736">
                  <c:v>42551</c:v>
                </c:pt>
                <c:pt idx="737">
                  <c:v>42552</c:v>
                </c:pt>
                <c:pt idx="738">
                  <c:v>42555</c:v>
                </c:pt>
                <c:pt idx="739">
                  <c:v>42556</c:v>
                </c:pt>
                <c:pt idx="740">
                  <c:v>42557</c:v>
                </c:pt>
                <c:pt idx="741">
                  <c:v>42558</c:v>
                </c:pt>
                <c:pt idx="742">
                  <c:v>42559</c:v>
                </c:pt>
                <c:pt idx="743">
                  <c:v>42562</c:v>
                </c:pt>
                <c:pt idx="744">
                  <c:v>42563</c:v>
                </c:pt>
                <c:pt idx="745">
                  <c:v>42564</c:v>
                </c:pt>
                <c:pt idx="746">
                  <c:v>42565</c:v>
                </c:pt>
                <c:pt idx="747">
                  <c:v>42566</c:v>
                </c:pt>
                <c:pt idx="748">
                  <c:v>42569</c:v>
                </c:pt>
                <c:pt idx="749">
                  <c:v>42570</c:v>
                </c:pt>
                <c:pt idx="750">
                  <c:v>42571</c:v>
                </c:pt>
                <c:pt idx="751">
                  <c:v>42572</c:v>
                </c:pt>
                <c:pt idx="752">
                  <c:v>42573</c:v>
                </c:pt>
                <c:pt idx="753">
                  <c:v>42576</c:v>
                </c:pt>
                <c:pt idx="754">
                  <c:v>42577</c:v>
                </c:pt>
                <c:pt idx="755">
                  <c:v>42578</c:v>
                </c:pt>
                <c:pt idx="756">
                  <c:v>42579</c:v>
                </c:pt>
                <c:pt idx="757">
                  <c:v>42580</c:v>
                </c:pt>
                <c:pt idx="758">
                  <c:v>42583</c:v>
                </c:pt>
                <c:pt idx="759">
                  <c:v>42584</c:v>
                </c:pt>
                <c:pt idx="760">
                  <c:v>42585</c:v>
                </c:pt>
                <c:pt idx="761">
                  <c:v>42586</c:v>
                </c:pt>
                <c:pt idx="762">
                  <c:v>42587</c:v>
                </c:pt>
                <c:pt idx="763">
                  <c:v>42590</c:v>
                </c:pt>
                <c:pt idx="764">
                  <c:v>42591</c:v>
                </c:pt>
                <c:pt idx="765">
                  <c:v>42592</c:v>
                </c:pt>
                <c:pt idx="766">
                  <c:v>42593</c:v>
                </c:pt>
                <c:pt idx="767">
                  <c:v>42594</c:v>
                </c:pt>
                <c:pt idx="768">
                  <c:v>42597</c:v>
                </c:pt>
                <c:pt idx="769">
                  <c:v>42598</c:v>
                </c:pt>
                <c:pt idx="770">
                  <c:v>42599</c:v>
                </c:pt>
                <c:pt idx="771">
                  <c:v>42600</c:v>
                </c:pt>
                <c:pt idx="772">
                  <c:v>42601</c:v>
                </c:pt>
                <c:pt idx="773">
                  <c:v>42604</c:v>
                </c:pt>
                <c:pt idx="774">
                  <c:v>42605</c:v>
                </c:pt>
                <c:pt idx="775">
                  <c:v>42606</c:v>
                </c:pt>
                <c:pt idx="776">
                  <c:v>42607</c:v>
                </c:pt>
                <c:pt idx="777">
                  <c:v>42608</c:v>
                </c:pt>
                <c:pt idx="778">
                  <c:v>42611</c:v>
                </c:pt>
                <c:pt idx="779">
                  <c:v>42612</c:v>
                </c:pt>
                <c:pt idx="780">
                  <c:v>42613</c:v>
                </c:pt>
                <c:pt idx="781">
                  <c:v>42614</c:v>
                </c:pt>
                <c:pt idx="782">
                  <c:v>42615</c:v>
                </c:pt>
                <c:pt idx="783">
                  <c:v>42618</c:v>
                </c:pt>
                <c:pt idx="784">
                  <c:v>42619</c:v>
                </c:pt>
                <c:pt idx="785">
                  <c:v>42620</c:v>
                </c:pt>
                <c:pt idx="786">
                  <c:v>42621</c:v>
                </c:pt>
                <c:pt idx="787">
                  <c:v>42622</c:v>
                </c:pt>
                <c:pt idx="788">
                  <c:v>42625</c:v>
                </c:pt>
                <c:pt idx="789">
                  <c:v>42626</c:v>
                </c:pt>
                <c:pt idx="790">
                  <c:v>42627</c:v>
                </c:pt>
                <c:pt idx="791">
                  <c:v>42628</c:v>
                </c:pt>
                <c:pt idx="792">
                  <c:v>42629</c:v>
                </c:pt>
                <c:pt idx="793">
                  <c:v>42632</c:v>
                </c:pt>
                <c:pt idx="794">
                  <c:v>42633</c:v>
                </c:pt>
                <c:pt idx="795">
                  <c:v>42634</c:v>
                </c:pt>
                <c:pt idx="796">
                  <c:v>42635</c:v>
                </c:pt>
                <c:pt idx="797">
                  <c:v>42636</c:v>
                </c:pt>
                <c:pt idx="798">
                  <c:v>42639</c:v>
                </c:pt>
                <c:pt idx="799">
                  <c:v>42640</c:v>
                </c:pt>
                <c:pt idx="800">
                  <c:v>42641</c:v>
                </c:pt>
                <c:pt idx="801">
                  <c:v>42642</c:v>
                </c:pt>
                <c:pt idx="802">
                  <c:v>42643</c:v>
                </c:pt>
                <c:pt idx="803">
                  <c:v>42646</c:v>
                </c:pt>
                <c:pt idx="804">
                  <c:v>42647</c:v>
                </c:pt>
                <c:pt idx="805">
                  <c:v>42648</c:v>
                </c:pt>
                <c:pt idx="806">
                  <c:v>42649</c:v>
                </c:pt>
                <c:pt idx="807">
                  <c:v>42650</c:v>
                </c:pt>
                <c:pt idx="808">
                  <c:v>42653</c:v>
                </c:pt>
                <c:pt idx="809">
                  <c:v>42654</c:v>
                </c:pt>
                <c:pt idx="810">
                  <c:v>42655</c:v>
                </c:pt>
                <c:pt idx="811">
                  <c:v>42656</c:v>
                </c:pt>
                <c:pt idx="812">
                  <c:v>42657</c:v>
                </c:pt>
                <c:pt idx="813">
                  <c:v>42660</c:v>
                </c:pt>
                <c:pt idx="814">
                  <c:v>42661</c:v>
                </c:pt>
                <c:pt idx="815">
                  <c:v>42662</c:v>
                </c:pt>
                <c:pt idx="816">
                  <c:v>42663</c:v>
                </c:pt>
                <c:pt idx="817">
                  <c:v>42664</c:v>
                </c:pt>
                <c:pt idx="818">
                  <c:v>42667</c:v>
                </c:pt>
                <c:pt idx="819">
                  <c:v>42668</c:v>
                </c:pt>
                <c:pt idx="820">
                  <c:v>42669</c:v>
                </c:pt>
                <c:pt idx="821">
                  <c:v>42670</c:v>
                </c:pt>
                <c:pt idx="822">
                  <c:v>42671</c:v>
                </c:pt>
                <c:pt idx="823">
                  <c:v>42674</c:v>
                </c:pt>
                <c:pt idx="824">
                  <c:v>42675</c:v>
                </c:pt>
                <c:pt idx="825">
                  <c:v>42676</c:v>
                </c:pt>
                <c:pt idx="826">
                  <c:v>42677</c:v>
                </c:pt>
                <c:pt idx="827">
                  <c:v>42678</c:v>
                </c:pt>
                <c:pt idx="828">
                  <c:v>42681</c:v>
                </c:pt>
                <c:pt idx="829">
                  <c:v>42682</c:v>
                </c:pt>
                <c:pt idx="830">
                  <c:v>42683</c:v>
                </c:pt>
                <c:pt idx="831">
                  <c:v>42684</c:v>
                </c:pt>
                <c:pt idx="832">
                  <c:v>42685</c:v>
                </c:pt>
                <c:pt idx="833">
                  <c:v>42688</c:v>
                </c:pt>
                <c:pt idx="834">
                  <c:v>42689</c:v>
                </c:pt>
                <c:pt idx="835">
                  <c:v>42690</c:v>
                </c:pt>
                <c:pt idx="836">
                  <c:v>42691</c:v>
                </c:pt>
                <c:pt idx="837">
                  <c:v>42692</c:v>
                </c:pt>
                <c:pt idx="838">
                  <c:v>42695</c:v>
                </c:pt>
                <c:pt idx="839">
                  <c:v>42696</c:v>
                </c:pt>
                <c:pt idx="840">
                  <c:v>42697</c:v>
                </c:pt>
                <c:pt idx="841">
                  <c:v>42698</c:v>
                </c:pt>
                <c:pt idx="842">
                  <c:v>42699</c:v>
                </c:pt>
                <c:pt idx="843">
                  <c:v>42702</c:v>
                </c:pt>
                <c:pt idx="844">
                  <c:v>42703</c:v>
                </c:pt>
                <c:pt idx="845">
                  <c:v>42704</c:v>
                </c:pt>
                <c:pt idx="846">
                  <c:v>42705</c:v>
                </c:pt>
                <c:pt idx="847">
                  <c:v>42706</c:v>
                </c:pt>
                <c:pt idx="848">
                  <c:v>42709</c:v>
                </c:pt>
                <c:pt idx="849">
                  <c:v>42710</c:v>
                </c:pt>
                <c:pt idx="850">
                  <c:v>42711</c:v>
                </c:pt>
                <c:pt idx="851">
                  <c:v>42712</c:v>
                </c:pt>
                <c:pt idx="852">
                  <c:v>42713</c:v>
                </c:pt>
                <c:pt idx="853">
                  <c:v>42716</c:v>
                </c:pt>
                <c:pt idx="854">
                  <c:v>42717</c:v>
                </c:pt>
                <c:pt idx="855">
                  <c:v>42718</c:v>
                </c:pt>
                <c:pt idx="856">
                  <c:v>42719</c:v>
                </c:pt>
                <c:pt idx="857">
                  <c:v>42720</c:v>
                </c:pt>
                <c:pt idx="858">
                  <c:v>42723</c:v>
                </c:pt>
                <c:pt idx="859">
                  <c:v>42724</c:v>
                </c:pt>
                <c:pt idx="860">
                  <c:v>42725</c:v>
                </c:pt>
                <c:pt idx="861">
                  <c:v>42726</c:v>
                </c:pt>
                <c:pt idx="862">
                  <c:v>42727</c:v>
                </c:pt>
                <c:pt idx="863">
                  <c:v>42730</c:v>
                </c:pt>
                <c:pt idx="864">
                  <c:v>42731</c:v>
                </c:pt>
                <c:pt idx="865">
                  <c:v>42732</c:v>
                </c:pt>
                <c:pt idx="866">
                  <c:v>42733</c:v>
                </c:pt>
                <c:pt idx="867">
                  <c:v>42734</c:v>
                </c:pt>
                <c:pt idx="868">
                  <c:v>42737</c:v>
                </c:pt>
                <c:pt idx="869">
                  <c:v>42738</c:v>
                </c:pt>
                <c:pt idx="870">
                  <c:v>42739</c:v>
                </c:pt>
                <c:pt idx="871">
                  <c:v>42740</c:v>
                </c:pt>
                <c:pt idx="872">
                  <c:v>42741</c:v>
                </c:pt>
                <c:pt idx="873">
                  <c:v>42744</c:v>
                </c:pt>
                <c:pt idx="874">
                  <c:v>42745</c:v>
                </c:pt>
                <c:pt idx="875">
                  <c:v>42746</c:v>
                </c:pt>
                <c:pt idx="876">
                  <c:v>42747</c:v>
                </c:pt>
                <c:pt idx="877">
                  <c:v>42748</c:v>
                </c:pt>
                <c:pt idx="878">
                  <c:v>42751</c:v>
                </c:pt>
                <c:pt idx="879">
                  <c:v>42752</c:v>
                </c:pt>
                <c:pt idx="880">
                  <c:v>42753</c:v>
                </c:pt>
                <c:pt idx="881">
                  <c:v>42754</c:v>
                </c:pt>
                <c:pt idx="882">
                  <c:v>42755</c:v>
                </c:pt>
                <c:pt idx="883">
                  <c:v>42758</c:v>
                </c:pt>
                <c:pt idx="884">
                  <c:v>42759</c:v>
                </c:pt>
                <c:pt idx="885">
                  <c:v>42760</c:v>
                </c:pt>
                <c:pt idx="886">
                  <c:v>42761</c:v>
                </c:pt>
                <c:pt idx="887">
                  <c:v>42762</c:v>
                </c:pt>
                <c:pt idx="888">
                  <c:v>42765</c:v>
                </c:pt>
                <c:pt idx="889">
                  <c:v>42766</c:v>
                </c:pt>
                <c:pt idx="890">
                  <c:v>42767</c:v>
                </c:pt>
                <c:pt idx="891">
                  <c:v>42768</c:v>
                </c:pt>
                <c:pt idx="892">
                  <c:v>42769</c:v>
                </c:pt>
                <c:pt idx="893">
                  <c:v>42772</c:v>
                </c:pt>
                <c:pt idx="894">
                  <c:v>42773</c:v>
                </c:pt>
                <c:pt idx="895">
                  <c:v>42774</c:v>
                </c:pt>
                <c:pt idx="896">
                  <c:v>42775</c:v>
                </c:pt>
                <c:pt idx="897">
                  <c:v>42776</c:v>
                </c:pt>
                <c:pt idx="898">
                  <c:v>42779</c:v>
                </c:pt>
                <c:pt idx="899">
                  <c:v>42780</c:v>
                </c:pt>
                <c:pt idx="900">
                  <c:v>42781</c:v>
                </c:pt>
                <c:pt idx="901">
                  <c:v>42782</c:v>
                </c:pt>
                <c:pt idx="902">
                  <c:v>42783</c:v>
                </c:pt>
                <c:pt idx="903">
                  <c:v>42786</c:v>
                </c:pt>
                <c:pt idx="904">
                  <c:v>42787</c:v>
                </c:pt>
                <c:pt idx="905">
                  <c:v>42788</c:v>
                </c:pt>
                <c:pt idx="906">
                  <c:v>42789</c:v>
                </c:pt>
                <c:pt idx="907">
                  <c:v>42790</c:v>
                </c:pt>
                <c:pt idx="908">
                  <c:v>42793</c:v>
                </c:pt>
                <c:pt idx="909">
                  <c:v>42794</c:v>
                </c:pt>
                <c:pt idx="910">
                  <c:v>42795</c:v>
                </c:pt>
                <c:pt idx="911">
                  <c:v>42796</c:v>
                </c:pt>
                <c:pt idx="912">
                  <c:v>42797</c:v>
                </c:pt>
                <c:pt idx="913">
                  <c:v>42800</c:v>
                </c:pt>
                <c:pt idx="914">
                  <c:v>42801</c:v>
                </c:pt>
                <c:pt idx="915">
                  <c:v>42802</c:v>
                </c:pt>
                <c:pt idx="916">
                  <c:v>42803</c:v>
                </c:pt>
                <c:pt idx="917">
                  <c:v>42804</c:v>
                </c:pt>
                <c:pt idx="918">
                  <c:v>42807</c:v>
                </c:pt>
                <c:pt idx="919">
                  <c:v>42808</c:v>
                </c:pt>
                <c:pt idx="920">
                  <c:v>42809</c:v>
                </c:pt>
                <c:pt idx="921">
                  <c:v>42810</c:v>
                </c:pt>
                <c:pt idx="922">
                  <c:v>42811</c:v>
                </c:pt>
                <c:pt idx="923">
                  <c:v>42814</c:v>
                </c:pt>
                <c:pt idx="924">
                  <c:v>42815</c:v>
                </c:pt>
                <c:pt idx="925">
                  <c:v>42816</c:v>
                </c:pt>
                <c:pt idx="926">
                  <c:v>42817</c:v>
                </c:pt>
                <c:pt idx="927">
                  <c:v>42818</c:v>
                </c:pt>
                <c:pt idx="928">
                  <c:v>42821</c:v>
                </c:pt>
                <c:pt idx="929">
                  <c:v>42822</c:v>
                </c:pt>
                <c:pt idx="930">
                  <c:v>42823</c:v>
                </c:pt>
                <c:pt idx="931">
                  <c:v>42824</c:v>
                </c:pt>
                <c:pt idx="932">
                  <c:v>42825</c:v>
                </c:pt>
                <c:pt idx="933">
                  <c:v>42828</c:v>
                </c:pt>
                <c:pt idx="934">
                  <c:v>42829</c:v>
                </c:pt>
                <c:pt idx="935">
                  <c:v>42830</c:v>
                </c:pt>
                <c:pt idx="936">
                  <c:v>42831</c:v>
                </c:pt>
                <c:pt idx="937">
                  <c:v>42832</c:v>
                </c:pt>
                <c:pt idx="938">
                  <c:v>42835</c:v>
                </c:pt>
                <c:pt idx="939">
                  <c:v>42836</c:v>
                </c:pt>
                <c:pt idx="940">
                  <c:v>42837</c:v>
                </c:pt>
                <c:pt idx="941">
                  <c:v>42838</c:v>
                </c:pt>
                <c:pt idx="942">
                  <c:v>42839</c:v>
                </c:pt>
                <c:pt idx="943">
                  <c:v>42842</c:v>
                </c:pt>
                <c:pt idx="944">
                  <c:v>42843</c:v>
                </c:pt>
                <c:pt idx="945">
                  <c:v>42844</c:v>
                </c:pt>
                <c:pt idx="946">
                  <c:v>42845</c:v>
                </c:pt>
                <c:pt idx="947">
                  <c:v>42846</c:v>
                </c:pt>
                <c:pt idx="948">
                  <c:v>42849</c:v>
                </c:pt>
                <c:pt idx="949">
                  <c:v>42850</c:v>
                </c:pt>
                <c:pt idx="950">
                  <c:v>42851</c:v>
                </c:pt>
                <c:pt idx="951">
                  <c:v>42852</c:v>
                </c:pt>
                <c:pt idx="952">
                  <c:v>42853</c:v>
                </c:pt>
                <c:pt idx="953">
                  <c:v>42856</c:v>
                </c:pt>
                <c:pt idx="954">
                  <c:v>42857</c:v>
                </c:pt>
                <c:pt idx="955">
                  <c:v>42858</c:v>
                </c:pt>
                <c:pt idx="956">
                  <c:v>42859</c:v>
                </c:pt>
                <c:pt idx="957">
                  <c:v>42860</c:v>
                </c:pt>
                <c:pt idx="958">
                  <c:v>42863</c:v>
                </c:pt>
                <c:pt idx="959">
                  <c:v>42864</c:v>
                </c:pt>
                <c:pt idx="960">
                  <c:v>42865</c:v>
                </c:pt>
                <c:pt idx="961">
                  <c:v>42866</c:v>
                </c:pt>
                <c:pt idx="962">
                  <c:v>42867</c:v>
                </c:pt>
                <c:pt idx="963">
                  <c:v>42870</c:v>
                </c:pt>
                <c:pt idx="964">
                  <c:v>42871</c:v>
                </c:pt>
                <c:pt idx="965">
                  <c:v>42872</c:v>
                </c:pt>
                <c:pt idx="966">
                  <c:v>42873</c:v>
                </c:pt>
                <c:pt idx="967">
                  <c:v>42874</c:v>
                </c:pt>
                <c:pt idx="968">
                  <c:v>42877</c:v>
                </c:pt>
                <c:pt idx="969">
                  <c:v>42878</c:v>
                </c:pt>
                <c:pt idx="970">
                  <c:v>42879</c:v>
                </c:pt>
                <c:pt idx="971">
                  <c:v>42880</c:v>
                </c:pt>
                <c:pt idx="972">
                  <c:v>42881</c:v>
                </c:pt>
                <c:pt idx="973">
                  <c:v>42884</c:v>
                </c:pt>
                <c:pt idx="974">
                  <c:v>42885</c:v>
                </c:pt>
                <c:pt idx="975">
                  <c:v>42886</c:v>
                </c:pt>
                <c:pt idx="976">
                  <c:v>42887</c:v>
                </c:pt>
                <c:pt idx="977">
                  <c:v>42888</c:v>
                </c:pt>
                <c:pt idx="978">
                  <c:v>42891</c:v>
                </c:pt>
                <c:pt idx="979">
                  <c:v>42892</c:v>
                </c:pt>
                <c:pt idx="980">
                  <c:v>42893</c:v>
                </c:pt>
                <c:pt idx="981">
                  <c:v>42894</c:v>
                </c:pt>
                <c:pt idx="982">
                  <c:v>42895</c:v>
                </c:pt>
                <c:pt idx="983">
                  <c:v>42898</c:v>
                </c:pt>
                <c:pt idx="984">
                  <c:v>42899</c:v>
                </c:pt>
                <c:pt idx="985">
                  <c:v>42900</c:v>
                </c:pt>
                <c:pt idx="986">
                  <c:v>42901</c:v>
                </c:pt>
                <c:pt idx="987">
                  <c:v>42902</c:v>
                </c:pt>
                <c:pt idx="988">
                  <c:v>42905</c:v>
                </c:pt>
                <c:pt idx="989">
                  <c:v>42906</c:v>
                </c:pt>
                <c:pt idx="990">
                  <c:v>42907</c:v>
                </c:pt>
                <c:pt idx="991">
                  <c:v>42908</c:v>
                </c:pt>
                <c:pt idx="992">
                  <c:v>42909</c:v>
                </c:pt>
                <c:pt idx="993">
                  <c:v>42912</c:v>
                </c:pt>
                <c:pt idx="994">
                  <c:v>42913</c:v>
                </c:pt>
                <c:pt idx="995">
                  <c:v>42914</c:v>
                </c:pt>
                <c:pt idx="996">
                  <c:v>42915</c:v>
                </c:pt>
                <c:pt idx="997">
                  <c:v>42916</c:v>
                </c:pt>
                <c:pt idx="998">
                  <c:v>42919</c:v>
                </c:pt>
                <c:pt idx="999">
                  <c:v>42920</c:v>
                </c:pt>
                <c:pt idx="1000">
                  <c:v>42921</c:v>
                </c:pt>
                <c:pt idx="1001">
                  <c:v>42922</c:v>
                </c:pt>
                <c:pt idx="1002">
                  <c:v>42923</c:v>
                </c:pt>
                <c:pt idx="1003">
                  <c:v>42926</c:v>
                </c:pt>
                <c:pt idx="1004">
                  <c:v>42927</c:v>
                </c:pt>
                <c:pt idx="1005">
                  <c:v>42928</c:v>
                </c:pt>
                <c:pt idx="1006">
                  <c:v>42929</c:v>
                </c:pt>
                <c:pt idx="1007">
                  <c:v>42930</c:v>
                </c:pt>
                <c:pt idx="1008">
                  <c:v>42933</c:v>
                </c:pt>
                <c:pt idx="1009">
                  <c:v>42934</c:v>
                </c:pt>
                <c:pt idx="1010">
                  <c:v>42935</c:v>
                </c:pt>
                <c:pt idx="1011">
                  <c:v>42936</c:v>
                </c:pt>
                <c:pt idx="1012">
                  <c:v>42937</c:v>
                </c:pt>
                <c:pt idx="1013">
                  <c:v>42940</c:v>
                </c:pt>
                <c:pt idx="1014">
                  <c:v>42941</c:v>
                </c:pt>
                <c:pt idx="1015">
                  <c:v>42942</c:v>
                </c:pt>
                <c:pt idx="1016">
                  <c:v>42943</c:v>
                </c:pt>
                <c:pt idx="1017">
                  <c:v>42944</c:v>
                </c:pt>
                <c:pt idx="1018">
                  <c:v>42947</c:v>
                </c:pt>
                <c:pt idx="1019">
                  <c:v>42948</c:v>
                </c:pt>
                <c:pt idx="1020">
                  <c:v>42949</c:v>
                </c:pt>
                <c:pt idx="1021">
                  <c:v>42950</c:v>
                </c:pt>
                <c:pt idx="1022">
                  <c:v>42951</c:v>
                </c:pt>
                <c:pt idx="1023">
                  <c:v>42954</c:v>
                </c:pt>
                <c:pt idx="1024">
                  <c:v>42955</c:v>
                </c:pt>
                <c:pt idx="1025">
                  <c:v>42956</c:v>
                </c:pt>
                <c:pt idx="1026">
                  <c:v>42957</c:v>
                </c:pt>
                <c:pt idx="1027">
                  <c:v>42958</c:v>
                </c:pt>
                <c:pt idx="1028">
                  <c:v>42961</c:v>
                </c:pt>
                <c:pt idx="1029">
                  <c:v>42962</c:v>
                </c:pt>
                <c:pt idx="1030">
                  <c:v>42963</c:v>
                </c:pt>
                <c:pt idx="1031">
                  <c:v>42964</c:v>
                </c:pt>
                <c:pt idx="1032">
                  <c:v>42965</c:v>
                </c:pt>
                <c:pt idx="1033">
                  <c:v>42968</c:v>
                </c:pt>
                <c:pt idx="1034">
                  <c:v>42969</c:v>
                </c:pt>
                <c:pt idx="1035">
                  <c:v>42970</c:v>
                </c:pt>
                <c:pt idx="1036">
                  <c:v>42971</c:v>
                </c:pt>
                <c:pt idx="1037">
                  <c:v>42972</c:v>
                </c:pt>
                <c:pt idx="1038">
                  <c:v>42975</c:v>
                </c:pt>
                <c:pt idx="1039">
                  <c:v>42976</c:v>
                </c:pt>
                <c:pt idx="1040">
                  <c:v>42977</c:v>
                </c:pt>
                <c:pt idx="1041">
                  <c:v>42978</c:v>
                </c:pt>
                <c:pt idx="1042">
                  <c:v>42979</c:v>
                </c:pt>
                <c:pt idx="1043">
                  <c:v>42982</c:v>
                </c:pt>
                <c:pt idx="1044">
                  <c:v>42983</c:v>
                </c:pt>
                <c:pt idx="1045">
                  <c:v>42984</c:v>
                </c:pt>
                <c:pt idx="1046">
                  <c:v>42985</c:v>
                </c:pt>
                <c:pt idx="1047">
                  <c:v>42986</c:v>
                </c:pt>
                <c:pt idx="1048">
                  <c:v>42989</c:v>
                </c:pt>
                <c:pt idx="1049">
                  <c:v>42990</c:v>
                </c:pt>
                <c:pt idx="1050">
                  <c:v>42991</c:v>
                </c:pt>
                <c:pt idx="1051">
                  <c:v>42992</c:v>
                </c:pt>
                <c:pt idx="1052">
                  <c:v>42993</c:v>
                </c:pt>
                <c:pt idx="1053">
                  <c:v>42996</c:v>
                </c:pt>
                <c:pt idx="1054">
                  <c:v>42997</c:v>
                </c:pt>
                <c:pt idx="1055">
                  <c:v>42998</c:v>
                </c:pt>
                <c:pt idx="1056">
                  <c:v>42999</c:v>
                </c:pt>
                <c:pt idx="1057">
                  <c:v>43000</c:v>
                </c:pt>
                <c:pt idx="1058">
                  <c:v>43003</c:v>
                </c:pt>
                <c:pt idx="1059">
                  <c:v>43004</c:v>
                </c:pt>
                <c:pt idx="1060">
                  <c:v>43005</c:v>
                </c:pt>
                <c:pt idx="1061">
                  <c:v>43006</c:v>
                </c:pt>
                <c:pt idx="1062">
                  <c:v>43007</c:v>
                </c:pt>
                <c:pt idx="1063">
                  <c:v>43010</c:v>
                </c:pt>
                <c:pt idx="1064">
                  <c:v>43011</c:v>
                </c:pt>
                <c:pt idx="1065">
                  <c:v>43012</c:v>
                </c:pt>
                <c:pt idx="1066">
                  <c:v>43013</c:v>
                </c:pt>
                <c:pt idx="1067">
                  <c:v>43014</c:v>
                </c:pt>
                <c:pt idx="1068">
                  <c:v>43017</c:v>
                </c:pt>
                <c:pt idx="1069">
                  <c:v>43018</c:v>
                </c:pt>
                <c:pt idx="1070">
                  <c:v>43019</c:v>
                </c:pt>
                <c:pt idx="1071">
                  <c:v>43020</c:v>
                </c:pt>
                <c:pt idx="1072">
                  <c:v>43021</c:v>
                </c:pt>
                <c:pt idx="1073">
                  <c:v>43024</c:v>
                </c:pt>
                <c:pt idx="1074">
                  <c:v>43025</c:v>
                </c:pt>
                <c:pt idx="1075">
                  <c:v>43026</c:v>
                </c:pt>
                <c:pt idx="1076">
                  <c:v>43027</c:v>
                </c:pt>
                <c:pt idx="1077">
                  <c:v>43028</c:v>
                </c:pt>
                <c:pt idx="1078">
                  <c:v>43031</c:v>
                </c:pt>
                <c:pt idx="1079">
                  <c:v>43032</c:v>
                </c:pt>
                <c:pt idx="1080">
                  <c:v>43033</c:v>
                </c:pt>
                <c:pt idx="1081">
                  <c:v>43034</c:v>
                </c:pt>
                <c:pt idx="1082">
                  <c:v>43035</c:v>
                </c:pt>
                <c:pt idx="1083">
                  <c:v>43038</c:v>
                </c:pt>
                <c:pt idx="1084">
                  <c:v>43039</c:v>
                </c:pt>
                <c:pt idx="1085">
                  <c:v>43040</c:v>
                </c:pt>
                <c:pt idx="1086">
                  <c:v>43041</c:v>
                </c:pt>
                <c:pt idx="1087">
                  <c:v>43042</c:v>
                </c:pt>
                <c:pt idx="1088">
                  <c:v>43045</c:v>
                </c:pt>
                <c:pt idx="1089">
                  <c:v>43046</c:v>
                </c:pt>
                <c:pt idx="1090">
                  <c:v>43047</c:v>
                </c:pt>
                <c:pt idx="1091">
                  <c:v>43048</c:v>
                </c:pt>
                <c:pt idx="1092">
                  <c:v>43049</c:v>
                </c:pt>
                <c:pt idx="1093">
                  <c:v>43052</c:v>
                </c:pt>
                <c:pt idx="1094">
                  <c:v>43053</c:v>
                </c:pt>
                <c:pt idx="1095">
                  <c:v>43054</c:v>
                </c:pt>
                <c:pt idx="1096">
                  <c:v>43055</c:v>
                </c:pt>
                <c:pt idx="1097">
                  <c:v>43056</c:v>
                </c:pt>
                <c:pt idx="1098">
                  <c:v>43059</c:v>
                </c:pt>
                <c:pt idx="1099">
                  <c:v>43060</c:v>
                </c:pt>
                <c:pt idx="1100">
                  <c:v>43061</c:v>
                </c:pt>
                <c:pt idx="1101">
                  <c:v>43062</c:v>
                </c:pt>
                <c:pt idx="1102">
                  <c:v>43063</c:v>
                </c:pt>
                <c:pt idx="1103">
                  <c:v>43066</c:v>
                </c:pt>
                <c:pt idx="1104">
                  <c:v>43067</c:v>
                </c:pt>
                <c:pt idx="1105">
                  <c:v>43068</c:v>
                </c:pt>
                <c:pt idx="1106">
                  <c:v>43069</c:v>
                </c:pt>
                <c:pt idx="1107">
                  <c:v>43070</c:v>
                </c:pt>
                <c:pt idx="1108">
                  <c:v>43073</c:v>
                </c:pt>
                <c:pt idx="1109">
                  <c:v>43074</c:v>
                </c:pt>
                <c:pt idx="1110">
                  <c:v>43075</c:v>
                </c:pt>
                <c:pt idx="1111">
                  <c:v>43076</c:v>
                </c:pt>
                <c:pt idx="1112">
                  <c:v>43077</c:v>
                </c:pt>
                <c:pt idx="1113">
                  <c:v>43080</c:v>
                </c:pt>
                <c:pt idx="1114">
                  <c:v>43081</c:v>
                </c:pt>
                <c:pt idx="1115">
                  <c:v>43082</c:v>
                </c:pt>
                <c:pt idx="1116">
                  <c:v>43083</c:v>
                </c:pt>
                <c:pt idx="1117">
                  <c:v>43084</c:v>
                </c:pt>
                <c:pt idx="1118">
                  <c:v>43087</c:v>
                </c:pt>
                <c:pt idx="1119">
                  <c:v>43088</c:v>
                </c:pt>
                <c:pt idx="1120">
                  <c:v>43089</c:v>
                </c:pt>
                <c:pt idx="1121">
                  <c:v>43090</c:v>
                </c:pt>
                <c:pt idx="1122">
                  <c:v>43091</c:v>
                </c:pt>
                <c:pt idx="1123">
                  <c:v>43094</c:v>
                </c:pt>
                <c:pt idx="1124">
                  <c:v>43095</c:v>
                </c:pt>
                <c:pt idx="1125">
                  <c:v>43096</c:v>
                </c:pt>
                <c:pt idx="1126">
                  <c:v>43097</c:v>
                </c:pt>
                <c:pt idx="1127">
                  <c:v>43098</c:v>
                </c:pt>
                <c:pt idx="1128">
                  <c:v>43101</c:v>
                </c:pt>
                <c:pt idx="1129">
                  <c:v>43102</c:v>
                </c:pt>
                <c:pt idx="1130">
                  <c:v>43103</c:v>
                </c:pt>
                <c:pt idx="1131">
                  <c:v>43104</c:v>
                </c:pt>
                <c:pt idx="1132">
                  <c:v>43105</c:v>
                </c:pt>
                <c:pt idx="1133">
                  <c:v>43108</c:v>
                </c:pt>
                <c:pt idx="1134">
                  <c:v>43109</c:v>
                </c:pt>
                <c:pt idx="1135">
                  <c:v>43110</c:v>
                </c:pt>
                <c:pt idx="1136">
                  <c:v>43111</c:v>
                </c:pt>
                <c:pt idx="1137">
                  <c:v>43112</c:v>
                </c:pt>
                <c:pt idx="1138">
                  <c:v>43115</c:v>
                </c:pt>
                <c:pt idx="1139">
                  <c:v>43116</c:v>
                </c:pt>
                <c:pt idx="1140">
                  <c:v>43117</c:v>
                </c:pt>
                <c:pt idx="1141">
                  <c:v>43118</c:v>
                </c:pt>
                <c:pt idx="1142">
                  <c:v>43119</c:v>
                </c:pt>
                <c:pt idx="1143">
                  <c:v>43122</c:v>
                </c:pt>
                <c:pt idx="1144">
                  <c:v>43123</c:v>
                </c:pt>
                <c:pt idx="1145">
                  <c:v>43124</c:v>
                </c:pt>
                <c:pt idx="1146">
                  <c:v>43125</c:v>
                </c:pt>
                <c:pt idx="1147">
                  <c:v>43126</c:v>
                </c:pt>
                <c:pt idx="1148">
                  <c:v>43129</c:v>
                </c:pt>
                <c:pt idx="1149">
                  <c:v>43130</c:v>
                </c:pt>
                <c:pt idx="1150">
                  <c:v>43131</c:v>
                </c:pt>
              </c:numCache>
            </c:numRef>
          </c:cat>
          <c:val>
            <c:numRef>
              <c:f>'Amundi Fds EM MinVar BRUT'!$M$5:$M$1155</c:f>
              <c:numCache>
                <c:formatCode>0%</c:formatCode>
                <c:ptCount val="1151"/>
                <c:pt idx="0">
                  <c:v>0</c:v>
                </c:pt>
                <c:pt idx="1">
                  <c:v>-4.1672614752684467E-2</c:v>
                </c:pt>
                <c:pt idx="2">
                  <c:v>-0.32081628140707608</c:v>
                </c:pt>
                <c:pt idx="3">
                  <c:v>-0.51852874841475227</c:v>
                </c:pt>
                <c:pt idx="4">
                  <c:v>-1.373885112718483</c:v>
                </c:pt>
                <c:pt idx="5">
                  <c:v>-1.2044285084635504</c:v>
                </c:pt>
                <c:pt idx="6">
                  <c:v>-1.5298926167813391</c:v>
                </c:pt>
                <c:pt idx="7">
                  <c:v>-1.2785728146433399</c:v>
                </c:pt>
                <c:pt idx="8">
                  <c:v>-1.4155755470675189</c:v>
                </c:pt>
                <c:pt idx="9">
                  <c:v>-1.0661317249968221</c:v>
                </c:pt>
                <c:pt idx="10">
                  <c:v>-1.3699005422995327</c:v>
                </c:pt>
                <c:pt idx="11">
                  <c:v>-1.8620872548083582</c:v>
                </c:pt>
                <c:pt idx="12">
                  <c:v>-1.3689132628017688</c:v>
                </c:pt>
                <c:pt idx="13">
                  <c:v>-1.7683288696381254</c:v>
                </c:pt>
                <c:pt idx="14">
                  <c:v>-1.8634102986406873</c:v>
                </c:pt>
                <c:pt idx="15">
                  <c:v>-1.3316139372068108</c:v>
                </c:pt>
                <c:pt idx="16">
                  <c:v>-1.4719103776820361</c:v>
                </c:pt>
                <c:pt idx="17">
                  <c:v>-1.283397729946941</c:v>
                </c:pt>
                <c:pt idx="18">
                  <c:v>-1.1426936537116887</c:v>
                </c:pt>
                <c:pt idx="19">
                  <c:v>-1.4573607085694107</c:v>
                </c:pt>
                <c:pt idx="20">
                  <c:v>-1.3322231104545494</c:v>
                </c:pt>
                <c:pt idx="21">
                  <c:v>-0.77421380047340449</c:v>
                </c:pt>
                <c:pt idx="22">
                  <c:v>-1.0819313702689897</c:v>
                </c:pt>
                <c:pt idx="23">
                  <c:v>-0.97975638025788214</c:v>
                </c:pt>
                <c:pt idx="24">
                  <c:v>-0.90971154482970462</c:v>
                </c:pt>
                <c:pt idx="25">
                  <c:v>-1.1125672835983096</c:v>
                </c:pt>
                <c:pt idx="26">
                  <c:v>-1.4599716475031812</c:v>
                </c:pt>
                <c:pt idx="27">
                  <c:v>-1.9235883674036813</c:v>
                </c:pt>
                <c:pt idx="28">
                  <c:v>-2.0278435261214298</c:v>
                </c:pt>
                <c:pt idx="29">
                  <c:v>-2.1366495238739986</c:v>
                </c:pt>
                <c:pt idx="30">
                  <c:v>-2.4645145726567534</c:v>
                </c:pt>
                <c:pt idx="31">
                  <c:v>-2.3713603718478851</c:v>
                </c:pt>
                <c:pt idx="32">
                  <c:v>-2.5420208334671344</c:v>
                </c:pt>
                <c:pt idx="33">
                  <c:v>-2.7166741430349788</c:v>
                </c:pt>
                <c:pt idx="34">
                  <c:v>-2.8224291788167761</c:v>
                </c:pt>
                <c:pt idx="35">
                  <c:v>-2.3996394591995056</c:v>
                </c:pt>
                <c:pt idx="36">
                  <c:v>-2.0917808033726999</c:v>
                </c:pt>
                <c:pt idx="37">
                  <c:v>-1.9972336794077847</c:v>
                </c:pt>
                <c:pt idx="38">
                  <c:v>-2.4424474996347385</c:v>
                </c:pt>
                <c:pt idx="39">
                  <c:v>-2.5401443794327747</c:v>
                </c:pt>
                <c:pt idx="40">
                  <c:v>-2.6337816444214894</c:v>
                </c:pt>
                <c:pt idx="41">
                  <c:v>-2.1035578989609292</c:v>
                </c:pt>
                <c:pt idx="42">
                  <c:v>-2.1035578989609292</c:v>
                </c:pt>
                <c:pt idx="43">
                  <c:v>-2.5298650808694561</c:v>
                </c:pt>
                <c:pt idx="44">
                  <c:v>-2.1954779911334299</c:v>
                </c:pt>
                <c:pt idx="45">
                  <c:v>-2.2586849519084211</c:v>
                </c:pt>
                <c:pt idx="46">
                  <c:v>-2.4035091684474708</c:v>
                </c:pt>
                <c:pt idx="47">
                  <c:v>-1.9548854722533946</c:v>
                </c:pt>
                <c:pt idx="48">
                  <c:v>-1.9869255473308129</c:v>
                </c:pt>
                <c:pt idx="49">
                  <c:v>-1.8296351831018143</c:v>
                </c:pt>
                <c:pt idx="50">
                  <c:v>-1.603129854847964</c:v>
                </c:pt>
                <c:pt idx="51">
                  <c:v>-2.0517327009996933</c:v>
                </c:pt>
                <c:pt idx="52">
                  <c:v>-2.7799924239558464</c:v>
                </c:pt>
                <c:pt idx="53">
                  <c:v>-3.3414207932301281</c:v>
                </c:pt>
                <c:pt idx="54">
                  <c:v>-3.5734807474940595</c:v>
                </c:pt>
                <c:pt idx="55">
                  <c:v>-3.7123902082955027</c:v>
                </c:pt>
                <c:pt idx="56">
                  <c:v>-3.2713535030542431</c:v>
                </c:pt>
                <c:pt idx="57">
                  <c:v>-3.686812222873769</c:v>
                </c:pt>
                <c:pt idx="58">
                  <c:v>-4.0540214444217497</c:v>
                </c:pt>
                <c:pt idx="59">
                  <c:v>-3.3508382990413992</c:v>
                </c:pt>
                <c:pt idx="60">
                  <c:v>-3.2193925477552483</c:v>
                </c:pt>
                <c:pt idx="61">
                  <c:v>-3.3067223328334308</c:v>
                </c:pt>
                <c:pt idx="62">
                  <c:v>-3.2600371751695718</c:v>
                </c:pt>
                <c:pt idx="63">
                  <c:v>-2.8589515960443066</c:v>
                </c:pt>
                <c:pt idx="64">
                  <c:v>-2.3677217786404441</c:v>
                </c:pt>
                <c:pt idx="65">
                  <c:v>-1.995240635601931</c:v>
                </c:pt>
                <c:pt idx="66">
                  <c:v>-2.2646364664641112</c:v>
                </c:pt>
                <c:pt idx="67">
                  <c:v>-2.5824544588718368</c:v>
                </c:pt>
                <c:pt idx="68">
                  <c:v>-2.718413873330249</c:v>
                </c:pt>
                <c:pt idx="69">
                  <c:v>-2.6671901007280781</c:v>
                </c:pt>
                <c:pt idx="70">
                  <c:v>-2.2076240091504218</c:v>
                </c:pt>
                <c:pt idx="71">
                  <c:v>-2.0861257042620451</c:v>
                </c:pt>
                <c:pt idx="72">
                  <c:v>-2.2829754740818373</c:v>
                </c:pt>
                <c:pt idx="73">
                  <c:v>-2.7965343566348935</c:v>
                </c:pt>
                <c:pt idx="74">
                  <c:v>-2.3707737714697004</c:v>
                </c:pt>
                <c:pt idx="75">
                  <c:v>-2.4712964009147527</c:v>
                </c:pt>
                <c:pt idx="76">
                  <c:v>-2.6385086669021973</c:v>
                </c:pt>
                <c:pt idx="77">
                  <c:v>-3.0165755755653265</c:v>
                </c:pt>
                <c:pt idx="78">
                  <c:v>-2.9142022269572863</c:v>
                </c:pt>
                <c:pt idx="79">
                  <c:v>-2.9142022269572863</c:v>
                </c:pt>
                <c:pt idx="80">
                  <c:v>-2.9142022269572863</c:v>
                </c:pt>
                <c:pt idx="81">
                  <c:v>-2.9142022269572863</c:v>
                </c:pt>
                <c:pt idx="82">
                  <c:v>-2.6115782127634759</c:v>
                </c:pt>
                <c:pt idx="83">
                  <c:v>-2.6610046133794185</c:v>
                </c:pt>
                <c:pt idx="84">
                  <c:v>-2.5302953147151186</c:v>
                </c:pt>
                <c:pt idx="85">
                  <c:v>-2.5302953147151186</c:v>
                </c:pt>
                <c:pt idx="86">
                  <c:v>-2.1519939989499619</c:v>
                </c:pt>
                <c:pt idx="87">
                  <c:v>-1.8833695402005617</c:v>
                </c:pt>
                <c:pt idx="88">
                  <c:v>-2.1779753310912611</c:v>
                </c:pt>
                <c:pt idx="89">
                  <c:v>-1.9212261754784095</c:v>
                </c:pt>
                <c:pt idx="90">
                  <c:v>-1.8213947960195611</c:v>
                </c:pt>
                <c:pt idx="91">
                  <c:v>-1.4687304792813336</c:v>
                </c:pt>
                <c:pt idx="92">
                  <c:v>-1.9602503072956949</c:v>
                </c:pt>
                <c:pt idx="93">
                  <c:v>-2.1196183578362309</c:v>
                </c:pt>
                <c:pt idx="94">
                  <c:v>-2.3405028596997397</c:v>
                </c:pt>
                <c:pt idx="95">
                  <c:v>-2.6405006576806898</c:v>
                </c:pt>
                <c:pt idx="96">
                  <c:v>-2.5183291920938586</c:v>
                </c:pt>
                <c:pt idx="97">
                  <c:v>-2.3490319383876681</c:v>
                </c:pt>
                <c:pt idx="98">
                  <c:v>-2.4209502851693401</c:v>
                </c:pt>
                <c:pt idx="99">
                  <c:v>-2.4882452221060021</c:v>
                </c:pt>
                <c:pt idx="100">
                  <c:v>-2.6128953793581644</c:v>
                </c:pt>
                <c:pt idx="101">
                  <c:v>-2.303377039481262</c:v>
                </c:pt>
                <c:pt idx="102">
                  <c:v>-1.9925808150671287</c:v>
                </c:pt>
                <c:pt idx="103">
                  <c:v>-2.0306495967930829</c:v>
                </c:pt>
                <c:pt idx="104">
                  <c:v>-2.443116611457981</c:v>
                </c:pt>
                <c:pt idx="105">
                  <c:v>-2.3420416781457192</c:v>
                </c:pt>
                <c:pt idx="106">
                  <c:v>-2.1351890256339772</c:v>
                </c:pt>
                <c:pt idx="107">
                  <c:v>-2.0657792816458169</c:v>
                </c:pt>
                <c:pt idx="108">
                  <c:v>-1.886471484092354</c:v>
                </c:pt>
                <c:pt idx="109">
                  <c:v>-1.8870284064568068</c:v>
                </c:pt>
                <c:pt idx="110">
                  <c:v>-2.1228913368735363</c:v>
                </c:pt>
                <c:pt idx="111">
                  <c:v>-2.6845652890130793</c:v>
                </c:pt>
                <c:pt idx="112">
                  <c:v>-2.6124538729583406</c:v>
                </c:pt>
                <c:pt idx="113">
                  <c:v>-2.3108971921422921</c:v>
                </c:pt>
                <c:pt idx="114">
                  <c:v>-2.5813766413519375</c:v>
                </c:pt>
                <c:pt idx="115">
                  <c:v>-2.67010456121875</c:v>
                </c:pt>
                <c:pt idx="116">
                  <c:v>-2.434726662445172</c:v>
                </c:pt>
                <c:pt idx="117">
                  <c:v>-2.6171056873207874</c:v>
                </c:pt>
                <c:pt idx="118">
                  <c:v>-2.7504422449806185</c:v>
                </c:pt>
                <c:pt idx="119">
                  <c:v>-2.3736042994461002</c:v>
                </c:pt>
                <c:pt idx="120">
                  <c:v>-2.3898766446770026</c:v>
                </c:pt>
                <c:pt idx="121">
                  <c:v>-2.343597816121644</c:v>
                </c:pt>
                <c:pt idx="122">
                  <c:v>-2.395740287913128</c:v>
                </c:pt>
                <c:pt idx="123">
                  <c:v>-2.6063937864122124</c:v>
                </c:pt>
                <c:pt idx="124">
                  <c:v>-2.5793009245568328</c:v>
                </c:pt>
                <c:pt idx="125">
                  <c:v>-2.2784261604877827</c:v>
                </c:pt>
                <c:pt idx="126">
                  <c:v>-2.7116468776199412</c:v>
                </c:pt>
                <c:pt idx="127">
                  <c:v>-2.8352743541098562</c:v>
                </c:pt>
                <c:pt idx="128">
                  <c:v>-2.5511290976231749</c:v>
                </c:pt>
                <c:pt idx="129">
                  <c:v>-2.4505001775549289</c:v>
                </c:pt>
                <c:pt idx="130">
                  <c:v>-2.5334217435829487</c:v>
                </c:pt>
                <c:pt idx="131">
                  <c:v>-3.051069366127436</c:v>
                </c:pt>
                <c:pt idx="132">
                  <c:v>-3.2103141447528571</c:v>
                </c:pt>
                <c:pt idx="133">
                  <c:v>-3.457035969204469</c:v>
                </c:pt>
                <c:pt idx="134">
                  <c:v>-3.1586619651460524</c:v>
                </c:pt>
                <c:pt idx="135">
                  <c:v>-3.0869060928217067</c:v>
                </c:pt>
                <c:pt idx="136">
                  <c:v>-2.3300034055417456</c:v>
                </c:pt>
                <c:pt idx="137">
                  <c:v>-2.239496264507352</c:v>
                </c:pt>
                <c:pt idx="138">
                  <c:v>-2.0920208933278843</c:v>
                </c:pt>
                <c:pt idx="139">
                  <c:v>-2.3032219952558535</c:v>
                </c:pt>
                <c:pt idx="140">
                  <c:v>-2.5033461712854859</c:v>
                </c:pt>
                <c:pt idx="141">
                  <c:v>-2.5058644181468281</c:v>
                </c:pt>
                <c:pt idx="142">
                  <c:v>-2.5674047503045756</c:v>
                </c:pt>
                <c:pt idx="143">
                  <c:v>-3.0665235098511658</c:v>
                </c:pt>
                <c:pt idx="144">
                  <c:v>-2.9766688383798936</c:v>
                </c:pt>
                <c:pt idx="145">
                  <c:v>-2.9229855800922735</c:v>
                </c:pt>
                <c:pt idx="146">
                  <c:v>-3.1482522770434826</c:v>
                </c:pt>
                <c:pt idx="147">
                  <c:v>-3.3446109166517317</c:v>
                </c:pt>
                <c:pt idx="148">
                  <c:v>-3.3530558416615719</c:v>
                </c:pt>
                <c:pt idx="149">
                  <c:v>-3.1418226372903035</c:v>
                </c:pt>
                <c:pt idx="150">
                  <c:v>-3.2538955464053601</c:v>
                </c:pt>
                <c:pt idx="151">
                  <c:v>-3.4447354377854396</c:v>
                </c:pt>
                <c:pt idx="152">
                  <c:v>-3.7400357412069951</c:v>
                </c:pt>
                <c:pt idx="153">
                  <c:v>-4.0419029314874564</c:v>
                </c:pt>
                <c:pt idx="154">
                  <c:v>-4.241195868869724</c:v>
                </c:pt>
                <c:pt idx="155">
                  <c:v>-4.0296491110496788</c:v>
                </c:pt>
                <c:pt idx="156">
                  <c:v>-4.0794047179659714</c:v>
                </c:pt>
                <c:pt idx="157">
                  <c:v>-4.1298780993726609</c:v>
                </c:pt>
                <c:pt idx="158">
                  <c:v>-4.2126516391226119</c:v>
                </c:pt>
                <c:pt idx="159">
                  <c:v>-3.3573182287784249</c:v>
                </c:pt>
                <c:pt idx="160">
                  <c:v>-3.4615806338351831</c:v>
                </c:pt>
                <c:pt idx="161">
                  <c:v>-3.5112348164422258</c:v>
                </c:pt>
                <c:pt idx="162">
                  <c:v>-3.5112348164422258</c:v>
                </c:pt>
                <c:pt idx="163">
                  <c:v>-3.5112348164422258</c:v>
                </c:pt>
                <c:pt idx="164">
                  <c:v>-3.0831555400681907</c:v>
                </c:pt>
                <c:pt idx="165">
                  <c:v>-2.9861533480592612</c:v>
                </c:pt>
                <c:pt idx="166">
                  <c:v>-2.981800228985179</c:v>
                </c:pt>
                <c:pt idx="167">
                  <c:v>-2.6728329696469899</c:v>
                </c:pt>
                <c:pt idx="168">
                  <c:v>-2.289383257711691</c:v>
                </c:pt>
                <c:pt idx="169">
                  <c:v>-2.3513560413999954</c:v>
                </c:pt>
                <c:pt idx="170">
                  <c:v>-2.0589693491120187</c:v>
                </c:pt>
                <c:pt idx="171">
                  <c:v>-2.0589693491120187</c:v>
                </c:pt>
                <c:pt idx="172">
                  <c:v>-2.1503630196025654</c:v>
                </c:pt>
                <c:pt idx="173">
                  <c:v>-1.954878657675323</c:v>
                </c:pt>
                <c:pt idx="174">
                  <c:v>-1.9502058226375567</c:v>
                </c:pt>
                <c:pt idx="175">
                  <c:v>-2.2632582458065968</c:v>
                </c:pt>
                <c:pt idx="176">
                  <c:v>-2.5647716885883511</c:v>
                </c:pt>
                <c:pt idx="177">
                  <c:v>-2.497219567626658</c:v>
                </c:pt>
                <c:pt idx="178">
                  <c:v>-3.1347765708622291</c:v>
                </c:pt>
                <c:pt idx="179">
                  <c:v>-3.4215235877225894</c:v>
                </c:pt>
                <c:pt idx="180">
                  <c:v>-3.6427611475473327</c:v>
                </c:pt>
                <c:pt idx="181">
                  <c:v>-3.6484888274163438</c:v>
                </c:pt>
                <c:pt idx="182">
                  <c:v>-3.6078758799095567</c:v>
                </c:pt>
                <c:pt idx="183">
                  <c:v>-3.8311071083532369</c:v>
                </c:pt>
                <c:pt idx="184">
                  <c:v>-3.9457834100480795</c:v>
                </c:pt>
                <c:pt idx="185">
                  <c:v>-3.8610345139581597</c:v>
                </c:pt>
                <c:pt idx="186">
                  <c:v>-3.6579347607673043</c:v>
                </c:pt>
                <c:pt idx="187">
                  <c:v>-3.7003216772119742</c:v>
                </c:pt>
                <c:pt idx="188">
                  <c:v>-3.4764263528655448</c:v>
                </c:pt>
                <c:pt idx="189">
                  <c:v>-3.2268525235042631</c:v>
                </c:pt>
                <c:pt idx="190">
                  <c:v>-3.1646087322608736</c:v>
                </c:pt>
                <c:pt idx="191">
                  <c:v>-3.1646087322608736</c:v>
                </c:pt>
                <c:pt idx="192">
                  <c:v>-2.6177875774736634</c:v>
                </c:pt>
                <c:pt idx="193">
                  <c:v>-2.6302714520330284</c:v>
                </c:pt>
                <c:pt idx="194">
                  <c:v>-2.7151296981985382</c:v>
                </c:pt>
                <c:pt idx="195">
                  <c:v>-2.6449393093588327</c:v>
                </c:pt>
                <c:pt idx="196">
                  <c:v>-2.906914953660646</c:v>
                </c:pt>
                <c:pt idx="197">
                  <c:v>-3.1801870725618357</c:v>
                </c:pt>
                <c:pt idx="198">
                  <c:v>-3.1801870725618357</c:v>
                </c:pt>
                <c:pt idx="199">
                  <c:v>-2.8766350286179261</c:v>
                </c:pt>
                <c:pt idx="200">
                  <c:v>-2.7168278782497168</c:v>
                </c:pt>
                <c:pt idx="201">
                  <c:v>-2.8141554394771759</c:v>
                </c:pt>
                <c:pt idx="202">
                  <c:v>-2.4253091907394548</c:v>
                </c:pt>
                <c:pt idx="203">
                  <c:v>-2.388822516257008</c:v>
                </c:pt>
                <c:pt idx="204">
                  <c:v>-2.1426496845757868</c:v>
                </c:pt>
                <c:pt idx="205">
                  <c:v>-2.3898729922787965</c:v>
                </c:pt>
                <c:pt idx="206">
                  <c:v>-2.3402292277363443</c:v>
                </c:pt>
                <c:pt idx="207">
                  <c:v>-2.0589264232682325</c:v>
                </c:pt>
                <c:pt idx="208">
                  <c:v>-2.0589264232682325</c:v>
                </c:pt>
                <c:pt idx="209">
                  <c:v>-2.1114384503379426</c:v>
                </c:pt>
                <c:pt idx="210">
                  <c:v>-1.8119794400663238</c:v>
                </c:pt>
                <c:pt idx="211">
                  <c:v>-1.5441464567447554</c:v>
                </c:pt>
                <c:pt idx="212">
                  <c:v>-1.5871967085292198</c:v>
                </c:pt>
                <c:pt idx="213">
                  <c:v>-1.3231129033412117</c:v>
                </c:pt>
                <c:pt idx="214">
                  <c:v>-1.4069001620322155</c:v>
                </c:pt>
                <c:pt idx="215">
                  <c:v>-1.6750038688703484</c:v>
                </c:pt>
                <c:pt idx="216">
                  <c:v>-1.4955735933191221</c:v>
                </c:pt>
                <c:pt idx="217">
                  <c:v>-1.5222721988076557</c:v>
                </c:pt>
                <c:pt idx="218">
                  <c:v>-1.3409806011957954</c:v>
                </c:pt>
                <c:pt idx="219">
                  <c:v>-1.1781822647324844</c:v>
                </c:pt>
                <c:pt idx="220">
                  <c:v>-1.4185804578641097</c:v>
                </c:pt>
                <c:pt idx="221">
                  <c:v>-1.4496768154433539</c:v>
                </c:pt>
                <c:pt idx="222">
                  <c:v>-1.5027836702220725</c:v>
                </c:pt>
                <c:pt idx="223">
                  <c:v>-1.4376067993703856</c:v>
                </c:pt>
                <c:pt idx="224">
                  <c:v>-1.7138219526410978</c:v>
                </c:pt>
                <c:pt idx="225">
                  <c:v>-1.8301059191320519</c:v>
                </c:pt>
                <c:pt idx="226">
                  <c:v>-1.8790101137879418</c:v>
                </c:pt>
                <c:pt idx="227">
                  <c:v>-2.275809509989827</c:v>
                </c:pt>
                <c:pt idx="228">
                  <c:v>-2.1576777882786189</c:v>
                </c:pt>
                <c:pt idx="229">
                  <c:v>-2.1314704039252916</c:v>
                </c:pt>
                <c:pt idx="230">
                  <c:v>-2.2893105298055048</c:v>
                </c:pt>
                <c:pt idx="231">
                  <c:v>-2.6679918590250224</c:v>
                </c:pt>
                <c:pt idx="232">
                  <c:v>-2.7437043388714102</c:v>
                </c:pt>
                <c:pt idx="233">
                  <c:v>-2.8375443481842524</c:v>
                </c:pt>
                <c:pt idx="234">
                  <c:v>-2.8452751823281659</c:v>
                </c:pt>
                <c:pt idx="235">
                  <c:v>-2.776867152522172</c:v>
                </c:pt>
                <c:pt idx="236">
                  <c:v>-2.3376276392263549</c:v>
                </c:pt>
                <c:pt idx="237">
                  <c:v>-2.1535778701286716</c:v>
                </c:pt>
                <c:pt idx="238">
                  <c:v>-2.1120379673246674</c:v>
                </c:pt>
                <c:pt idx="239">
                  <c:v>-2.345827833061378</c:v>
                </c:pt>
                <c:pt idx="240">
                  <c:v>-2.1926270019669971</c:v>
                </c:pt>
                <c:pt idx="241">
                  <c:v>-1.8591140043459973</c:v>
                </c:pt>
                <c:pt idx="242">
                  <c:v>-1.4896127629018281</c:v>
                </c:pt>
                <c:pt idx="243">
                  <c:v>-1.8726197736545629</c:v>
                </c:pt>
                <c:pt idx="244">
                  <c:v>-2.2700971094670876</c:v>
                </c:pt>
                <c:pt idx="245">
                  <c:v>-1.947445955534846</c:v>
                </c:pt>
                <c:pt idx="246">
                  <c:v>-1.9294160895574919</c:v>
                </c:pt>
                <c:pt idx="247">
                  <c:v>-1.9294160895574919</c:v>
                </c:pt>
                <c:pt idx="248">
                  <c:v>-2.268726385625726</c:v>
                </c:pt>
                <c:pt idx="249">
                  <c:v>-2.5119606002439809</c:v>
                </c:pt>
                <c:pt idx="250">
                  <c:v>-2.460703988679029</c:v>
                </c:pt>
                <c:pt idx="251">
                  <c:v>-2.1432405100589875</c:v>
                </c:pt>
                <c:pt idx="252">
                  <c:v>-2.0522725699430566</c:v>
                </c:pt>
                <c:pt idx="253">
                  <c:v>-2.1788005019945444</c:v>
                </c:pt>
                <c:pt idx="254">
                  <c:v>-2.2115838045923937</c:v>
                </c:pt>
                <c:pt idx="255">
                  <c:v>-2.2238343451429898</c:v>
                </c:pt>
                <c:pt idx="256">
                  <c:v>-2.0105783467955121</c:v>
                </c:pt>
                <c:pt idx="257">
                  <c:v>-2.0699829731637891</c:v>
                </c:pt>
                <c:pt idx="258">
                  <c:v>-1.9359384945953337</c:v>
                </c:pt>
                <c:pt idx="259">
                  <c:v>-1.8026139217843564</c:v>
                </c:pt>
                <c:pt idx="260">
                  <c:v>-2.224230915457639</c:v>
                </c:pt>
                <c:pt idx="261">
                  <c:v>-1.8458549160049387</c:v>
                </c:pt>
                <c:pt idx="262">
                  <c:v>-1.784872612948476</c:v>
                </c:pt>
                <c:pt idx="263">
                  <c:v>-1.2930892966197689</c:v>
                </c:pt>
                <c:pt idx="264">
                  <c:v>-0.87359441075020072</c:v>
                </c:pt>
                <c:pt idx="265">
                  <c:v>-0.48338924882459366</c:v>
                </c:pt>
                <c:pt idx="266">
                  <c:v>-0.6766832084898482</c:v>
                </c:pt>
                <c:pt idx="267">
                  <c:v>-0.4481577753516035</c:v>
                </c:pt>
                <c:pt idx="268">
                  <c:v>-0.23013445651294262</c:v>
                </c:pt>
                <c:pt idx="269">
                  <c:v>-0.65467213923413681</c:v>
                </c:pt>
                <c:pt idx="270">
                  <c:v>-0.70734098409046453</c:v>
                </c:pt>
                <c:pt idx="271">
                  <c:v>-0.24344905673362405</c:v>
                </c:pt>
                <c:pt idx="272">
                  <c:v>-0.30410731320043283</c:v>
                </c:pt>
                <c:pt idx="273">
                  <c:v>-0.21538166614772081</c:v>
                </c:pt>
                <c:pt idx="274">
                  <c:v>-3.2001280575997271E-3</c:v>
                </c:pt>
                <c:pt idx="275">
                  <c:v>0.40910110178290893</c:v>
                </c:pt>
                <c:pt idx="276">
                  <c:v>0.43992066208882363</c:v>
                </c:pt>
                <c:pt idx="277">
                  <c:v>0.10469563391458792</c:v>
                </c:pt>
                <c:pt idx="278">
                  <c:v>5.0764508416563103E-2</c:v>
                </c:pt>
                <c:pt idx="279">
                  <c:v>0.1043864341999523</c:v>
                </c:pt>
                <c:pt idx="280">
                  <c:v>0.40591945705993737</c:v>
                </c:pt>
                <c:pt idx="281">
                  <c:v>0.51514639461154843</c:v>
                </c:pt>
                <c:pt idx="282">
                  <c:v>0.6018196472260513</c:v>
                </c:pt>
                <c:pt idx="283">
                  <c:v>-0.19004700387387174</c:v>
                </c:pt>
                <c:pt idx="284">
                  <c:v>-0.16377478898142783</c:v>
                </c:pt>
                <c:pt idx="285">
                  <c:v>9.8468108811999855E-2</c:v>
                </c:pt>
                <c:pt idx="286">
                  <c:v>9.3226783808319169E-2</c:v>
                </c:pt>
                <c:pt idx="287">
                  <c:v>0.49891035980428455</c:v>
                </c:pt>
                <c:pt idx="288">
                  <c:v>-0.6135274234859196</c:v>
                </c:pt>
                <c:pt idx="289">
                  <c:v>-0.7123647307588783</c:v>
                </c:pt>
                <c:pt idx="290">
                  <c:v>-0.3294525199531364</c:v>
                </c:pt>
                <c:pt idx="291">
                  <c:v>3.6036691286426503E-2</c:v>
                </c:pt>
                <c:pt idx="292">
                  <c:v>-0.20303394208238501</c:v>
                </c:pt>
                <c:pt idx="293">
                  <c:v>0.18482875485140937</c:v>
                </c:pt>
                <c:pt idx="294">
                  <c:v>0.36344590047714576</c:v>
                </c:pt>
                <c:pt idx="295">
                  <c:v>0.38041403700515275</c:v>
                </c:pt>
                <c:pt idx="296">
                  <c:v>0.47755382953573644</c:v>
                </c:pt>
                <c:pt idx="297">
                  <c:v>8.2099967764605708E-2</c:v>
                </c:pt>
                <c:pt idx="298">
                  <c:v>0.33429925630552759</c:v>
                </c:pt>
                <c:pt idx="299">
                  <c:v>0.10983934363871128</c:v>
                </c:pt>
                <c:pt idx="300">
                  <c:v>0.26839031294231575</c:v>
                </c:pt>
                <c:pt idx="301">
                  <c:v>-0.48059075310860067</c:v>
                </c:pt>
                <c:pt idx="302">
                  <c:v>-0.25156664388453009</c:v>
                </c:pt>
                <c:pt idx="303">
                  <c:v>-0.12115133181363547</c:v>
                </c:pt>
                <c:pt idx="304">
                  <c:v>-5.1246428824782697E-2</c:v>
                </c:pt>
                <c:pt idx="305">
                  <c:v>-0.1480967616929405</c:v>
                </c:pt>
                <c:pt idx="306">
                  <c:v>-2.3115832309599682E-2</c:v>
                </c:pt>
                <c:pt idx="307">
                  <c:v>-9.1954988183601927E-2</c:v>
                </c:pt>
                <c:pt idx="308">
                  <c:v>-0.48297067940764293</c:v>
                </c:pt>
                <c:pt idx="309">
                  <c:v>-0.37880004848400972</c:v>
                </c:pt>
                <c:pt idx="310">
                  <c:v>-0.58474248326716349</c:v>
                </c:pt>
                <c:pt idx="311">
                  <c:v>-0.40962642352798184</c:v>
                </c:pt>
                <c:pt idx="312">
                  <c:v>-0.48156490140029007</c:v>
                </c:pt>
                <c:pt idx="313">
                  <c:v>-0.41847219900058974</c:v>
                </c:pt>
                <c:pt idx="314">
                  <c:v>-0.6575016930161155</c:v>
                </c:pt>
                <c:pt idx="315">
                  <c:v>-0.45154408231627485</c:v>
                </c:pt>
                <c:pt idx="316">
                  <c:v>-0.3230534389359434</c:v>
                </c:pt>
                <c:pt idx="317">
                  <c:v>-0.72861396300085346</c:v>
                </c:pt>
                <c:pt idx="318">
                  <c:v>-0.91316467802809598</c:v>
                </c:pt>
                <c:pt idx="319">
                  <c:v>-0.82384275017095376</c:v>
                </c:pt>
                <c:pt idx="320">
                  <c:v>-1.0808036332165756</c:v>
                </c:pt>
                <c:pt idx="321">
                  <c:v>-1.2113657496742718</c:v>
                </c:pt>
                <c:pt idx="322">
                  <c:v>-1.4496833898797234</c:v>
                </c:pt>
                <c:pt idx="323">
                  <c:v>-1.2091984029846117</c:v>
                </c:pt>
                <c:pt idx="324">
                  <c:v>-1.1496581505900565</c:v>
                </c:pt>
                <c:pt idx="325">
                  <c:v>-1.4798861896622668</c:v>
                </c:pt>
                <c:pt idx="326">
                  <c:v>-1.1441407187174235</c:v>
                </c:pt>
                <c:pt idx="327">
                  <c:v>-1.3068020356848962</c:v>
                </c:pt>
                <c:pt idx="328">
                  <c:v>-1.5568755113335442</c:v>
                </c:pt>
                <c:pt idx="329">
                  <c:v>-1.4326815904698122</c:v>
                </c:pt>
                <c:pt idx="330">
                  <c:v>-0.62601998460765174</c:v>
                </c:pt>
                <c:pt idx="331">
                  <c:v>-0.31055236149983045</c:v>
                </c:pt>
                <c:pt idx="332">
                  <c:v>0.27332164373721923</c:v>
                </c:pt>
                <c:pt idx="333">
                  <c:v>0.69206661170831296</c:v>
                </c:pt>
                <c:pt idx="334">
                  <c:v>0.81483140573492108</c:v>
                </c:pt>
                <c:pt idx="335">
                  <c:v>-0.20065677098423862</c:v>
                </c:pt>
                <c:pt idx="336">
                  <c:v>-0.28299846447436039</c:v>
                </c:pt>
                <c:pt idx="337">
                  <c:v>-0.78452268029627703</c:v>
                </c:pt>
                <c:pt idx="338">
                  <c:v>-1.307003954439736</c:v>
                </c:pt>
                <c:pt idx="339">
                  <c:v>-1.1753225604724662</c:v>
                </c:pt>
                <c:pt idx="340">
                  <c:v>-1.1753225604724662</c:v>
                </c:pt>
                <c:pt idx="341">
                  <c:v>-1.1753225604724662</c:v>
                </c:pt>
                <c:pt idx="342">
                  <c:v>-1.1753225604724662</c:v>
                </c:pt>
                <c:pt idx="343">
                  <c:v>-1.3039798755871743</c:v>
                </c:pt>
                <c:pt idx="344">
                  <c:v>-1.007630799058461</c:v>
                </c:pt>
                <c:pt idx="345">
                  <c:v>-0.14714151388153596</c:v>
                </c:pt>
                <c:pt idx="346">
                  <c:v>-0.14714151388153596</c:v>
                </c:pt>
                <c:pt idx="347">
                  <c:v>6.9500639337775283E-2</c:v>
                </c:pt>
                <c:pt idx="348">
                  <c:v>-0.27912585784743271</c:v>
                </c:pt>
                <c:pt idx="349">
                  <c:v>-0.38872556922476065</c:v>
                </c:pt>
                <c:pt idx="350">
                  <c:v>-0.53167984718862726</c:v>
                </c:pt>
                <c:pt idx="351">
                  <c:v>-0.64051569389414453</c:v>
                </c:pt>
                <c:pt idx="352">
                  <c:v>-9.0028782151165387E-2</c:v>
                </c:pt>
                <c:pt idx="353">
                  <c:v>0.20710498522998932</c:v>
                </c:pt>
                <c:pt idx="354">
                  <c:v>0.15557461969959263</c:v>
                </c:pt>
                <c:pt idx="355">
                  <c:v>7.9921320002966922E-3</c:v>
                </c:pt>
                <c:pt idx="356">
                  <c:v>-0.28511249678984996</c:v>
                </c:pt>
                <c:pt idx="357">
                  <c:v>6.7595194146349513E-2</c:v>
                </c:pt>
                <c:pt idx="358">
                  <c:v>0.43623818996903196</c:v>
                </c:pt>
                <c:pt idx="359">
                  <c:v>0.40934387829898355</c:v>
                </c:pt>
                <c:pt idx="360">
                  <c:v>3.8728609653020385E-3</c:v>
                </c:pt>
                <c:pt idx="361">
                  <c:v>-0.19552119586394667</c:v>
                </c:pt>
                <c:pt idx="362">
                  <c:v>-0.16973076293042766</c:v>
                </c:pt>
                <c:pt idx="363">
                  <c:v>-0.23360413339273123</c:v>
                </c:pt>
                <c:pt idx="364">
                  <c:v>-0.14413345237755948</c:v>
                </c:pt>
                <c:pt idx="365">
                  <c:v>0.29038711753899804</c:v>
                </c:pt>
                <c:pt idx="366">
                  <c:v>0.71476802002391082</c:v>
                </c:pt>
                <c:pt idx="367">
                  <c:v>1.1617245053399898</c:v>
                </c:pt>
                <c:pt idx="368">
                  <c:v>0.83211550002663159</c:v>
                </c:pt>
                <c:pt idx="369">
                  <c:v>0.1188507050313774</c:v>
                </c:pt>
                <c:pt idx="370">
                  <c:v>0.41558664091111552</c:v>
                </c:pt>
                <c:pt idx="371">
                  <c:v>0.68573863861566053</c:v>
                </c:pt>
                <c:pt idx="372">
                  <c:v>0.81546020739693859</c:v>
                </c:pt>
                <c:pt idx="373">
                  <c:v>0.74161250986033167</c:v>
                </c:pt>
                <c:pt idx="374">
                  <c:v>0.72097650812960978</c:v>
                </c:pt>
                <c:pt idx="375">
                  <c:v>1.120208346246045</c:v>
                </c:pt>
                <c:pt idx="376">
                  <c:v>0.98902056743206401</c:v>
                </c:pt>
                <c:pt idx="377">
                  <c:v>0.62102953899496072</c:v>
                </c:pt>
                <c:pt idx="378">
                  <c:v>0.3615674858593394</c:v>
                </c:pt>
                <c:pt idx="379">
                  <c:v>0.31740005482943445</c:v>
                </c:pt>
                <c:pt idx="380">
                  <c:v>-2.491826744426362E-2</c:v>
                </c:pt>
                <c:pt idx="381">
                  <c:v>4.9547637472642236E-2</c:v>
                </c:pt>
                <c:pt idx="382">
                  <c:v>-0.12038780693544027</c:v>
                </c:pt>
                <c:pt idx="383">
                  <c:v>-0.28194922248127341</c:v>
                </c:pt>
                <c:pt idx="384">
                  <c:v>-0.39761650983518848</c:v>
                </c:pt>
                <c:pt idx="385">
                  <c:v>-0.52847443931139537</c:v>
                </c:pt>
                <c:pt idx="386">
                  <c:v>-0.65834329954553539</c:v>
                </c:pt>
                <c:pt idx="387">
                  <c:v>-0.57150399725183831</c:v>
                </c:pt>
                <c:pt idx="388">
                  <c:v>-0.14228292727084124</c:v>
                </c:pt>
                <c:pt idx="389">
                  <c:v>0.15190083889164896</c:v>
                </c:pt>
                <c:pt idx="390">
                  <c:v>1.0046156315102621</c:v>
                </c:pt>
                <c:pt idx="391">
                  <c:v>1.3353481376995973</c:v>
                </c:pt>
                <c:pt idx="392">
                  <c:v>1.4465807619938857</c:v>
                </c:pt>
                <c:pt idx="393">
                  <c:v>1.7109889381014511</c:v>
                </c:pt>
                <c:pt idx="394">
                  <c:v>2.3062384421335338</c:v>
                </c:pt>
                <c:pt idx="395">
                  <c:v>1.7917273169564822</c:v>
                </c:pt>
                <c:pt idx="396">
                  <c:v>1.6575831949167679</c:v>
                </c:pt>
                <c:pt idx="397">
                  <c:v>1.7568766514924476</c:v>
                </c:pt>
                <c:pt idx="398">
                  <c:v>1.6201076567350867</c:v>
                </c:pt>
                <c:pt idx="399">
                  <c:v>1.0481811423887422</c:v>
                </c:pt>
                <c:pt idx="400">
                  <c:v>0.88329715264164577</c:v>
                </c:pt>
                <c:pt idx="401">
                  <c:v>0.62111662243991361</c:v>
                </c:pt>
                <c:pt idx="402">
                  <c:v>2.8052913147433856E-2</c:v>
                </c:pt>
                <c:pt idx="403">
                  <c:v>-0.32981412077420202</c:v>
                </c:pt>
                <c:pt idx="404">
                  <c:v>-2.5930358203098081E-2</c:v>
                </c:pt>
                <c:pt idx="405">
                  <c:v>0.13183643460550343</c:v>
                </c:pt>
                <c:pt idx="406">
                  <c:v>1.0122362788110166</c:v>
                </c:pt>
                <c:pt idx="407">
                  <c:v>0.76526622803132227</c:v>
                </c:pt>
                <c:pt idx="408">
                  <c:v>0.432839952399803</c:v>
                </c:pt>
                <c:pt idx="409">
                  <c:v>0.52614206221299753</c:v>
                </c:pt>
                <c:pt idx="410">
                  <c:v>0.29913245596593185</c:v>
                </c:pt>
                <c:pt idx="411">
                  <c:v>0.39195421337744563</c:v>
                </c:pt>
                <c:pt idx="412">
                  <c:v>0.39195421337744563</c:v>
                </c:pt>
                <c:pt idx="413">
                  <c:v>0.39195421337744563</c:v>
                </c:pt>
                <c:pt idx="414">
                  <c:v>0.17521157113226593</c:v>
                </c:pt>
                <c:pt idx="415">
                  <c:v>0.29403694820159387</c:v>
                </c:pt>
                <c:pt idx="416">
                  <c:v>-0.54007171304240842</c:v>
                </c:pt>
                <c:pt idx="417">
                  <c:v>-1.1352393648754884</c:v>
                </c:pt>
                <c:pt idx="418">
                  <c:v>-1.6986259424759282</c:v>
                </c:pt>
                <c:pt idx="419">
                  <c:v>-2.2141281376040922</c:v>
                </c:pt>
                <c:pt idx="420">
                  <c:v>-3.0071621441267524</c:v>
                </c:pt>
                <c:pt idx="421">
                  <c:v>-3.2032556174209219</c:v>
                </c:pt>
                <c:pt idx="422">
                  <c:v>-2.2414926836628126</c:v>
                </c:pt>
                <c:pt idx="423">
                  <c:v>-1.8250362462181187</c:v>
                </c:pt>
                <c:pt idx="424">
                  <c:v>-2.0070097942593463</c:v>
                </c:pt>
                <c:pt idx="425">
                  <c:v>-2.3688006055296995</c:v>
                </c:pt>
                <c:pt idx="426">
                  <c:v>-2.1342099444109408</c:v>
                </c:pt>
                <c:pt idx="427">
                  <c:v>-1.5802991051709796</c:v>
                </c:pt>
                <c:pt idx="428">
                  <c:v>-1.2508481343377582</c:v>
                </c:pt>
                <c:pt idx="429">
                  <c:v>-1.8268515366942637</c:v>
                </c:pt>
                <c:pt idx="430">
                  <c:v>-1.8756686518919707</c:v>
                </c:pt>
                <c:pt idx="431">
                  <c:v>-2.2908199511217049</c:v>
                </c:pt>
                <c:pt idx="432">
                  <c:v>-2.2908199511217049</c:v>
                </c:pt>
                <c:pt idx="433">
                  <c:v>-2.2117939701538489</c:v>
                </c:pt>
                <c:pt idx="434">
                  <c:v>-2.459017397459391</c:v>
                </c:pt>
                <c:pt idx="435">
                  <c:v>-1.8124760769586743</c:v>
                </c:pt>
                <c:pt idx="436">
                  <c:v>-1.6417554238877159</c:v>
                </c:pt>
                <c:pt idx="437">
                  <c:v>-1.8063371611524275</c:v>
                </c:pt>
                <c:pt idx="438">
                  <c:v>-1.63203608980767</c:v>
                </c:pt>
                <c:pt idx="439">
                  <c:v>-1.6420642174012983</c:v>
                </c:pt>
                <c:pt idx="440">
                  <c:v>-1.2936440456385441</c:v>
                </c:pt>
                <c:pt idx="441">
                  <c:v>-1.2936440456385441</c:v>
                </c:pt>
                <c:pt idx="442">
                  <c:v>-1.3455387935870817</c:v>
                </c:pt>
                <c:pt idx="443">
                  <c:v>-0.93467841821906461</c:v>
                </c:pt>
                <c:pt idx="444">
                  <c:v>-0.97835131138123188</c:v>
                </c:pt>
                <c:pt idx="445">
                  <c:v>-0.46053570131611821</c:v>
                </c:pt>
                <c:pt idx="446">
                  <c:v>-0.68847021460415192</c:v>
                </c:pt>
                <c:pt idx="447">
                  <c:v>-0.6588195587750505</c:v>
                </c:pt>
                <c:pt idx="448">
                  <c:v>-0.6588195587750505</c:v>
                </c:pt>
                <c:pt idx="449">
                  <c:v>-3.9693529770275404E-2</c:v>
                </c:pt>
                <c:pt idx="450">
                  <c:v>0.25183755945610642</c:v>
                </c:pt>
                <c:pt idx="451">
                  <c:v>0.47920346441924266</c:v>
                </c:pt>
                <c:pt idx="452">
                  <c:v>0.68959123497741359</c:v>
                </c:pt>
                <c:pt idx="453">
                  <c:v>0.61945294326315548</c:v>
                </c:pt>
                <c:pt idx="454">
                  <c:v>0.22366829622238527</c:v>
                </c:pt>
                <c:pt idx="455">
                  <c:v>0.73513299264045884</c:v>
                </c:pt>
                <c:pt idx="456">
                  <c:v>0.29694233437753326</c:v>
                </c:pt>
                <c:pt idx="457">
                  <c:v>0.87662721187287218</c:v>
                </c:pt>
                <c:pt idx="458">
                  <c:v>0.28195851145662232</c:v>
                </c:pt>
                <c:pt idx="459">
                  <c:v>9.4882888671321552E-3</c:v>
                </c:pt>
                <c:pt idx="460">
                  <c:v>0.19796497092261234</c:v>
                </c:pt>
                <c:pt idx="461">
                  <c:v>0.14732489845945906</c:v>
                </c:pt>
                <c:pt idx="462">
                  <c:v>7.1834143873275025E-3</c:v>
                </c:pt>
                <c:pt idx="463">
                  <c:v>0.2105911899538313</c:v>
                </c:pt>
                <c:pt idx="464">
                  <c:v>0.51799300677920712</c:v>
                </c:pt>
                <c:pt idx="465">
                  <c:v>0.41164575899112776</c:v>
                </c:pt>
                <c:pt idx="466">
                  <c:v>-0.20982390369225357</c:v>
                </c:pt>
                <c:pt idx="467">
                  <c:v>-0.12432611736984711</c:v>
                </c:pt>
                <c:pt idx="468">
                  <c:v>-0.42133733700212872</c:v>
                </c:pt>
                <c:pt idx="469">
                  <c:v>-0.42133733700212872</c:v>
                </c:pt>
                <c:pt idx="470">
                  <c:v>-0.91772646109400569</c:v>
                </c:pt>
                <c:pt idx="471">
                  <c:v>-0.74469372089791364</c:v>
                </c:pt>
                <c:pt idx="472">
                  <c:v>-0.19178401860345673</c:v>
                </c:pt>
                <c:pt idx="473">
                  <c:v>4.3409542260093303E-2</c:v>
                </c:pt>
                <c:pt idx="474">
                  <c:v>0.15178331921997312</c:v>
                </c:pt>
                <c:pt idx="475">
                  <c:v>0.12216737843556302</c:v>
                </c:pt>
                <c:pt idx="476">
                  <c:v>3.0536718037581068E-2</c:v>
                </c:pt>
                <c:pt idx="477">
                  <c:v>0.65329705274966443</c:v>
                </c:pt>
                <c:pt idx="478">
                  <c:v>1.3242082802078698</c:v>
                </c:pt>
                <c:pt idx="479">
                  <c:v>2.0642995550030605</c:v>
                </c:pt>
                <c:pt idx="480">
                  <c:v>2.9011109799265427</c:v>
                </c:pt>
                <c:pt idx="481">
                  <c:v>2.6550984534612212</c:v>
                </c:pt>
                <c:pt idx="482">
                  <c:v>2.2277882254726222</c:v>
                </c:pt>
                <c:pt idx="483">
                  <c:v>2.2366826095014716</c:v>
                </c:pt>
                <c:pt idx="484">
                  <c:v>2.5994471237512187</c:v>
                </c:pt>
                <c:pt idx="485">
                  <c:v>2.8773194459717644</c:v>
                </c:pt>
                <c:pt idx="486">
                  <c:v>2.4800440258078424</c:v>
                </c:pt>
                <c:pt idx="487">
                  <c:v>2.852156216373686</c:v>
                </c:pt>
                <c:pt idx="488">
                  <c:v>3.2835159099832936</c:v>
                </c:pt>
                <c:pt idx="489">
                  <c:v>3.0506263923385148</c:v>
                </c:pt>
                <c:pt idx="490">
                  <c:v>3.2916257541363052</c:v>
                </c:pt>
                <c:pt idx="491">
                  <c:v>3.5475097906303432</c:v>
                </c:pt>
                <c:pt idx="492">
                  <c:v>4.0352767416163289</c:v>
                </c:pt>
                <c:pt idx="493">
                  <c:v>4.2561970367926278</c:v>
                </c:pt>
                <c:pt idx="494">
                  <c:v>4.6153477446498243</c:v>
                </c:pt>
                <c:pt idx="495">
                  <c:v>4.1854970616173972</c:v>
                </c:pt>
                <c:pt idx="496">
                  <c:v>4.8150337942219181</c:v>
                </c:pt>
                <c:pt idx="497">
                  <c:v>5.0141873881109547</c:v>
                </c:pt>
                <c:pt idx="498">
                  <c:v>4.2147497769711464</c:v>
                </c:pt>
                <c:pt idx="499">
                  <c:v>4.1806045631865061</c:v>
                </c:pt>
                <c:pt idx="500">
                  <c:v>4.1378907784608856</c:v>
                </c:pt>
                <c:pt idx="501">
                  <c:v>4.6086052008877232</c:v>
                </c:pt>
                <c:pt idx="502">
                  <c:v>4.0483709616734131</c:v>
                </c:pt>
                <c:pt idx="503">
                  <c:v>3.9725016532026132</c:v>
                </c:pt>
                <c:pt idx="504">
                  <c:v>4.0152210972391913</c:v>
                </c:pt>
                <c:pt idx="505">
                  <c:v>4.3952738832620923</c:v>
                </c:pt>
                <c:pt idx="506">
                  <c:v>4.2496668640281428</c:v>
                </c:pt>
                <c:pt idx="507">
                  <c:v>4.1598545755247898</c:v>
                </c:pt>
                <c:pt idx="508">
                  <c:v>4.199686812150901</c:v>
                </c:pt>
                <c:pt idx="509">
                  <c:v>4.3048996251953611</c:v>
                </c:pt>
                <c:pt idx="510">
                  <c:v>4.6016805346053786</c:v>
                </c:pt>
                <c:pt idx="511">
                  <c:v>4.4635786497413363</c:v>
                </c:pt>
                <c:pt idx="512">
                  <c:v>4.977239955267251</c:v>
                </c:pt>
                <c:pt idx="513">
                  <c:v>5.3877610157772153</c:v>
                </c:pt>
                <c:pt idx="514">
                  <c:v>4.9584370950676657</c:v>
                </c:pt>
                <c:pt idx="515">
                  <c:v>5.6105222841746638</c:v>
                </c:pt>
                <c:pt idx="516">
                  <c:v>5.12725496932498</c:v>
                </c:pt>
                <c:pt idx="517">
                  <c:v>5.4483711508957668</c:v>
                </c:pt>
                <c:pt idx="518">
                  <c:v>6.0314525729684902</c:v>
                </c:pt>
                <c:pt idx="519">
                  <c:v>6.3099851629179966</c:v>
                </c:pt>
                <c:pt idx="520">
                  <c:v>6.3198798824930549</c:v>
                </c:pt>
                <c:pt idx="521">
                  <c:v>6.3086144169247547</c:v>
                </c:pt>
                <c:pt idx="522">
                  <c:v>6.8339797979041919</c:v>
                </c:pt>
                <c:pt idx="523">
                  <c:v>6.909760229014978</c:v>
                </c:pt>
                <c:pt idx="524">
                  <c:v>6.1248332937391439</c:v>
                </c:pt>
                <c:pt idx="525">
                  <c:v>5.9048611107313889</c:v>
                </c:pt>
                <c:pt idx="526">
                  <c:v>6.6796218707798687</c:v>
                </c:pt>
                <c:pt idx="527">
                  <c:v>6.8194037275377184</c:v>
                </c:pt>
                <c:pt idx="528">
                  <c:v>6.5076355570132165</c:v>
                </c:pt>
                <c:pt idx="529">
                  <c:v>6.3734099901943324</c:v>
                </c:pt>
                <c:pt idx="530">
                  <c:v>5.8431773786183072</c:v>
                </c:pt>
                <c:pt idx="531">
                  <c:v>6.2799192129815538</c:v>
                </c:pt>
                <c:pt idx="532">
                  <c:v>6.3704741655225945</c:v>
                </c:pt>
                <c:pt idx="533">
                  <c:v>6.9061270109036315</c:v>
                </c:pt>
                <c:pt idx="534">
                  <c:v>7.2071266625892889</c:v>
                </c:pt>
                <c:pt idx="535">
                  <c:v>7.2024783371227841</c:v>
                </c:pt>
                <c:pt idx="536">
                  <c:v>7.7524934770859346</c:v>
                </c:pt>
                <c:pt idx="537">
                  <c:v>7.1267789320566948</c:v>
                </c:pt>
                <c:pt idx="538">
                  <c:v>7.4094283642877201</c:v>
                </c:pt>
                <c:pt idx="539">
                  <c:v>7.8016909264761125</c:v>
                </c:pt>
                <c:pt idx="540">
                  <c:v>7.8977514171175471</c:v>
                </c:pt>
                <c:pt idx="541">
                  <c:v>7.484471892991948</c:v>
                </c:pt>
                <c:pt idx="542">
                  <c:v>7.1229984550788856</c:v>
                </c:pt>
                <c:pt idx="543">
                  <c:v>6.5332103855776893</c:v>
                </c:pt>
                <c:pt idx="544">
                  <c:v>6.4709628019629832</c:v>
                </c:pt>
                <c:pt idx="545">
                  <c:v>5.1949560643398058</c:v>
                </c:pt>
                <c:pt idx="546">
                  <c:v>4.8812769066562822</c:v>
                </c:pt>
                <c:pt idx="547">
                  <c:v>4.6004237278619797</c:v>
                </c:pt>
                <c:pt idx="548">
                  <c:v>4.9458940944852969</c:v>
                </c:pt>
                <c:pt idx="549">
                  <c:v>5.3210231797518901</c:v>
                </c:pt>
                <c:pt idx="550">
                  <c:v>5.411440572815593</c:v>
                </c:pt>
                <c:pt idx="551">
                  <c:v>5.2293247930629576</c:v>
                </c:pt>
                <c:pt idx="552">
                  <c:v>4.8917111502898791</c:v>
                </c:pt>
                <c:pt idx="553">
                  <c:v>4.8352788628581607</c:v>
                </c:pt>
                <c:pt idx="554">
                  <c:v>5.0529259927033934</c:v>
                </c:pt>
                <c:pt idx="555">
                  <c:v>5.1870009410784377</c:v>
                </c:pt>
                <c:pt idx="556">
                  <c:v>4.8843639672898718</c:v>
                </c:pt>
                <c:pt idx="557">
                  <c:v>4.6108322897661367</c:v>
                </c:pt>
                <c:pt idx="558">
                  <c:v>4.8138039616979142</c:v>
                </c:pt>
                <c:pt idx="559">
                  <c:v>4.8320018543903132</c:v>
                </c:pt>
                <c:pt idx="560">
                  <c:v>4.6660984630412656</c:v>
                </c:pt>
                <c:pt idx="561">
                  <c:v>4.7256294809009916</c:v>
                </c:pt>
                <c:pt idx="562">
                  <c:v>4.6511771980500924</c:v>
                </c:pt>
                <c:pt idx="563">
                  <c:v>4.3476085771951603</c:v>
                </c:pt>
                <c:pt idx="564">
                  <c:v>3.7593688234150164</c:v>
                </c:pt>
                <c:pt idx="565">
                  <c:v>3.1379306653880406</c:v>
                </c:pt>
                <c:pt idx="566">
                  <c:v>3.1299772109506847</c:v>
                </c:pt>
                <c:pt idx="567">
                  <c:v>3.3226337264456731</c:v>
                </c:pt>
                <c:pt idx="568">
                  <c:v>2.8660552834531217</c:v>
                </c:pt>
                <c:pt idx="569">
                  <c:v>2.8154011277302402</c:v>
                </c:pt>
                <c:pt idx="570">
                  <c:v>2.8388566572624541</c:v>
                </c:pt>
                <c:pt idx="571">
                  <c:v>2.6855845647309451</c:v>
                </c:pt>
                <c:pt idx="572">
                  <c:v>3.4818900501753802</c:v>
                </c:pt>
                <c:pt idx="573">
                  <c:v>3.2089937100529369</c:v>
                </c:pt>
                <c:pt idx="574">
                  <c:v>2.8342257681280074</c:v>
                </c:pt>
                <c:pt idx="575">
                  <c:v>2.7803481041662366</c:v>
                </c:pt>
                <c:pt idx="576">
                  <c:v>2.6250110513199729</c:v>
                </c:pt>
                <c:pt idx="577">
                  <c:v>2.3339790684651689</c:v>
                </c:pt>
                <c:pt idx="578">
                  <c:v>2.6770166518219156</c:v>
                </c:pt>
                <c:pt idx="579">
                  <c:v>2.9038994260594251</c:v>
                </c:pt>
                <c:pt idx="580">
                  <c:v>3.1203153750617076</c:v>
                </c:pt>
                <c:pt idx="581">
                  <c:v>2.6781753561683672</c:v>
                </c:pt>
                <c:pt idx="582">
                  <c:v>3.022464900224989</c:v>
                </c:pt>
                <c:pt idx="583">
                  <c:v>3.600451678751611</c:v>
                </c:pt>
                <c:pt idx="584">
                  <c:v>3.5684104449474461</c:v>
                </c:pt>
                <c:pt idx="585">
                  <c:v>3.6313070262555129</c:v>
                </c:pt>
                <c:pt idx="586">
                  <c:v>3.3143217257276945</c:v>
                </c:pt>
                <c:pt idx="587">
                  <c:v>3.7109916575877691</c:v>
                </c:pt>
                <c:pt idx="588">
                  <c:v>3.8702327704761075</c:v>
                </c:pt>
                <c:pt idx="589">
                  <c:v>3.8283830088869024</c:v>
                </c:pt>
                <c:pt idx="590">
                  <c:v>3.2144316688098087</c:v>
                </c:pt>
                <c:pt idx="591">
                  <c:v>3.3668308641159257</c:v>
                </c:pt>
                <c:pt idx="592">
                  <c:v>4.0945091470801032</c:v>
                </c:pt>
                <c:pt idx="593">
                  <c:v>3.7594691674431715</c:v>
                </c:pt>
                <c:pt idx="594">
                  <c:v>3.6560522732780925</c:v>
                </c:pt>
                <c:pt idx="595">
                  <c:v>3.5333377321054371</c:v>
                </c:pt>
                <c:pt idx="596">
                  <c:v>3.6164398303476588</c:v>
                </c:pt>
                <c:pt idx="597">
                  <c:v>3.8871832392322574</c:v>
                </c:pt>
                <c:pt idx="598">
                  <c:v>4.0371689660685774</c:v>
                </c:pt>
                <c:pt idx="599">
                  <c:v>4.042086613597192</c:v>
                </c:pt>
                <c:pt idx="600">
                  <c:v>3.8714031490513037</c:v>
                </c:pt>
                <c:pt idx="601">
                  <c:v>3.8714031490513037</c:v>
                </c:pt>
                <c:pt idx="602">
                  <c:v>3.8714031490513037</c:v>
                </c:pt>
                <c:pt idx="603">
                  <c:v>4.1783433530386276</c:v>
                </c:pt>
                <c:pt idx="604">
                  <c:v>3.9499950217603157</c:v>
                </c:pt>
                <c:pt idx="605">
                  <c:v>4.4779606200438593</c:v>
                </c:pt>
                <c:pt idx="606">
                  <c:v>4.4562632015299641</c:v>
                </c:pt>
                <c:pt idx="607">
                  <c:v>4.4562632015299641</c:v>
                </c:pt>
                <c:pt idx="608">
                  <c:v>4.8491872319694664</c:v>
                </c:pt>
                <c:pt idx="609">
                  <c:v>4.9017522447184234</c:v>
                </c:pt>
                <c:pt idx="610">
                  <c:v>5.2789171118683527</c:v>
                </c:pt>
                <c:pt idx="611">
                  <c:v>5.7376255348599869</c:v>
                </c:pt>
                <c:pt idx="612">
                  <c:v>5.3643016462068687</c:v>
                </c:pt>
                <c:pt idx="613">
                  <c:v>5.7452952850262449</c:v>
                </c:pt>
                <c:pt idx="614">
                  <c:v>5.6952269066044039</c:v>
                </c:pt>
                <c:pt idx="615">
                  <c:v>5.5736545895359626</c:v>
                </c:pt>
                <c:pt idx="616">
                  <c:v>5.4121880120683841</c:v>
                </c:pt>
                <c:pt idx="617">
                  <c:v>6.3272934710831947</c:v>
                </c:pt>
                <c:pt idx="618">
                  <c:v>5.8708029320240485</c:v>
                </c:pt>
                <c:pt idx="619">
                  <c:v>5.5710396839481717</c:v>
                </c:pt>
                <c:pt idx="620">
                  <c:v>6.2763592406145818</c:v>
                </c:pt>
                <c:pt idx="621">
                  <c:v>5.9022653356093855</c:v>
                </c:pt>
                <c:pt idx="622">
                  <c:v>5.5472930849412734</c:v>
                </c:pt>
                <c:pt idx="623">
                  <c:v>5.9830097834329194</c:v>
                </c:pt>
                <c:pt idx="624">
                  <c:v>6.5248955607226407</c:v>
                </c:pt>
                <c:pt idx="625">
                  <c:v>6.7059046721869464</c:v>
                </c:pt>
                <c:pt idx="626">
                  <c:v>7.1256152911673212</c:v>
                </c:pt>
                <c:pt idx="627">
                  <c:v>7.1157636201632641</c:v>
                </c:pt>
                <c:pt idx="628">
                  <c:v>7.4384035123328545</c:v>
                </c:pt>
                <c:pt idx="629">
                  <c:v>7.9528176284272689</c:v>
                </c:pt>
                <c:pt idx="630">
                  <c:v>7.7916847058932888</c:v>
                </c:pt>
                <c:pt idx="631">
                  <c:v>7.4129712612798073</c:v>
                </c:pt>
                <c:pt idx="632">
                  <c:v>7.7454997143757254</c:v>
                </c:pt>
                <c:pt idx="633">
                  <c:v>7.9580144188998645</c:v>
                </c:pt>
                <c:pt idx="634">
                  <c:v>7.8809724995620485</c:v>
                </c:pt>
                <c:pt idx="635">
                  <c:v>7.683660940267373</c:v>
                </c:pt>
                <c:pt idx="636">
                  <c:v>8.5740990136191613</c:v>
                </c:pt>
                <c:pt idx="637">
                  <c:v>8.3093103586223549</c:v>
                </c:pt>
                <c:pt idx="638">
                  <c:v>8.1508253554761581</c:v>
                </c:pt>
                <c:pt idx="639">
                  <c:v>7.5527846020036407</c:v>
                </c:pt>
                <c:pt idx="640">
                  <c:v>6.95370765685621</c:v>
                </c:pt>
                <c:pt idx="641">
                  <c:v>7.2409021561198301</c:v>
                </c:pt>
                <c:pt idx="642">
                  <c:v>7.8386830232715141</c:v>
                </c:pt>
                <c:pt idx="643">
                  <c:v>7.3352759380112502</c:v>
                </c:pt>
                <c:pt idx="644">
                  <c:v>7.5590058594175389</c:v>
                </c:pt>
                <c:pt idx="645">
                  <c:v>7.4662014677901425</c:v>
                </c:pt>
                <c:pt idx="646">
                  <c:v>7.6516358290573692</c:v>
                </c:pt>
                <c:pt idx="647">
                  <c:v>7.4050694935047545</c:v>
                </c:pt>
                <c:pt idx="648">
                  <c:v>7.6377983795220104</c:v>
                </c:pt>
                <c:pt idx="649">
                  <c:v>7.0781003168086443</c:v>
                </c:pt>
                <c:pt idx="650">
                  <c:v>6.4271326185570814</c:v>
                </c:pt>
                <c:pt idx="651">
                  <c:v>6.0527128970557698</c:v>
                </c:pt>
                <c:pt idx="652">
                  <c:v>4.8866797330779548</c:v>
                </c:pt>
                <c:pt idx="653">
                  <c:v>4.8177781550800489</c:v>
                </c:pt>
                <c:pt idx="654">
                  <c:v>5.2605539199445701</c:v>
                </c:pt>
                <c:pt idx="655">
                  <c:v>5.3242480438556044</c:v>
                </c:pt>
                <c:pt idx="656">
                  <c:v>5.3548747236026344</c:v>
                </c:pt>
                <c:pt idx="657">
                  <c:v>4.7778884140346065</c:v>
                </c:pt>
                <c:pt idx="658">
                  <c:v>4.6150469057034655</c:v>
                </c:pt>
                <c:pt idx="659">
                  <c:v>5.009968817033311</c:v>
                </c:pt>
                <c:pt idx="660">
                  <c:v>5.0132314269155529</c:v>
                </c:pt>
                <c:pt idx="661">
                  <c:v>4.2815293542961399</c:v>
                </c:pt>
                <c:pt idx="662">
                  <c:v>3.9321818779037301</c:v>
                </c:pt>
                <c:pt idx="663">
                  <c:v>3.7550409692617421</c:v>
                </c:pt>
                <c:pt idx="664">
                  <c:v>3.472400036243144</c:v>
                </c:pt>
                <c:pt idx="665">
                  <c:v>3.9664971147987558</c:v>
                </c:pt>
                <c:pt idx="666">
                  <c:v>4.3307504009560489</c:v>
                </c:pt>
                <c:pt idx="667">
                  <c:v>4.3307504009560489</c:v>
                </c:pt>
                <c:pt idx="668">
                  <c:v>4.3307504009560489</c:v>
                </c:pt>
                <c:pt idx="669">
                  <c:v>3.889921173230988</c:v>
                </c:pt>
                <c:pt idx="670">
                  <c:v>3.3510752893508169</c:v>
                </c:pt>
                <c:pt idx="671">
                  <c:v>3.4737066955501348</c:v>
                </c:pt>
                <c:pt idx="672">
                  <c:v>3.8100920428145031</c:v>
                </c:pt>
                <c:pt idx="673">
                  <c:v>3.8438070092466319</c:v>
                </c:pt>
                <c:pt idx="674">
                  <c:v>4.6207276602967511</c:v>
                </c:pt>
                <c:pt idx="675">
                  <c:v>4.3295013360311572</c:v>
                </c:pt>
                <c:pt idx="676">
                  <c:v>4.4635484488932065</c:v>
                </c:pt>
                <c:pt idx="677">
                  <c:v>4.058123918004398</c:v>
                </c:pt>
                <c:pt idx="678">
                  <c:v>3.7610367988643105</c:v>
                </c:pt>
                <c:pt idx="679">
                  <c:v>3.2591845710878005</c:v>
                </c:pt>
                <c:pt idx="680">
                  <c:v>2.2412120441785675</c:v>
                </c:pt>
                <c:pt idx="681">
                  <c:v>2.0697829536078842</c:v>
                </c:pt>
                <c:pt idx="682">
                  <c:v>2.1967502485694297</c:v>
                </c:pt>
                <c:pt idx="683">
                  <c:v>2.2493033016972817</c:v>
                </c:pt>
                <c:pt idx="684">
                  <c:v>2.1106511773415093</c:v>
                </c:pt>
                <c:pt idx="685">
                  <c:v>2.1094836229258647</c:v>
                </c:pt>
                <c:pt idx="686">
                  <c:v>2.1535660070819347</c:v>
                </c:pt>
                <c:pt idx="687">
                  <c:v>2.6238788273064984</c:v>
                </c:pt>
                <c:pt idx="688">
                  <c:v>2.9791656393049664</c:v>
                </c:pt>
                <c:pt idx="689">
                  <c:v>2.5534162102159286</c:v>
                </c:pt>
                <c:pt idx="690">
                  <c:v>2.6067118762628922</c:v>
                </c:pt>
                <c:pt idx="691">
                  <c:v>2.583773755127865</c:v>
                </c:pt>
                <c:pt idx="692">
                  <c:v>2.7817085428964532</c:v>
                </c:pt>
                <c:pt idx="693">
                  <c:v>2.9387635854598813</c:v>
                </c:pt>
                <c:pt idx="694">
                  <c:v>4.1246253056376787</c:v>
                </c:pt>
                <c:pt idx="695">
                  <c:v>4.2729233176325607</c:v>
                </c:pt>
                <c:pt idx="696">
                  <c:v>4.2729233176325607</c:v>
                </c:pt>
                <c:pt idx="697">
                  <c:v>4.7193122793819668</c:v>
                </c:pt>
                <c:pt idx="698">
                  <c:v>4.860481168235836</c:v>
                </c:pt>
                <c:pt idx="699">
                  <c:v>4.4418658296566633</c:v>
                </c:pt>
                <c:pt idx="700">
                  <c:v>4.4970223168511723</c:v>
                </c:pt>
                <c:pt idx="701">
                  <c:v>4.9295550906493162</c:v>
                </c:pt>
                <c:pt idx="702">
                  <c:v>5.7215501353675648</c:v>
                </c:pt>
                <c:pt idx="703">
                  <c:v>5.7215501353675648</c:v>
                </c:pt>
                <c:pt idx="704">
                  <c:v>5.5776192478525246</c:v>
                </c:pt>
                <c:pt idx="705">
                  <c:v>5.9410794180227668</c:v>
                </c:pt>
                <c:pt idx="706">
                  <c:v>6.2566230788939521</c:v>
                </c:pt>
                <c:pt idx="707">
                  <c:v>5.5816693656078087</c:v>
                </c:pt>
                <c:pt idx="708">
                  <c:v>5.5791073268924123</c:v>
                </c:pt>
                <c:pt idx="709">
                  <c:v>5.3532569877939551</c:v>
                </c:pt>
                <c:pt idx="710">
                  <c:v>4.8938390653517558</c:v>
                </c:pt>
                <c:pt idx="711">
                  <c:v>4.6383402772133024</c:v>
                </c:pt>
                <c:pt idx="712">
                  <c:v>5.0851499958520776</c:v>
                </c:pt>
                <c:pt idx="713">
                  <c:v>5.1713358602943771</c:v>
                </c:pt>
                <c:pt idx="714">
                  <c:v>5.167891274698647</c:v>
                </c:pt>
                <c:pt idx="715">
                  <c:v>5.266677824552076</c:v>
                </c:pt>
                <c:pt idx="716">
                  <c:v>5.0364642803969559</c:v>
                </c:pt>
                <c:pt idx="717">
                  <c:v>4.8717562896817412</c:v>
                </c:pt>
                <c:pt idx="718">
                  <c:v>4.7702806928909354</c:v>
                </c:pt>
                <c:pt idx="719">
                  <c:v>4.8741325387115921</c:v>
                </c:pt>
                <c:pt idx="720">
                  <c:v>4.4524960339812054</c:v>
                </c:pt>
                <c:pt idx="721">
                  <c:v>4.5965354892509538</c:v>
                </c:pt>
                <c:pt idx="722">
                  <c:v>5.3900583828150843</c:v>
                </c:pt>
                <c:pt idx="723">
                  <c:v>5.3615683803844405</c:v>
                </c:pt>
                <c:pt idx="724">
                  <c:v>5.7986402051954968</c:v>
                </c:pt>
                <c:pt idx="725">
                  <c:v>5.497577056204662</c:v>
                </c:pt>
                <c:pt idx="726">
                  <c:v>5.8174541958434958</c:v>
                </c:pt>
                <c:pt idx="727">
                  <c:v>5.6019197482647201</c:v>
                </c:pt>
                <c:pt idx="728">
                  <c:v>5.0664134637079741</c:v>
                </c:pt>
                <c:pt idx="729">
                  <c:v>4.8947400260561267</c:v>
                </c:pt>
                <c:pt idx="730">
                  <c:v>4.680586160331444</c:v>
                </c:pt>
                <c:pt idx="731">
                  <c:v>4.680586160331444</c:v>
                </c:pt>
                <c:pt idx="732">
                  <c:v>5.5839797066494157</c:v>
                </c:pt>
                <c:pt idx="733">
                  <c:v>6.2719878609350133</c:v>
                </c:pt>
                <c:pt idx="734">
                  <c:v>5.8711215324617996</c:v>
                </c:pt>
                <c:pt idx="735">
                  <c:v>5.5545974579378168</c:v>
                </c:pt>
                <c:pt idx="736">
                  <c:v>5.4763235154337764</c:v>
                </c:pt>
                <c:pt idx="737">
                  <c:v>5.6006998917668938</c:v>
                </c:pt>
                <c:pt idx="738">
                  <c:v>5.5748855871468379</c:v>
                </c:pt>
                <c:pt idx="739">
                  <c:v>6.0338760935862439</c:v>
                </c:pt>
                <c:pt idx="740">
                  <c:v>6.2562253157461214</c:v>
                </c:pt>
                <c:pt idx="741">
                  <c:v>6.1110127202988878</c:v>
                </c:pt>
                <c:pt idx="742">
                  <c:v>6.2329743359763796</c:v>
                </c:pt>
                <c:pt idx="743">
                  <c:v>6.1148685575671351</c:v>
                </c:pt>
                <c:pt idx="744">
                  <c:v>5.7079106378960915</c:v>
                </c:pt>
                <c:pt idx="745">
                  <c:v>5.8089117353797661</c:v>
                </c:pt>
                <c:pt idx="746">
                  <c:v>5.4776831284841876</c:v>
                </c:pt>
                <c:pt idx="747">
                  <c:v>5.7406930625554224</c:v>
                </c:pt>
                <c:pt idx="748">
                  <c:v>5.4947781700850271</c:v>
                </c:pt>
                <c:pt idx="749">
                  <c:v>5.876797412047253</c:v>
                </c:pt>
                <c:pt idx="750">
                  <c:v>5.7373393719556276</c:v>
                </c:pt>
                <c:pt idx="751">
                  <c:v>5.7987969718405736</c:v>
                </c:pt>
                <c:pt idx="752">
                  <c:v>5.9368373133474535</c:v>
                </c:pt>
                <c:pt idx="753">
                  <c:v>5.6320227862982932</c:v>
                </c:pt>
                <c:pt idx="754">
                  <c:v>5.6898549133236145</c:v>
                </c:pt>
                <c:pt idx="755">
                  <c:v>5.6643349309821645</c:v>
                </c:pt>
                <c:pt idx="756">
                  <c:v>5.7936645061596863</c:v>
                </c:pt>
                <c:pt idx="757">
                  <c:v>5.9281308452908092</c:v>
                </c:pt>
                <c:pt idx="758">
                  <c:v>5.7914795519319568</c:v>
                </c:pt>
                <c:pt idx="759">
                  <c:v>6.0387287059623702</c:v>
                </c:pt>
                <c:pt idx="760">
                  <c:v>6.1836216823149357</c:v>
                </c:pt>
                <c:pt idx="761">
                  <c:v>5.8431280681009667</c:v>
                </c:pt>
                <c:pt idx="762">
                  <c:v>5.7716660161739384</c:v>
                </c:pt>
                <c:pt idx="763">
                  <c:v>5.2678891765890654</c:v>
                </c:pt>
                <c:pt idx="764">
                  <c:v>4.9388631411329413</c:v>
                </c:pt>
                <c:pt idx="765">
                  <c:v>5.19748892052408</c:v>
                </c:pt>
                <c:pt idx="766">
                  <c:v>4.9004959231378251</c:v>
                </c:pt>
                <c:pt idx="767">
                  <c:v>4.317886713435044</c:v>
                </c:pt>
                <c:pt idx="768">
                  <c:v>4.317886713435044</c:v>
                </c:pt>
                <c:pt idx="769">
                  <c:v>3.9446344379551306</c:v>
                </c:pt>
                <c:pt idx="770">
                  <c:v>3.9455897965563196</c:v>
                </c:pt>
                <c:pt idx="771">
                  <c:v>3.3426247197596268</c:v>
                </c:pt>
                <c:pt idx="772">
                  <c:v>3.2091332505623313</c:v>
                </c:pt>
                <c:pt idx="773">
                  <c:v>3.1197622163969925</c:v>
                </c:pt>
                <c:pt idx="774">
                  <c:v>3.0856206533679256</c:v>
                </c:pt>
                <c:pt idx="775">
                  <c:v>3.6334338903610757</c:v>
                </c:pt>
                <c:pt idx="776">
                  <c:v>4.0707417983815759</c:v>
                </c:pt>
                <c:pt idx="777">
                  <c:v>3.9646314884494984</c:v>
                </c:pt>
                <c:pt idx="778">
                  <c:v>3.9623463723072092</c:v>
                </c:pt>
                <c:pt idx="779">
                  <c:v>4.063755580581855</c:v>
                </c:pt>
                <c:pt idx="780">
                  <c:v>3.9397998873973421</c:v>
                </c:pt>
                <c:pt idx="781">
                  <c:v>3.6899955194204352</c:v>
                </c:pt>
                <c:pt idx="782">
                  <c:v>3.1950597058147991</c:v>
                </c:pt>
                <c:pt idx="783">
                  <c:v>3.085189317437468</c:v>
                </c:pt>
                <c:pt idx="784">
                  <c:v>2.5599541804391066</c:v>
                </c:pt>
                <c:pt idx="785">
                  <c:v>2.471017422248849</c:v>
                </c:pt>
                <c:pt idx="786">
                  <c:v>2.4401391807145529</c:v>
                </c:pt>
                <c:pt idx="787">
                  <c:v>2.7691298521594518</c:v>
                </c:pt>
                <c:pt idx="788">
                  <c:v>2.8677775424267935</c:v>
                </c:pt>
                <c:pt idx="789">
                  <c:v>3.0994615751519774</c:v>
                </c:pt>
                <c:pt idx="790">
                  <c:v>2.9272480543729387</c:v>
                </c:pt>
                <c:pt idx="791">
                  <c:v>2.9462876347461986</c:v>
                </c:pt>
                <c:pt idx="792">
                  <c:v>2.9574666176649202</c:v>
                </c:pt>
                <c:pt idx="793">
                  <c:v>2.724563358156189</c:v>
                </c:pt>
                <c:pt idx="794">
                  <c:v>2.5843945797481922</c:v>
                </c:pt>
                <c:pt idx="795">
                  <c:v>2.5603228447492512</c:v>
                </c:pt>
                <c:pt idx="796">
                  <c:v>2.1322915181334707</c:v>
                </c:pt>
                <c:pt idx="797">
                  <c:v>2.2673162461356782</c:v>
                </c:pt>
                <c:pt idx="798">
                  <c:v>2.5900917580189429</c:v>
                </c:pt>
                <c:pt idx="799">
                  <c:v>2.8076604995613934</c:v>
                </c:pt>
                <c:pt idx="800">
                  <c:v>2.4098463868173923</c:v>
                </c:pt>
                <c:pt idx="801">
                  <c:v>2.6807339013045919</c:v>
                </c:pt>
                <c:pt idx="802">
                  <c:v>2.6703876238421884</c:v>
                </c:pt>
                <c:pt idx="803">
                  <c:v>2.3841609101393573</c:v>
                </c:pt>
                <c:pt idx="804">
                  <c:v>1.7766489534913035</c:v>
                </c:pt>
                <c:pt idx="805">
                  <c:v>1.1282319074373675</c:v>
                </c:pt>
                <c:pt idx="806">
                  <c:v>0.69963503874390653</c:v>
                </c:pt>
                <c:pt idx="807">
                  <c:v>0.47975083152313402</c:v>
                </c:pt>
                <c:pt idx="808">
                  <c:v>0.19594685649784083</c:v>
                </c:pt>
                <c:pt idx="809">
                  <c:v>0.74135120152735112</c:v>
                </c:pt>
                <c:pt idx="810">
                  <c:v>0.73019925168540567</c:v>
                </c:pt>
                <c:pt idx="811">
                  <c:v>1.2908044693762548</c:v>
                </c:pt>
                <c:pt idx="812">
                  <c:v>0.97617430818765172</c:v>
                </c:pt>
                <c:pt idx="813">
                  <c:v>0.87987156244000175</c:v>
                </c:pt>
                <c:pt idx="814">
                  <c:v>0.79031706680693503</c:v>
                </c:pt>
                <c:pt idx="815">
                  <c:v>0.9269145192382382</c:v>
                </c:pt>
                <c:pt idx="816">
                  <c:v>0.77004570397714645</c:v>
                </c:pt>
                <c:pt idx="817">
                  <c:v>0.64314275801794452</c:v>
                </c:pt>
                <c:pt idx="818">
                  <c:v>0.26445420188362334</c:v>
                </c:pt>
                <c:pt idx="819">
                  <c:v>0.18694867864398645</c:v>
                </c:pt>
                <c:pt idx="820">
                  <c:v>0.39876701626653244</c:v>
                </c:pt>
                <c:pt idx="821">
                  <c:v>0.52877797768854862</c:v>
                </c:pt>
                <c:pt idx="822">
                  <c:v>0.37996147548948045</c:v>
                </c:pt>
                <c:pt idx="823">
                  <c:v>0.26205792936741545</c:v>
                </c:pt>
                <c:pt idx="824">
                  <c:v>0.26205792936741545</c:v>
                </c:pt>
                <c:pt idx="825">
                  <c:v>0.93231689294164255</c:v>
                </c:pt>
                <c:pt idx="826">
                  <c:v>1.1294500296132384</c:v>
                </c:pt>
                <c:pt idx="827">
                  <c:v>1.5324022915851145</c:v>
                </c:pt>
                <c:pt idx="828">
                  <c:v>0.20818691621214214</c:v>
                </c:pt>
                <c:pt idx="829">
                  <c:v>8.6797737934006136E-2</c:v>
                </c:pt>
                <c:pt idx="830">
                  <c:v>1.0110037327169152</c:v>
                </c:pt>
                <c:pt idx="831">
                  <c:v>1.7869677748437738</c:v>
                </c:pt>
                <c:pt idx="832">
                  <c:v>2.2601996927197661</c:v>
                </c:pt>
                <c:pt idx="833">
                  <c:v>1.758885590051932</c:v>
                </c:pt>
                <c:pt idx="834">
                  <c:v>1.5362517578538899</c:v>
                </c:pt>
                <c:pt idx="835">
                  <c:v>1.4556662216742069</c:v>
                </c:pt>
                <c:pt idx="836">
                  <c:v>1.4347454827615849</c:v>
                </c:pt>
                <c:pt idx="837">
                  <c:v>1.5387130131974658</c:v>
                </c:pt>
                <c:pt idx="838">
                  <c:v>0.97561668184171424</c:v>
                </c:pt>
                <c:pt idx="839">
                  <c:v>0.45481934388560319</c:v>
                </c:pt>
                <c:pt idx="840">
                  <c:v>0.85799653508767904</c:v>
                </c:pt>
                <c:pt idx="841">
                  <c:v>0.83783636703996933</c:v>
                </c:pt>
                <c:pt idx="842">
                  <c:v>0.83307470776961168</c:v>
                </c:pt>
                <c:pt idx="843">
                  <c:v>0.50692443877289861</c:v>
                </c:pt>
                <c:pt idx="844">
                  <c:v>0.63451191645935978</c:v>
                </c:pt>
                <c:pt idx="845">
                  <c:v>0.59989123032353575</c:v>
                </c:pt>
                <c:pt idx="846">
                  <c:v>1.2409466457093146</c:v>
                </c:pt>
                <c:pt idx="847">
                  <c:v>1.6613214227858748</c:v>
                </c:pt>
                <c:pt idx="848">
                  <c:v>1.4232813199333236</c:v>
                </c:pt>
                <c:pt idx="849">
                  <c:v>1.1764431646519995</c:v>
                </c:pt>
                <c:pt idx="850">
                  <c:v>0.57846429430196622</c:v>
                </c:pt>
                <c:pt idx="851">
                  <c:v>0.41803378165160154</c:v>
                </c:pt>
                <c:pt idx="852">
                  <c:v>0.11677447614927416</c:v>
                </c:pt>
                <c:pt idx="853">
                  <c:v>0.23080071455432005</c:v>
                </c:pt>
                <c:pt idx="854">
                  <c:v>0.10163937120003652</c:v>
                </c:pt>
                <c:pt idx="855">
                  <c:v>0.38723294731779845</c:v>
                </c:pt>
                <c:pt idx="856">
                  <c:v>0.90293488105308484</c:v>
                </c:pt>
                <c:pt idx="857">
                  <c:v>0.78546027222884618</c:v>
                </c:pt>
                <c:pt idx="858">
                  <c:v>0.84994744610955308</c:v>
                </c:pt>
                <c:pt idx="859">
                  <c:v>0.49966958623070923</c:v>
                </c:pt>
                <c:pt idx="860">
                  <c:v>0.11720622188937568</c:v>
                </c:pt>
                <c:pt idx="861">
                  <c:v>0.47979945569150573</c:v>
                </c:pt>
                <c:pt idx="862">
                  <c:v>0.35054275466977458</c:v>
                </c:pt>
                <c:pt idx="863">
                  <c:v>0.35054275466977458</c:v>
                </c:pt>
                <c:pt idx="864">
                  <c:v>0.3847875818298121</c:v>
                </c:pt>
                <c:pt idx="865">
                  <c:v>-0.10121421886985615</c:v>
                </c:pt>
                <c:pt idx="866">
                  <c:v>-0.41544252115917857</c:v>
                </c:pt>
                <c:pt idx="867">
                  <c:v>-0.4293911542545743</c:v>
                </c:pt>
                <c:pt idx="868">
                  <c:v>-0.35597689136075417</c:v>
                </c:pt>
                <c:pt idx="869">
                  <c:v>-0.84521924372837987</c:v>
                </c:pt>
                <c:pt idx="870">
                  <c:v>-0.40076798809086256</c:v>
                </c:pt>
                <c:pt idx="871">
                  <c:v>-0.12960413950375482</c:v>
                </c:pt>
                <c:pt idx="872">
                  <c:v>-0.29800654537487503</c:v>
                </c:pt>
                <c:pt idx="873">
                  <c:v>-0.44481893719365928</c:v>
                </c:pt>
                <c:pt idx="874">
                  <c:v>-0.65704802583718447</c:v>
                </c:pt>
                <c:pt idx="875">
                  <c:v>-0.82263334359318208</c:v>
                </c:pt>
                <c:pt idx="876">
                  <c:v>-1.5188303771183342</c:v>
                </c:pt>
                <c:pt idx="877">
                  <c:v>-1.1892980196738421</c:v>
                </c:pt>
                <c:pt idx="878">
                  <c:v>-1.1780799159244566</c:v>
                </c:pt>
                <c:pt idx="879">
                  <c:v>-1.2934506310002973</c:v>
                </c:pt>
                <c:pt idx="880">
                  <c:v>-1.3985597453376215</c:v>
                </c:pt>
                <c:pt idx="881">
                  <c:v>-1.4774205195358832</c:v>
                </c:pt>
                <c:pt idx="882">
                  <c:v>-1.4829790329016248</c:v>
                </c:pt>
                <c:pt idx="883">
                  <c:v>-1.8116032733633602</c:v>
                </c:pt>
                <c:pt idx="884">
                  <c:v>-2.1699764646711088</c:v>
                </c:pt>
                <c:pt idx="885">
                  <c:v>-2.46430854408176</c:v>
                </c:pt>
                <c:pt idx="886">
                  <c:v>-2.4742578842590603</c:v>
                </c:pt>
                <c:pt idx="887">
                  <c:v>-2.4647670976486324</c:v>
                </c:pt>
                <c:pt idx="888">
                  <c:v>-2.4469536077693874</c:v>
                </c:pt>
                <c:pt idx="889">
                  <c:v>-2.5699142391482326</c:v>
                </c:pt>
                <c:pt idx="890">
                  <c:v>-3.1960723867702114</c:v>
                </c:pt>
                <c:pt idx="891">
                  <c:v>-3.3826864483456376</c:v>
                </c:pt>
                <c:pt idx="892">
                  <c:v>-3.2707809043101861</c:v>
                </c:pt>
                <c:pt idx="893">
                  <c:v>-2.6409248235576257</c:v>
                </c:pt>
                <c:pt idx="894">
                  <c:v>-2.3169478648034811</c:v>
                </c:pt>
                <c:pt idx="895">
                  <c:v>-2.631579487872898</c:v>
                </c:pt>
                <c:pt idx="896">
                  <c:v>-2.8156035751812993</c:v>
                </c:pt>
                <c:pt idx="897">
                  <c:v>-3.0143563698299687</c:v>
                </c:pt>
                <c:pt idx="898">
                  <c:v>-3.3294944266804407</c:v>
                </c:pt>
                <c:pt idx="899">
                  <c:v>-3.1009262279926304</c:v>
                </c:pt>
                <c:pt idx="900">
                  <c:v>-3.8461208955241375</c:v>
                </c:pt>
                <c:pt idx="901">
                  <c:v>-3.8890123263510787</c:v>
                </c:pt>
                <c:pt idx="902">
                  <c:v>-3.5114701533572941</c:v>
                </c:pt>
                <c:pt idx="903">
                  <c:v>-4.0932176126202791</c:v>
                </c:pt>
                <c:pt idx="904">
                  <c:v>-3.9482433119027149</c:v>
                </c:pt>
                <c:pt idx="905">
                  <c:v>-4.0157439662454237</c:v>
                </c:pt>
                <c:pt idx="906">
                  <c:v>-4.5768862408757514</c:v>
                </c:pt>
                <c:pt idx="907">
                  <c:v>-3.5662784323023544</c:v>
                </c:pt>
                <c:pt idx="908">
                  <c:v>-3.5113536599864119</c:v>
                </c:pt>
                <c:pt idx="909">
                  <c:v>-3.1371951043385593</c:v>
                </c:pt>
                <c:pt idx="910">
                  <c:v>-3.313116706463191</c:v>
                </c:pt>
                <c:pt idx="911">
                  <c:v>-3.3382445425964846</c:v>
                </c:pt>
                <c:pt idx="912">
                  <c:v>-3.6402395533552578</c:v>
                </c:pt>
                <c:pt idx="913">
                  <c:v>-3.8024734866164351</c:v>
                </c:pt>
                <c:pt idx="914">
                  <c:v>-3.7794342750535606</c:v>
                </c:pt>
                <c:pt idx="915">
                  <c:v>-3.1624190367349172</c:v>
                </c:pt>
                <c:pt idx="916">
                  <c:v>-2.8077105012058752</c:v>
                </c:pt>
                <c:pt idx="917">
                  <c:v>-3.3093559317843955</c:v>
                </c:pt>
                <c:pt idx="918">
                  <c:v>-3.49279888305594</c:v>
                </c:pt>
                <c:pt idx="919">
                  <c:v>-3.4819775316268959</c:v>
                </c:pt>
                <c:pt idx="920">
                  <c:v>-3.5433196757439021</c:v>
                </c:pt>
                <c:pt idx="921">
                  <c:v>-4.4838473203912628</c:v>
                </c:pt>
                <c:pt idx="922">
                  <c:v>-4.1429217780242311</c:v>
                </c:pt>
                <c:pt idx="923">
                  <c:v>-4.6059325071513086</c:v>
                </c:pt>
                <c:pt idx="924">
                  <c:v>-4.8722515614276602</c:v>
                </c:pt>
                <c:pt idx="925">
                  <c:v>-4.6036179191602002</c:v>
                </c:pt>
                <c:pt idx="926">
                  <c:v>-4.518819910849686</c:v>
                </c:pt>
                <c:pt idx="927">
                  <c:v>-4.2729589418662357</c:v>
                </c:pt>
                <c:pt idx="928">
                  <c:v>-3.8767657572580276</c:v>
                </c:pt>
                <c:pt idx="929">
                  <c:v>-4.1408904595802056</c:v>
                </c:pt>
                <c:pt idx="930">
                  <c:v>-4.3529185389854774</c:v>
                </c:pt>
                <c:pt idx="931">
                  <c:v>-4.1872431175813176</c:v>
                </c:pt>
                <c:pt idx="932">
                  <c:v>-3.4334116043789038</c:v>
                </c:pt>
                <c:pt idx="933">
                  <c:v>-3.6439142202856232</c:v>
                </c:pt>
                <c:pt idx="934">
                  <c:v>-3.703505479467708</c:v>
                </c:pt>
                <c:pt idx="935">
                  <c:v>-3.518025210968176</c:v>
                </c:pt>
                <c:pt idx="936">
                  <c:v>-3.2021709386893349</c:v>
                </c:pt>
                <c:pt idx="937">
                  <c:v>-3.1307484491013327</c:v>
                </c:pt>
                <c:pt idx="938">
                  <c:v>-3.1216595258542128</c:v>
                </c:pt>
                <c:pt idx="939">
                  <c:v>-3.2383427220252798</c:v>
                </c:pt>
                <c:pt idx="940">
                  <c:v>-3.2062523993749892</c:v>
                </c:pt>
                <c:pt idx="941">
                  <c:v>-2.951280023466694</c:v>
                </c:pt>
                <c:pt idx="942">
                  <c:v>-2.951280023466694</c:v>
                </c:pt>
                <c:pt idx="943">
                  <c:v>-2.951280023466694</c:v>
                </c:pt>
                <c:pt idx="944">
                  <c:v>-2.9366189741325996</c:v>
                </c:pt>
                <c:pt idx="945">
                  <c:v>-2.7021628120943291</c:v>
                </c:pt>
                <c:pt idx="946">
                  <c:v>-3.1052755255641387</c:v>
                </c:pt>
                <c:pt idx="947">
                  <c:v>-2.8412532326441067</c:v>
                </c:pt>
                <c:pt idx="948">
                  <c:v>-3.3943278010866607</c:v>
                </c:pt>
                <c:pt idx="949">
                  <c:v>-3.3943278010866607</c:v>
                </c:pt>
                <c:pt idx="950">
                  <c:v>-3.4963923898461502</c:v>
                </c:pt>
                <c:pt idx="951">
                  <c:v>-3.8266190164333693</c:v>
                </c:pt>
                <c:pt idx="952">
                  <c:v>-4.0608012383910221</c:v>
                </c:pt>
                <c:pt idx="953">
                  <c:v>-4.0608012383910221</c:v>
                </c:pt>
                <c:pt idx="954">
                  <c:v>-4.3195522965341837</c:v>
                </c:pt>
                <c:pt idx="955">
                  <c:v>-4.122260093470274</c:v>
                </c:pt>
                <c:pt idx="956">
                  <c:v>-3.5406799262199229</c:v>
                </c:pt>
                <c:pt idx="957">
                  <c:v>-3.6803153173127754</c:v>
                </c:pt>
                <c:pt idx="958">
                  <c:v>-3.4975313786121802</c:v>
                </c:pt>
                <c:pt idx="959">
                  <c:v>-4.3427083059039404</c:v>
                </c:pt>
                <c:pt idx="960">
                  <c:v>-4.8005014007703721</c:v>
                </c:pt>
                <c:pt idx="961">
                  <c:v>-4.9066113979377377</c:v>
                </c:pt>
                <c:pt idx="962">
                  <c:v>-5.3108399006462434</c:v>
                </c:pt>
                <c:pt idx="963">
                  <c:v>-5.9435312485680782</c:v>
                </c:pt>
                <c:pt idx="964">
                  <c:v>-5.721275982427116</c:v>
                </c:pt>
                <c:pt idx="965">
                  <c:v>-5.4955761691299614</c:v>
                </c:pt>
                <c:pt idx="966">
                  <c:v>-4.4794784665037781</c:v>
                </c:pt>
                <c:pt idx="967">
                  <c:v>-4.8408562290424157</c:v>
                </c:pt>
                <c:pt idx="968">
                  <c:v>-5.0893899203487223</c:v>
                </c:pt>
                <c:pt idx="969">
                  <c:v>-5.3470827592267227</c:v>
                </c:pt>
                <c:pt idx="970">
                  <c:v>-4.991015340448925</c:v>
                </c:pt>
                <c:pt idx="971">
                  <c:v>-4.991015340448925</c:v>
                </c:pt>
                <c:pt idx="972">
                  <c:v>-5.1790697011863784</c:v>
                </c:pt>
                <c:pt idx="973">
                  <c:v>-5.1207240874016264</c:v>
                </c:pt>
                <c:pt idx="974">
                  <c:v>-4.832712174072924</c:v>
                </c:pt>
                <c:pt idx="975">
                  <c:v>-3.7632364106355283</c:v>
                </c:pt>
                <c:pt idx="976">
                  <c:v>-3.8589387659071122</c:v>
                </c:pt>
                <c:pt idx="977">
                  <c:v>-4.0742495152412204</c:v>
                </c:pt>
                <c:pt idx="978">
                  <c:v>-4.0742495152412204</c:v>
                </c:pt>
                <c:pt idx="979">
                  <c:v>-3.8458633119010415</c:v>
                </c:pt>
                <c:pt idx="980">
                  <c:v>-3.5253812693825779</c:v>
                </c:pt>
                <c:pt idx="981">
                  <c:v>-4.3474731149404278</c:v>
                </c:pt>
                <c:pt idx="982">
                  <c:v>-4.6933580149853498</c:v>
                </c:pt>
                <c:pt idx="983">
                  <c:v>-4.2542784542158927</c:v>
                </c:pt>
                <c:pt idx="984">
                  <c:v>-4.1669458512591859</c:v>
                </c:pt>
                <c:pt idx="985">
                  <c:v>-4.3529948062720649</c:v>
                </c:pt>
                <c:pt idx="986">
                  <c:v>-3.9817711276295853</c:v>
                </c:pt>
                <c:pt idx="987">
                  <c:v>-3.932842952633564</c:v>
                </c:pt>
                <c:pt idx="988">
                  <c:v>-4.7947391852686962</c:v>
                </c:pt>
                <c:pt idx="989">
                  <c:v>-4.6135470616178083</c:v>
                </c:pt>
                <c:pt idx="990">
                  <c:v>-5.1488846409279745</c:v>
                </c:pt>
                <c:pt idx="991">
                  <c:v>-4.938091574298042</c:v>
                </c:pt>
                <c:pt idx="992">
                  <c:v>-4.938091574298042</c:v>
                </c:pt>
                <c:pt idx="993">
                  <c:v>-5.6208621877624125</c:v>
                </c:pt>
                <c:pt idx="994">
                  <c:v>-5.2809334486946256</c:v>
                </c:pt>
                <c:pt idx="995">
                  <c:v>-5.1418599653873684</c:v>
                </c:pt>
                <c:pt idx="996">
                  <c:v>-5.2116774599827238</c:v>
                </c:pt>
                <c:pt idx="997">
                  <c:v>-5.0986119269968384</c:v>
                </c:pt>
                <c:pt idx="998">
                  <c:v>-4.9666303569733543</c:v>
                </c:pt>
                <c:pt idx="999">
                  <c:v>-4.7889480553086514</c:v>
                </c:pt>
                <c:pt idx="1000">
                  <c:v>-5.13404173946779</c:v>
                </c:pt>
                <c:pt idx="1001">
                  <c:v>-5.0353539697675984</c:v>
                </c:pt>
                <c:pt idx="1002">
                  <c:v>-4.8023899435897874</c:v>
                </c:pt>
                <c:pt idx="1003">
                  <c:v>-4.981516221675875</c:v>
                </c:pt>
                <c:pt idx="1004">
                  <c:v>-5.4307980548347956</c:v>
                </c:pt>
                <c:pt idx="1005">
                  <c:v>-6.2042817152835994</c:v>
                </c:pt>
                <c:pt idx="1006">
                  <c:v>-6.5163633416005524</c:v>
                </c:pt>
                <c:pt idx="1007">
                  <c:v>-6.8894020323709668</c:v>
                </c:pt>
                <c:pt idx="1008">
                  <c:v>-7.0092007748155254</c:v>
                </c:pt>
                <c:pt idx="1009">
                  <c:v>-6.9100726685065439</c:v>
                </c:pt>
                <c:pt idx="1010">
                  <c:v>-7.2519163411829766</c:v>
                </c:pt>
                <c:pt idx="1011">
                  <c:v>-7.5112476990000658</c:v>
                </c:pt>
                <c:pt idx="1012">
                  <c:v>-7.222667503600249</c:v>
                </c:pt>
                <c:pt idx="1013">
                  <c:v>-7.1368586961801839</c:v>
                </c:pt>
                <c:pt idx="1014">
                  <c:v>-7.3657405416839907</c:v>
                </c:pt>
                <c:pt idx="1015">
                  <c:v>-7.4211067508891375</c:v>
                </c:pt>
                <c:pt idx="1016">
                  <c:v>-7.4857979886708392</c:v>
                </c:pt>
                <c:pt idx="1017">
                  <c:v>-7.5351878234942689</c:v>
                </c:pt>
                <c:pt idx="1018">
                  <c:v>-8.0916193708905126</c:v>
                </c:pt>
                <c:pt idx="1019">
                  <c:v>-8.3272614237613283</c:v>
                </c:pt>
                <c:pt idx="1020">
                  <c:v>-8.2074187296935293</c:v>
                </c:pt>
                <c:pt idx="1021">
                  <c:v>-7.8949628309979261</c:v>
                </c:pt>
                <c:pt idx="1022">
                  <c:v>-7.9649973533315688</c:v>
                </c:pt>
                <c:pt idx="1023">
                  <c:v>-8.4314802981648853</c:v>
                </c:pt>
                <c:pt idx="1024">
                  <c:v>-8.959341640714328</c:v>
                </c:pt>
                <c:pt idx="1025">
                  <c:v>-8.7488987451503704</c:v>
                </c:pt>
                <c:pt idx="1026">
                  <c:v>-8.116259036469458</c:v>
                </c:pt>
                <c:pt idx="1027">
                  <c:v>-7.4409068321406977</c:v>
                </c:pt>
                <c:pt idx="1028">
                  <c:v>-8.0595633187127476</c:v>
                </c:pt>
                <c:pt idx="1029">
                  <c:v>-8.0595633187127476</c:v>
                </c:pt>
                <c:pt idx="1030">
                  <c:v>-8.3935992030435642</c:v>
                </c:pt>
                <c:pt idx="1031">
                  <c:v>-8.4715455964966964</c:v>
                </c:pt>
                <c:pt idx="1032">
                  <c:v>-8.4650724662555064</c:v>
                </c:pt>
                <c:pt idx="1033">
                  <c:v>-9.0331529301494271</c:v>
                </c:pt>
                <c:pt idx="1034">
                  <c:v>-9.2682684914559843</c:v>
                </c:pt>
                <c:pt idx="1035">
                  <c:v>-9.4862960122768385</c:v>
                </c:pt>
                <c:pt idx="1036">
                  <c:v>-9.5067079580519191</c:v>
                </c:pt>
                <c:pt idx="1037">
                  <c:v>-9.8419534006849005</c:v>
                </c:pt>
                <c:pt idx="1038">
                  <c:v>-9.5423798945813729</c:v>
                </c:pt>
                <c:pt idx="1039">
                  <c:v>-9.2603412738627924</c:v>
                </c:pt>
                <c:pt idx="1040">
                  <c:v>-9.4605035710910954</c:v>
                </c:pt>
                <c:pt idx="1041">
                  <c:v>-9.5477207798753199</c:v>
                </c:pt>
                <c:pt idx="1042">
                  <c:v>-9.5017077993247341</c:v>
                </c:pt>
                <c:pt idx="1043">
                  <c:v>-9.458614824771459</c:v>
                </c:pt>
                <c:pt idx="1044">
                  <c:v>-9.6776378556503317</c:v>
                </c:pt>
                <c:pt idx="1045">
                  <c:v>-10.101863639853164</c:v>
                </c:pt>
                <c:pt idx="1046">
                  <c:v>-9.9996174641835012</c:v>
                </c:pt>
                <c:pt idx="1047">
                  <c:v>-9.7882157374183407</c:v>
                </c:pt>
                <c:pt idx="1048">
                  <c:v>-11.000166447552687</c:v>
                </c:pt>
                <c:pt idx="1049">
                  <c:v>-10.693873570433738</c:v>
                </c:pt>
                <c:pt idx="1050">
                  <c:v>-10.80649149896405</c:v>
                </c:pt>
                <c:pt idx="1051">
                  <c:v>-11.028038660237101</c:v>
                </c:pt>
                <c:pt idx="1052">
                  <c:v>-10.599372347183035</c:v>
                </c:pt>
                <c:pt idx="1053">
                  <c:v>-11.056205042633366</c:v>
                </c:pt>
                <c:pt idx="1054">
                  <c:v>-10.90512927958315</c:v>
                </c:pt>
                <c:pt idx="1055">
                  <c:v>-10.628681407677817</c:v>
                </c:pt>
                <c:pt idx="1056">
                  <c:v>-10.433068340032094</c:v>
                </c:pt>
                <c:pt idx="1057">
                  <c:v>-10.228198577174368</c:v>
                </c:pt>
                <c:pt idx="1058">
                  <c:v>-9.8372267211236704</c:v>
                </c:pt>
                <c:pt idx="1059">
                  <c:v>-9.1268253163711535</c:v>
                </c:pt>
                <c:pt idx="1060">
                  <c:v>-9.1931342596905665</c:v>
                </c:pt>
                <c:pt idx="1061">
                  <c:v>-8.9187790542186036</c:v>
                </c:pt>
                <c:pt idx="1062">
                  <c:v>-9.3171686573772092</c:v>
                </c:pt>
                <c:pt idx="1063">
                  <c:v>-9.2966130644764746</c:v>
                </c:pt>
                <c:pt idx="1064">
                  <c:v>-10.23698922159474</c:v>
                </c:pt>
                <c:pt idx="1065">
                  <c:v>-10.500934479456561</c:v>
                </c:pt>
                <c:pt idx="1066">
                  <c:v>-10.583991528340263</c:v>
                </c:pt>
                <c:pt idx="1067">
                  <c:v>-10.356523401301814</c:v>
                </c:pt>
                <c:pt idx="1068">
                  <c:v>-10.15605728610916</c:v>
                </c:pt>
                <c:pt idx="1069">
                  <c:v>-10.669083737271976</c:v>
                </c:pt>
                <c:pt idx="1070">
                  <c:v>-10.858372190983516</c:v>
                </c:pt>
                <c:pt idx="1071">
                  <c:v>-10.868668522784546</c:v>
                </c:pt>
                <c:pt idx="1072">
                  <c:v>-10.832020601235328</c:v>
                </c:pt>
                <c:pt idx="1073">
                  <c:v>-10.805150745759491</c:v>
                </c:pt>
                <c:pt idx="1074">
                  <c:v>-10.475928466172391</c:v>
                </c:pt>
                <c:pt idx="1075">
                  <c:v>-10.642275609914648</c:v>
                </c:pt>
                <c:pt idx="1076">
                  <c:v>-10.266287347334142</c:v>
                </c:pt>
                <c:pt idx="1077">
                  <c:v>-10.180002278686629</c:v>
                </c:pt>
                <c:pt idx="1078">
                  <c:v>-10.004031986831066</c:v>
                </c:pt>
                <c:pt idx="1079">
                  <c:v>-9.5851051191944379</c:v>
                </c:pt>
                <c:pt idx="1080">
                  <c:v>-9.759296917126548</c:v>
                </c:pt>
                <c:pt idx="1081">
                  <c:v>-9.6260251927056117</c:v>
                </c:pt>
                <c:pt idx="1082">
                  <c:v>-10.025827538716101</c:v>
                </c:pt>
                <c:pt idx="1083">
                  <c:v>-10.761322705807615</c:v>
                </c:pt>
                <c:pt idx="1084">
                  <c:v>-10.657313394238415</c:v>
                </c:pt>
                <c:pt idx="1085">
                  <c:v>-10.657313394238415</c:v>
                </c:pt>
                <c:pt idx="1086">
                  <c:v>-11.363916174034486</c:v>
                </c:pt>
                <c:pt idx="1087">
                  <c:v>-11.054641706371072</c:v>
                </c:pt>
                <c:pt idx="1088">
                  <c:v>-11.082632118334956</c:v>
                </c:pt>
                <c:pt idx="1089">
                  <c:v>-11.222715190282855</c:v>
                </c:pt>
                <c:pt idx="1090">
                  <c:v>-10.935322884465705</c:v>
                </c:pt>
                <c:pt idx="1091">
                  <c:v>-10.615349965958458</c:v>
                </c:pt>
                <c:pt idx="1092">
                  <c:v>-10.510748553893265</c:v>
                </c:pt>
                <c:pt idx="1093">
                  <c:v>-10.389961446435919</c:v>
                </c:pt>
                <c:pt idx="1094">
                  <c:v>-10.077412736701177</c:v>
                </c:pt>
                <c:pt idx="1095">
                  <c:v>-9.4187258994216165</c:v>
                </c:pt>
                <c:pt idx="1096">
                  <c:v>-10.331203195588699</c:v>
                </c:pt>
                <c:pt idx="1097">
                  <c:v>-11.018282675850955</c:v>
                </c:pt>
                <c:pt idx="1098">
                  <c:v>-11.361684985119325</c:v>
                </c:pt>
                <c:pt idx="1099">
                  <c:v>-12.098442281090058</c:v>
                </c:pt>
                <c:pt idx="1100">
                  <c:v>-12.1584724201699</c:v>
                </c:pt>
                <c:pt idx="1101">
                  <c:v>-11.953443509602963</c:v>
                </c:pt>
                <c:pt idx="1102">
                  <c:v>-11.934359463647368</c:v>
                </c:pt>
                <c:pt idx="1103">
                  <c:v>-11.393388080477223</c:v>
                </c:pt>
                <c:pt idx="1104">
                  <c:v>-11.261253749897634</c:v>
                </c:pt>
                <c:pt idx="1105">
                  <c:v>-10.738964776619426</c:v>
                </c:pt>
                <c:pt idx="1106">
                  <c:v>-9.8484946327734235</c:v>
                </c:pt>
                <c:pt idx="1107">
                  <c:v>-9.1485125221387591</c:v>
                </c:pt>
                <c:pt idx="1108">
                  <c:v>-9.4807025494966695</c:v>
                </c:pt>
                <c:pt idx="1109">
                  <c:v>-8.916093380725286</c:v>
                </c:pt>
                <c:pt idx="1110">
                  <c:v>-8.1021300306277197</c:v>
                </c:pt>
                <c:pt idx="1111">
                  <c:v>-8.1590403645639498</c:v>
                </c:pt>
                <c:pt idx="1112">
                  <c:v>-8.8092796152131712</c:v>
                </c:pt>
                <c:pt idx="1113">
                  <c:v>-9.0203211027786381</c:v>
                </c:pt>
                <c:pt idx="1114">
                  <c:v>-8.5379921659025797</c:v>
                </c:pt>
                <c:pt idx="1115">
                  <c:v>-8.2630901948752751</c:v>
                </c:pt>
                <c:pt idx="1116">
                  <c:v>-7.8131539828238346</c:v>
                </c:pt>
                <c:pt idx="1117">
                  <c:v>-7.5906505202316481</c:v>
                </c:pt>
                <c:pt idx="1118">
                  <c:v>-8.0938084212365027</c:v>
                </c:pt>
                <c:pt idx="1119">
                  <c:v>-8.4100335070612857</c:v>
                </c:pt>
                <c:pt idx="1120">
                  <c:v>-8.0768233548620287</c:v>
                </c:pt>
                <c:pt idx="1121">
                  <c:v>-8.3770445642484077</c:v>
                </c:pt>
                <c:pt idx="1122">
                  <c:v>-8.4744344173914641</c:v>
                </c:pt>
                <c:pt idx="1123">
                  <c:v>-8.4744344173914641</c:v>
                </c:pt>
                <c:pt idx="1124">
                  <c:v>-8.4744344173914641</c:v>
                </c:pt>
                <c:pt idx="1125">
                  <c:v>-8.4681204801441368</c:v>
                </c:pt>
                <c:pt idx="1126">
                  <c:v>-8.7544227735418474</c:v>
                </c:pt>
                <c:pt idx="1127">
                  <c:v>-8.7915253534878843</c:v>
                </c:pt>
                <c:pt idx="1128">
                  <c:v>-8.7915253534878843</c:v>
                </c:pt>
                <c:pt idx="1129">
                  <c:v>-10.147866262010041</c:v>
                </c:pt>
                <c:pt idx="1130">
                  <c:v>-10.220287809775243</c:v>
                </c:pt>
                <c:pt idx="1131">
                  <c:v>-10.30093349003954</c:v>
                </c:pt>
                <c:pt idx="1132">
                  <c:v>-10.564156367114805</c:v>
                </c:pt>
                <c:pt idx="1133">
                  <c:v>-10.622140187764899</c:v>
                </c:pt>
                <c:pt idx="1134">
                  <c:v>-10.335084588820195</c:v>
                </c:pt>
                <c:pt idx="1135">
                  <c:v>-9.8025433430912869</c:v>
                </c:pt>
                <c:pt idx="1136">
                  <c:v>-9.6100179649777999</c:v>
                </c:pt>
                <c:pt idx="1137">
                  <c:v>-9.857071211846602</c:v>
                </c:pt>
                <c:pt idx="1138">
                  <c:v>-9.7558194268264344</c:v>
                </c:pt>
                <c:pt idx="1139">
                  <c:v>-10.332304027554073</c:v>
                </c:pt>
                <c:pt idx="1140">
                  <c:v>-10.957644384601593</c:v>
                </c:pt>
                <c:pt idx="1141">
                  <c:v>-11.323179877016656</c:v>
                </c:pt>
                <c:pt idx="1142">
                  <c:v>-11.512791741507669</c:v>
                </c:pt>
                <c:pt idx="1143">
                  <c:v>-11.701848496713268</c:v>
                </c:pt>
                <c:pt idx="1144">
                  <c:v>-12.799720064116315</c:v>
                </c:pt>
                <c:pt idx="1145">
                  <c:v>-13.038376228934538</c:v>
                </c:pt>
                <c:pt idx="1146">
                  <c:v>-13.016276944399323</c:v>
                </c:pt>
                <c:pt idx="1147">
                  <c:v>-13.785256388794721</c:v>
                </c:pt>
                <c:pt idx="1148">
                  <c:v>-13.534246468450959</c:v>
                </c:pt>
                <c:pt idx="1149">
                  <c:v>-12.491630544279047</c:v>
                </c:pt>
                <c:pt idx="1150">
                  <c:v>-12.861409414320065</c:v>
                </c:pt>
              </c:numCache>
            </c:numRef>
          </c:val>
          <c:extLst xmlns:c16r2="http://schemas.microsoft.com/office/drawing/2015/06/chart">
            <c:ext xmlns:c16="http://schemas.microsoft.com/office/drawing/2014/chart" uri="{C3380CC4-5D6E-409C-BE32-E72D297353CC}">
              <c16:uniqueId val="{00000000-F2E4-4A83-9F97-12AAF836F4B1}"/>
            </c:ext>
          </c:extLst>
        </c:ser>
        <c:dLbls>
          <c:showLegendKey val="0"/>
          <c:showVal val="0"/>
          <c:showCatName val="0"/>
          <c:showSerName val="0"/>
          <c:showPercent val="0"/>
          <c:showBubbleSize val="0"/>
        </c:dLbls>
        <c:axId val="5353472"/>
        <c:axId val="5355008"/>
      </c:areaChart>
      <c:lineChart>
        <c:grouping val="standard"/>
        <c:varyColors val="0"/>
        <c:ser>
          <c:idx val="0"/>
          <c:order val="0"/>
          <c:tx>
            <c:v>Gross performance</c:v>
          </c:tx>
          <c:spPr>
            <a:ln w="28575">
              <a:solidFill>
                <a:srgbClr val="003C64"/>
              </a:solidFill>
              <a:prstDash val="solid"/>
            </a:ln>
          </c:spPr>
          <c:marker>
            <c:symbol val="none"/>
          </c:marker>
          <c:cat>
            <c:numRef>
              <c:f>'Amundi Fds EM MinVar BRUT'!$C$5:$C$1132</c:f>
              <c:numCache>
                <c:formatCode>m/d/yyyy</c:formatCode>
                <c:ptCount val="1128"/>
                <c:pt idx="0">
                  <c:v>41521</c:v>
                </c:pt>
                <c:pt idx="1">
                  <c:v>41522</c:v>
                </c:pt>
                <c:pt idx="2">
                  <c:v>41523</c:v>
                </c:pt>
                <c:pt idx="3">
                  <c:v>41526</c:v>
                </c:pt>
                <c:pt idx="4">
                  <c:v>41527</c:v>
                </c:pt>
                <c:pt idx="5">
                  <c:v>41528</c:v>
                </c:pt>
                <c:pt idx="6">
                  <c:v>41529</c:v>
                </c:pt>
                <c:pt idx="7">
                  <c:v>41530</c:v>
                </c:pt>
                <c:pt idx="8">
                  <c:v>41533</c:v>
                </c:pt>
                <c:pt idx="9">
                  <c:v>41534</c:v>
                </c:pt>
                <c:pt idx="10">
                  <c:v>41535</c:v>
                </c:pt>
                <c:pt idx="11">
                  <c:v>41536</c:v>
                </c:pt>
                <c:pt idx="12">
                  <c:v>41537</c:v>
                </c:pt>
                <c:pt idx="13">
                  <c:v>41540</c:v>
                </c:pt>
                <c:pt idx="14">
                  <c:v>41541</c:v>
                </c:pt>
                <c:pt idx="15">
                  <c:v>41542</c:v>
                </c:pt>
                <c:pt idx="16">
                  <c:v>41543</c:v>
                </c:pt>
                <c:pt idx="17">
                  <c:v>41544</c:v>
                </c:pt>
                <c:pt idx="18">
                  <c:v>41547</c:v>
                </c:pt>
                <c:pt idx="19">
                  <c:v>41548</c:v>
                </c:pt>
                <c:pt idx="20">
                  <c:v>41549</c:v>
                </c:pt>
                <c:pt idx="21">
                  <c:v>41550</c:v>
                </c:pt>
                <c:pt idx="22">
                  <c:v>41551</c:v>
                </c:pt>
                <c:pt idx="23">
                  <c:v>41554</c:v>
                </c:pt>
                <c:pt idx="24">
                  <c:v>41555</c:v>
                </c:pt>
                <c:pt idx="25">
                  <c:v>41556</c:v>
                </c:pt>
                <c:pt idx="26">
                  <c:v>41557</c:v>
                </c:pt>
                <c:pt idx="27">
                  <c:v>41558</c:v>
                </c:pt>
                <c:pt idx="28">
                  <c:v>41561</c:v>
                </c:pt>
                <c:pt idx="29">
                  <c:v>41562</c:v>
                </c:pt>
                <c:pt idx="30">
                  <c:v>41563</c:v>
                </c:pt>
                <c:pt idx="31">
                  <c:v>41564</c:v>
                </c:pt>
                <c:pt idx="32">
                  <c:v>41565</c:v>
                </c:pt>
                <c:pt idx="33">
                  <c:v>41568</c:v>
                </c:pt>
                <c:pt idx="34">
                  <c:v>41569</c:v>
                </c:pt>
                <c:pt idx="35">
                  <c:v>41570</c:v>
                </c:pt>
                <c:pt idx="36">
                  <c:v>41571</c:v>
                </c:pt>
                <c:pt idx="37">
                  <c:v>41572</c:v>
                </c:pt>
                <c:pt idx="38">
                  <c:v>41575</c:v>
                </c:pt>
                <c:pt idx="39">
                  <c:v>41576</c:v>
                </c:pt>
                <c:pt idx="40">
                  <c:v>41577</c:v>
                </c:pt>
                <c:pt idx="41">
                  <c:v>41578</c:v>
                </c:pt>
                <c:pt idx="42">
                  <c:v>41579</c:v>
                </c:pt>
                <c:pt idx="43">
                  <c:v>41582</c:v>
                </c:pt>
                <c:pt idx="44">
                  <c:v>41583</c:v>
                </c:pt>
                <c:pt idx="45">
                  <c:v>41584</c:v>
                </c:pt>
                <c:pt idx="46">
                  <c:v>41585</c:v>
                </c:pt>
                <c:pt idx="47">
                  <c:v>41586</c:v>
                </c:pt>
                <c:pt idx="48">
                  <c:v>41589</c:v>
                </c:pt>
                <c:pt idx="49">
                  <c:v>41590</c:v>
                </c:pt>
                <c:pt idx="50">
                  <c:v>41591</c:v>
                </c:pt>
                <c:pt idx="51">
                  <c:v>41592</c:v>
                </c:pt>
                <c:pt idx="52">
                  <c:v>41593</c:v>
                </c:pt>
                <c:pt idx="53">
                  <c:v>41596</c:v>
                </c:pt>
                <c:pt idx="54">
                  <c:v>41597</c:v>
                </c:pt>
                <c:pt idx="55">
                  <c:v>41598</c:v>
                </c:pt>
                <c:pt idx="56">
                  <c:v>41599</c:v>
                </c:pt>
                <c:pt idx="57">
                  <c:v>41600</c:v>
                </c:pt>
                <c:pt idx="58">
                  <c:v>41603</c:v>
                </c:pt>
                <c:pt idx="59">
                  <c:v>41604</c:v>
                </c:pt>
                <c:pt idx="60">
                  <c:v>41605</c:v>
                </c:pt>
                <c:pt idx="61">
                  <c:v>41606</c:v>
                </c:pt>
                <c:pt idx="62">
                  <c:v>41607</c:v>
                </c:pt>
                <c:pt idx="63">
                  <c:v>41610</c:v>
                </c:pt>
                <c:pt idx="64">
                  <c:v>41611</c:v>
                </c:pt>
                <c:pt idx="65">
                  <c:v>41612</c:v>
                </c:pt>
                <c:pt idx="66">
                  <c:v>41613</c:v>
                </c:pt>
                <c:pt idx="67">
                  <c:v>41614</c:v>
                </c:pt>
                <c:pt idx="68">
                  <c:v>41617</c:v>
                </c:pt>
                <c:pt idx="69">
                  <c:v>41618</c:v>
                </c:pt>
                <c:pt idx="70">
                  <c:v>41619</c:v>
                </c:pt>
                <c:pt idx="71">
                  <c:v>41620</c:v>
                </c:pt>
                <c:pt idx="72">
                  <c:v>41621</c:v>
                </c:pt>
                <c:pt idx="73">
                  <c:v>41624</c:v>
                </c:pt>
                <c:pt idx="74">
                  <c:v>41625</c:v>
                </c:pt>
                <c:pt idx="75">
                  <c:v>41626</c:v>
                </c:pt>
                <c:pt idx="76">
                  <c:v>41627</c:v>
                </c:pt>
                <c:pt idx="77">
                  <c:v>41628</c:v>
                </c:pt>
                <c:pt idx="78">
                  <c:v>41631</c:v>
                </c:pt>
                <c:pt idx="79">
                  <c:v>41632</c:v>
                </c:pt>
                <c:pt idx="80">
                  <c:v>41633</c:v>
                </c:pt>
                <c:pt idx="81">
                  <c:v>41634</c:v>
                </c:pt>
                <c:pt idx="82">
                  <c:v>41635</c:v>
                </c:pt>
                <c:pt idx="83">
                  <c:v>41638</c:v>
                </c:pt>
                <c:pt idx="84">
                  <c:v>41639</c:v>
                </c:pt>
                <c:pt idx="85">
                  <c:v>41640</c:v>
                </c:pt>
                <c:pt idx="86">
                  <c:v>41641</c:v>
                </c:pt>
                <c:pt idx="87">
                  <c:v>41642</c:v>
                </c:pt>
                <c:pt idx="88">
                  <c:v>41645</c:v>
                </c:pt>
                <c:pt idx="89">
                  <c:v>41646</c:v>
                </c:pt>
                <c:pt idx="90">
                  <c:v>41647</c:v>
                </c:pt>
                <c:pt idx="91">
                  <c:v>41648</c:v>
                </c:pt>
                <c:pt idx="92">
                  <c:v>41649</c:v>
                </c:pt>
                <c:pt idx="93">
                  <c:v>41652</c:v>
                </c:pt>
                <c:pt idx="94">
                  <c:v>41653</c:v>
                </c:pt>
                <c:pt idx="95">
                  <c:v>41654</c:v>
                </c:pt>
                <c:pt idx="96">
                  <c:v>41655</c:v>
                </c:pt>
                <c:pt idx="97">
                  <c:v>41656</c:v>
                </c:pt>
                <c:pt idx="98">
                  <c:v>41659</c:v>
                </c:pt>
                <c:pt idx="99">
                  <c:v>41660</c:v>
                </c:pt>
                <c:pt idx="100">
                  <c:v>41661</c:v>
                </c:pt>
                <c:pt idx="101">
                  <c:v>41662</c:v>
                </c:pt>
                <c:pt idx="102">
                  <c:v>41663</c:v>
                </c:pt>
                <c:pt idx="103">
                  <c:v>41666</c:v>
                </c:pt>
                <c:pt idx="104">
                  <c:v>41667</c:v>
                </c:pt>
                <c:pt idx="105">
                  <c:v>41668</c:v>
                </c:pt>
                <c:pt idx="106">
                  <c:v>41669</c:v>
                </c:pt>
                <c:pt idx="107">
                  <c:v>41670</c:v>
                </c:pt>
                <c:pt idx="108">
                  <c:v>41673</c:v>
                </c:pt>
                <c:pt idx="109">
                  <c:v>41674</c:v>
                </c:pt>
                <c:pt idx="110">
                  <c:v>41675</c:v>
                </c:pt>
                <c:pt idx="111">
                  <c:v>41676</c:v>
                </c:pt>
                <c:pt idx="112">
                  <c:v>41677</c:v>
                </c:pt>
                <c:pt idx="113">
                  <c:v>41680</c:v>
                </c:pt>
                <c:pt idx="114">
                  <c:v>41681</c:v>
                </c:pt>
                <c:pt idx="115">
                  <c:v>41682</c:v>
                </c:pt>
                <c:pt idx="116">
                  <c:v>41683</c:v>
                </c:pt>
                <c:pt idx="117">
                  <c:v>41684</c:v>
                </c:pt>
                <c:pt idx="118">
                  <c:v>41687</c:v>
                </c:pt>
                <c:pt idx="119">
                  <c:v>41688</c:v>
                </c:pt>
                <c:pt idx="120">
                  <c:v>41689</c:v>
                </c:pt>
                <c:pt idx="121">
                  <c:v>41690</c:v>
                </c:pt>
                <c:pt idx="122">
                  <c:v>41691</c:v>
                </c:pt>
                <c:pt idx="123">
                  <c:v>41694</c:v>
                </c:pt>
                <c:pt idx="124">
                  <c:v>41695</c:v>
                </c:pt>
                <c:pt idx="125">
                  <c:v>41696</c:v>
                </c:pt>
                <c:pt idx="126">
                  <c:v>41697</c:v>
                </c:pt>
                <c:pt idx="127">
                  <c:v>41698</c:v>
                </c:pt>
                <c:pt idx="128">
                  <c:v>41701</c:v>
                </c:pt>
                <c:pt idx="129">
                  <c:v>41702</c:v>
                </c:pt>
                <c:pt idx="130">
                  <c:v>41703</c:v>
                </c:pt>
                <c:pt idx="131">
                  <c:v>41704</c:v>
                </c:pt>
                <c:pt idx="132">
                  <c:v>41705</c:v>
                </c:pt>
                <c:pt idx="133">
                  <c:v>41708</c:v>
                </c:pt>
                <c:pt idx="134">
                  <c:v>41709</c:v>
                </c:pt>
                <c:pt idx="135">
                  <c:v>41710</c:v>
                </c:pt>
                <c:pt idx="136">
                  <c:v>41711</c:v>
                </c:pt>
                <c:pt idx="137">
                  <c:v>41712</c:v>
                </c:pt>
                <c:pt idx="138">
                  <c:v>41715</c:v>
                </c:pt>
                <c:pt idx="139">
                  <c:v>41716</c:v>
                </c:pt>
                <c:pt idx="140">
                  <c:v>41717</c:v>
                </c:pt>
                <c:pt idx="141">
                  <c:v>41718</c:v>
                </c:pt>
                <c:pt idx="142">
                  <c:v>41719</c:v>
                </c:pt>
                <c:pt idx="143">
                  <c:v>41722</c:v>
                </c:pt>
                <c:pt idx="144">
                  <c:v>41723</c:v>
                </c:pt>
                <c:pt idx="145">
                  <c:v>41724</c:v>
                </c:pt>
                <c:pt idx="146">
                  <c:v>41725</c:v>
                </c:pt>
                <c:pt idx="147">
                  <c:v>41726</c:v>
                </c:pt>
                <c:pt idx="148">
                  <c:v>41729</c:v>
                </c:pt>
                <c:pt idx="149">
                  <c:v>41730</c:v>
                </c:pt>
                <c:pt idx="150">
                  <c:v>41731</c:v>
                </c:pt>
                <c:pt idx="151">
                  <c:v>41732</c:v>
                </c:pt>
                <c:pt idx="152">
                  <c:v>41733</c:v>
                </c:pt>
                <c:pt idx="153">
                  <c:v>41736</c:v>
                </c:pt>
                <c:pt idx="154">
                  <c:v>41737</c:v>
                </c:pt>
                <c:pt idx="155">
                  <c:v>41738</c:v>
                </c:pt>
                <c:pt idx="156">
                  <c:v>41739</c:v>
                </c:pt>
                <c:pt idx="157">
                  <c:v>41740</c:v>
                </c:pt>
                <c:pt idx="158">
                  <c:v>41743</c:v>
                </c:pt>
                <c:pt idx="159">
                  <c:v>41744</c:v>
                </c:pt>
                <c:pt idx="160">
                  <c:v>41745</c:v>
                </c:pt>
                <c:pt idx="161">
                  <c:v>41746</c:v>
                </c:pt>
                <c:pt idx="162">
                  <c:v>41747</c:v>
                </c:pt>
                <c:pt idx="163">
                  <c:v>41750</c:v>
                </c:pt>
                <c:pt idx="164">
                  <c:v>41751</c:v>
                </c:pt>
                <c:pt idx="165">
                  <c:v>41752</c:v>
                </c:pt>
                <c:pt idx="166">
                  <c:v>41753</c:v>
                </c:pt>
                <c:pt idx="167">
                  <c:v>41754</c:v>
                </c:pt>
                <c:pt idx="168">
                  <c:v>41757</c:v>
                </c:pt>
                <c:pt idx="169">
                  <c:v>41758</c:v>
                </c:pt>
                <c:pt idx="170">
                  <c:v>41759</c:v>
                </c:pt>
                <c:pt idx="171">
                  <c:v>41760</c:v>
                </c:pt>
                <c:pt idx="172">
                  <c:v>41761</c:v>
                </c:pt>
                <c:pt idx="173">
                  <c:v>41764</c:v>
                </c:pt>
                <c:pt idx="174">
                  <c:v>41765</c:v>
                </c:pt>
                <c:pt idx="175">
                  <c:v>41766</c:v>
                </c:pt>
                <c:pt idx="176">
                  <c:v>41767</c:v>
                </c:pt>
                <c:pt idx="177">
                  <c:v>41768</c:v>
                </c:pt>
                <c:pt idx="178">
                  <c:v>41771</c:v>
                </c:pt>
                <c:pt idx="179">
                  <c:v>41772</c:v>
                </c:pt>
                <c:pt idx="180">
                  <c:v>41773</c:v>
                </c:pt>
                <c:pt idx="181">
                  <c:v>41774</c:v>
                </c:pt>
                <c:pt idx="182">
                  <c:v>41775</c:v>
                </c:pt>
                <c:pt idx="183">
                  <c:v>41778</c:v>
                </c:pt>
                <c:pt idx="184">
                  <c:v>41779</c:v>
                </c:pt>
                <c:pt idx="185">
                  <c:v>41780</c:v>
                </c:pt>
                <c:pt idx="186">
                  <c:v>41781</c:v>
                </c:pt>
                <c:pt idx="187">
                  <c:v>41782</c:v>
                </c:pt>
                <c:pt idx="188">
                  <c:v>41785</c:v>
                </c:pt>
                <c:pt idx="189">
                  <c:v>41786</c:v>
                </c:pt>
                <c:pt idx="190">
                  <c:v>41787</c:v>
                </c:pt>
                <c:pt idx="191">
                  <c:v>41788</c:v>
                </c:pt>
                <c:pt idx="192">
                  <c:v>41789</c:v>
                </c:pt>
                <c:pt idx="193">
                  <c:v>41792</c:v>
                </c:pt>
                <c:pt idx="194">
                  <c:v>41793</c:v>
                </c:pt>
                <c:pt idx="195">
                  <c:v>41794</c:v>
                </c:pt>
                <c:pt idx="196">
                  <c:v>41795</c:v>
                </c:pt>
                <c:pt idx="197">
                  <c:v>41796</c:v>
                </c:pt>
                <c:pt idx="198">
                  <c:v>41799</c:v>
                </c:pt>
                <c:pt idx="199">
                  <c:v>41800</c:v>
                </c:pt>
                <c:pt idx="200">
                  <c:v>41801</c:v>
                </c:pt>
                <c:pt idx="201">
                  <c:v>41802</c:v>
                </c:pt>
                <c:pt idx="202">
                  <c:v>41803</c:v>
                </c:pt>
                <c:pt idx="203">
                  <c:v>41806</c:v>
                </c:pt>
                <c:pt idx="204">
                  <c:v>41807</c:v>
                </c:pt>
                <c:pt idx="205">
                  <c:v>41808</c:v>
                </c:pt>
                <c:pt idx="206">
                  <c:v>41809</c:v>
                </c:pt>
                <c:pt idx="207">
                  <c:v>41810</c:v>
                </c:pt>
                <c:pt idx="208">
                  <c:v>41813</c:v>
                </c:pt>
                <c:pt idx="209">
                  <c:v>41814</c:v>
                </c:pt>
                <c:pt idx="210">
                  <c:v>41815</c:v>
                </c:pt>
                <c:pt idx="211">
                  <c:v>41816</c:v>
                </c:pt>
                <c:pt idx="212">
                  <c:v>41817</c:v>
                </c:pt>
                <c:pt idx="213">
                  <c:v>41820</c:v>
                </c:pt>
                <c:pt idx="214">
                  <c:v>41821</c:v>
                </c:pt>
                <c:pt idx="215">
                  <c:v>41822</c:v>
                </c:pt>
                <c:pt idx="216">
                  <c:v>41823</c:v>
                </c:pt>
                <c:pt idx="217">
                  <c:v>41824</c:v>
                </c:pt>
                <c:pt idx="218">
                  <c:v>41827</c:v>
                </c:pt>
                <c:pt idx="219">
                  <c:v>41828</c:v>
                </c:pt>
                <c:pt idx="220">
                  <c:v>41829</c:v>
                </c:pt>
                <c:pt idx="221">
                  <c:v>41830</c:v>
                </c:pt>
                <c:pt idx="222">
                  <c:v>41831</c:v>
                </c:pt>
                <c:pt idx="223">
                  <c:v>41834</c:v>
                </c:pt>
                <c:pt idx="224">
                  <c:v>41835</c:v>
                </c:pt>
                <c:pt idx="225">
                  <c:v>41836</c:v>
                </c:pt>
                <c:pt idx="226">
                  <c:v>41837</c:v>
                </c:pt>
                <c:pt idx="227">
                  <c:v>41838</c:v>
                </c:pt>
                <c:pt idx="228">
                  <c:v>41841</c:v>
                </c:pt>
                <c:pt idx="229">
                  <c:v>41842</c:v>
                </c:pt>
                <c:pt idx="230">
                  <c:v>41843</c:v>
                </c:pt>
                <c:pt idx="231">
                  <c:v>41844</c:v>
                </c:pt>
                <c:pt idx="232">
                  <c:v>41845</c:v>
                </c:pt>
                <c:pt idx="233">
                  <c:v>41848</c:v>
                </c:pt>
                <c:pt idx="234">
                  <c:v>41849</c:v>
                </c:pt>
                <c:pt idx="235">
                  <c:v>41850</c:v>
                </c:pt>
                <c:pt idx="236">
                  <c:v>41851</c:v>
                </c:pt>
                <c:pt idx="237">
                  <c:v>41852</c:v>
                </c:pt>
                <c:pt idx="238">
                  <c:v>41855</c:v>
                </c:pt>
                <c:pt idx="239">
                  <c:v>41856</c:v>
                </c:pt>
                <c:pt idx="240">
                  <c:v>41857</c:v>
                </c:pt>
                <c:pt idx="241">
                  <c:v>41858</c:v>
                </c:pt>
                <c:pt idx="242">
                  <c:v>41859</c:v>
                </c:pt>
                <c:pt idx="243">
                  <c:v>41862</c:v>
                </c:pt>
                <c:pt idx="244">
                  <c:v>41863</c:v>
                </c:pt>
                <c:pt idx="245">
                  <c:v>41864</c:v>
                </c:pt>
                <c:pt idx="246">
                  <c:v>41865</c:v>
                </c:pt>
                <c:pt idx="247">
                  <c:v>41866</c:v>
                </c:pt>
                <c:pt idx="248">
                  <c:v>41869</c:v>
                </c:pt>
                <c:pt idx="249">
                  <c:v>41870</c:v>
                </c:pt>
                <c:pt idx="250">
                  <c:v>41871</c:v>
                </c:pt>
                <c:pt idx="251">
                  <c:v>41872</c:v>
                </c:pt>
                <c:pt idx="252">
                  <c:v>41873</c:v>
                </c:pt>
                <c:pt idx="253">
                  <c:v>41876</c:v>
                </c:pt>
                <c:pt idx="254">
                  <c:v>41877</c:v>
                </c:pt>
                <c:pt idx="255">
                  <c:v>41878</c:v>
                </c:pt>
                <c:pt idx="256">
                  <c:v>41879</c:v>
                </c:pt>
                <c:pt idx="257">
                  <c:v>41880</c:v>
                </c:pt>
                <c:pt idx="258">
                  <c:v>41883</c:v>
                </c:pt>
                <c:pt idx="259">
                  <c:v>41884</c:v>
                </c:pt>
                <c:pt idx="260">
                  <c:v>41885</c:v>
                </c:pt>
                <c:pt idx="261">
                  <c:v>41886</c:v>
                </c:pt>
                <c:pt idx="262">
                  <c:v>41887</c:v>
                </c:pt>
                <c:pt idx="263">
                  <c:v>41890</c:v>
                </c:pt>
                <c:pt idx="264">
                  <c:v>41891</c:v>
                </c:pt>
                <c:pt idx="265">
                  <c:v>41892</c:v>
                </c:pt>
                <c:pt idx="266">
                  <c:v>41893</c:v>
                </c:pt>
                <c:pt idx="267">
                  <c:v>41894</c:v>
                </c:pt>
                <c:pt idx="268">
                  <c:v>41897</c:v>
                </c:pt>
                <c:pt idx="269">
                  <c:v>41898</c:v>
                </c:pt>
                <c:pt idx="270">
                  <c:v>41899</c:v>
                </c:pt>
                <c:pt idx="271">
                  <c:v>41900</c:v>
                </c:pt>
                <c:pt idx="272">
                  <c:v>41901</c:v>
                </c:pt>
                <c:pt idx="273">
                  <c:v>41904</c:v>
                </c:pt>
                <c:pt idx="274">
                  <c:v>41905</c:v>
                </c:pt>
                <c:pt idx="275">
                  <c:v>41906</c:v>
                </c:pt>
                <c:pt idx="276">
                  <c:v>41907</c:v>
                </c:pt>
                <c:pt idx="277">
                  <c:v>41908</c:v>
                </c:pt>
                <c:pt idx="278">
                  <c:v>41911</c:v>
                </c:pt>
                <c:pt idx="279">
                  <c:v>41912</c:v>
                </c:pt>
                <c:pt idx="280">
                  <c:v>41913</c:v>
                </c:pt>
                <c:pt idx="281">
                  <c:v>41914</c:v>
                </c:pt>
                <c:pt idx="282">
                  <c:v>41915</c:v>
                </c:pt>
                <c:pt idx="283">
                  <c:v>41918</c:v>
                </c:pt>
                <c:pt idx="284">
                  <c:v>41919</c:v>
                </c:pt>
                <c:pt idx="285">
                  <c:v>41920</c:v>
                </c:pt>
                <c:pt idx="286">
                  <c:v>41921</c:v>
                </c:pt>
                <c:pt idx="287">
                  <c:v>41922</c:v>
                </c:pt>
                <c:pt idx="288">
                  <c:v>41925</c:v>
                </c:pt>
                <c:pt idx="289">
                  <c:v>41926</c:v>
                </c:pt>
                <c:pt idx="290">
                  <c:v>41927</c:v>
                </c:pt>
                <c:pt idx="291">
                  <c:v>41928</c:v>
                </c:pt>
                <c:pt idx="292">
                  <c:v>41929</c:v>
                </c:pt>
                <c:pt idx="293">
                  <c:v>41932</c:v>
                </c:pt>
                <c:pt idx="294">
                  <c:v>41933</c:v>
                </c:pt>
                <c:pt idx="295">
                  <c:v>41934</c:v>
                </c:pt>
                <c:pt idx="296">
                  <c:v>41935</c:v>
                </c:pt>
                <c:pt idx="297">
                  <c:v>41936</c:v>
                </c:pt>
                <c:pt idx="298">
                  <c:v>41939</c:v>
                </c:pt>
                <c:pt idx="299">
                  <c:v>41940</c:v>
                </c:pt>
                <c:pt idx="300">
                  <c:v>41941</c:v>
                </c:pt>
                <c:pt idx="301">
                  <c:v>41942</c:v>
                </c:pt>
                <c:pt idx="302">
                  <c:v>41943</c:v>
                </c:pt>
                <c:pt idx="303">
                  <c:v>41946</c:v>
                </c:pt>
                <c:pt idx="304">
                  <c:v>41947</c:v>
                </c:pt>
                <c:pt idx="305">
                  <c:v>41948</c:v>
                </c:pt>
                <c:pt idx="306">
                  <c:v>41949</c:v>
                </c:pt>
                <c:pt idx="307">
                  <c:v>41950</c:v>
                </c:pt>
                <c:pt idx="308">
                  <c:v>41953</c:v>
                </c:pt>
                <c:pt idx="309">
                  <c:v>41954</c:v>
                </c:pt>
                <c:pt idx="310">
                  <c:v>41955</c:v>
                </c:pt>
                <c:pt idx="311">
                  <c:v>41956</c:v>
                </c:pt>
                <c:pt idx="312">
                  <c:v>41957</c:v>
                </c:pt>
                <c:pt idx="313">
                  <c:v>41960</c:v>
                </c:pt>
                <c:pt idx="314">
                  <c:v>41961</c:v>
                </c:pt>
                <c:pt idx="315">
                  <c:v>41962</c:v>
                </c:pt>
                <c:pt idx="316">
                  <c:v>41963</c:v>
                </c:pt>
                <c:pt idx="317">
                  <c:v>41964</c:v>
                </c:pt>
                <c:pt idx="318">
                  <c:v>41967</c:v>
                </c:pt>
                <c:pt idx="319">
                  <c:v>41968</c:v>
                </c:pt>
                <c:pt idx="320">
                  <c:v>41969</c:v>
                </c:pt>
                <c:pt idx="321">
                  <c:v>41970</c:v>
                </c:pt>
                <c:pt idx="322">
                  <c:v>41971</c:v>
                </c:pt>
                <c:pt idx="323">
                  <c:v>41974</c:v>
                </c:pt>
                <c:pt idx="324">
                  <c:v>41975</c:v>
                </c:pt>
                <c:pt idx="325">
                  <c:v>41976</c:v>
                </c:pt>
                <c:pt idx="326">
                  <c:v>41977</c:v>
                </c:pt>
                <c:pt idx="327">
                  <c:v>41978</c:v>
                </c:pt>
                <c:pt idx="328">
                  <c:v>41981</c:v>
                </c:pt>
                <c:pt idx="329">
                  <c:v>41982</c:v>
                </c:pt>
                <c:pt idx="330">
                  <c:v>41983</c:v>
                </c:pt>
                <c:pt idx="331">
                  <c:v>41984</c:v>
                </c:pt>
                <c:pt idx="332">
                  <c:v>41985</c:v>
                </c:pt>
                <c:pt idx="333">
                  <c:v>41988</c:v>
                </c:pt>
                <c:pt idx="334">
                  <c:v>41989</c:v>
                </c:pt>
                <c:pt idx="335">
                  <c:v>41990</c:v>
                </c:pt>
                <c:pt idx="336">
                  <c:v>41991</c:v>
                </c:pt>
                <c:pt idx="337">
                  <c:v>41992</c:v>
                </c:pt>
                <c:pt idx="338">
                  <c:v>41995</c:v>
                </c:pt>
                <c:pt idx="339">
                  <c:v>41996</c:v>
                </c:pt>
                <c:pt idx="340">
                  <c:v>41997</c:v>
                </c:pt>
                <c:pt idx="341">
                  <c:v>41998</c:v>
                </c:pt>
                <c:pt idx="342">
                  <c:v>41999</c:v>
                </c:pt>
                <c:pt idx="343">
                  <c:v>42002</c:v>
                </c:pt>
                <c:pt idx="344">
                  <c:v>42003</c:v>
                </c:pt>
                <c:pt idx="345">
                  <c:v>42004</c:v>
                </c:pt>
                <c:pt idx="346">
                  <c:v>42005</c:v>
                </c:pt>
                <c:pt idx="347">
                  <c:v>42006</c:v>
                </c:pt>
                <c:pt idx="348">
                  <c:v>42009</c:v>
                </c:pt>
                <c:pt idx="349">
                  <c:v>42010</c:v>
                </c:pt>
                <c:pt idx="350">
                  <c:v>42011</c:v>
                </c:pt>
                <c:pt idx="351">
                  <c:v>42012</c:v>
                </c:pt>
                <c:pt idx="352">
                  <c:v>42013</c:v>
                </c:pt>
                <c:pt idx="353">
                  <c:v>42016</c:v>
                </c:pt>
                <c:pt idx="354">
                  <c:v>42017</c:v>
                </c:pt>
                <c:pt idx="355">
                  <c:v>42018</c:v>
                </c:pt>
                <c:pt idx="356">
                  <c:v>42019</c:v>
                </c:pt>
                <c:pt idx="357">
                  <c:v>42020</c:v>
                </c:pt>
                <c:pt idx="358">
                  <c:v>42023</c:v>
                </c:pt>
                <c:pt idx="359">
                  <c:v>42024</c:v>
                </c:pt>
                <c:pt idx="360">
                  <c:v>42025</c:v>
                </c:pt>
                <c:pt idx="361">
                  <c:v>42026</c:v>
                </c:pt>
                <c:pt idx="362">
                  <c:v>42027</c:v>
                </c:pt>
                <c:pt idx="363">
                  <c:v>42030</c:v>
                </c:pt>
                <c:pt idx="364">
                  <c:v>42031</c:v>
                </c:pt>
                <c:pt idx="365">
                  <c:v>42032</c:v>
                </c:pt>
                <c:pt idx="366">
                  <c:v>42033</c:v>
                </c:pt>
                <c:pt idx="367">
                  <c:v>42034</c:v>
                </c:pt>
                <c:pt idx="368">
                  <c:v>42037</c:v>
                </c:pt>
                <c:pt idx="369">
                  <c:v>42038</c:v>
                </c:pt>
                <c:pt idx="370">
                  <c:v>42039</c:v>
                </c:pt>
                <c:pt idx="371">
                  <c:v>42040</c:v>
                </c:pt>
                <c:pt idx="372">
                  <c:v>42041</c:v>
                </c:pt>
                <c:pt idx="373">
                  <c:v>42044</c:v>
                </c:pt>
                <c:pt idx="374">
                  <c:v>42045</c:v>
                </c:pt>
                <c:pt idx="375">
                  <c:v>42046</c:v>
                </c:pt>
                <c:pt idx="376">
                  <c:v>42047</c:v>
                </c:pt>
                <c:pt idx="377">
                  <c:v>42048</c:v>
                </c:pt>
                <c:pt idx="378">
                  <c:v>42051</c:v>
                </c:pt>
                <c:pt idx="379">
                  <c:v>42052</c:v>
                </c:pt>
                <c:pt idx="380">
                  <c:v>42053</c:v>
                </c:pt>
                <c:pt idx="381">
                  <c:v>42054</c:v>
                </c:pt>
                <c:pt idx="382">
                  <c:v>42055</c:v>
                </c:pt>
                <c:pt idx="383">
                  <c:v>42058</c:v>
                </c:pt>
                <c:pt idx="384">
                  <c:v>42059</c:v>
                </c:pt>
                <c:pt idx="385">
                  <c:v>42060</c:v>
                </c:pt>
                <c:pt idx="386">
                  <c:v>42061</c:v>
                </c:pt>
                <c:pt idx="387">
                  <c:v>42062</c:v>
                </c:pt>
                <c:pt idx="388">
                  <c:v>42065</c:v>
                </c:pt>
                <c:pt idx="389">
                  <c:v>42066</c:v>
                </c:pt>
                <c:pt idx="390">
                  <c:v>42067</c:v>
                </c:pt>
                <c:pt idx="391">
                  <c:v>42068</c:v>
                </c:pt>
                <c:pt idx="392">
                  <c:v>42069</c:v>
                </c:pt>
                <c:pt idx="393">
                  <c:v>42072</c:v>
                </c:pt>
                <c:pt idx="394">
                  <c:v>42073</c:v>
                </c:pt>
                <c:pt idx="395">
                  <c:v>42074</c:v>
                </c:pt>
                <c:pt idx="396">
                  <c:v>42075</c:v>
                </c:pt>
                <c:pt idx="397">
                  <c:v>42076</c:v>
                </c:pt>
                <c:pt idx="398">
                  <c:v>42079</c:v>
                </c:pt>
                <c:pt idx="399">
                  <c:v>42080</c:v>
                </c:pt>
                <c:pt idx="400">
                  <c:v>42081</c:v>
                </c:pt>
                <c:pt idx="401">
                  <c:v>42082</c:v>
                </c:pt>
                <c:pt idx="402">
                  <c:v>42083</c:v>
                </c:pt>
                <c:pt idx="403">
                  <c:v>42086</c:v>
                </c:pt>
                <c:pt idx="404">
                  <c:v>42087</c:v>
                </c:pt>
                <c:pt idx="405">
                  <c:v>42088</c:v>
                </c:pt>
                <c:pt idx="406">
                  <c:v>42089</c:v>
                </c:pt>
                <c:pt idx="407">
                  <c:v>42090</c:v>
                </c:pt>
                <c:pt idx="408">
                  <c:v>42093</c:v>
                </c:pt>
                <c:pt idx="409">
                  <c:v>42094</c:v>
                </c:pt>
                <c:pt idx="410">
                  <c:v>42095</c:v>
                </c:pt>
                <c:pt idx="411">
                  <c:v>42096</c:v>
                </c:pt>
                <c:pt idx="412">
                  <c:v>42097</c:v>
                </c:pt>
                <c:pt idx="413">
                  <c:v>42100</c:v>
                </c:pt>
                <c:pt idx="414">
                  <c:v>42101</c:v>
                </c:pt>
                <c:pt idx="415">
                  <c:v>42102</c:v>
                </c:pt>
                <c:pt idx="416">
                  <c:v>42103</c:v>
                </c:pt>
                <c:pt idx="417">
                  <c:v>42104</c:v>
                </c:pt>
                <c:pt idx="418">
                  <c:v>42107</c:v>
                </c:pt>
                <c:pt idx="419">
                  <c:v>42108</c:v>
                </c:pt>
                <c:pt idx="420">
                  <c:v>42109</c:v>
                </c:pt>
                <c:pt idx="421">
                  <c:v>42110</c:v>
                </c:pt>
                <c:pt idx="422">
                  <c:v>42111</c:v>
                </c:pt>
                <c:pt idx="423">
                  <c:v>42114</c:v>
                </c:pt>
                <c:pt idx="424">
                  <c:v>42115</c:v>
                </c:pt>
                <c:pt idx="425">
                  <c:v>42116</c:v>
                </c:pt>
                <c:pt idx="426">
                  <c:v>42117</c:v>
                </c:pt>
                <c:pt idx="427">
                  <c:v>42118</c:v>
                </c:pt>
                <c:pt idx="428">
                  <c:v>42121</c:v>
                </c:pt>
                <c:pt idx="429">
                  <c:v>42122</c:v>
                </c:pt>
                <c:pt idx="430">
                  <c:v>42123</c:v>
                </c:pt>
                <c:pt idx="431">
                  <c:v>42124</c:v>
                </c:pt>
                <c:pt idx="432">
                  <c:v>42125</c:v>
                </c:pt>
                <c:pt idx="433">
                  <c:v>42128</c:v>
                </c:pt>
                <c:pt idx="434">
                  <c:v>42129</c:v>
                </c:pt>
                <c:pt idx="435">
                  <c:v>42130</c:v>
                </c:pt>
                <c:pt idx="436">
                  <c:v>42131</c:v>
                </c:pt>
                <c:pt idx="437">
                  <c:v>42132</c:v>
                </c:pt>
                <c:pt idx="438">
                  <c:v>42135</c:v>
                </c:pt>
                <c:pt idx="439">
                  <c:v>42136</c:v>
                </c:pt>
                <c:pt idx="440">
                  <c:v>42137</c:v>
                </c:pt>
                <c:pt idx="441">
                  <c:v>42138</c:v>
                </c:pt>
                <c:pt idx="442">
                  <c:v>42139</c:v>
                </c:pt>
                <c:pt idx="443">
                  <c:v>42142</c:v>
                </c:pt>
                <c:pt idx="444">
                  <c:v>42143</c:v>
                </c:pt>
                <c:pt idx="445">
                  <c:v>42144</c:v>
                </c:pt>
                <c:pt idx="446">
                  <c:v>42145</c:v>
                </c:pt>
                <c:pt idx="447">
                  <c:v>42146</c:v>
                </c:pt>
                <c:pt idx="448">
                  <c:v>42149</c:v>
                </c:pt>
                <c:pt idx="449">
                  <c:v>42150</c:v>
                </c:pt>
                <c:pt idx="450">
                  <c:v>42151</c:v>
                </c:pt>
                <c:pt idx="451">
                  <c:v>42152</c:v>
                </c:pt>
                <c:pt idx="452">
                  <c:v>42153</c:v>
                </c:pt>
                <c:pt idx="453">
                  <c:v>42156</c:v>
                </c:pt>
                <c:pt idx="454">
                  <c:v>42157</c:v>
                </c:pt>
                <c:pt idx="455">
                  <c:v>42158</c:v>
                </c:pt>
                <c:pt idx="456">
                  <c:v>42159</c:v>
                </c:pt>
                <c:pt idx="457">
                  <c:v>42160</c:v>
                </c:pt>
                <c:pt idx="458">
                  <c:v>42163</c:v>
                </c:pt>
                <c:pt idx="459">
                  <c:v>42164</c:v>
                </c:pt>
                <c:pt idx="460">
                  <c:v>42165</c:v>
                </c:pt>
                <c:pt idx="461">
                  <c:v>42166</c:v>
                </c:pt>
                <c:pt idx="462">
                  <c:v>42167</c:v>
                </c:pt>
                <c:pt idx="463">
                  <c:v>42170</c:v>
                </c:pt>
                <c:pt idx="464">
                  <c:v>42171</c:v>
                </c:pt>
                <c:pt idx="465">
                  <c:v>42172</c:v>
                </c:pt>
                <c:pt idx="466">
                  <c:v>42173</c:v>
                </c:pt>
                <c:pt idx="467">
                  <c:v>42174</c:v>
                </c:pt>
                <c:pt idx="468">
                  <c:v>42177</c:v>
                </c:pt>
                <c:pt idx="469">
                  <c:v>42178</c:v>
                </c:pt>
                <c:pt idx="470">
                  <c:v>42179</c:v>
                </c:pt>
                <c:pt idx="471">
                  <c:v>42180</c:v>
                </c:pt>
                <c:pt idx="472">
                  <c:v>42181</c:v>
                </c:pt>
                <c:pt idx="473">
                  <c:v>42184</c:v>
                </c:pt>
                <c:pt idx="474">
                  <c:v>42185</c:v>
                </c:pt>
                <c:pt idx="475">
                  <c:v>42186</c:v>
                </c:pt>
                <c:pt idx="476">
                  <c:v>42187</c:v>
                </c:pt>
                <c:pt idx="477">
                  <c:v>42188</c:v>
                </c:pt>
                <c:pt idx="478">
                  <c:v>42191</c:v>
                </c:pt>
                <c:pt idx="479">
                  <c:v>42192</c:v>
                </c:pt>
                <c:pt idx="480">
                  <c:v>42193</c:v>
                </c:pt>
                <c:pt idx="481">
                  <c:v>42194</c:v>
                </c:pt>
                <c:pt idx="482">
                  <c:v>42195</c:v>
                </c:pt>
                <c:pt idx="483">
                  <c:v>42198</c:v>
                </c:pt>
                <c:pt idx="484">
                  <c:v>42199</c:v>
                </c:pt>
                <c:pt idx="485">
                  <c:v>42200</c:v>
                </c:pt>
                <c:pt idx="486">
                  <c:v>42201</c:v>
                </c:pt>
                <c:pt idx="487">
                  <c:v>42202</c:v>
                </c:pt>
                <c:pt idx="488">
                  <c:v>42205</c:v>
                </c:pt>
                <c:pt idx="489">
                  <c:v>42206</c:v>
                </c:pt>
                <c:pt idx="490">
                  <c:v>42207</c:v>
                </c:pt>
                <c:pt idx="491">
                  <c:v>42208</c:v>
                </c:pt>
                <c:pt idx="492">
                  <c:v>42209</c:v>
                </c:pt>
                <c:pt idx="493">
                  <c:v>42212</c:v>
                </c:pt>
                <c:pt idx="494">
                  <c:v>42213</c:v>
                </c:pt>
                <c:pt idx="495">
                  <c:v>42214</c:v>
                </c:pt>
                <c:pt idx="496">
                  <c:v>42215</c:v>
                </c:pt>
                <c:pt idx="497">
                  <c:v>42216</c:v>
                </c:pt>
                <c:pt idx="498">
                  <c:v>42219</c:v>
                </c:pt>
                <c:pt idx="499">
                  <c:v>42220</c:v>
                </c:pt>
                <c:pt idx="500">
                  <c:v>42221</c:v>
                </c:pt>
                <c:pt idx="501">
                  <c:v>42222</c:v>
                </c:pt>
                <c:pt idx="502">
                  <c:v>42223</c:v>
                </c:pt>
                <c:pt idx="503">
                  <c:v>42226</c:v>
                </c:pt>
                <c:pt idx="504">
                  <c:v>42227</c:v>
                </c:pt>
                <c:pt idx="505">
                  <c:v>42228</c:v>
                </c:pt>
                <c:pt idx="506">
                  <c:v>42229</c:v>
                </c:pt>
                <c:pt idx="507">
                  <c:v>42230</c:v>
                </c:pt>
                <c:pt idx="508">
                  <c:v>42233</c:v>
                </c:pt>
                <c:pt idx="509">
                  <c:v>42234</c:v>
                </c:pt>
                <c:pt idx="510">
                  <c:v>42235</c:v>
                </c:pt>
                <c:pt idx="511">
                  <c:v>42236</c:v>
                </c:pt>
                <c:pt idx="512">
                  <c:v>42237</c:v>
                </c:pt>
                <c:pt idx="513">
                  <c:v>42240</c:v>
                </c:pt>
                <c:pt idx="514">
                  <c:v>42241</c:v>
                </c:pt>
                <c:pt idx="515">
                  <c:v>42242</c:v>
                </c:pt>
                <c:pt idx="516">
                  <c:v>42243</c:v>
                </c:pt>
                <c:pt idx="517">
                  <c:v>42244</c:v>
                </c:pt>
                <c:pt idx="518">
                  <c:v>42247</c:v>
                </c:pt>
                <c:pt idx="519">
                  <c:v>42248</c:v>
                </c:pt>
                <c:pt idx="520">
                  <c:v>42249</c:v>
                </c:pt>
                <c:pt idx="521">
                  <c:v>42250</c:v>
                </c:pt>
                <c:pt idx="522">
                  <c:v>42251</c:v>
                </c:pt>
                <c:pt idx="523">
                  <c:v>42254</c:v>
                </c:pt>
                <c:pt idx="524">
                  <c:v>42255</c:v>
                </c:pt>
                <c:pt idx="525">
                  <c:v>42256</c:v>
                </c:pt>
                <c:pt idx="526">
                  <c:v>42257</c:v>
                </c:pt>
                <c:pt idx="527">
                  <c:v>42258</c:v>
                </c:pt>
                <c:pt idx="528">
                  <c:v>42261</c:v>
                </c:pt>
                <c:pt idx="529">
                  <c:v>42262</c:v>
                </c:pt>
                <c:pt idx="530">
                  <c:v>42263</c:v>
                </c:pt>
                <c:pt idx="531">
                  <c:v>42264</c:v>
                </c:pt>
                <c:pt idx="532">
                  <c:v>42265</c:v>
                </c:pt>
                <c:pt idx="533">
                  <c:v>42268</c:v>
                </c:pt>
                <c:pt idx="534">
                  <c:v>42269</c:v>
                </c:pt>
                <c:pt idx="535">
                  <c:v>42270</c:v>
                </c:pt>
                <c:pt idx="536">
                  <c:v>42271</c:v>
                </c:pt>
                <c:pt idx="537">
                  <c:v>42272</c:v>
                </c:pt>
                <c:pt idx="538">
                  <c:v>42275</c:v>
                </c:pt>
                <c:pt idx="539">
                  <c:v>42276</c:v>
                </c:pt>
                <c:pt idx="540">
                  <c:v>42277</c:v>
                </c:pt>
                <c:pt idx="541">
                  <c:v>42278</c:v>
                </c:pt>
                <c:pt idx="542">
                  <c:v>42279</c:v>
                </c:pt>
                <c:pt idx="543">
                  <c:v>42282</c:v>
                </c:pt>
                <c:pt idx="544">
                  <c:v>42283</c:v>
                </c:pt>
                <c:pt idx="545">
                  <c:v>42284</c:v>
                </c:pt>
                <c:pt idx="546">
                  <c:v>42285</c:v>
                </c:pt>
                <c:pt idx="547">
                  <c:v>42286</c:v>
                </c:pt>
                <c:pt idx="548">
                  <c:v>42289</c:v>
                </c:pt>
                <c:pt idx="549">
                  <c:v>42290</c:v>
                </c:pt>
                <c:pt idx="550">
                  <c:v>42291</c:v>
                </c:pt>
                <c:pt idx="551">
                  <c:v>42292</c:v>
                </c:pt>
                <c:pt idx="552">
                  <c:v>42293</c:v>
                </c:pt>
                <c:pt idx="553">
                  <c:v>42296</c:v>
                </c:pt>
                <c:pt idx="554">
                  <c:v>42297</c:v>
                </c:pt>
                <c:pt idx="555">
                  <c:v>42298</c:v>
                </c:pt>
                <c:pt idx="556">
                  <c:v>42299</c:v>
                </c:pt>
                <c:pt idx="557">
                  <c:v>42300</c:v>
                </c:pt>
                <c:pt idx="558">
                  <c:v>42303</c:v>
                </c:pt>
                <c:pt idx="559">
                  <c:v>42304</c:v>
                </c:pt>
                <c:pt idx="560">
                  <c:v>42305</c:v>
                </c:pt>
                <c:pt idx="561">
                  <c:v>42306</c:v>
                </c:pt>
                <c:pt idx="562">
                  <c:v>42307</c:v>
                </c:pt>
                <c:pt idx="563">
                  <c:v>42310</c:v>
                </c:pt>
                <c:pt idx="564">
                  <c:v>42311</c:v>
                </c:pt>
                <c:pt idx="565">
                  <c:v>42312</c:v>
                </c:pt>
                <c:pt idx="566">
                  <c:v>42313</c:v>
                </c:pt>
                <c:pt idx="567">
                  <c:v>42314</c:v>
                </c:pt>
                <c:pt idx="568">
                  <c:v>42317</c:v>
                </c:pt>
                <c:pt idx="569">
                  <c:v>42318</c:v>
                </c:pt>
                <c:pt idx="570">
                  <c:v>42319</c:v>
                </c:pt>
                <c:pt idx="571">
                  <c:v>42320</c:v>
                </c:pt>
                <c:pt idx="572">
                  <c:v>42321</c:v>
                </c:pt>
                <c:pt idx="573">
                  <c:v>42324</c:v>
                </c:pt>
                <c:pt idx="574">
                  <c:v>42325</c:v>
                </c:pt>
                <c:pt idx="575">
                  <c:v>42326</c:v>
                </c:pt>
                <c:pt idx="576">
                  <c:v>42327</c:v>
                </c:pt>
                <c:pt idx="577">
                  <c:v>42328</c:v>
                </c:pt>
                <c:pt idx="578">
                  <c:v>42331</c:v>
                </c:pt>
                <c:pt idx="579">
                  <c:v>42332</c:v>
                </c:pt>
                <c:pt idx="580">
                  <c:v>42333</c:v>
                </c:pt>
                <c:pt idx="581">
                  <c:v>42334</c:v>
                </c:pt>
                <c:pt idx="582">
                  <c:v>42335</c:v>
                </c:pt>
                <c:pt idx="583">
                  <c:v>42338</c:v>
                </c:pt>
                <c:pt idx="584">
                  <c:v>42339</c:v>
                </c:pt>
                <c:pt idx="585">
                  <c:v>42340</c:v>
                </c:pt>
                <c:pt idx="586">
                  <c:v>42341</c:v>
                </c:pt>
                <c:pt idx="587">
                  <c:v>42342</c:v>
                </c:pt>
                <c:pt idx="588">
                  <c:v>42345</c:v>
                </c:pt>
                <c:pt idx="589">
                  <c:v>42346</c:v>
                </c:pt>
                <c:pt idx="590">
                  <c:v>42347</c:v>
                </c:pt>
                <c:pt idx="591">
                  <c:v>42348</c:v>
                </c:pt>
                <c:pt idx="592">
                  <c:v>42349</c:v>
                </c:pt>
                <c:pt idx="593">
                  <c:v>42352</c:v>
                </c:pt>
                <c:pt idx="594">
                  <c:v>42353</c:v>
                </c:pt>
                <c:pt idx="595">
                  <c:v>42354</c:v>
                </c:pt>
                <c:pt idx="596">
                  <c:v>42355</c:v>
                </c:pt>
                <c:pt idx="597">
                  <c:v>42356</c:v>
                </c:pt>
                <c:pt idx="598">
                  <c:v>42359</c:v>
                </c:pt>
                <c:pt idx="599">
                  <c:v>42360</c:v>
                </c:pt>
                <c:pt idx="600">
                  <c:v>42361</c:v>
                </c:pt>
                <c:pt idx="601">
                  <c:v>42362</c:v>
                </c:pt>
                <c:pt idx="602">
                  <c:v>42363</c:v>
                </c:pt>
                <c:pt idx="603">
                  <c:v>42366</c:v>
                </c:pt>
                <c:pt idx="604">
                  <c:v>42367</c:v>
                </c:pt>
                <c:pt idx="605">
                  <c:v>42368</c:v>
                </c:pt>
                <c:pt idx="606">
                  <c:v>42369</c:v>
                </c:pt>
                <c:pt idx="607">
                  <c:v>42370</c:v>
                </c:pt>
                <c:pt idx="608">
                  <c:v>42373</c:v>
                </c:pt>
                <c:pt idx="609">
                  <c:v>42374</c:v>
                </c:pt>
                <c:pt idx="610">
                  <c:v>42375</c:v>
                </c:pt>
                <c:pt idx="611">
                  <c:v>42376</c:v>
                </c:pt>
                <c:pt idx="612">
                  <c:v>42377</c:v>
                </c:pt>
                <c:pt idx="613">
                  <c:v>42380</c:v>
                </c:pt>
                <c:pt idx="614">
                  <c:v>42381</c:v>
                </c:pt>
                <c:pt idx="615">
                  <c:v>42382</c:v>
                </c:pt>
                <c:pt idx="616">
                  <c:v>42383</c:v>
                </c:pt>
                <c:pt idx="617">
                  <c:v>42384</c:v>
                </c:pt>
                <c:pt idx="618">
                  <c:v>42387</c:v>
                </c:pt>
                <c:pt idx="619">
                  <c:v>42388</c:v>
                </c:pt>
                <c:pt idx="620">
                  <c:v>42389</c:v>
                </c:pt>
                <c:pt idx="621">
                  <c:v>42390</c:v>
                </c:pt>
                <c:pt idx="622">
                  <c:v>42391</c:v>
                </c:pt>
                <c:pt idx="623">
                  <c:v>42394</c:v>
                </c:pt>
                <c:pt idx="624">
                  <c:v>42395</c:v>
                </c:pt>
                <c:pt idx="625">
                  <c:v>42396</c:v>
                </c:pt>
                <c:pt idx="626">
                  <c:v>42397</c:v>
                </c:pt>
                <c:pt idx="627">
                  <c:v>42398</c:v>
                </c:pt>
                <c:pt idx="628">
                  <c:v>42401</c:v>
                </c:pt>
                <c:pt idx="629">
                  <c:v>42402</c:v>
                </c:pt>
                <c:pt idx="630">
                  <c:v>42403</c:v>
                </c:pt>
                <c:pt idx="631">
                  <c:v>42404</c:v>
                </c:pt>
                <c:pt idx="632">
                  <c:v>42405</c:v>
                </c:pt>
                <c:pt idx="633">
                  <c:v>42408</c:v>
                </c:pt>
                <c:pt idx="634">
                  <c:v>42409</c:v>
                </c:pt>
                <c:pt idx="635">
                  <c:v>42410</c:v>
                </c:pt>
                <c:pt idx="636">
                  <c:v>42411</c:v>
                </c:pt>
                <c:pt idx="637">
                  <c:v>42412</c:v>
                </c:pt>
                <c:pt idx="638">
                  <c:v>42415</c:v>
                </c:pt>
                <c:pt idx="639">
                  <c:v>42416</c:v>
                </c:pt>
                <c:pt idx="640">
                  <c:v>42417</c:v>
                </c:pt>
                <c:pt idx="641">
                  <c:v>42418</c:v>
                </c:pt>
                <c:pt idx="642">
                  <c:v>42419</c:v>
                </c:pt>
                <c:pt idx="643">
                  <c:v>42422</c:v>
                </c:pt>
                <c:pt idx="644">
                  <c:v>42423</c:v>
                </c:pt>
                <c:pt idx="645">
                  <c:v>42424</c:v>
                </c:pt>
                <c:pt idx="646">
                  <c:v>42425</c:v>
                </c:pt>
                <c:pt idx="647">
                  <c:v>42426</c:v>
                </c:pt>
                <c:pt idx="648">
                  <c:v>42429</c:v>
                </c:pt>
                <c:pt idx="649">
                  <c:v>42430</c:v>
                </c:pt>
                <c:pt idx="650">
                  <c:v>42431</c:v>
                </c:pt>
                <c:pt idx="651">
                  <c:v>42432</c:v>
                </c:pt>
                <c:pt idx="652">
                  <c:v>42433</c:v>
                </c:pt>
                <c:pt idx="653">
                  <c:v>42436</c:v>
                </c:pt>
                <c:pt idx="654">
                  <c:v>42437</c:v>
                </c:pt>
                <c:pt idx="655">
                  <c:v>42438</c:v>
                </c:pt>
                <c:pt idx="656">
                  <c:v>42439</c:v>
                </c:pt>
                <c:pt idx="657">
                  <c:v>42440</c:v>
                </c:pt>
                <c:pt idx="658">
                  <c:v>42443</c:v>
                </c:pt>
                <c:pt idx="659">
                  <c:v>42444</c:v>
                </c:pt>
                <c:pt idx="660">
                  <c:v>42445</c:v>
                </c:pt>
                <c:pt idx="661">
                  <c:v>42446</c:v>
                </c:pt>
                <c:pt idx="662">
                  <c:v>42447</c:v>
                </c:pt>
                <c:pt idx="663">
                  <c:v>42450</c:v>
                </c:pt>
                <c:pt idx="664">
                  <c:v>42451</c:v>
                </c:pt>
                <c:pt idx="665">
                  <c:v>42452</c:v>
                </c:pt>
                <c:pt idx="666">
                  <c:v>42453</c:v>
                </c:pt>
                <c:pt idx="667">
                  <c:v>42454</c:v>
                </c:pt>
                <c:pt idx="668">
                  <c:v>42457</c:v>
                </c:pt>
                <c:pt idx="669">
                  <c:v>42458</c:v>
                </c:pt>
                <c:pt idx="670">
                  <c:v>42459</c:v>
                </c:pt>
                <c:pt idx="671">
                  <c:v>42460</c:v>
                </c:pt>
                <c:pt idx="672">
                  <c:v>42461</c:v>
                </c:pt>
                <c:pt idx="673">
                  <c:v>42464</c:v>
                </c:pt>
                <c:pt idx="674">
                  <c:v>42465</c:v>
                </c:pt>
                <c:pt idx="675">
                  <c:v>42466</c:v>
                </c:pt>
                <c:pt idx="676">
                  <c:v>42467</c:v>
                </c:pt>
                <c:pt idx="677">
                  <c:v>42468</c:v>
                </c:pt>
                <c:pt idx="678">
                  <c:v>42471</c:v>
                </c:pt>
                <c:pt idx="679">
                  <c:v>42472</c:v>
                </c:pt>
                <c:pt idx="680">
                  <c:v>42473</c:v>
                </c:pt>
                <c:pt idx="681">
                  <c:v>42474</c:v>
                </c:pt>
                <c:pt idx="682">
                  <c:v>42475</c:v>
                </c:pt>
                <c:pt idx="683">
                  <c:v>42478</c:v>
                </c:pt>
                <c:pt idx="684">
                  <c:v>42479</c:v>
                </c:pt>
                <c:pt idx="685">
                  <c:v>42480</c:v>
                </c:pt>
                <c:pt idx="686">
                  <c:v>42481</c:v>
                </c:pt>
                <c:pt idx="687">
                  <c:v>42482</c:v>
                </c:pt>
                <c:pt idx="688">
                  <c:v>42485</c:v>
                </c:pt>
                <c:pt idx="689">
                  <c:v>42486</c:v>
                </c:pt>
                <c:pt idx="690">
                  <c:v>42487</c:v>
                </c:pt>
                <c:pt idx="691">
                  <c:v>42488</c:v>
                </c:pt>
                <c:pt idx="692">
                  <c:v>42489</c:v>
                </c:pt>
                <c:pt idx="693">
                  <c:v>42492</c:v>
                </c:pt>
                <c:pt idx="694">
                  <c:v>42493</c:v>
                </c:pt>
                <c:pt idx="695">
                  <c:v>42494</c:v>
                </c:pt>
                <c:pt idx="696">
                  <c:v>42495</c:v>
                </c:pt>
                <c:pt idx="697">
                  <c:v>42496</c:v>
                </c:pt>
                <c:pt idx="698">
                  <c:v>42499</c:v>
                </c:pt>
                <c:pt idx="699">
                  <c:v>42500</c:v>
                </c:pt>
                <c:pt idx="700">
                  <c:v>42501</c:v>
                </c:pt>
                <c:pt idx="701">
                  <c:v>42502</c:v>
                </c:pt>
                <c:pt idx="702">
                  <c:v>42503</c:v>
                </c:pt>
                <c:pt idx="703">
                  <c:v>42506</c:v>
                </c:pt>
                <c:pt idx="704">
                  <c:v>42507</c:v>
                </c:pt>
                <c:pt idx="705">
                  <c:v>42508</c:v>
                </c:pt>
                <c:pt idx="706">
                  <c:v>42509</c:v>
                </c:pt>
                <c:pt idx="707">
                  <c:v>42510</c:v>
                </c:pt>
                <c:pt idx="708">
                  <c:v>42513</c:v>
                </c:pt>
                <c:pt idx="709">
                  <c:v>42514</c:v>
                </c:pt>
                <c:pt idx="710">
                  <c:v>42515</c:v>
                </c:pt>
                <c:pt idx="711">
                  <c:v>42516</c:v>
                </c:pt>
                <c:pt idx="712">
                  <c:v>42517</c:v>
                </c:pt>
                <c:pt idx="713">
                  <c:v>42520</c:v>
                </c:pt>
                <c:pt idx="714">
                  <c:v>42521</c:v>
                </c:pt>
                <c:pt idx="715">
                  <c:v>42522</c:v>
                </c:pt>
                <c:pt idx="716">
                  <c:v>42523</c:v>
                </c:pt>
                <c:pt idx="717">
                  <c:v>42524</c:v>
                </c:pt>
                <c:pt idx="718">
                  <c:v>42527</c:v>
                </c:pt>
                <c:pt idx="719">
                  <c:v>42528</c:v>
                </c:pt>
                <c:pt idx="720">
                  <c:v>42529</c:v>
                </c:pt>
                <c:pt idx="721">
                  <c:v>42530</c:v>
                </c:pt>
                <c:pt idx="722">
                  <c:v>42531</c:v>
                </c:pt>
                <c:pt idx="723">
                  <c:v>42534</c:v>
                </c:pt>
                <c:pt idx="724">
                  <c:v>42535</c:v>
                </c:pt>
                <c:pt idx="725">
                  <c:v>42536</c:v>
                </c:pt>
                <c:pt idx="726">
                  <c:v>42537</c:v>
                </c:pt>
                <c:pt idx="727">
                  <c:v>42538</c:v>
                </c:pt>
                <c:pt idx="728">
                  <c:v>42541</c:v>
                </c:pt>
                <c:pt idx="729">
                  <c:v>42542</c:v>
                </c:pt>
                <c:pt idx="730">
                  <c:v>42543</c:v>
                </c:pt>
                <c:pt idx="731">
                  <c:v>42544</c:v>
                </c:pt>
                <c:pt idx="732">
                  <c:v>42545</c:v>
                </c:pt>
                <c:pt idx="733">
                  <c:v>42548</c:v>
                </c:pt>
                <c:pt idx="734">
                  <c:v>42549</c:v>
                </c:pt>
                <c:pt idx="735">
                  <c:v>42550</c:v>
                </c:pt>
                <c:pt idx="736">
                  <c:v>42551</c:v>
                </c:pt>
                <c:pt idx="737">
                  <c:v>42552</c:v>
                </c:pt>
                <c:pt idx="738">
                  <c:v>42555</c:v>
                </c:pt>
                <c:pt idx="739">
                  <c:v>42556</c:v>
                </c:pt>
                <c:pt idx="740">
                  <c:v>42557</c:v>
                </c:pt>
                <c:pt idx="741">
                  <c:v>42558</c:v>
                </c:pt>
                <c:pt idx="742">
                  <c:v>42559</c:v>
                </c:pt>
                <c:pt idx="743">
                  <c:v>42562</c:v>
                </c:pt>
                <c:pt idx="744">
                  <c:v>42563</c:v>
                </c:pt>
                <c:pt idx="745">
                  <c:v>42564</c:v>
                </c:pt>
                <c:pt idx="746">
                  <c:v>42565</c:v>
                </c:pt>
                <c:pt idx="747">
                  <c:v>42566</c:v>
                </c:pt>
                <c:pt idx="748">
                  <c:v>42569</c:v>
                </c:pt>
                <c:pt idx="749">
                  <c:v>42570</c:v>
                </c:pt>
                <c:pt idx="750">
                  <c:v>42571</c:v>
                </c:pt>
                <c:pt idx="751">
                  <c:v>42572</c:v>
                </c:pt>
                <c:pt idx="752">
                  <c:v>42573</c:v>
                </c:pt>
                <c:pt idx="753">
                  <c:v>42576</c:v>
                </c:pt>
                <c:pt idx="754">
                  <c:v>42577</c:v>
                </c:pt>
                <c:pt idx="755">
                  <c:v>42578</c:v>
                </c:pt>
                <c:pt idx="756">
                  <c:v>42579</c:v>
                </c:pt>
                <c:pt idx="757">
                  <c:v>42580</c:v>
                </c:pt>
                <c:pt idx="758">
                  <c:v>42583</c:v>
                </c:pt>
                <c:pt idx="759">
                  <c:v>42584</c:v>
                </c:pt>
                <c:pt idx="760">
                  <c:v>42585</c:v>
                </c:pt>
                <c:pt idx="761">
                  <c:v>42586</c:v>
                </c:pt>
                <c:pt idx="762">
                  <c:v>42587</c:v>
                </c:pt>
                <c:pt idx="763">
                  <c:v>42590</c:v>
                </c:pt>
                <c:pt idx="764">
                  <c:v>42591</c:v>
                </c:pt>
                <c:pt idx="765">
                  <c:v>42592</c:v>
                </c:pt>
                <c:pt idx="766">
                  <c:v>42593</c:v>
                </c:pt>
                <c:pt idx="767">
                  <c:v>42594</c:v>
                </c:pt>
                <c:pt idx="768">
                  <c:v>42597</c:v>
                </c:pt>
                <c:pt idx="769">
                  <c:v>42598</c:v>
                </c:pt>
                <c:pt idx="770">
                  <c:v>42599</c:v>
                </c:pt>
                <c:pt idx="771">
                  <c:v>42600</c:v>
                </c:pt>
                <c:pt idx="772">
                  <c:v>42601</c:v>
                </c:pt>
                <c:pt idx="773">
                  <c:v>42604</c:v>
                </c:pt>
                <c:pt idx="774">
                  <c:v>42605</c:v>
                </c:pt>
                <c:pt idx="775">
                  <c:v>42606</c:v>
                </c:pt>
                <c:pt idx="776">
                  <c:v>42607</c:v>
                </c:pt>
                <c:pt idx="777">
                  <c:v>42608</c:v>
                </c:pt>
                <c:pt idx="778">
                  <c:v>42611</c:v>
                </c:pt>
                <c:pt idx="779">
                  <c:v>42612</c:v>
                </c:pt>
                <c:pt idx="780">
                  <c:v>42613</c:v>
                </c:pt>
                <c:pt idx="781">
                  <c:v>42614</c:v>
                </c:pt>
                <c:pt idx="782">
                  <c:v>42615</c:v>
                </c:pt>
                <c:pt idx="783">
                  <c:v>42618</c:v>
                </c:pt>
                <c:pt idx="784">
                  <c:v>42619</c:v>
                </c:pt>
                <c:pt idx="785">
                  <c:v>42620</c:v>
                </c:pt>
                <c:pt idx="786">
                  <c:v>42621</c:v>
                </c:pt>
                <c:pt idx="787">
                  <c:v>42622</c:v>
                </c:pt>
                <c:pt idx="788">
                  <c:v>42625</c:v>
                </c:pt>
                <c:pt idx="789">
                  <c:v>42626</c:v>
                </c:pt>
                <c:pt idx="790">
                  <c:v>42627</c:v>
                </c:pt>
                <c:pt idx="791">
                  <c:v>42628</c:v>
                </c:pt>
                <c:pt idx="792">
                  <c:v>42629</c:v>
                </c:pt>
                <c:pt idx="793">
                  <c:v>42632</c:v>
                </c:pt>
                <c:pt idx="794">
                  <c:v>42633</c:v>
                </c:pt>
                <c:pt idx="795">
                  <c:v>42634</c:v>
                </c:pt>
                <c:pt idx="796">
                  <c:v>42635</c:v>
                </c:pt>
                <c:pt idx="797">
                  <c:v>42636</c:v>
                </c:pt>
                <c:pt idx="798">
                  <c:v>42639</c:v>
                </c:pt>
                <c:pt idx="799">
                  <c:v>42640</c:v>
                </c:pt>
                <c:pt idx="800">
                  <c:v>42641</c:v>
                </c:pt>
                <c:pt idx="801">
                  <c:v>42642</c:v>
                </c:pt>
                <c:pt idx="802">
                  <c:v>42643</c:v>
                </c:pt>
                <c:pt idx="803">
                  <c:v>42646</c:v>
                </c:pt>
                <c:pt idx="804">
                  <c:v>42647</c:v>
                </c:pt>
                <c:pt idx="805">
                  <c:v>42648</c:v>
                </c:pt>
                <c:pt idx="806">
                  <c:v>42649</c:v>
                </c:pt>
                <c:pt idx="807">
                  <c:v>42650</c:v>
                </c:pt>
                <c:pt idx="808">
                  <c:v>42653</c:v>
                </c:pt>
                <c:pt idx="809">
                  <c:v>42654</c:v>
                </c:pt>
                <c:pt idx="810">
                  <c:v>42655</c:v>
                </c:pt>
                <c:pt idx="811">
                  <c:v>42656</c:v>
                </c:pt>
                <c:pt idx="812">
                  <c:v>42657</c:v>
                </c:pt>
                <c:pt idx="813">
                  <c:v>42660</c:v>
                </c:pt>
                <c:pt idx="814">
                  <c:v>42661</c:v>
                </c:pt>
                <c:pt idx="815">
                  <c:v>42662</c:v>
                </c:pt>
                <c:pt idx="816">
                  <c:v>42663</c:v>
                </c:pt>
                <c:pt idx="817">
                  <c:v>42664</c:v>
                </c:pt>
                <c:pt idx="818">
                  <c:v>42667</c:v>
                </c:pt>
                <c:pt idx="819">
                  <c:v>42668</c:v>
                </c:pt>
                <c:pt idx="820">
                  <c:v>42669</c:v>
                </c:pt>
                <c:pt idx="821">
                  <c:v>42670</c:v>
                </c:pt>
                <c:pt idx="822">
                  <c:v>42671</c:v>
                </c:pt>
                <c:pt idx="823">
                  <c:v>42674</c:v>
                </c:pt>
                <c:pt idx="824">
                  <c:v>42675</c:v>
                </c:pt>
                <c:pt idx="825">
                  <c:v>42676</c:v>
                </c:pt>
                <c:pt idx="826">
                  <c:v>42677</c:v>
                </c:pt>
                <c:pt idx="827">
                  <c:v>42678</c:v>
                </c:pt>
                <c:pt idx="828">
                  <c:v>42681</c:v>
                </c:pt>
                <c:pt idx="829">
                  <c:v>42682</c:v>
                </c:pt>
                <c:pt idx="830">
                  <c:v>42683</c:v>
                </c:pt>
                <c:pt idx="831">
                  <c:v>42684</c:v>
                </c:pt>
                <c:pt idx="832">
                  <c:v>42685</c:v>
                </c:pt>
                <c:pt idx="833">
                  <c:v>42688</c:v>
                </c:pt>
                <c:pt idx="834">
                  <c:v>42689</c:v>
                </c:pt>
                <c:pt idx="835">
                  <c:v>42690</c:v>
                </c:pt>
                <c:pt idx="836">
                  <c:v>42691</c:v>
                </c:pt>
                <c:pt idx="837">
                  <c:v>42692</c:v>
                </c:pt>
                <c:pt idx="838">
                  <c:v>42695</c:v>
                </c:pt>
                <c:pt idx="839">
                  <c:v>42696</c:v>
                </c:pt>
                <c:pt idx="840">
                  <c:v>42697</c:v>
                </c:pt>
                <c:pt idx="841">
                  <c:v>42698</c:v>
                </c:pt>
                <c:pt idx="842">
                  <c:v>42699</c:v>
                </c:pt>
                <c:pt idx="843">
                  <c:v>42702</c:v>
                </c:pt>
                <c:pt idx="844">
                  <c:v>42703</c:v>
                </c:pt>
                <c:pt idx="845">
                  <c:v>42704</c:v>
                </c:pt>
                <c:pt idx="846">
                  <c:v>42705</c:v>
                </c:pt>
                <c:pt idx="847">
                  <c:v>42706</c:v>
                </c:pt>
                <c:pt idx="848">
                  <c:v>42709</c:v>
                </c:pt>
                <c:pt idx="849">
                  <c:v>42710</c:v>
                </c:pt>
                <c:pt idx="850">
                  <c:v>42711</c:v>
                </c:pt>
                <c:pt idx="851">
                  <c:v>42712</c:v>
                </c:pt>
                <c:pt idx="852">
                  <c:v>42713</c:v>
                </c:pt>
                <c:pt idx="853">
                  <c:v>42716</c:v>
                </c:pt>
                <c:pt idx="854">
                  <c:v>42717</c:v>
                </c:pt>
                <c:pt idx="855">
                  <c:v>42718</c:v>
                </c:pt>
                <c:pt idx="856">
                  <c:v>42719</c:v>
                </c:pt>
                <c:pt idx="857">
                  <c:v>42720</c:v>
                </c:pt>
                <c:pt idx="858">
                  <c:v>42723</c:v>
                </c:pt>
                <c:pt idx="859">
                  <c:v>42724</c:v>
                </c:pt>
                <c:pt idx="860">
                  <c:v>42725</c:v>
                </c:pt>
                <c:pt idx="861">
                  <c:v>42726</c:v>
                </c:pt>
                <c:pt idx="862">
                  <c:v>42727</c:v>
                </c:pt>
                <c:pt idx="863">
                  <c:v>42730</c:v>
                </c:pt>
                <c:pt idx="864">
                  <c:v>42731</c:v>
                </c:pt>
                <c:pt idx="865">
                  <c:v>42732</c:v>
                </c:pt>
                <c:pt idx="866">
                  <c:v>42733</c:v>
                </c:pt>
                <c:pt idx="867">
                  <c:v>42734</c:v>
                </c:pt>
                <c:pt idx="868">
                  <c:v>42737</c:v>
                </c:pt>
                <c:pt idx="869">
                  <c:v>42738</c:v>
                </c:pt>
                <c:pt idx="870">
                  <c:v>42739</c:v>
                </c:pt>
                <c:pt idx="871">
                  <c:v>42740</c:v>
                </c:pt>
                <c:pt idx="872">
                  <c:v>42741</c:v>
                </c:pt>
                <c:pt idx="873">
                  <c:v>42744</c:v>
                </c:pt>
                <c:pt idx="874">
                  <c:v>42745</c:v>
                </c:pt>
                <c:pt idx="875">
                  <c:v>42746</c:v>
                </c:pt>
                <c:pt idx="876">
                  <c:v>42747</c:v>
                </c:pt>
                <c:pt idx="877">
                  <c:v>42748</c:v>
                </c:pt>
                <c:pt idx="878">
                  <c:v>42751</c:v>
                </c:pt>
                <c:pt idx="879">
                  <c:v>42752</c:v>
                </c:pt>
                <c:pt idx="880">
                  <c:v>42753</c:v>
                </c:pt>
                <c:pt idx="881">
                  <c:v>42754</c:v>
                </c:pt>
                <c:pt idx="882">
                  <c:v>42755</c:v>
                </c:pt>
                <c:pt idx="883">
                  <c:v>42758</c:v>
                </c:pt>
                <c:pt idx="884">
                  <c:v>42759</c:v>
                </c:pt>
                <c:pt idx="885">
                  <c:v>42760</c:v>
                </c:pt>
                <c:pt idx="886">
                  <c:v>42761</c:v>
                </c:pt>
                <c:pt idx="887">
                  <c:v>42762</c:v>
                </c:pt>
                <c:pt idx="888">
                  <c:v>42765</c:v>
                </c:pt>
                <c:pt idx="889">
                  <c:v>42766</c:v>
                </c:pt>
                <c:pt idx="890">
                  <c:v>42767</c:v>
                </c:pt>
                <c:pt idx="891">
                  <c:v>42768</c:v>
                </c:pt>
                <c:pt idx="892">
                  <c:v>42769</c:v>
                </c:pt>
                <c:pt idx="893">
                  <c:v>42772</c:v>
                </c:pt>
                <c:pt idx="894">
                  <c:v>42773</c:v>
                </c:pt>
                <c:pt idx="895">
                  <c:v>42774</c:v>
                </c:pt>
                <c:pt idx="896">
                  <c:v>42775</c:v>
                </c:pt>
                <c:pt idx="897">
                  <c:v>42776</c:v>
                </c:pt>
                <c:pt idx="898">
                  <c:v>42779</c:v>
                </c:pt>
                <c:pt idx="899">
                  <c:v>42780</c:v>
                </c:pt>
                <c:pt idx="900">
                  <c:v>42781</c:v>
                </c:pt>
                <c:pt idx="901">
                  <c:v>42782</c:v>
                </c:pt>
                <c:pt idx="902">
                  <c:v>42783</c:v>
                </c:pt>
                <c:pt idx="903">
                  <c:v>42786</c:v>
                </c:pt>
                <c:pt idx="904">
                  <c:v>42787</c:v>
                </c:pt>
                <c:pt idx="905">
                  <c:v>42788</c:v>
                </c:pt>
                <c:pt idx="906">
                  <c:v>42789</c:v>
                </c:pt>
                <c:pt idx="907">
                  <c:v>42790</c:v>
                </c:pt>
                <c:pt idx="908">
                  <c:v>42793</c:v>
                </c:pt>
                <c:pt idx="909">
                  <c:v>42794</c:v>
                </c:pt>
                <c:pt idx="910">
                  <c:v>42795</c:v>
                </c:pt>
                <c:pt idx="911">
                  <c:v>42796</c:v>
                </c:pt>
                <c:pt idx="912">
                  <c:v>42797</c:v>
                </c:pt>
                <c:pt idx="913">
                  <c:v>42800</c:v>
                </c:pt>
                <c:pt idx="914">
                  <c:v>42801</c:v>
                </c:pt>
                <c:pt idx="915">
                  <c:v>42802</c:v>
                </c:pt>
                <c:pt idx="916">
                  <c:v>42803</c:v>
                </c:pt>
                <c:pt idx="917">
                  <c:v>42804</c:v>
                </c:pt>
                <c:pt idx="918">
                  <c:v>42807</c:v>
                </c:pt>
                <c:pt idx="919">
                  <c:v>42808</c:v>
                </c:pt>
                <c:pt idx="920">
                  <c:v>42809</c:v>
                </c:pt>
                <c:pt idx="921">
                  <c:v>42810</c:v>
                </c:pt>
                <c:pt idx="922">
                  <c:v>42811</c:v>
                </c:pt>
                <c:pt idx="923">
                  <c:v>42814</c:v>
                </c:pt>
                <c:pt idx="924">
                  <c:v>42815</c:v>
                </c:pt>
                <c:pt idx="925">
                  <c:v>42816</c:v>
                </c:pt>
                <c:pt idx="926">
                  <c:v>42817</c:v>
                </c:pt>
                <c:pt idx="927">
                  <c:v>42818</c:v>
                </c:pt>
                <c:pt idx="928">
                  <c:v>42821</c:v>
                </c:pt>
                <c:pt idx="929">
                  <c:v>42822</c:v>
                </c:pt>
                <c:pt idx="930">
                  <c:v>42823</c:v>
                </c:pt>
                <c:pt idx="931">
                  <c:v>42824</c:v>
                </c:pt>
                <c:pt idx="932">
                  <c:v>42825</c:v>
                </c:pt>
                <c:pt idx="933">
                  <c:v>42828</c:v>
                </c:pt>
                <c:pt idx="934">
                  <c:v>42829</c:v>
                </c:pt>
                <c:pt idx="935">
                  <c:v>42830</c:v>
                </c:pt>
                <c:pt idx="936">
                  <c:v>42831</c:v>
                </c:pt>
                <c:pt idx="937">
                  <c:v>42832</c:v>
                </c:pt>
                <c:pt idx="938">
                  <c:v>42835</c:v>
                </c:pt>
                <c:pt idx="939">
                  <c:v>42836</c:v>
                </c:pt>
                <c:pt idx="940">
                  <c:v>42837</c:v>
                </c:pt>
                <c:pt idx="941">
                  <c:v>42838</c:v>
                </c:pt>
                <c:pt idx="942">
                  <c:v>42839</c:v>
                </c:pt>
                <c:pt idx="943">
                  <c:v>42842</c:v>
                </c:pt>
                <c:pt idx="944">
                  <c:v>42843</c:v>
                </c:pt>
                <c:pt idx="945">
                  <c:v>42844</c:v>
                </c:pt>
                <c:pt idx="946">
                  <c:v>42845</c:v>
                </c:pt>
                <c:pt idx="947">
                  <c:v>42846</c:v>
                </c:pt>
                <c:pt idx="948">
                  <c:v>42849</c:v>
                </c:pt>
                <c:pt idx="949">
                  <c:v>42850</c:v>
                </c:pt>
                <c:pt idx="950">
                  <c:v>42851</c:v>
                </c:pt>
                <c:pt idx="951">
                  <c:v>42852</c:v>
                </c:pt>
                <c:pt idx="952">
                  <c:v>42853</c:v>
                </c:pt>
                <c:pt idx="953">
                  <c:v>42856</c:v>
                </c:pt>
                <c:pt idx="954">
                  <c:v>42857</c:v>
                </c:pt>
                <c:pt idx="955">
                  <c:v>42858</c:v>
                </c:pt>
                <c:pt idx="956">
                  <c:v>42859</c:v>
                </c:pt>
                <c:pt idx="957">
                  <c:v>42860</c:v>
                </c:pt>
                <c:pt idx="958">
                  <c:v>42863</c:v>
                </c:pt>
                <c:pt idx="959">
                  <c:v>42864</c:v>
                </c:pt>
                <c:pt idx="960">
                  <c:v>42865</c:v>
                </c:pt>
                <c:pt idx="961">
                  <c:v>42866</c:v>
                </c:pt>
                <c:pt idx="962">
                  <c:v>42867</c:v>
                </c:pt>
                <c:pt idx="963">
                  <c:v>42870</c:v>
                </c:pt>
                <c:pt idx="964">
                  <c:v>42871</c:v>
                </c:pt>
                <c:pt idx="965">
                  <c:v>42872</c:v>
                </c:pt>
                <c:pt idx="966">
                  <c:v>42873</c:v>
                </c:pt>
                <c:pt idx="967">
                  <c:v>42874</c:v>
                </c:pt>
                <c:pt idx="968">
                  <c:v>42877</c:v>
                </c:pt>
                <c:pt idx="969">
                  <c:v>42878</c:v>
                </c:pt>
                <c:pt idx="970">
                  <c:v>42879</c:v>
                </c:pt>
                <c:pt idx="971">
                  <c:v>42880</c:v>
                </c:pt>
                <c:pt idx="972">
                  <c:v>42881</c:v>
                </c:pt>
                <c:pt idx="973">
                  <c:v>42884</c:v>
                </c:pt>
                <c:pt idx="974">
                  <c:v>42885</c:v>
                </c:pt>
                <c:pt idx="975">
                  <c:v>42886</c:v>
                </c:pt>
                <c:pt idx="976">
                  <c:v>42887</c:v>
                </c:pt>
                <c:pt idx="977">
                  <c:v>42888</c:v>
                </c:pt>
                <c:pt idx="978">
                  <c:v>42891</c:v>
                </c:pt>
                <c:pt idx="979">
                  <c:v>42892</c:v>
                </c:pt>
                <c:pt idx="980">
                  <c:v>42893</c:v>
                </c:pt>
                <c:pt idx="981">
                  <c:v>42894</c:v>
                </c:pt>
                <c:pt idx="982">
                  <c:v>42895</c:v>
                </c:pt>
                <c:pt idx="983">
                  <c:v>42898</c:v>
                </c:pt>
                <c:pt idx="984">
                  <c:v>42899</c:v>
                </c:pt>
                <c:pt idx="985">
                  <c:v>42900</c:v>
                </c:pt>
                <c:pt idx="986">
                  <c:v>42901</c:v>
                </c:pt>
                <c:pt idx="987">
                  <c:v>42902</c:v>
                </c:pt>
                <c:pt idx="988">
                  <c:v>42905</c:v>
                </c:pt>
                <c:pt idx="989">
                  <c:v>42906</c:v>
                </c:pt>
                <c:pt idx="990">
                  <c:v>42907</c:v>
                </c:pt>
                <c:pt idx="991">
                  <c:v>42908</c:v>
                </c:pt>
                <c:pt idx="992">
                  <c:v>42909</c:v>
                </c:pt>
                <c:pt idx="993">
                  <c:v>42912</c:v>
                </c:pt>
                <c:pt idx="994">
                  <c:v>42913</c:v>
                </c:pt>
                <c:pt idx="995">
                  <c:v>42914</c:v>
                </c:pt>
                <c:pt idx="996">
                  <c:v>42915</c:v>
                </c:pt>
                <c:pt idx="997">
                  <c:v>42916</c:v>
                </c:pt>
                <c:pt idx="998">
                  <c:v>42919</c:v>
                </c:pt>
                <c:pt idx="999">
                  <c:v>42920</c:v>
                </c:pt>
                <c:pt idx="1000">
                  <c:v>42921</c:v>
                </c:pt>
                <c:pt idx="1001">
                  <c:v>42922</c:v>
                </c:pt>
                <c:pt idx="1002">
                  <c:v>42923</c:v>
                </c:pt>
                <c:pt idx="1003">
                  <c:v>42926</c:v>
                </c:pt>
                <c:pt idx="1004">
                  <c:v>42927</c:v>
                </c:pt>
                <c:pt idx="1005">
                  <c:v>42928</c:v>
                </c:pt>
                <c:pt idx="1006">
                  <c:v>42929</c:v>
                </c:pt>
                <c:pt idx="1007">
                  <c:v>42930</c:v>
                </c:pt>
                <c:pt idx="1008">
                  <c:v>42933</c:v>
                </c:pt>
                <c:pt idx="1009">
                  <c:v>42934</c:v>
                </c:pt>
                <c:pt idx="1010">
                  <c:v>42935</c:v>
                </c:pt>
                <c:pt idx="1011">
                  <c:v>42936</c:v>
                </c:pt>
                <c:pt idx="1012">
                  <c:v>42937</c:v>
                </c:pt>
                <c:pt idx="1013">
                  <c:v>42940</c:v>
                </c:pt>
                <c:pt idx="1014">
                  <c:v>42941</c:v>
                </c:pt>
                <c:pt idx="1015">
                  <c:v>42942</c:v>
                </c:pt>
                <c:pt idx="1016">
                  <c:v>42943</c:v>
                </c:pt>
                <c:pt idx="1017">
                  <c:v>42944</c:v>
                </c:pt>
                <c:pt idx="1018">
                  <c:v>42947</c:v>
                </c:pt>
                <c:pt idx="1019">
                  <c:v>42948</c:v>
                </c:pt>
                <c:pt idx="1020">
                  <c:v>42949</c:v>
                </c:pt>
                <c:pt idx="1021">
                  <c:v>42950</c:v>
                </c:pt>
                <c:pt idx="1022">
                  <c:v>42951</c:v>
                </c:pt>
                <c:pt idx="1023">
                  <c:v>42954</c:v>
                </c:pt>
                <c:pt idx="1024">
                  <c:v>42955</c:v>
                </c:pt>
                <c:pt idx="1025">
                  <c:v>42956</c:v>
                </c:pt>
                <c:pt idx="1026">
                  <c:v>42957</c:v>
                </c:pt>
                <c:pt idx="1027">
                  <c:v>42958</c:v>
                </c:pt>
                <c:pt idx="1028">
                  <c:v>42961</c:v>
                </c:pt>
                <c:pt idx="1029">
                  <c:v>42962</c:v>
                </c:pt>
                <c:pt idx="1030">
                  <c:v>42963</c:v>
                </c:pt>
                <c:pt idx="1031">
                  <c:v>42964</c:v>
                </c:pt>
                <c:pt idx="1032">
                  <c:v>42965</c:v>
                </c:pt>
                <c:pt idx="1033">
                  <c:v>42968</c:v>
                </c:pt>
                <c:pt idx="1034">
                  <c:v>42969</c:v>
                </c:pt>
                <c:pt idx="1035">
                  <c:v>42970</c:v>
                </c:pt>
                <c:pt idx="1036">
                  <c:v>42971</c:v>
                </c:pt>
                <c:pt idx="1037">
                  <c:v>42972</c:v>
                </c:pt>
                <c:pt idx="1038">
                  <c:v>42975</c:v>
                </c:pt>
                <c:pt idx="1039">
                  <c:v>42976</c:v>
                </c:pt>
                <c:pt idx="1040">
                  <c:v>42977</c:v>
                </c:pt>
                <c:pt idx="1041">
                  <c:v>42978</c:v>
                </c:pt>
                <c:pt idx="1042">
                  <c:v>42979</c:v>
                </c:pt>
                <c:pt idx="1043">
                  <c:v>42982</c:v>
                </c:pt>
                <c:pt idx="1044">
                  <c:v>42983</c:v>
                </c:pt>
                <c:pt idx="1045">
                  <c:v>42984</c:v>
                </c:pt>
                <c:pt idx="1046">
                  <c:v>42985</c:v>
                </c:pt>
                <c:pt idx="1047">
                  <c:v>42986</c:v>
                </c:pt>
                <c:pt idx="1048">
                  <c:v>42989</c:v>
                </c:pt>
                <c:pt idx="1049">
                  <c:v>42990</c:v>
                </c:pt>
                <c:pt idx="1050">
                  <c:v>42991</c:v>
                </c:pt>
                <c:pt idx="1051">
                  <c:v>42992</c:v>
                </c:pt>
                <c:pt idx="1052">
                  <c:v>42993</c:v>
                </c:pt>
                <c:pt idx="1053">
                  <c:v>42996</c:v>
                </c:pt>
                <c:pt idx="1054">
                  <c:v>42997</c:v>
                </c:pt>
                <c:pt idx="1055">
                  <c:v>42998</c:v>
                </c:pt>
                <c:pt idx="1056">
                  <c:v>42999</c:v>
                </c:pt>
                <c:pt idx="1057">
                  <c:v>43000</c:v>
                </c:pt>
                <c:pt idx="1058">
                  <c:v>43003</c:v>
                </c:pt>
                <c:pt idx="1059">
                  <c:v>43004</c:v>
                </c:pt>
                <c:pt idx="1060">
                  <c:v>43005</c:v>
                </c:pt>
                <c:pt idx="1061">
                  <c:v>43006</c:v>
                </c:pt>
                <c:pt idx="1062">
                  <c:v>43007</c:v>
                </c:pt>
                <c:pt idx="1063">
                  <c:v>43010</c:v>
                </c:pt>
                <c:pt idx="1064">
                  <c:v>43011</c:v>
                </c:pt>
                <c:pt idx="1065">
                  <c:v>43012</c:v>
                </c:pt>
                <c:pt idx="1066">
                  <c:v>43013</c:v>
                </c:pt>
                <c:pt idx="1067">
                  <c:v>43014</c:v>
                </c:pt>
                <c:pt idx="1068">
                  <c:v>43017</c:v>
                </c:pt>
                <c:pt idx="1069">
                  <c:v>43018</c:v>
                </c:pt>
                <c:pt idx="1070">
                  <c:v>43019</c:v>
                </c:pt>
                <c:pt idx="1071">
                  <c:v>43020</c:v>
                </c:pt>
                <c:pt idx="1072">
                  <c:v>43021</c:v>
                </c:pt>
                <c:pt idx="1073">
                  <c:v>43024</c:v>
                </c:pt>
                <c:pt idx="1074">
                  <c:v>43025</c:v>
                </c:pt>
                <c:pt idx="1075">
                  <c:v>43026</c:v>
                </c:pt>
                <c:pt idx="1076">
                  <c:v>43027</c:v>
                </c:pt>
                <c:pt idx="1077">
                  <c:v>43028</c:v>
                </c:pt>
                <c:pt idx="1078">
                  <c:v>43031</c:v>
                </c:pt>
                <c:pt idx="1079">
                  <c:v>43032</c:v>
                </c:pt>
                <c:pt idx="1080">
                  <c:v>43033</c:v>
                </c:pt>
                <c:pt idx="1081">
                  <c:v>43034</c:v>
                </c:pt>
                <c:pt idx="1082">
                  <c:v>43035</c:v>
                </c:pt>
                <c:pt idx="1083">
                  <c:v>43038</c:v>
                </c:pt>
                <c:pt idx="1084">
                  <c:v>43039</c:v>
                </c:pt>
                <c:pt idx="1085">
                  <c:v>43040</c:v>
                </c:pt>
                <c:pt idx="1086">
                  <c:v>43041</c:v>
                </c:pt>
                <c:pt idx="1087">
                  <c:v>43042</c:v>
                </c:pt>
                <c:pt idx="1088">
                  <c:v>43045</c:v>
                </c:pt>
                <c:pt idx="1089">
                  <c:v>43046</c:v>
                </c:pt>
                <c:pt idx="1090">
                  <c:v>43047</c:v>
                </c:pt>
                <c:pt idx="1091">
                  <c:v>43048</c:v>
                </c:pt>
                <c:pt idx="1092">
                  <c:v>43049</c:v>
                </c:pt>
                <c:pt idx="1093">
                  <c:v>43052</c:v>
                </c:pt>
                <c:pt idx="1094">
                  <c:v>43053</c:v>
                </c:pt>
                <c:pt idx="1095">
                  <c:v>43054</c:v>
                </c:pt>
                <c:pt idx="1096">
                  <c:v>43055</c:v>
                </c:pt>
                <c:pt idx="1097">
                  <c:v>43056</c:v>
                </c:pt>
                <c:pt idx="1098">
                  <c:v>43059</c:v>
                </c:pt>
                <c:pt idx="1099">
                  <c:v>43060</c:v>
                </c:pt>
                <c:pt idx="1100">
                  <c:v>43061</c:v>
                </c:pt>
                <c:pt idx="1101">
                  <c:v>43062</c:v>
                </c:pt>
                <c:pt idx="1102">
                  <c:v>43063</c:v>
                </c:pt>
                <c:pt idx="1103">
                  <c:v>43066</c:v>
                </c:pt>
                <c:pt idx="1104">
                  <c:v>43067</c:v>
                </c:pt>
                <c:pt idx="1105">
                  <c:v>43068</c:v>
                </c:pt>
                <c:pt idx="1106">
                  <c:v>43069</c:v>
                </c:pt>
                <c:pt idx="1107">
                  <c:v>43070</c:v>
                </c:pt>
                <c:pt idx="1108">
                  <c:v>43073</c:v>
                </c:pt>
                <c:pt idx="1109">
                  <c:v>43074</c:v>
                </c:pt>
                <c:pt idx="1110">
                  <c:v>43075</c:v>
                </c:pt>
                <c:pt idx="1111">
                  <c:v>43076</c:v>
                </c:pt>
                <c:pt idx="1112">
                  <c:v>43077</c:v>
                </c:pt>
                <c:pt idx="1113">
                  <c:v>43080</c:v>
                </c:pt>
                <c:pt idx="1114">
                  <c:v>43081</c:v>
                </c:pt>
                <c:pt idx="1115">
                  <c:v>43082</c:v>
                </c:pt>
                <c:pt idx="1116">
                  <c:v>43083</c:v>
                </c:pt>
                <c:pt idx="1117">
                  <c:v>43084</c:v>
                </c:pt>
                <c:pt idx="1118">
                  <c:v>43087</c:v>
                </c:pt>
                <c:pt idx="1119">
                  <c:v>43088</c:v>
                </c:pt>
                <c:pt idx="1120">
                  <c:v>43089</c:v>
                </c:pt>
                <c:pt idx="1121">
                  <c:v>43090</c:v>
                </c:pt>
                <c:pt idx="1122">
                  <c:v>43091</c:v>
                </c:pt>
                <c:pt idx="1123">
                  <c:v>43094</c:v>
                </c:pt>
                <c:pt idx="1124">
                  <c:v>43095</c:v>
                </c:pt>
                <c:pt idx="1125">
                  <c:v>43096</c:v>
                </c:pt>
                <c:pt idx="1126">
                  <c:v>43097</c:v>
                </c:pt>
                <c:pt idx="1127">
                  <c:v>43098</c:v>
                </c:pt>
              </c:numCache>
            </c:numRef>
          </c:cat>
          <c:val>
            <c:numRef>
              <c:f>'Amundi Fds EM MinVar BRUT'!$D$5:$D$1155</c:f>
              <c:numCache>
                <c:formatCode>General</c:formatCode>
                <c:ptCount val="1151"/>
                <c:pt idx="0">
                  <c:v>100</c:v>
                </c:pt>
                <c:pt idx="1">
                  <c:v>101.07537633739298</c:v>
                </c:pt>
                <c:pt idx="2">
                  <c:v>101.66441933803098</c:v>
                </c:pt>
                <c:pt idx="3">
                  <c:v>103.426617310335</c:v>
                </c:pt>
                <c:pt idx="4">
                  <c:v>104.454508756081</c:v>
                </c:pt>
                <c:pt idx="5">
                  <c:v>104.688234738378</c:v>
                </c:pt>
                <c:pt idx="6">
                  <c:v>104.205762051623</c:v>
                </c:pt>
                <c:pt idx="7">
                  <c:v>104.07738711382</c:v>
                </c:pt>
                <c:pt idx="8">
                  <c:v>105.560253092661</c:v>
                </c:pt>
                <c:pt idx="9">
                  <c:v>105.994122208763</c:v>
                </c:pt>
                <c:pt idx="10">
                  <c:v>105.53956106974501</c:v>
                </c:pt>
                <c:pt idx="11">
                  <c:v>107.35253269522001</c:v>
                </c:pt>
                <c:pt idx="12">
                  <c:v>106.848243657575</c:v>
                </c:pt>
                <c:pt idx="13">
                  <c:v>106.78587223901602</c:v>
                </c:pt>
                <c:pt idx="14">
                  <c:v>106.09003798203599</c:v>
                </c:pt>
                <c:pt idx="15">
                  <c:v>106.30419956546999</c:v>
                </c:pt>
                <c:pt idx="16">
                  <c:v>105.680372110256</c:v>
                </c:pt>
                <c:pt idx="17">
                  <c:v>105.54893010617199</c:v>
                </c:pt>
                <c:pt idx="18">
                  <c:v>104.372916938975</c:v>
                </c:pt>
                <c:pt idx="19">
                  <c:v>105.0122017342</c:v>
                </c:pt>
                <c:pt idx="20">
                  <c:v>105.30015688735801</c:v>
                </c:pt>
                <c:pt idx="21">
                  <c:v>106.64955569682199</c:v>
                </c:pt>
                <c:pt idx="22">
                  <c:v>106.62753204050802</c:v>
                </c:pt>
                <c:pt idx="23">
                  <c:v>106.40995680400201</c:v>
                </c:pt>
                <c:pt idx="24">
                  <c:v>106.931593883635</c:v>
                </c:pt>
                <c:pt idx="25">
                  <c:v>106.388577059665</c:v>
                </c:pt>
                <c:pt idx="26">
                  <c:v>106.93928921656499</c:v>
                </c:pt>
                <c:pt idx="27">
                  <c:v>107.45898071007201</c:v>
                </c:pt>
                <c:pt idx="28">
                  <c:v>107.295423629629</c:v>
                </c:pt>
                <c:pt idx="29">
                  <c:v>107.956399560151</c:v>
                </c:pt>
                <c:pt idx="30">
                  <c:v>107.78013275562598</c:v>
                </c:pt>
                <c:pt idx="31">
                  <c:v>108.166064559994</c:v>
                </c:pt>
                <c:pt idx="32">
                  <c:v>108.89622604801798</c:v>
                </c:pt>
                <c:pt idx="33">
                  <c:v>108.78671452306202</c:v>
                </c:pt>
                <c:pt idx="34">
                  <c:v>108.895903923868</c:v>
                </c:pt>
                <c:pt idx="35">
                  <c:v>108.126541034035</c:v>
                </c:pt>
                <c:pt idx="36">
                  <c:v>108.15158631472698</c:v>
                </c:pt>
                <c:pt idx="37">
                  <c:v>107.870066789804</c:v>
                </c:pt>
                <c:pt idx="38">
                  <c:v>108.18566086266298</c:v>
                </c:pt>
                <c:pt idx="39">
                  <c:v>108.343976441826</c:v>
                </c:pt>
                <c:pt idx="40">
                  <c:v>108.89709947645201</c:v>
                </c:pt>
                <c:pt idx="41">
                  <c:v>108.53835793979101</c:v>
                </c:pt>
                <c:pt idx="42">
                  <c:v>108.53835793979101</c:v>
                </c:pt>
                <c:pt idx="43">
                  <c:v>107.34618301138399</c:v>
                </c:pt>
                <c:pt idx="44">
                  <c:v>106.53803394674499</c:v>
                </c:pt>
                <c:pt idx="45">
                  <c:v>106.46453295488098</c:v>
                </c:pt>
                <c:pt idx="46">
                  <c:v>105.68740007736901</c:v>
                </c:pt>
                <c:pt idx="47">
                  <c:v>104.54337791648301</c:v>
                </c:pt>
                <c:pt idx="48">
                  <c:v>104.268054456537</c:v>
                </c:pt>
                <c:pt idx="49">
                  <c:v>104.279750293736</c:v>
                </c:pt>
                <c:pt idx="50">
                  <c:v>103.26785761183601</c:v>
                </c:pt>
                <c:pt idx="51">
                  <c:v>104.095647351479</c:v>
                </c:pt>
                <c:pt idx="52">
                  <c:v>104.80215093010598</c:v>
                </c:pt>
                <c:pt idx="53">
                  <c:v>106.40370427907699</c:v>
                </c:pt>
                <c:pt idx="54">
                  <c:v>106.09051234595599</c:v>
                </c:pt>
                <c:pt idx="55">
                  <c:v>105.43034637187002</c:v>
                </c:pt>
                <c:pt idx="56">
                  <c:v>104.232646512483</c:v>
                </c:pt>
                <c:pt idx="57">
                  <c:v>104.34596904165198</c:v>
                </c:pt>
                <c:pt idx="58">
                  <c:v>104.141378970052</c:v>
                </c:pt>
                <c:pt idx="59">
                  <c:v>104.28647947022999</c:v>
                </c:pt>
                <c:pt idx="60">
                  <c:v>104.787662276736</c:v>
                </c:pt>
                <c:pt idx="61">
                  <c:v>105.046119853259</c:v>
                </c:pt>
                <c:pt idx="62">
                  <c:v>105.76400839941201</c:v>
                </c:pt>
                <c:pt idx="63">
                  <c:v>105.652659948264</c:v>
                </c:pt>
                <c:pt idx="64">
                  <c:v>104.99720699716299</c:v>
                </c:pt>
                <c:pt idx="65">
                  <c:v>104.62599360265401</c:v>
                </c:pt>
                <c:pt idx="66">
                  <c:v>104.64672883984601</c:v>
                </c:pt>
                <c:pt idx="67">
                  <c:v>104.73268275234599</c:v>
                </c:pt>
                <c:pt idx="68">
                  <c:v>105.733061034415</c:v>
                </c:pt>
                <c:pt idx="69">
                  <c:v>105.73975097744199</c:v>
                </c:pt>
                <c:pt idx="70">
                  <c:v>105.15335603412099</c:v>
                </c:pt>
                <c:pt idx="71">
                  <c:v>104.09727298710301</c:v>
                </c:pt>
                <c:pt idx="72">
                  <c:v>103.79886964806899</c:v>
                </c:pt>
                <c:pt idx="73">
                  <c:v>103.27731435965299</c:v>
                </c:pt>
                <c:pt idx="74">
                  <c:v>103.714612541349</c:v>
                </c:pt>
                <c:pt idx="75">
                  <c:v>103.858822334509</c:v>
                </c:pt>
                <c:pt idx="76">
                  <c:v>103.47302235948899</c:v>
                </c:pt>
                <c:pt idx="77">
                  <c:v>102.84026115552901</c:v>
                </c:pt>
                <c:pt idx="78">
                  <c:v>103.44359768365598</c:v>
                </c:pt>
                <c:pt idx="79">
                  <c:v>103.44359768365598</c:v>
                </c:pt>
                <c:pt idx="80">
                  <c:v>103.44359768365598</c:v>
                </c:pt>
                <c:pt idx="81">
                  <c:v>103.44359768365598</c:v>
                </c:pt>
                <c:pt idx="82">
                  <c:v>104.28628403018701</c:v>
                </c:pt>
                <c:pt idx="83">
                  <c:v>104.70199926655698</c:v>
                </c:pt>
                <c:pt idx="84">
                  <c:v>104.917578045857</c:v>
                </c:pt>
                <c:pt idx="85">
                  <c:v>104.917578045857</c:v>
                </c:pt>
                <c:pt idx="86">
                  <c:v>104.02912120158901</c:v>
                </c:pt>
                <c:pt idx="87">
                  <c:v>103.08870977196901</c:v>
                </c:pt>
                <c:pt idx="88">
                  <c:v>102.04046013475001</c:v>
                </c:pt>
                <c:pt idx="89">
                  <c:v>102.19682782934601</c:v>
                </c:pt>
                <c:pt idx="90">
                  <c:v>102.47776405982198</c:v>
                </c:pt>
                <c:pt idx="91">
                  <c:v>101.753799881874</c:v>
                </c:pt>
                <c:pt idx="92">
                  <c:v>102.016672499885</c:v>
                </c:pt>
                <c:pt idx="93">
                  <c:v>102.64055698420999</c:v>
                </c:pt>
                <c:pt idx="94">
                  <c:v>102.190092659919</c:v>
                </c:pt>
                <c:pt idx="95">
                  <c:v>102.18071461378099</c:v>
                </c:pt>
                <c:pt idx="96">
                  <c:v>101.95730837803198</c:v>
                </c:pt>
                <c:pt idx="97">
                  <c:v>101.87825925247999</c:v>
                </c:pt>
                <c:pt idx="98">
                  <c:v>101.65919211817599</c:v>
                </c:pt>
                <c:pt idx="99">
                  <c:v>101.58415179184898</c:v>
                </c:pt>
                <c:pt idx="100">
                  <c:v>102.07427500201899</c:v>
                </c:pt>
                <c:pt idx="101">
                  <c:v>101.04541460713801</c:v>
                </c:pt>
                <c:pt idx="102">
                  <c:v>99.846657008048794</c:v>
                </c:pt>
                <c:pt idx="103">
                  <c:v>97.870885322332697</c:v>
                </c:pt>
                <c:pt idx="104">
                  <c:v>97.764641265831898</c:v>
                </c:pt>
                <c:pt idx="105">
                  <c:v>98.149076945944003</c:v>
                </c:pt>
                <c:pt idx="106">
                  <c:v>98.324374888376497</c:v>
                </c:pt>
                <c:pt idx="107">
                  <c:v>98.412194447828895</c:v>
                </c:pt>
                <c:pt idx="108">
                  <c:v>97.559444257650696</c:v>
                </c:pt>
                <c:pt idx="109">
                  <c:v>96.593286768392105</c:v>
                </c:pt>
                <c:pt idx="110">
                  <c:v>96.231551839011701</c:v>
                </c:pt>
                <c:pt idx="111">
                  <c:v>97.094851109002605</c:v>
                </c:pt>
                <c:pt idx="112">
                  <c:v>97.974273336916596</c:v>
                </c:pt>
                <c:pt idx="113">
                  <c:v>98.094640618643396</c:v>
                </c:pt>
                <c:pt idx="114">
                  <c:v>98.833354066364507</c:v>
                </c:pt>
                <c:pt idx="115">
                  <c:v>99.662632488563901</c:v>
                </c:pt>
                <c:pt idx="116">
                  <c:v>99.106967089334603</c:v>
                </c:pt>
                <c:pt idx="117">
                  <c:v>100.157639699865</c:v>
                </c:pt>
                <c:pt idx="118">
                  <c:v>100.77907652010198</c:v>
                </c:pt>
                <c:pt idx="119">
                  <c:v>100.57917593200601</c:v>
                </c:pt>
                <c:pt idx="120">
                  <c:v>100.606679939053</c:v>
                </c:pt>
                <c:pt idx="121">
                  <c:v>99.748660119333195</c:v>
                </c:pt>
                <c:pt idx="122">
                  <c:v>100.62951853025798</c:v>
                </c:pt>
                <c:pt idx="123">
                  <c:v>100.330298503385</c:v>
                </c:pt>
                <c:pt idx="124">
                  <c:v>100.05117547478699</c:v>
                </c:pt>
                <c:pt idx="125">
                  <c:v>100.431964318875</c:v>
                </c:pt>
                <c:pt idx="126">
                  <c:v>100.75036137774799</c:v>
                </c:pt>
                <c:pt idx="127">
                  <c:v>100.97113296724901</c:v>
                </c:pt>
                <c:pt idx="128">
                  <c:v>99.570629461801602</c:v>
                </c:pt>
                <c:pt idx="129">
                  <c:v>100.26558766183902</c:v>
                </c:pt>
                <c:pt idx="130">
                  <c:v>100.508545927706</c:v>
                </c:pt>
                <c:pt idx="131">
                  <c:v>101.19079818966399</c:v>
                </c:pt>
                <c:pt idx="132">
                  <c:v>100.65450754280101</c:v>
                </c:pt>
                <c:pt idx="133">
                  <c:v>99.165059957758501</c:v>
                </c:pt>
                <c:pt idx="134">
                  <c:v>99.561125428086697</c:v>
                </c:pt>
                <c:pt idx="135">
                  <c:v>98.426594561445896</c:v>
                </c:pt>
                <c:pt idx="136">
                  <c:v>99.031138873471704</c:v>
                </c:pt>
                <c:pt idx="137">
                  <c:v>98.533992579832699</c:v>
                </c:pt>
                <c:pt idx="138">
                  <c:v>99.281919438947298</c:v>
                </c:pt>
                <c:pt idx="139">
                  <c:v>100.06887199355398</c:v>
                </c:pt>
                <c:pt idx="140">
                  <c:v>99.667660457242903</c:v>
                </c:pt>
                <c:pt idx="141">
                  <c:v>98.608355612158206</c:v>
                </c:pt>
                <c:pt idx="142">
                  <c:v>99.005566500239496</c:v>
                </c:pt>
                <c:pt idx="143">
                  <c:v>99.514940410740806</c:v>
                </c:pt>
                <c:pt idx="144">
                  <c:v>100.098584085013</c:v>
                </c:pt>
                <c:pt idx="145">
                  <c:v>101.204118847168</c:v>
                </c:pt>
                <c:pt idx="146">
                  <c:v>101.74447865212998</c:v>
                </c:pt>
                <c:pt idx="147">
                  <c:v>102.58745433918199</c:v>
                </c:pt>
                <c:pt idx="148">
                  <c:v>103.63970052984199</c:v>
                </c:pt>
                <c:pt idx="149">
                  <c:v>104.51806854795799</c:v>
                </c:pt>
                <c:pt idx="150">
                  <c:v>104.86136639928701</c:v>
                </c:pt>
                <c:pt idx="151">
                  <c:v>104.223118963153</c:v>
                </c:pt>
                <c:pt idx="152">
                  <c:v>104.13107371302502</c:v>
                </c:pt>
                <c:pt idx="153">
                  <c:v>104.08807294056901</c:v>
                </c:pt>
                <c:pt idx="154">
                  <c:v>104.68141432137099</c:v>
                </c:pt>
                <c:pt idx="155">
                  <c:v>105.25461713852</c:v>
                </c:pt>
                <c:pt idx="156">
                  <c:v>105.950817547898</c:v>
                </c:pt>
                <c:pt idx="157">
                  <c:v>105.233759848871</c:v>
                </c:pt>
                <c:pt idx="158">
                  <c:v>104.75189625157699</c:v>
                </c:pt>
                <c:pt idx="159">
                  <c:v>104.364415424065</c:v>
                </c:pt>
                <c:pt idx="160">
                  <c:v>104.54455167219501</c:v>
                </c:pt>
                <c:pt idx="161">
                  <c:v>105.223783414224</c:v>
                </c:pt>
                <c:pt idx="162">
                  <c:v>105.223783414224</c:v>
                </c:pt>
                <c:pt idx="163">
                  <c:v>105.223783414224</c:v>
                </c:pt>
                <c:pt idx="164">
                  <c:v>105.63348769015199</c:v>
                </c:pt>
                <c:pt idx="165">
                  <c:v>105.20548960766301</c:v>
                </c:pt>
                <c:pt idx="166">
                  <c:v>105.28786449269001</c:v>
                </c:pt>
                <c:pt idx="167">
                  <c:v>104.403900630159</c:v>
                </c:pt>
                <c:pt idx="168">
                  <c:v>104.76603936232</c:v>
                </c:pt>
                <c:pt idx="169">
                  <c:v>105.48131396734399</c:v>
                </c:pt>
                <c:pt idx="170">
                  <c:v>105.29130663866</c:v>
                </c:pt>
                <c:pt idx="171">
                  <c:v>105.29130663866</c:v>
                </c:pt>
                <c:pt idx="172">
                  <c:v>106.09911841478601</c:v>
                </c:pt>
                <c:pt idx="173">
                  <c:v>106.04463251237399</c:v>
                </c:pt>
                <c:pt idx="174">
                  <c:v>106.36922736105402</c:v>
                </c:pt>
                <c:pt idx="175">
                  <c:v>106.118624705055</c:v>
                </c:pt>
                <c:pt idx="176">
                  <c:v>106.29186613517501</c:v>
                </c:pt>
                <c:pt idx="177">
                  <c:v>106.160332628552</c:v>
                </c:pt>
                <c:pt idx="178">
                  <c:v>106.48463632624401</c:v>
                </c:pt>
                <c:pt idx="179">
                  <c:v>106.92336807398499</c:v>
                </c:pt>
                <c:pt idx="180">
                  <c:v>107.763178156564</c:v>
                </c:pt>
                <c:pt idx="181">
                  <c:v>107.42468433878901</c:v>
                </c:pt>
                <c:pt idx="182">
                  <c:v>107.78808983750201</c:v>
                </c:pt>
                <c:pt idx="183">
                  <c:v>107.94725394890598</c:v>
                </c:pt>
                <c:pt idx="184">
                  <c:v>107.242211258743</c:v>
                </c:pt>
                <c:pt idx="185">
                  <c:v>107.51818020583998</c:v>
                </c:pt>
                <c:pt idx="186">
                  <c:v>108.775236331817</c:v>
                </c:pt>
                <c:pt idx="187">
                  <c:v>108.938811140052</c:v>
                </c:pt>
                <c:pt idx="188">
                  <c:v>109.057626099365</c:v>
                </c:pt>
                <c:pt idx="189">
                  <c:v>108.38505426416198</c:v>
                </c:pt>
                <c:pt idx="190">
                  <c:v>109.05159176022701</c:v>
                </c:pt>
                <c:pt idx="191">
                  <c:v>109.05159176022701</c:v>
                </c:pt>
                <c:pt idx="192">
                  <c:v>108.479627574262</c:v>
                </c:pt>
                <c:pt idx="193">
                  <c:v>108.669510315599</c:v>
                </c:pt>
                <c:pt idx="194">
                  <c:v>109.301850094903</c:v>
                </c:pt>
                <c:pt idx="195">
                  <c:v>108.868489402026</c:v>
                </c:pt>
                <c:pt idx="196">
                  <c:v>109.04729519292499</c:v>
                </c:pt>
                <c:pt idx="197">
                  <c:v>109.85548697639599</c:v>
                </c:pt>
                <c:pt idx="198">
                  <c:v>109.85548697639599</c:v>
                </c:pt>
                <c:pt idx="199">
                  <c:v>111.544669962398</c:v>
                </c:pt>
                <c:pt idx="200">
                  <c:v>111.547027629989</c:v>
                </c:pt>
                <c:pt idx="201">
                  <c:v>111.397479111173</c:v>
                </c:pt>
                <c:pt idx="202">
                  <c:v>111.18830568794999</c:v>
                </c:pt>
                <c:pt idx="203">
                  <c:v>110.98384049679602</c:v>
                </c:pt>
                <c:pt idx="204">
                  <c:v>110.935329585791</c:v>
                </c:pt>
                <c:pt idx="205">
                  <c:v>110.81404790708899</c:v>
                </c:pt>
                <c:pt idx="206">
                  <c:v>111.510432213841</c:v>
                </c:pt>
                <c:pt idx="207">
                  <c:v>111.13746396135799</c:v>
                </c:pt>
                <c:pt idx="208">
                  <c:v>111.13746396135799</c:v>
                </c:pt>
                <c:pt idx="209">
                  <c:v>111.58254886249</c:v>
                </c:pt>
                <c:pt idx="210">
                  <c:v>111.219621251693</c:v>
                </c:pt>
                <c:pt idx="211">
                  <c:v>112.04255667418302</c:v>
                </c:pt>
                <c:pt idx="212">
                  <c:v>111.94246633326202</c:v>
                </c:pt>
                <c:pt idx="213">
                  <c:v>112.726030269216</c:v>
                </c:pt>
                <c:pt idx="214">
                  <c:v>112.72198563312099</c:v>
                </c:pt>
                <c:pt idx="215">
                  <c:v>113.55824416387298</c:v>
                </c:pt>
                <c:pt idx="216">
                  <c:v>113.96678160742599</c:v>
                </c:pt>
                <c:pt idx="217">
                  <c:v>114.015322445824</c:v>
                </c:pt>
                <c:pt idx="218">
                  <c:v>114.42422599799799</c:v>
                </c:pt>
                <c:pt idx="219">
                  <c:v>114.63459997382802</c:v>
                </c:pt>
                <c:pt idx="220">
                  <c:v>114.001432874084</c:v>
                </c:pt>
                <c:pt idx="221">
                  <c:v>114.142029268474</c:v>
                </c:pt>
                <c:pt idx="222">
                  <c:v>113.689879474222</c:v>
                </c:pt>
                <c:pt idx="223">
                  <c:v>114.38380746971499</c:v>
                </c:pt>
                <c:pt idx="224">
                  <c:v>114.43843734590699</c:v>
                </c:pt>
                <c:pt idx="225">
                  <c:v>114.448891565577</c:v>
                </c:pt>
                <c:pt idx="226">
                  <c:v>113.968315691127</c:v>
                </c:pt>
                <c:pt idx="227">
                  <c:v>113.64859491416598</c:v>
                </c:pt>
                <c:pt idx="228">
                  <c:v>113.769000344548</c:v>
                </c:pt>
                <c:pt idx="229">
                  <c:v>115.019731778839</c:v>
                </c:pt>
                <c:pt idx="230">
                  <c:v>115.21402698259899</c:v>
                </c:pt>
                <c:pt idx="231">
                  <c:v>115.18467929019201</c:v>
                </c:pt>
                <c:pt idx="232">
                  <c:v>114.87904764092801</c:v>
                </c:pt>
                <c:pt idx="233">
                  <c:v>114.85914373731801</c:v>
                </c:pt>
                <c:pt idx="234">
                  <c:v>115.004896353246</c:v>
                </c:pt>
                <c:pt idx="235">
                  <c:v>114.881407140664</c:v>
                </c:pt>
                <c:pt idx="236">
                  <c:v>113.91674018293901</c:v>
                </c:pt>
                <c:pt idx="237">
                  <c:v>113.49563241592099</c:v>
                </c:pt>
                <c:pt idx="238">
                  <c:v>114.54034090856899</c:v>
                </c:pt>
                <c:pt idx="239">
                  <c:v>113.638273092342</c:v>
                </c:pt>
                <c:pt idx="240">
                  <c:v>113.10774517231302</c:v>
                </c:pt>
                <c:pt idx="241">
                  <c:v>112.851584155335</c:v>
                </c:pt>
                <c:pt idx="242">
                  <c:v>112.60790182088</c:v>
                </c:pt>
                <c:pt idx="243">
                  <c:v>113.97385869129199</c:v>
                </c:pt>
                <c:pt idx="244">
                  <c:v>113.91512337356599</c:v>
                </c:pt>
                <c:pt idx="245">
                  <c:v>114.96632041672498</c:v>
                </c:pt>
                <c:pt idx="246">
                  <c:v>115.175959581326</c:v>
                </c:pt>
                <c:pt idx="247">
                  <c:v>115.175959581326</c:v>
                </c:pt>
                <c:pt idx="248">
                  <c:v>115.34982109167899</c:v>
                </c:pt>
                <c:pt idx="249">
                  <c:v>115.92516728432601</c:v>
                </c:pt>
                <c:pt idx="250">
                  <c:v>116.04672353361501</c:v>
                </c:pt>
                <c:pt idx="251">
                  <c:v>116.02443745274</c:v>
                </c:pt>
                <c:pt idx="252">
                  <c:v>116.24528007191299</c:v>
                </c:pt>
                <c:pt idx="253">
                  <c:v>116.37799288458</c:v>
                </c:pt>
                <c:pt idx="254">
                  <c:v>116.61946764108599</c:v>
                </c:pt>
                <c:pt idx="255">
                  <c:v>117.27029190720199</c:v>
                </c:pt>
                <c:pt idx="256">
                  <c:v>116.76433898553501</c:v>
                </c:pt>
                <c:pt idx="257">
                  <c:v>116.804195380721</c:v>
                </c:pt>
                <c:pt idx="258">
                  <c:v>117.236214275669</c:v>
                </c:pt>
                <c:pt idx="259">
                  <c:v>116.95177432897601</c:v>
                </c:pt>
                <c:pt idx="260">
                  <c:v>118.095319905667</c:v>
                </c:pt>
                <c:pt idx="261">
                  <c:v>118.42302460851801</c:v>
                </c:pt>
                <c:pt idx="262">
                  <c:v>118.12030880742202</c:v>
                </c:pt>
                <c:pt idx="263">
                  <c:v>118.434523224849</c:v>
                </c:pt>
                <c:pt idx="264">
                  <c:v>118.042556196845</c:v>
                </c:pt>
                <c:pt idx="265">
                  <c:v>117.08997330765899</c:v>
                </c:pt>
                <c:pt idx="266">
                  <c:v>116.29719456580601</c:v>
                </c:pt>
                <c:pt idx="267">
                  <c:v>115.667275086324</c:v>
                </c:pt>
                <c:pt idx="268">
                  <c:v>115.29722902263299</c:v>
                </c:pt>
                <c:pt idx="269">
                  <c:v>114.69089778245201</c:v>
                </c:pt>
                <c:pt idx="270">
                  <c:v>115.55074235970399</c:v>
                </c:pt>
                <c:pt idx="271">
                  <c:v>115.359095754012</c:v>
                </c:pt>
                <c:pt idx="272">
                  <c:v>115.035617350067</c:v>
                </c:pt>
                <c:pt idx="273">
                  <c:v>113.63551824522</c:v>
                </c:pt>
                <c:pt idx="274">
                  <c:v>113.02903482528399</c:v>
                </c:pt>
                <c:pt idx="275">
                  <c:v>113.71870626278799</c:v>
                </c:pt>
                <c:pt idx="276">
                  <c:v>112.70241884716302</c:v>
                </c:pt>
                <c:pt idx="277">
                  <c:v>112.18580442986801</c:v>
                </c:pt>
                <c:pt idx="278">
                  <c:v>110.56206960405601</c:v>
                </c:pt>
                <c:pt idx="279">
                  <c:v>110.167418844956</c:v>
                </c:pt>
                <c:pt idx="280">
                  <c:v>109.54346212907899</c:v>
                </c:pt>
                <c:pt idx="281">
                  <c:v>109.180234864407</c:v>
                </c:pt>
                <c:pt idx="282">
                  <c:v>109.786989003188</c:v>
                </c:pt>
                <c:pt idx="283">
                  <c:v>110.45058751003999</c:v>
                </c:pt>
                <c:pt idx="284">
                  <c:v>110.53785930259798</c:v>
                </c:pt>
                <c:pt idx="285">
                  <c:v>109.475336811265</c:v>
                </c:pt>
                <c:pt idx="286">
                  <c:v>110.52470549139299</c:v>
                </c:pt>
                <c:pt idx="287">
                  <c:v>108.91101353227998</c:v>
                </c:pt>
                <c:pt idx="288">
                  <c:v>107.977608449283</c:v>
                </c:pt>
                <c:pt idx="289">
                  <c:v>107.942758528883</c:v>
                </c:pt>
                <c:pt idx="290">
                  <c:v>107.29175289700498</c:v>
                </c:pt>
                <c:pt idx="291">
                  <c:v>106.35446174907</c:v>
                </c:pt>
                <c:pt idx="292">
                  <c:v>106.81804798106501</c:v>
                </c:pt>
                <c:pt idx="293">
                  <c:v>107.725287410777</c:v>
                </c:pt>
                <c:pt idx="294">
                  <c:v>107.93613122252199</c:v>
                </c:pt>
                <c:pt idx="295">
                  <c:v>108.53517846421002</c:v>
                </c:pt>
                <c:pt idx="296">
                  <c:v>108.047461279554</c:v>
                </c:pt>
                <c:pt idx="297">
                  <c:v>107.94355126460201</c:v>
                </c:pt>
                <c:pt idx="298">
                  <c:v>107.47441686991399</c:v>
                </c:pt>
                <c:pt idx="299">
                  <c:v>108.878242559657</c:v>
                </c:pt>
                <c:pt idx="300">
                  <c:v>110.396548011975</c:v>
                </c:pt>
                <c:pt idx="301">
                  <c:v>109.94222451190501</c:v>
                </c:pt>
                <c:pt idx="302">
                  <c:v>111.10920789547001</c:v>
                </c:pt>
                <c:pt idx="303">
                  <c:v>110.62032318255099</c:v>
                </c:pt>
                <c:pt idx="304">
                  <c:v>110.335899933249</c:v>
                </c:pt>
                <c:pt idx="305">
                  <c:v>109.29060603180901</c:v>
                </c:pt>
                <c:pt idx="306">
                  <c:v>108.636384172552</c:v>
                </c:pt>
                <c:pt idx="307">
                  <c:v>108.166017646051</c:v>
                </c:pt>
                <c:pt idx="308">
                  <c:v>108.88124551226798</c:v>
                </c:pt>
                <c:pt idx="309">
                  <c:v>108.560169797618</c:v>
                </c:pt>
                <c:pt idx="310">
                  <c:v>108.61503923344</c:v>
                </c:pt>
                <c:pt idx="311">
                  <c:v>108.42400521698798</c:v>
                </c:pt>
                <c:pt idx="312">
                  <c:v>108.14218557626801</c:v>
                </c:pt>
                <c:pt idx="313">
                  <c:v>107.66592112807301</c:v>
                </c:pt>
                <c:pt idx="314">
                  <c:v>107.73570844200499</c:v>
                </c:pt>
                <c:pt idx="315">
                  <c:v>108.079914136433</c:v>
                </c:pt>
                <c:pt idx="316">
                  <c:v>108.23237269523301</c:v>
                </c:pt>
                <c:pt idx="317">
                  <c:v>109.389407330221</c:v>
                </c:pt>
                <c:pt idx="318">
                  <c:v>109.971505579238</c:v>
                </c:pt>
                <c:pt idx="319">
                  <c:v>109.828167898342</c:v>
                </c:pt>
                <c:pt idx="320">
                  <c:v>109.89729783144099</c:v>
                </c:pt>
                <c:pt idx="321">
                  <c:v>109.838331884949</c:v>
                </c:pt>
                <c:pt idx="322">
                  <c:v>108.733187550906</c:v>
                </c:pt>
                <c:pt idx="323">
                  <c:v>106.827835242546</c:v>
                </c:pt>
                <c:pt idx="324">
                  <c:v>106.825462612007</c:v>
                </c:pt>
                <c:pt idx="325">
                  <c:v>106.650560601333</c:v>
                </c:pt>
                <c:pt idx="326">
                  <c:v>107.099696232586</c:v>
                </c:pt>
                <c:pt idx="327">
                  <c:v>106.80444283272598</c:v>
                </c:pt>
                <c:pt idx="328">
                  <c:v>105.594234486367</c:v>
                </c:pt>
                <c:pt idx="329">
                  <c:v>104.465943185394</c:v>
                </c:pt>
                <c:pt idx="330">
                  <c:v>104.53375156233</c:v>
                </c:pt>
                <c:pt idx="331">
                  <c:v>103.46437511515801</c:v>
                </c:pt>
                <c:pt idx="332">
                  <c:v>103.21482233263302</c:v>
                </c:pt>
                <c:pt idx="333">
                  <c:v>102.05890363308102</c:v>
                </c:pt>
                <c:pt idx="334">
                  <c:v>100.64106562748201</c:v>
                </c:pt>
                <c:pt idx="335">
                  <c:v>100.52745841848501</c:v>
                </c:pt>
                <c:pt idx="336">
                  <c:v>102.30657342899102</c:v>
                </c:pt>
                <c:pt idx="337">
                  <c:v>102.86243996976401</c:v>
                </c:pt>
                <c:pt idx="338">
                  <c:v>103.763929873451</c:v>
                </c:pt>
                <c:pt idx="339">
                  <c:v>103.297533221403</c:v>
                </c:pt>
                <c:pt idx="340">
                  <c:v>103.297533221403</c:v>
                </c:pt>
                <c:pt idx="341">
                  <c:v>103.297533221403</c:v>
                </c:pt>
                <c:pt idx="342">
                  <c:v>103.297533221403</c:v>
                </c:pt>
                <c:pt idx="343">
                  <c:v>104.062790517116</c:v>
                </c:pt>
                <c:pt idx="344">
                  <c:v>103.907738268877</c:v>
                </c:pt>
                <c:pt idx="345">
                  <c:v>104.95785632311198</c:v>
                </c:pt>
                <c:pt idx="346">
                  <c:v>104.95785632311198</c:v>
                </c:pt>
                <c:pt idx="347">
                  <c:v>104.905263727082</c:v>
                </c:pt>
                <c:pt idx="348">
                  <c:v>103.12954343282399</c:v>
                </c:pt>
                <c:pt idx="349">
                  <c:v>102.362574127823</c:v>
                </c:pt>
                <c:pt idx="350">
                  <c:v>102.927980095896</c:v>
                </c:pt>
                <c:pt idx="351">
                  <c:v>104.764422168322</c:v>
                </c:pt>
                <c:pt idx="352">
                  <c:v>105.59392213778899</c:v>
                </c:pt>
                <c:pt idx="353">
                  <c:v>105.25281048931402</c:v>
                </c:pt>
                <c:pt idx="354">
                  <c:v>105.68119730484699</c:v>
                </c:pt>
                <c:pt idx="355">
                  <c:v>105.075935271246</c:v>
                </c:pt>
                <c:pt idx="356">
                  <c:v>105.24974637725299</c:v>
                </c:pt>
                <c:pt idx="357">
                  <c:v>105.32579141688501</c:v>
                </c:pt>
                <c:pt idx="358">
                  <c:v>105.151967992991</c:v>
                </c:pt>
                <c:pt idx="359">
                  <c:v>105.64870936414302</c:v>
                </c:pt>
                <c:pt idx="360">
                  <c:v>107.308760273145</c:v>
                </c:pt>
                <c:pt idx="361">
                  <c:v>107.93287150902199</c:v>
                </c:pt>
                <c:pt idx="362">
                  <c:v>108.76821792987602</c:v>
                </c:pt>
                <c:pt idx="363">
                  <c:v>108.471421089465</c:v>
                </c:pt>
                <c:pt idx="364">
                  <c:v>108.68843934038701</c:v>
                </c:pt>
                <c:pt idx="365">
                  <c:v>108.55292523104301</c:v>
                </c:pt>
                <c:pt idx="366">
                  <c:v>107.717393271403</c:v>
                </c:pt>
                <c:pt idx="367">
                  <c:v>106.89677471102299</c:v>
                </c:pt>
                <c:pt idx="368">
                  <c:v>106.835633739244</c:v>
                </c:pt>
                <c:pt idx="369">
                  <c:v>107.519125248064</c:v>
                </c:pt>
                <c:pt idx="370">
                  <c:v>108.292473032359</c:v>
                </c:pt>
                <c:pt idx="371">
                  <c:v>108.71653777811102</c:v>
                </c:pt>
                <c:pt idx="372">
                  <c:v>108.44910872148601</c:v>
                </c:pt>
                <c:pt idx="373">
                  <c:v>107.746700989261</c:v>
                </c:pt>
                <c:pt idx="374">
                  <c:v>107.072767965804</c:v>
                </c:pt>
                <c:pt idx="375">
                  <c:v>106.89093844908399</c:v>
                </c:pt>
                <c:pt idx="376">
                  <c:v>107.858237284463</c:v>
                </c:pt>
                <c:pt idx="377">
                  <c:v>109.19911082678399</c:v>
                </c:pt>
                <c:pt idx="378">
                  <c:v>108.65934232488898</c:v>
                </c:pt>
                <c:pt idx="379">
                  <c:v>108.51010787894502</c:v>
                </c:pt>
                <c:pt idx="380">
                  <c:v>108.385344944377</c:v>
                </c:pt>
                <c:pt idx="381">
                  <c:v>108.47169612082199</c:v>
                </c:pt>
                <c:pt idx="382">
                  <c:v>108.23065244024602</c:v>
                </c:pt>
                <c:pt idx="383">
                  <c:v>107.96988104772301</c:v>
                </c:pt>
                <c:pt idx="384">
                  <c:v>108.342888620146</c:v>
                </c:pt>
                <c:pt idx="385">
                  <c:v>108.75603342125299</c:v>
                </c:pt>
                <c:pt idx="386">
                  <c:v>108.73869089003398</c:v>
                </c:pt>
                <c:pt idx="387">
                  <c:v>108.43739560971999</c:v>
                </c:pt>
                <c:pt idx="388">
                  <c:v>108.662864792531</c:v>
                </c:pt>
                <c:pt idx="389">
                  <c:v>108.749593452944</c:v>
                </c:pt>
                <c:pt idx="390">
                  <c:v>108.50946506738602</c:v>
                </c:pt>
                <c:pt idx="391">
                  <c:v>108.666608319266</c:v>
                </c:pt>
                <c:pt idx="392">
                  <c:v>108.410135447508</c:v>
                </c:pt>
                <c:pt idx="393">
                  <c:v>107.36005704157901</c:v>
                </c:pt>
                <c:pt idx="394">
                  <c:v>106.25713934747</c:v>
                </c:pt>
                <c:pt idx="395">
                  <c:v>105.663967744717</c:v>
                </c:pt>
                <c:pt idx="396">
                  <c:v>106.14231770414399</c:v>
                </c:pt>
                <c:pt idx="397">
                  <c:v>105.25499148432101</c:v>
                </c:pt>
                <c:pt idx="398">
                  <c:v>105.235937826982</c:v>
                </c:pt>
                <c:pt idx="399">
                  <c:v>105.60003953138499</c:v>
                </c:pt>
                <c:pt idx="400">
                  <c:v>106.28471110671501</c:v>
                </c:pt>
                <c:pt idx="401">
                  <c:v>106.935716478196</c:v>
                </c:pt>
                <c:pt idx="402">
                  <c:v>106.844511264819</c:v>
                </c:pt>
                <c:pt idx="403">
                  <c:v>107.17633289441099</c:v>
                </c:pt>
                <c:pt idx="404">
                  <c:v>107.801924707265</c:v>
                </c:pt>
                <c:pt idx="405">
                  <c:v>107.73214734317899</c:v>
                </c:pt>
                <c:pt idx="406">
                  <c:v>107.11127750598499</c:v>
                </c:pt>
                <c:pt idx="407">
                  <c:v>106.395071417201</c:v>
                </c:pt>
                <c:pt idx="408">
                  <c:v>107.263127457777</c:v>
                </c:pt>
                <c:pt idx="409">
                  <c:v>107.984880968949</c:v>
                </c:pt>
                <c:pt idx="410">
                  <c:v>108.68418907064601</c:v>
                </c:pt>
                <c:pt idx="411">
                  <c:v>109.880271811632</c:v>
                </c:pt>
                <c:pt idx="412">
                  <c:v>109.880271811632</c:v>
                </c:pt>
                <c:pt idx="413">
                  <c:v>109.880271811632</c:v>
                </c:pt>
                <c:pt idx="414">
                  <c:v>111.16083962402598</c:v>
                </c:pt>
                <c:pt idx="415">
                  <c:v>112.91193495990399</c:v>
                </c:pt>
                <c:pt idx="416">
                  <c:v>112.92317343473599</c:v>
                </c:pt>
                <c:pt idx="417">
                  <c:v>112.99265014485201</c:v>
                </c:pt>
                <c:pt idx="418">
                  <c:v>113.20210960464098</c:v>
                </c:pt>
                <c:pt idx="419">
                  <c:v>112.17309242647799</c:v>
                </c:pt>
                <c:pt idx="420">
                  <c:v>111.410754010548</c:v>
                </c:pt>
                <c:pt idx="421">
                  <c:v>112.91300416639301</c:v>
                </c:pt>
                <c:pt idx="422">
                  <c:v>112.82852081430801</c:v>
                </c:pt>
                <c:pt idx="423">
                  <c:v>112.27220348215199</c:v>
                </c:pt>
                <c:pt idx="424">
                  <c:v>113.029597776994</c:v>
                </c:pt>
                <c:pt idx="425">
                  <c:v>113.268783558379</c:v>
                </c:pt>
                <c:pt idx="426">
                  <c:v>114.22249466224601</c:v>
                </c:pt>
                <c:pt idx="427">
                  <c:v>115.511532999867</c:v>
                </c:pt>
                <c:pt idx="428">
                  <c:v>116.42067288084901</c:v>
                </c:pt>
                <c:pt idx="429">
                  <c:v>116.00251867956798</c:v>
                </c:pt>
                <c:pt idx="430">
                  <c:v>115.13448584845301</c:v>
                </c:pt>
                <c:pt idx="431">
                  <c:v>113.43312195072099</c:v>
                </c:pt>
                <c:pt idx="432">
                  <c:v>113.43312195072099</c:v>
                </c:pt>
                <c:pt idx="433">
                  <c:v>113.57422572786902</c:v>
                </c:pt>
                <c:pt idx="434">
                  <c:v>113.30015861223799</c:v>
                </c:pt>
                <c:pt idx="435">
                  <c:v>113.12425846135901</c:v>
                </c:pt>
                <c:pt idx="436">
                  <c:v>111.58609909941499</c:v>
                </c:pt>
                <c:pt idx="437">
                  <c:v>112.53930196743799</c:v>
                </c:pt>
                <c:pt idx="438">
                  <c:v>112.837955741738</c:v>
                </c:pt>
                <c:pt idx="439">
                  <c:v>112.060553031814</c:v>
                </c:pt>
                <c:pt idx="440">
                  <c:v>112.95255291859398</c:v>
                </c:pt>
                <c:pt idx="441">
                  <c:v>112.95255291859398</c:v>
                </c:pt>
                <c:pt idx="442">
                  <c:v>113.96904680844</c:v>
                </c:pt>
                <c:pt idx="443">
                  <c:v>114.11227287835499</c:v>
                </c:pt>
                <c:pt idx="444">
                  <c:v>114.071687789416</c:v>
                </c:pt>
                <c:pt idx="445">
                  <c:v>114.075780573402</c:v>
                </c:pt>
                <c:pt idx="446">
                  <c:v>113.47616798718001</c:v>
                </c:pt>
                <c:pt idx="447">
                  <c:v>114.07989526742099</c:v>
                </c:pt>
                <c:pt idx="448">
                  <c:v>114.07989526742099</c:v>
                </c:pt>
                <c:pt idx="449">
                  <c:v>113.48740262424299</c:v>
                </c:pt>
                <c:pt idx="450">
                  <c:v>112.975677149815</c:v>
                </c:pt>
                <c:pt idx="451">
                  <c:v>112.15381628920599</c:v>
                </c:pt>
                <c:pt idx="452">
                  <c:v>111.77920599013301</c:v>
                </c:pt>
                <c:pt idx="453">
                  <c:v>111.580634832321</c:v>
                </c:pt>
                <c:pt idx="454">
                  <c:v>110.85791988217902</c:v>
                </c:pt>
                <c:pt idx="455">
                  <c:v>110.943911804518</c:v>
                </c:pt>
                <c:pt idx="456">
                  <c:v>109.70926790845201</c:v>
                </c:pt>
                <c:pt idx="457">
                  <c:v>109.64579295533299</c:v>
                </c:pt>
                <c:pt idx="458">
                  <c:v>108.49842352851</c:v>
                </c:pt>
                <c:pt idx="459">
                  <c:v>107.568347336643</c:v>
                </c:pt>
                <c:pt idx="460">
                  <c:v>108.51825282406</c:v>
                </c:pt>
                <c:pt idx="461">
                  <c:v>108.36123821022601</c:v>
                </c:pt>
                <c:pt idx="462">
                  <c:v>108.527815994661</c:v>
                </c:pt>
                <c:pt idx="463">
                  <c:v>107.75702572605998</c:v>
                </c:pt>
                <c:pt idx="464">
                  <c:v>107.51497560744301</c:v>
                </c:pt>
                <c:pt idx="465">
                  <c:v>107.86491923131101</c:v>
                </c:pt>
                <c:pt idx="466">
                  <c:v>108.16161349446301</c:v>
                </c:pt>
                <c:pt idx="467">
                  <c:v>107.920562372288</c:v>
                </c:pt>
                <c:pt idx="468">
                  <c:v>109.047669181806</c:v>
                </c:pt>
                <c:pt idx="469">
                  <c:v>109.047669181806</c:v>
                </c:pt>
                <c:pt idx="470">
                  <c:v>109.346464510583</c:v>
                </c:pt>
                <c:pt idx="471">
                  <c:v>109.016570745264</c:v>
                </c:pt>
                <c:pt idx="472">
                  <c:v>108.744722599477</c:v>
                </c:pt>
                <c:pt idx="473">
                  <c:v>106.785709024463</c:v>
                </c:pt>
                <c:pt idx="474">
                  <c:v>108.356227731175</c:v>
                </c:pt>
                <c:pt idx="475">
                  <c:v>108.304649534174</c:v>
                </c:pt>
                <c:pt idx="476">
                  <c:v>108.21105405023501</c:v>
                </c:pt>
                <c:pt idx="477">
                  <c:v>108.04469428952402</c:v>
                </c:pt>
                <c:pt idx="478">
                  <c:v>106.40426835482899</c:v>
                </c:pt>
                <c:pt idx="479">
                  <c:v>105.679286311787</c:v>
                </c:pt>
                <c:pt idx="480">
                  <c:v>103.65630544807401</c:v>
                </c:pt>
                <c:pt idx="481">
                  <c:v>105.12043648621501</c:v>
                </c:pt>
                <c:pt idx="482">
                  <c:v>106.150807274329</c:v>
                </c:pt>
                <c:pt idx="483">
                  <c:v>107.317378516308</c:v>
                </c:pt>
                <c:pt idx="484">
                  <c:v>107.464667643901</c:v>
                </c:pt>
                <c:pt idx="485">
                  <c:v>107.52584238906699</c:v>
                </c:pt>
                <c:pt idx="486">
                  <c:v>107.566528125814</c:v>
                </c:pt>
                <c:pt idx="487">
                  <c:v>107.938721202401</c:v>
                </c:pt>
                <c:pt idx="488">
                  <c:v>107.67785518616499</c:v>
                </c:pt>
                <c:pt idx="489">
                  <c:v>107.936573366421</c:v>
                </c:pt>
                <c:pt idx="490">
                  <c:v>107.212742803545</c:v>
                </c:pt>
                <c:pt idx="491">
                  <c:v>106.64015216149201</c:v>
                </c:pt>
                <c:pt idx="492">
                  <c:v>105.66692962252201</c:v>
                </c:pt>
                <c:pt idx="493">
                  <c:v>103.910790074681</c:v>
                </c:pt>
                <c:pt idx="494">
                  <c:v>104.12620161122199</c:v>
                </c:pt>
                <c:pt idx="495">
                  <c:v>104.697376954658</c:v>
                </c:pt>
                <c:pt idx="496">
                  <c:v>104.659655843001</c:v>
                </c:pt>
                <c:pt idx="497">
                  <c:v>105.718022112293</c:v>
                </c:pt>
                <c:pt idx="498">
                  <c:v>103.71423195898399</c:v>
                </c:pt>
                <c:pt idx="499">
                  <c:v>103.942359014224</c:v>
                </c:pt>
                <c:pt idx="500">
                  <c:v>103.772558631382</c:v>
                </c:pt>
                <c:pt idx="501">
                  <c:v>103.47859964575601</c:v>
                </c:pt>
                <c:pt idx="502">
                  <c:v>102.93576035112</c:v>
                </c:pt>
                <c:pt idx="503">
                  <c:v>103.175505155808</c:v>
                </c:pt>
                <c:pt idx="504">
                  <c:v>102.17406800043101</c:v>
                </c:pt>
                <c:pt idx="505">
                  <c:v>100.70767877917299</c:v>
                </c:pt>
                <c:pt idx="506">
                  <c:v>100.94285225880199</c:v>
                </c:pt>
                <c:pt idx="507">
                  <c:v>100.74412497962399</c:v>
                </c:pt>
                <c:pt idx="508">
                  <c:v>99.770195960613293</c:v>
                </c:pt>
                <c:pt idx="509">
                  <c:v>99.140327869812893</c:v>
                </c:pt>
                <c:pt idx="510">
                  <c:v>98.588565990895304</c:v>
                </c:pt>
                <c:pt idx="511">
                  <c:v>97.314209217088901</c:v>
                </c:pt>
                <c:pt idx="512">
                  <c:v>95.828481425964398</c:v>
                </c:pt>
                <c:pt idx="513">
                  <c:v>91.716635466655205</c:v>
                </c:pt>
                <c:pt idx="514">
                  <c:v>93.164792843967703</c:v>
                </c:pt>
                <c:pt idx="515">
                  <c:v>93.681543154942403</c:v>
                </c:pt>
                <c:pt idx="516">
                  <c:v>96.087048621553606</c:v>
                </c:pt>
                <c:pt idx="517">
                  <c:v>97.211648580586598</c:v>
                </c:pt>
                <c:pt idx="518">
                  <c:v>97.626940721067498</c:v>
                </c:pt>
                <c:pt idx="519">
                  <c:v>95.941264659974394</c:v>
                </c:pt>
                <c:pt idx="520">
                  <c:v>95.458887840388101</c:v>
                </c:pt>
                <c:pt idx="521">
                  <c:v>96.018603865530906</c:v>
                </c:pt>
                <c:pt idx="522">
                  <c:v>95.104529206119196</c:v>
                </c:pt>
                <c:pt idx="523">
                  <c:v>94.062866376187003</c:v>
                </c:pt>
                <c:pt idx="524">
                  <c:v>94.669058067585595</c:v>
                </c:pt>
                <c:pt idx="525">
                  <c:v>96.579377095990196</c:v>
                </c:pt>
                <c:pt idx="526">
                  <c:v>96.781096782110495</c:v>
                </c:pt>
                <c:pt idx="527">
                  <c:v>96.736888594019604</c:v>
                </c:pt>
                <c:pt idx="528">
                  <c:v>97.025720071585795</c:v>
                </c:pt>
                <c:pt idx="529">
                  <c:v>96.796098997367807</c:v>
                </c:pt>
                <c:pt idx="530">
                  <c:v>98.053347980793603</c:v>
                </c:pt>
                <c:pt idx="531">
                  <c:v>99.027416176910606</c:v>
                </c:pt>
                <c:pt idx="532">
                  <c:v>99.394261547998596</c:v>
                </c:pt>
                <c:pt idx="533">
                  <c:v>98.337364968043005</c:v>
                </c:pt>
                <c:pt idx="534">
                  <c:v>97.8248208724374</c:v>
                </c:pt>
                <c:pt idx="535">
                  <c:v>95.983814068553997</c:v>
                </c:pt>
                <c:pt idx="536">
                  <c:v>95.856176856124705</c:v>
                </c:pt>
                <c:pt idx="537">
                  <c:v>95.621699618648407</c:v>
                </c:pt>
                <c:pt idx="538">
                  <c:v>95.061713559763405</c:v>
                </c:pt>
                <c:pt idx="539">
                  <c:v>94.879297956839096</c:v>
                </c:pt>
                <c:pt idx="540">
                  <c:v>96.737699672407302</c:v>
                </c:pt>
                <c:pt idx="541">
                  <c:v>96.949054462391999</c:v>
                </c:pt>
                <c:pt idx="542">
                  <c:v>97.317392033900006</c:v>
                </c:pt>
                <c:pt idx="543">
                  <c:v>98.683061219138295</c:v>
                </c:pt>
                <c:pt idx="544">
                  <c:v>99.453139431036604</c:v>
                </c:pt>
                <c:pt idx="545">
                  <c:v>100.657290237602</c:v>
                </c:pt>
                <c:pt idx="546">
                  <c:v>100.08162544582299</c:v>
                </c:pt>
                <c:pt idx="547">
                  <c:v>101.032243352935</c:v>
                </c:pt>
                <c:pt idx="548">
                  <c:v>102.042163326816</c:v>
                </c:pt>
                <c:pt idx="549">
                  <c:v>101.189920598314</c:v>
                </c:pt>
                <c:pt idx="550">
                  <c:v>100.73155879727599</c:v>
                </c:pt>
                <c:pt idx="551">
                  <c:v>102.27071979689902</c:v>
                </c:pt>
                <c:pt idx="552">
                  <c:v>102.01091536522702</c:v>
                </c:pt>
                <c:pt idx="553">
                  <c:v>102.17792063307401</c:v>
                </c:pt>
                <c:pt idx="554">
                  <c:v>102.08460786806299</c:v>
                </c:pt>
                <c:pt idx="555">
                  <c:v>101.61781799831699</c:v>
                </c:pt>
                <c:pt idx="556">
                  <c:v>101.210488860043</c:v>
                </c:pt>
                <c:pt idx="557">
                  <c:v>102.105276965538</c:v>
                </c:pt>
                <c:pt idx="558">
                  <c:v>102.20716807309201</c:v>
                </c:pt>
                <c:pt idx="559">
                  <c:v>101.67062057688298</c:v>
                </c:pt>
                <c:pt idx="560">
                  <c:v>101.235966181809</c:v>
                </c:pt>
                <c:pt idx="561">
                  <c:v>99.707535242034098</c:v>
                </c:pt>
                <c:pt idx="562">
                  <c:v>99.828421129556403</c:v>
                </c:pt>
                <c:pt idx="563">
                  <c:v>99.794322586536495</c:v>
                </c:pt>
                <c:pt idx="564">
                  <c:v>100.39249333719499</c:v>
                </c:pt>
                <c:pt idx="565">
                  <c:v>100.602867125945</c:v>
                </c:pt>
                <c:pt idx="566">
                  <c:v>100.145219329729</c:v>
                </c:pt>
                <c:pt idx="567">
                  <c:v>99.032473365422703</c:v>
                </c:pt>
                <c:pt idx="568">
                  <c:v>97.584934624665806</c:v>
                </c:pt>
                <c:pt idx="569">
                  <c:v>96.399060083416103</c:v>
                </c:pt>
                <c:pt idx="570">
                  <c:v>96.422056735294603</c:v>
                </c:pt>
                <c:pt idx="571">
                  <c:v>96.308437640334205</c:v>
                </c:pt>
                <c:pt idx="572">
                  <c:v>95.690301839483993</c:v>
                </c:pt>
                <c:pt idx="573">
                  <c:v>94.548977576427404</c:v>
                </c:pt>
                <c:pt idx="574">
                  <c:v>95.377447310769199</c:v>
                </c:pt>
                <c:pt idx="575">
                  <c:v>95.183805931810596</c:v>
                </c:pt>
                <c:pt idx="576">
                  <c:v>96.6377195661738</c:v>
                </c:pt>
                <c:pt idx="577">
                  <c:v>97.059297094018305</c:v>
                </c:pt>
                <c:pt idx="578">
                  <c:v>97.139633110374206</c:v>
                </c:pt>
                <c:pt idx="579">
                  <c:v>97.167445177749997</c:v>
                </c:pt>
                <c:pt idx="580">
                  <c:v>97.032484659814997</c:v>
                </c:pt>
                <c:pt idx="581">
                  <c:v>96.808807836785803</c:v>
                </c:pt>
                <c:pt idx="582">
                  <c:v>95.835989463481596</c:v>
                </c:pt>
                <c:pt idx="583">
                  <c:v>95.065051847509807</c:v>
                </c:pt>
                <c:pt idx="584">
                  <c:v>96.296020965434593</c:v>
                </c:pt>
                <c:pt idx="585">
                  <c:v>95.945488936796806</c:v>
                </c:pt>
                <c:pt idx="586">
                  <c:v>95.344068597460705</c:v>
                </c:pt>
                <c:pt idx="587">
                  <c:v>94.957584366930803</c:v>
                </c:pt>
                <c:pt idx="588">
                  <c:v>94.616520309629294</c:v>
                </c:pt>
                <c:pt idx="589">
                  <c:v>93.189306608381898</c:v>
                </c:pt>
                <c:pt idx="590">
                  <c:v>92.552972352425002</c:v>
                </c:pt>
                <c:pt idx="591">
                  <c:v>92.014787117342607</c:v>
                </c:pt>
                <c:pt idx="592">
                  <c:v>91.006098273536907</c:v>
                </c:pt>
                <c:pt idx="593">
                  <c:v>90.416078069826696</c:v>
                </c:pt>
                <c:pt idx="594">
                  <c:v>91.237161434917695</c:v>
                </c:pt>
                <c:pt idx="595">
                  <c:v>92.342783580891606</c:v>
                </c:pt>
                <c:pt idx="596">
                  <c:v>93.368883707585894</c:v>
                </c:pt>
                <c:pt idx="597">
                  <c:v>92.644215469874595</c:v>
                </c:pt>
                <c:pt idx="598">
                  <c:v>92.990093266180196</c:v>
                </c:pt>
                <c:pt idx="599">
                  <c:v>93.3574726920438</c:v>
                </c:pt>
                <c:pt idx="600">
                  <c:v>94.155654553146903</c:v>
                </c:pt>
                <c:pt idx="601">
                  <c:v>94.155654553146903</c:v>
                </c:pt>
                <c:pt idx="602">
                  <c:v>94.155654553146903</c:v>
                </c:pt>
                <c:pt idx="603">
                  <c:v>94.148430833480603</c:v>
                </c:pt>
                <c:pt idx="604">
                  <c:v>94.001206731333497</c:v>
                </c:pt>
                <c:pt idx="605">
                  <c:v>93.603172668649293</c:v>
                </c:pt>
                <c:pt idx="606">
                  <c:v>93.881968912687697</c:v>
                </c:pt>
                <c:pt idx="607">
                  <c:v>93.881968912687697</c:v>
                </c:pt>
                <c:pt idx="608">
                  <c:v>91.312190076606598</c:v>
                </c:pt>
                <c:pt idx="609">
                  <c:v>91.4431150583479</c:v>
                </c:pt>
                <c:pt idx="610">
                  <c:v>90.846100466792194</c:v>
                </c:pt>
                <c:pt idx="611">
                  <c:v>88.948593336035998</c:v>
                </c:pt>
                <c:pt idx="612">
                  <c:v>88.712097706584501</c:v>
                </c:pt>
                <c:pt idx="613">
                  <c:v>87.213021694706399</c:v>
                </c:pt>
                <c:pt idx="614">
                  <c:v>87.147213001283802</c:v>
                </c:pt>
                <c:pt idx="615">
                  <c:v>87.7401278500259</c:v>
                </c:pt>
                <c:pt idx="616">
                  <c:v>86.856916091513895</c:v>
                </c:pt>
                <c:pt idx="617">
                  <c:v>86.199978171261805</c:v>
                </c:pt>
                <c:pt idx="618">
                  <c:v>85.092946232302594</c:v>
                </c:pt>
                <c:pt idx="619">
                  <c:v>86.028068821412504</c:v>
                </c:pt>
                <c:pt idx="620">
                  <c:v>84.2985094673178</c:v>
                </c:pt>
                <c:pt idx="621">
                  <c:v>83.449404419461302</c:v>
                </c:pt>
                <c:pt idx="622">
                  <c:v>85.588275941873704</c:v>
                </c:pt>
                <c:pt idx="623">
                  <c:v>86.638092662736298</c:v>
                </c:pt>
                <c:pt idx="624">
                  <c:v>86.3062900462822</c:v>
                </c:pt>
                <c:pt idx="625">
                  <c:v>87.352371226989405</c:v>
                </c:pt>
                <c:pt idx="626">
                  <c:v>88.481145721860301</c:v>
                </c:pt>
                <c:pt idx="627">
                  <c:v>90.740051659722894</c:v>
                </c:pt>
                <c:pt idx="628">
                  <c:v>91.111251697166594</c:v>
                </c:pt>
                <c:pt idx="629">
                  <c:v>90.051405528774794</c:v>
                </c:pt>
                <c:pt idx="630">
                  <c:v>89.0946373904967</c:v>
                </c:pt>
                <c:pt idx="631">
                  <c:v>90.734340104722193</c:v>
                </c:pt>
                <c:pt idx="632">
                  <c:v>91.0815042158316</c:v>
                </c:pt>
                <c:pt idx="633">
                  <c:v>90.677686286741903</c:v>
                </c:pt>
                <c:pt idx="634">
                  <c:v>90.124526735196099</c:v>
                </c:pt>
                <c:pt idx="635">
                  <c:v>90.006450493937706</c:v>
                </c:pt>
                <c:pt idx="636">
                  <c:v>88.925080033234593</c:v>
                </c:pt>
                <c:pt idx="637">
                  <c:v>88.457853823468199</c:v>
                </c:pt>
                <c:pt idx="638">
                  <c:v>90.059280585177902</c:v>
                </c:pt>
                <c:pt idx="639">
                  <c:v>89.974221071708001</c:v>
                </c:pt>
                <c:pt idx="640">
                  <c:v>89.871173331848198</c:v>
                </c:pt>
                <c:pt idx="641">
                  <c:v>91.343806394461794</c:v>
                </c:pt>
                <c:pt idx="642">
                  <c:v>91.366072227214502</c:v>
                </c:pt>
                <c:pt idx="643">
                  <c:v>91.817487450210393</c:v>
                </c:pt>
                <c:pt idx="644">
                  <c:v>91.518956751153695</c:v>
                </c:pt>
                <c:pt idx="645">
                  <c:v>90.511444020631401</c:v>
                </c:pt>
                <c:pt idx="646">
                  <c:v>90.575148846637106</c:v>
                </c:pt>
                <c:pt idx="647">
                  <c:v>90.854802881843</c:v>
                </c:pt>
                <c:pt idx="648">
                  <c:v>91.125255803976501</c:v>
                </c:pt>
                <c:pt idx="649">
                  <c:v>91.987925857626394</c:v>
                </c:pt>
                <c:pt idx="650">
                  <c:v>93.176750236299398</c:v>
                </c:pt>
                <c:pt idx="651">
                  <c:v>94.056752289334298</c:v>
                </c:pt>
                <c:pt idx="652">
                  <c:v>94.1080964110606</c:v>
                </c:pt>
                <c:pt idx="653">
                  <c:v>94.521327348743299</c:v>
                </c:pt>
                <c:pt idx="654">
                  <c:v>94.170083262382306</c:v>
                </c:pt>
                <c:pt idx="655">
                  <c:v>94.192254324855597</c:v>
                </c:pt>
                <c:pt idx="656">
                  <c:v>94.577879280562797</c:v>
                </c:pt>
                <c:pt idx="657">
                  <c:v>95.148207518163005</c:v>
                </c:pt>
                <c:pt idx="658">
                  <c:v>95.2845482194205</c:v>
                </c:pt>
                <c:pt idx="659">
                  <c:v>94.248067386126493</c:v>
                </c:pt>
                <c:pt idx="660">
                  <c:v>94.312478519131005</c:v>
                </c:pt>
                <c:pt idx="661">
                  <c:v>96.494904770569804</c:v>
                </c:pt>
                <c:pt idx="662">
                  <c:v>97.261689102256796</c:v>
                </c:pt>
                <c:pt idx="663">
                  <c:v>97.347090868010994</c:v>
                </c:pt>
                <c:pt idx="664">
                  <c:v>97.232413291678199</c:v>
                </c:pt>
                <c:pt idx="665">
                  <c:v>96.734265843279999</c:v>
                </c:pt>
                <c:pt idx="666">
                  <c:v>96.227397099935999</c:v>
                </c:pt>
                <c:pt idx="667">
                  <c:v>96.227397099935999</c:v>
                </c:pt>
                <c:pt idx="668">
                  <c:v>96.227397099935999</c:v>
                </c:pt>
                <c:pt idx="669">
                  <c:v>95.930425885771299</c:v>
                </c:pt>
                <c:pt idx="670">
                  <c:v>97.562657400471196</c:v>
                </c:pt>
                <c:pt idx="671">
                  <c:v>98.008847026523199</c:v>
                </c:pt>
                <c:pt idx="672">
                  <c:v>97.1548964105382</c:v>
                </c:pt>
                <c:pt idx="673">
                  <c:v>97.277329730238606</c:v>
                </c:pt>
                <c:pt idx="674">
                  <c:v>96.502825607926695</c:v>
                </c:pt>
                <c:pt idx="675">
                  <c:v>95.773938111799296</c:v>
                </c:pt>
                <c:pt idx="676">
                  <c:v>95.939298323745405</c:v>
                </c:pt>
                <c:pt idx="677">
                  <c:v>96.385111996586502</c:v>
                </c:pt>
                <c:pt idx="678">
                  <c:v>96.907301323320993</c:v>
                </c:pt>
                <c:pt idx="679">
                  <c:v>97.186674296479694</c:v>
                </c:pt>
                <c:pt idx="680">
                  <c:v>97.670419072640598</c:v>
                </c:pt>
                <c:pt idx="681">
                  <c:v>97.654211565411202</c:v>
                </c:pt>
                <c:pt idx="682">
                  <c:v>97.924303402634905</c:v>
                </c:pt>
                <c:pt idx="683">
                  <c:v>97.652766325246901</c:v>
                </c:pt>
                <c:pt idx="684">
                  <c:v>98.540224317517499</c:v>
                </c:pt>
                <c:pt idx="685">
                  <c:v>98.168161635439901</c:v>
                </c:pt>
                <c:pt idx="686">
                  <c:v>98.698768462985797</c:v>
                </c:pt>
                <c:pt idx="687">
                  <c:v>98.214620475262095</c:v>
                </c:pt>
                <c:pt idx="688">
                  <c:v>97.893098610097994</c:v>
                </c:pt>
                <c:pt idx="689">
                  <c:v>97.858380216119699</c:v>
                </c:pt>
                <c:pt idx="690">
                  <c:v>97.977080214127696</c:v>
                </c:pt>
                <c:pt idx="691">
                  <c:v>98.064653339190698</c:v>
                </c:pt>
                <c:pt idx="692">
                  <c:v>97.830633476974995</c:v>
                </c:pt>
                <c:pt idx="693">
                  <c:v>97.484069640153706</c:v>
                </c:pt>
                <c:pt idx="694">
                  <c:v>97.036819558662302</c:v>
                </c:pt>
                <c:pt idx="695">
                  <c:v>96.340865144420206</c:v>
                </c:pt>
                <c:pt idx="696">
                  <c:v>96.340865144420206</c:v>
                </c:pt>
                <c:pt idx="697">
                  <c:v>95.865793224230998</c:v>
                </c:pt>
                <c:pt idx="698">
                  <c:v>95.512329958589007</c:v>
                </c:pt>
                <c:pt idx="699">
                  <c:v>95.785640868340707</c:v>
                </c:pt>
                <c:pt idx="700">
                  <c:v>95.960909432141605</c:v>
                </c:pt>
                <c:pt idx="701">
                  <c:v>96.251130712161597</c:v>
                </c:pt>
                <c:pt idx="702">
                  <c:v>95.846055050746699</c:v>
                </c:pt>
                <c:pt idx="703">
                  <c:v>95.846055050746699</c:v>
                </c:pt>
                <c:pt idx="704">
                  <c:v>96.339141368049198</c:v>
                </c:pt>
                <c:pt idx="705">
                  <c:v>95.870190144878194</c:v>
                </c:pt>
                <c:pt idx="706">
                  <c:v>94.788063934899299</c:v>
                </c:pt>
                <c:pt idx="707">
                  <c:v>94.513216720645701</c:v>
                </c:pt>
                <c:pt idx="708">
                  <c:v>94.932009598410602</c:v>
                </c:pt>
                <c:pt idx="709">
                  <c:v>94.611402201768996</c:v>
                </c:pt>
                <c:pt idx="710">
                  <c:v>95.481719054293293</c:v>
                </c:pt>
                <c:pt idx="711">
                  <c:v>95.596031416427095</c:v>
                </c:pt>
                <c:pt idx="712">
                  <c:v>96.654467982267207</c:v>
                </c:pt>
                <c:pt idx="713">
                  <c:v>96.690976741396398</c:v>
                </c:pt>
                <c:pt idx="714">
                  <c:v>96.671295268689704</c:v>
                </c:pt>
                <c:pt idx="715">
                  <c:v>96.747046055619094</c:v>
                </c:pt>
                <c:pt idx="716">
                  <c:v>96.783122381304096</c:v>
                </c:pt>
                <c:pt idx="717">
                  <c:v>97.406630342591001</c:v>
                </c:pt>
                <c:pt idx="718">
                  <c:v>98.125133774460195</c:v>
                </c:pt>
                <c:pt idx="719">
                  <c:v>99.678683264630294</c:v>
                </c:pt>
                <c:pt idx="720">
                  <c:v>100.020453215389</c:v>
                </c:pt>
                <c:pt idx="721">
                  <c:v>99.568404316056004</c:v>
                </c:pt>
                <c:pt idx="722">
                  <c:v>98.884275461082595</c:v>
                </c:pt>
                <c:pt idx="723">
                  <c:v>97.235858340190404</c:v>
                </c:pt>
                <c:pt idx="724">
                  <c:v>96.949993682073298</c:v>
                </c:pt>
                <c:pt idx="725">
                  <c:v>97.235520669963904</c:v>
                </c:pt>
                <c:pt idx="726">
                  <c:v>96.655085873629702</c:v>
                </c:pt>
                <c:pt idx="727">
                  <c:v>97.171879063973407</c:v>
                </c:pt>
                <c:pt idx="728">
                  <c:v>98.350860106593402</c:v>
                </c:pt>
                <c:pt idx="729">
                  <c:v>98.670822637684694</c:v>
                </c:pt>
                <c:pt idx="730">
                  <c:v>99.001522507250897</c:v>
                </c:pt>
                <c:pt idx="731">
                  <c:v>99.001522507250897</c:v>
                </c:pt>
                <c:pt idx="732">
                  <c:v>97.259257333647696</c:v>
                </c:pt>
                <c:pt idx="733">
                  <c:v>96.780916287331706</c:v>
                </c:pt>
                <c:pt idx="734">
                  <c:v>97.606345386482204</c:v>
                </c:pt>
                <c:pt idx="735">
                  <c:v>99.292113405288504</c:v>
                </c:pt>
                <c:pt idx="736">
                  <c:v>100.63686094972599</c:v>
                </c:pt>
                <c:pt idx="737">
                  <c:v>101.35347587253101</c:v>
                </c:pt>
                <c:pt idx="738">
                  <c:v>101.810251914177</c:v>
                </c:pt>
                <c:pt idx="739">
                  <c:v>100.953748820706</c:v>
                </c:pt>
                <c:pt idx="740">
                  <c:v>99.757471624838303</c:v>
                </c:pt>
                <c:pt idx="741">
                  <c:v>100.528249241572</c:v>
                </c:pt>
                <c:pt idx="742">
                  <c:v>100.86386513048001</c:v>
                </c:pt>
                <c:pt idx="743">
                  <c:v>102.81371885325601</c:v>
                </c:pt>
                <c:pt idx="744">
                  <c:v>103.27110110213201</c:v>
                </c:pt>
                <c:pt idx="745">
                  <c:v>103.64848161896198</c:v>
                </c:pt>
                <c:pt idx="746">
                  <c:v>104.423624835366</c:v>
                </c:pt>
                <c:pt idx="747">
                  <c:v>104.944736827451</c:v>
                </c:pt>
                <c:pt idx="748">
                  <c:v>104.96544791372399</c:v>
                </c:pt>
                <c:pt idx="749">
                  <c:v>105.16091624370301</c:v>
                </c:pt>
                <c:pt idx="750">
                  <c:v>105.32476245907201</c:v>
                </c:pt>
                <c:pt idx="751">
                  <c:v>105.45428027949499</c:v>
                </c:pt>
                <c:pt idx="752">
                  <c:v>105.37877524286698</c:v>
                </c:pt>
                <c:pt idx="753">
                  <c:v>105.056216573984</c:v>
                </c:pt>
                <c:pt idx="754">
                  <c:v>105.30877407469799</c:v>
                </c:pt>
                <c:pt idx="755">
                  <c:v>105.664843713198</c:v>
                </c:pt>
                <c:pt idx="756">
                  <c:v>105.967621712007</c:v>
                </c:pt>
                <c:pt idx="757">
                  <c:v>105.87731417502502</c:v>
                </c:pt>
                <c:pt idx="758">
                  <c:v>106.78897660373701</c:v>
                </c:pt>
                <c:pt idx="759">
                  <c:v>106.384865550508</c:v>
                </c:pt>
                <c:pt idx="760">
                  <c:v>105.55091280856898</c:v>
                </c:pt>
                <c:pt idx="761">
                  <c:v>106.123015596621</c:v>
                </c:pt>
                <c:pt idx="762">
                  <c:v>107.14953782790199</c:v>
                </c:pt>
                <c:pt idx="763">
                  <c:v>107.79380586557798</c:v>
                </c:pt>
                <c:pt idx="764">
                  <c:v>107.95978474091</c:v>
                </c:pt>
                <c:pt idx="765">
                  <c:v>108.59336591680902</c:v>
                </c:pt>
                <c:pt idx="766">
                  <c:v>108.82946336663399</c:v>
                </c:pt>
                <c:pt idx="767">
                  <c:v>108.53631067322399</c:v>
                </c:pt>
                <c:pt idx="768">
                  <c:v>108.53631067322399</c:v>
                </c:pt>
                <c:pt idx="769">
                  <c:v>108.827029233052</c:v>
                </c:pt>
                <c:pt idx="770">
                  <c:v>108.149877288113</c:v>
                </c:pt>
                <c:pt idx="771">
                  <c:v>108.33370624465599</c:v>
                </c:pt>
                <c:pt idx="772">
                  <c:v>107.50582817854399</c:v>
                </c:pt>
                <c:pt idx="773">
                  <c:v>106.71798645781601</c:v>
                </c:pt>
                <c:pt idx="774">
                  <c:v>106.94993137162201</c:v>
                </c:pt>
                <c:pt idx="775">
                  <c:v>106.394972867673</c:v>
                </c:pt>
                <c:pt idx="776">
                  <c:v>106.98691155078399</c:v>
                </c:pt>
                <c:pt idx="777">
                  <c:v>107.264937593406</c:v>
                </c:pt>
                <c:pt idx="778">
                  <c:v>106.643559510017</c:v>
                </c:pt>
                <c:pt idx="779">
                  <c:v>107.085941777019</c:v>
                </c:pt>
                <c:pt idx="780">
                  <c:v>106.37293586013598</c:v>
                </c:pt>
                <c:pt idx="781">
                  <c:v>105.85652828715</c:v>
                </c:pt>
                <c:pt idx="782">
                  <c:v>106.37848106023</c:v>
                </c:pt>
                <c:pt idx="783">
                  <c:v>107.41797694922602</c:v>
                </c:pt>
                <c:pt idx="784">
                  <c:v>108.48236572891801</c:v>
                </c:pt>
                <c:pt idx="785">
                  <c:v>108.702981082343</c:v>
                </c:pt>
                <c:pt idx="786">
                  <c:v>108.830429766766</c:v>
                </c:pt>
                <c:pt idx="787">
                  <c:v>107.106723788911</c:v>
                </c:pt>
                <c:pt idx="788">
                  <c:v>104.926574318313</c:v>
                </c:pt>
                <c:pt idx="789">
                  <c:v>104.77012245959601</c:v>
                </c:pt>
                <c:pt idx="790">
                  <c:v>104.514170965606</c:v>
                </c:pt>
                <c:pt idx="791">
                  <c:v>104.982908814263</c:v>
                </c:pt>
                <c:pt idx="792">
                  <c:v>104.58974852481199</c:v>
                </c:pt>
                <c:pt idx="793">
                  <c:v>105.76678441995702</c:v>
                </c:pt>
                <c:pt idx="794">
                  <c:v>105.75818997411798</c:v>
                </c:pt>
                <c:pt idx="795">
                  <c:v>106.527705389396</c:v>
                </c:pt>
                <c:pt idx="796">
                  <c:v>107.85560775364699</c:v>
                </c:pt>
                <c:pt idx="797">
                  <c:v>107.60387217609902</c:v>
                </c:pt>
                <c:pt idx="798">
                  <c:v>106.54892054049201</c:v>
                </c:pt>
                <c:pt idx="799">
                  <c:v>107.41921041623202</c:v>
                </c:pt>
                <c:pt idx="800">
                  <c:v>107.15483912932</c:v>
                </c:pt>
                <c:pt idx="801">
                  <c:v>107.57047073886102</c:v>
                </c:pt>
                <c:pt idx="802">
                  <c:v>106.420665281892</c:v>
                </c:pt>
                <c:pt idx="803">
                  <c:v>107.08707695387601</c:v>
                </c:pt>
                <c:pt idx="804">
                  <c:v>106.94211026921401</c:v>
                </c:pt>
                <c:pt idx="805">
                  <c:v>106.26370152418801</c:v>
                </c:pt>
                <c:pt idx="806">
                  <c:v>106.04218883732102</c:v>
                </c:pt>
                <c:pt idx="807">
                  <c:v>105.567025729813</c:v>
                </c:pt>
                <c:pt idx="808">
                  <c:v>105.73038166790498</c:v>
                </c:pt>
                <c:pt idx="809">
                  <c:v>104.77085866042502</c:v>
                </c:pt>
                <c:pt idx="810">
                  <c:v>104.43707776378901</c:v>
                </c:pt>
                <c:pt idx="811">
                  <c:v>103.60952415493701</c:v>
                </c:pt>
                <c:pt idx="812">
                  <c:v>104.02838623331398</c:v>
                </c:pt>
                <c:pt idx="813">
                  <c:v>103.665292857343</c:v>
                </c:pt>
                <c:pt idx="814">
                  <c:v>105.16523375077401</c:v>
                </c:pt>
                <c:pt idx="815">
                  <c:v>105.85369793976301</c:v>
                </c:pt>
                <c:pt idx="816">
                  <c:v>105.70021377257</c:v>
                </c:pt>
                <c:pt idx="817">
                  <c:v>105.33489888674498</c:v>
                </c:pt>
                <c:pt idx="818">
                  <c:v>105.780411400159</c:v>
                </c:pt>
                <c:pt idx="819">
                  <c:v>105.68562610984699</c:v>
                </c:pt>
                <c:pt idx="820">
                  <c:v>105.016093870153</c:v>
                </c:pt>
                <c:pt idx="821">
                  <c:v>104.546838624881</c:v>
                </c:pt>
                <c:pt idx="822">
                  <c:v>104.19397600933699</c:v>
                </c:pt>
                <c:pt idx="823">
                  <c:v>104.25971461964301</c:v>
                </c:pt>
                <c:pt idx="824">
                  <c:v>104.25971461964301</c:v>
                </c:pt>
                <c:pt idx="825">
                  <c:v>103.22968136009401</c:v>
                </c:pt>
                <c:pt idx="826">
                  <c:v>102.823189345012</c:v>
                </c:pt>
                <c:pt idx="827">
                  <c:v>102.68000233366801</c:v>
                </c:pt>
                <c:pt idx="828">
                  <c:v>103.04046058809899</c:v>
                </c:pt>
                <c:pt idx="829">
                  <c:v>103.80174417254999</c:v>
                </c:pt>
                <c:pt idx="830">
                  <c:v>102.16957390869199</c:v>
                </c:pt>
                <c:pt idx="831">
                  <c:v>102.429283837282</c:v>
                </c:pt>
                <c:pt idx="832">
                  <c:v>99.853534466122795</c:v>
                </c:pt>
                <c:pt idx="833">
                  <c:v>98.191362512208997</c:v>
                </c:pt>
                <c:pt idx="834">
                  <c:v>98.261010448167795</c:v>
                </c:pt>
                <c:pt idx="835">
                  <c:v>98.838663834013403</c:v>
                </c:pt>
                <c:pt idx="836">
                  <c:v>98.823316901079593</c:v>
                </c:pt>
                <c:pt idx="837">
                  <c:v>98.622178956924799</c:v>
                </c:pt>
                <c:pt idx="838">
                  <c:v>98.388202348348798</c:v>
                </c:pt>
                <c:pt idx="839">
                  <c:v>99.026872355022704</c:v>
                </c:pt>
                <c:pt idx="840">
                  <c:v>99.258246066789397</c:v>
                </c:pt>
                <c:pt idx="841">
                  <c:v>98.790492237609001</c:v>
                </c:pt>
                <c:pt idx="842">
                  <c:v>99.219261066015093</c:v>
                </c:pt>
                <c:pt idx="843">
                  <c:v>99.743418942388999</c:v>
                </c:pt>
                <c:pt idx="844">
                  <c:v>99.332215733396495</c:v>
                </c:pt>
                <c:pt idx="845">
                  <c:v>99.810436503653307</c:v>
                </c:pt>
                <c:pt idx="846">
                  <c:v>99.945288613485403</c:v>
                </c:pt>
                <c:pt idx="847">
                  <c:v>99.755640390128605</c:v>
                </c:pt>
                <c:pt idx="848">
                  <c:v>99.622490871191999</c:v>
                </c:pt>
                <c:pt idx="849">
                  <c:v>100.24262207279399</c:v>
                </c:pt>
                <c:pt idx="850">
                  <c:v>100.35125850926801</c:v>
                </c:pt>
                <c:pt idx="851">
                  <c:v>101.53974270573501</c:v>
                </c:pt>
                <c:pt idx="852">
                  <c:v>101.069627417877</c:v>
                </c:pt>
                <c:pt idx="853">
                  <c:v>100.54156550000599</c:v>
                </c:pt>
                <c:pt idx="854">
                  <c:v>100.984331411745</c:v>
                </c:pt>
                <c:pt idx="855">
                  <c:v>100.761015010923</c:v>
                </c:pt>
                <c:pt idx="856">
                  <c:v>99.656151899874203</c:v>
                </c:pt>
                <c:pt idx="857">
                  <c:v>99.285668434695793</c:v>
                </c:pt>
                <c:pt idx="858">
                  <c:v>98.743617512993694</c:v>
                </c:pt>
                <c:pt idx="859">
                  <c:v>98.415083857372096</c:v>
                </c:pt>
                <c:pt idx="860">
                  <c:v>98.018216237097505</c:v>
                </c:pt>
                <c:pt idx="861">
                  <c:v>97.414279107413407</c:v>
                </c:pt>
                <c:pt idx="862">
                  <c:v>97.197068412934499</c:v>
                </c:pt>
                <c:pt idx="863">
                  <c:v>97.197068412934499</c:v>
                </c:pt>
                <c:pt idx="864">
                  <c:v>97.599949841574798</c:v>
                </c:pt>
                <c:pt idx="865">
                  <c:v>98.047053630415206</c:v>
                </c:pt>
                <c:pt idx="866">
                  <c:v>98.571979840896503</c:v>
                </c:pt>
                <c:pt idx="867">
                  <c:v>99.000228279254898</c:v>
                </c:pt>
                <c:pt idx="868">
                  <c:v>99.029785827383094</c:v>
                </c:pt>
                <c:pt idx="869">
                  <c:v>99.298290526697301</c:v>
                </c:pt>
                <c:pt idx="870">
                  <c:v>100.092528537926</c:v>
                </c:pt>
                <c:pt idx="871">
                  <c:v>101.55134759331501</c:v>
                </c:pt>
                <c:pt idx="872">
                  <c:v>101.31314683363701</c:v>
                </c:pt>
                <c:pt idx="873">
                  <c:v>100.858191945814</c:v>
                </c:pt>
                <c:pt idx="874">
                  <c:v>101.48334023338002</c:v>
                </c:pt>
                <c:pt idx="875">
                  <c:v>101.439657740679</c:v>
                </c:pt>
                <c:pt idx="876">
                  <c:v>101.886077320921</c:v>
                </c:pt>
                <c:pt idx="877">
                  <c:v>102.14005637577502</c:v>
                </c:pt>
                <c:pt idx="878">
                  <c:v>101.35898909682901</c:v>
                </c:pt>
                <c:pt idx="879">
                  <c:v>101.90857424650299</c:v>
                </c:pt>
                <c:pt idx="880">
                  <c:v>102.151056709202</c:v>
                </c:pt>
                <c:pt idx="881">
                  <c:v>101.68448096499201</c:v>
                </c:pt>
                <c:pt idx="882">
                  <c:v>101.536638181622</c:v>
                </c:pt>
                <c:pt idx="883">
                  <c:v>102.23252125808699</c:v>
                </c:pt>
                <c:pt idx="884">
                  <c:v>102.62550093452101</c:v>
                </c:pt>
                <c:pt idx="885">
                  <c:v>102.73966812957499</c:v>
                </c:pt>
                <c:pt idx="886">
                  <c:v>103.26001879976501</c:v>
                </c:pt>
                <c:pt idx="887">
                  <c:v>103.17638281407299</c:v>
                </c:pt>
                <c:pt idx="888">
                  <c:v>102.867560227025</c:v>
                </c:pt>
                <c:pt idx="889">
                  <c:v>102.30079448915099</c:v>
                </c:pt>
                <c:pt idx="890">
                  <c:v>102.11186062417002</c:v>
                </c:pt>
                <c:pt idx="891">
                  <c:v>102.18189319576298</c:v>
                </c:pt>
                <c:pt idx="892">
                  <c:v>102.71816162154902</c:v>
                </c:pt>
                <c:pt idx="893">
                  <c:v>103.824012827527</c:v>
                </c:pt>
                <c:pt idx="894">
                  <c:v>103.79194522738699</c:v>
                </c:pt>
                <c:pt idx="895">
                  <c:v>103.693553350786</c:v>
                </c:pt>
                <c:pt idx="896">
                  <c:v>103.96047459002999</c:v>
                </c:pt>
                <c:pt idx="897">
                  <c:v>104.29269009704799</c:v>
                </c:pt>
                <c:pt idx="898">
                  <c:v>104.59032516534901</c:v>
                </c:pt>
                <c:pt idx="899">
                  <c:v>104.661470843267</c:v>
                </c:pt>
                <c:pt idx="900">
                  <c:v>104.806332078352</c:v>
                </c:pt>
                <c:pt idx="901">
                  <c:v>105.214470786604</c:v>
                </c:pt>
                <c:pt idx="902">
                  <c:v>104.83702467094599</c:v>
                </c:pt>
                <c:pt idx="903">
                  <c:v>104.780910177162</c:v>
                </c:pt>
                <c:pt idx="904">
                  <c:v>105.187013348392</c:v>
                </c:pt>
                <c:pt idx="905">
                  <c:v>105.73534116430901</c:v>
                </c:pt>
                <c:pt idx="906">
                  <c:v>105.309378539945</c:v>
                </c:pt>
                <c:pt idx="907">
                  <c:v>105.332118828551</c:v>
                </c:pt>
                <c:pt idx="908">
                  <c:v>105.021097964749</c:v>
                </c:pt>
                <c:pt idx="909">
                  <c:v>104.943804151053</c:v>
                </c:pt>
                <c:pt idx="910">
                  <c:v>105.02869572836802</c:v>
                </c:pt>
                <c:pt idx="911">
                  <c:v>104.77538764138798</c:v>
                </c:pt>
                <c:pt idx="912">
                  <c:v>103.85827066966201</c:v>
                </c:pt>
                <c:pt idx="913">
                  <c:v>104.089690153905</c:v>
                </c:pt>
                <c:pt idx="914">
                  <c:v>104.35265903073901</c:v>
                </c:pt>
                <c:pt idx="915">
                  <c:v>104.79374350840899</c:v>
                </c:pt>
                <c:pt idx="916">
                  <c:v>103.77841770676601</c:v>
                </c:pt>
                <c:pt idx="917">
                  <c:v>103.64829721539299</c:v>
                </c:pt>
                <c:pt idx="918">
                  <c:v>104.89476676888</c:v>
                </c:pt>
                <c:pt idx="919">
                  <c:v>105.08312272772599</c:v>
                </c:pt>
                <c:pt idx="920">
                  <c:v>105.44107068153102</c:v>
                </c:pt>
                <c:pt idx="921">
                  <c:v>106.78571396385898</c:v>
                </c:pt>
                <c:pt idx="922">
                  <c:v>107.39991332118902</c:v>
                </c:pt>
                <c:pt idx="923">
                  <c:v>107.722493020467</c:v>
                </c:pt>
                <c:pt idx="924">
                  <c:v>107.54079854442899</c:v>
                </c:pt>
                <c:pt idx="925">
                  <c:v>107.12713111310998</c:v>
                </c:pt>
                <c:pt idx="926">
                  <c:v>107.332368145083</c:v>
                </c:pt>
                <c:pt idx="927">
                  <c:v>107.72319859055798</c:v>
                </c:pt>
                <c:pt idx="928">
                  <c:v>107.72741837864498</c:v>
                </c:pt>
                <c:pt idx="929">
                  <c:v>107.999252043428</c:v>
                </c:pt>
                <c:pt idx="930">
                  <c:v>107.99680016824699</c:v>
                </c:pt>
                <c:pt idx="931">
                  <c:v>107.902593253872</c:v>
                </c:pt>
                <c:pt idx="932">
                  <c:v>107.375919999285</c:v>
                </c:pt>
                <c:pt idx="933">
                  <c:v>107.95918122642001</c:v>
                </c:pt>
                <c:pt idx="934">
                  <c:v>107.91348011266902</c:v>
                </c:pt>
                <c:pt idx="935">
                  <c:v>108.584031755616</c:v>
                </c:pt>
                <c:pt idx="936">
                  <c:v>108.215547097757</c:v>
                </c:pt>
                <c:pt idx="937">
                  <c:v>108.09705680102898</c:v>
                </c:pt>
                <c:pt idx="938">
                  <c:v>107.690893645</c:v>
                </c:pt>
                <c:pt idx="939">
                  <c:v>107.175650731345</c:v>
                </c:pt>
                <c:pt idx="940">
                  <c:v>107.649034243796</c:v>
                </c:pt>
                <c:pt idx="941">
                  <c:v>108.450610791316</c:v>
                </c:pt>
                <c:pt idx="942">
                  <c:v>108.450610791316</c:v>
                </c:pt>
                <c:pt idx="943">
                  <c:v>108.450610791316</c:v>
                </c:pt>
                <c:pt idx="944">
                  <c:v>107.88223937986201</c:v>
                </c:pt>
                <c:pt idx="945">
                  <c:v>107.56948982958798</c:v>
                </c:pt>
                <c:pt idx="946">
                  <c:v>107.80765955338801</c:v>
                </c:pt>
                <c:pt idx="947">
                  <c:v>108.468038793993</c:v>
                </c:pt>
                <c:pt idx="948">
                  <c:v>109.05713190881301</c:v>
                </c:pt>
                <c:pt idx="949">
                  <c:v>109.05713190881301</c:v>
                </c:pt>
                <c:pt idx="950">
                  <c:v>110.25495934150401</c:v>
                </c:pt>
                <c:pt idx="951">
                  <c:v>109.60228857566501</c:v>
                </c:pt>
                <c:pt idx="952">
                  <c:v>109.17452176086</c:v>
                </c:pt>
                <c:pt idx="953">
                  <c:v>109.17452176086</c:v>
                </c:pt>
                <c:pt idx="954">
                  <c:v>110.12252731355198</c:v>
                </c:pt>
                <c:pt idx="955">
                  <c:v>110.04623262825099</c:v>
                </c:pt>
                <c:pt idx="956">
                  <c:v>109.982602019982</c:v>
                </c:pt>
                <c:pt idx="957">
                  <c:v>109.64018877694399</c:v>
                </c:pt>
                <c:pt idx="958">
                  <c:v>110.62149024847101</c:v>
                </c:pt>
                <c:pt idx="959">
                  <c:v>110.42057204990601</c:v>
                </c:pt>
                <c:pt idx="960">
                  <c:v>110.48473775808398</c:v>
                </c:pt>
                <c:pt idx="961">
                  <c:v>110.98829004634298</c:v>
                </c:pt>
                <c:pt idx="962">
                  <c:v>110.8232744907</c:v>
                </c:pt>
                <c:pt idx="963">
                  <c:v>111.108843922425</c:v>
                </c:pt>
                <c:pt idx="964">
                  <c:v>111.89879340855499</c:v>
                </c:pt>
                <c:pt idx="965">
                  <c:v>111.38518032997101</c:v>
                </c:pt>
                <c:pt idx="966">
                  <c:v>110.058018377648</c:v>
                </c:pt>
                <c:pt idx="967">
                  <c:v>110.55958792113701</c:v>
                </c:pt>
                <c:pt idx="968">
                  <c:v>111.244809786978</c:v>
                </c:pt>
                <c:pt idx="969">
                  <c:v>111.089246151315</c:v>
                </c:pt>
                <c:pt idx="970">
                  <c:v>111.514976066796</c:v>
                </c:pt>
                <c:pt idx="971">
                  <c:v>111.514976066796</c:v>
                </c:pt>
                <c:pt idx="972">
                  <c:v>112.73089414237801</c:v>
                </c:pt>
                <c:pt idx="973">
                  <c:v>112.585562734371</c:v>
                </c:pt>
                <c:pt idx="974">
                  <c:v>112.479684592775</c:v>
                </c:pt>
                <c:pt idx="975">
                  <c:v>112.819817648059</c:v>
                </c:pt>
                <c:pt idx="976">
                  <c:v>113.10609625538099</c:v>
                </c:pt>
                <c:pt idx="977">
                  <c:v>113.686250311436</c:v>
                </c:pt>
                <c:pt idx="978">
                  <c:v>113.686250311436</c:v>
                </c:pt>
                <c:pt idx="979">
                  <c:v>114.028194991303</c:v>
                </c:pt>
                <c:pt idx="980">
                  <c:v>114.342060609649</c:v>
                </c:pt>
                <c:pt idx="981">
                  <c:v>113.93490384345898</c:v>
                </c:pt>
                <c:pt idx="982">
                  <c:v>113.48963148837102</c:v>
                </c:pt>
                <c:pt idx="983">
                  <c:v>112.86210897152</c:v>
                </c:pt>
                <c:pt idx="984">
                  <c:v>113.09563926200701</c:v>
                </c:pt>
                <c:pt idx="985">
                  <c:v>113.36831351815802</c:v>
                </c:pt>
                <c:pt idx="986">
                  <c:v>112.581337851802</c:v>
                </c:pt>
                <c:pt idx="987">
                  <c:v>112.57481172250098</c:v>
                </c:pt>
                <c:pt idx="988">
                  <c:v>112.86194251713199</c:v>
                </c:pt>
                <c:pt idx="989">
                  <c:v>112.564452738469</c:v>
                </c:pt>
                <c:pt idx="990">
                  <c:v>111.779618693196</c:v>
                </c:pt>
                <c:pt idx="991">
                  <c:v>112.368597361837</c:v>
                </c:pt>
                <c:pt idx="992">
                  <c:v>112.368597361837</c:v>
                </c:pt>
                <c:pt idx="993">
                  <c:v>113.03536996019801</c:v>
                </c:pt>
                <c:pt idx="994">
                  <c:v>113.099751175631</c:v>
                </c:pt>
                <c:pt idx="995">
                  <c:v>112.72186822438299</c:v>
                </c:pt>
                <c:pt idx="996">
                  <c:v>112.912153735198</c:v>
                </c:pt>
                <c:pt idx="997">
                  <c:v>112.65803364150899</c:v>
                </c:pt>
                <c:pt idx="998">
                  <c:v>113.286869506589</c:v>
                </c:pt>
                <c:pt idx="999">
                  <c:v>112.60050272467601</c:v>
                </c:pt>
                <c:pt idx="1000">
                  <c:v>112.644550379232</c:v>
                </c:pt>
                <c:pt idx="1001">
                  <c:v>112.41120050875</c:v>
                </c:pt>
                <c:pt idx="1002">
                  <c:v>112.23633486059801</c:v>
                </c:pt>
                <c:pt idx="1003">
                  <c:v>112.87244962741102</c:v>
                </c:pt>
                <c:pt idx="1004">
                  <c:v>113.490782648622</c:v>
                </c:pt>
                <c:pt idx="1005">
                  <c:v>114.10986675728401</c:v>
                </c:pt>
                <c:pt idx="1006">
                  <c:v>115.12913527045301</c:v>
                </c:pt>
                <c:pt idx="1007">
                  <c:v>115.508017743708</c:v>
                </c:pt>
                <c:pt idx="1008">
                  <c:v>115.92703219991</c:v>
                </c:pt>
                <c:pt idx="1009">
                  <c:v>116.244588687064</c:v>
                </c:pt>
                <c:pt idx="1010">
                  <c:v>116.75068338257699</c:v>
                </c:pt>
                <c:pt idx="1011">
                  <c:v>116.411808868663</c:v>
                </c:pt>
                <c:pt idx="1012">
                  <c:v>116.80460402720001</c:v>
                </c:pt>
                <c:pt idx="1013">
                  <c:v>117.37527401011999</c:v>
                </c:pt>
                <c:pt idx="1014">
                  <c:v>116.853147878985</c:v>
                </c:pt>
                <c:pt idx="1015">
                  <c:v>116.878524504306</c:v>
                </c:pt>
                <c:pt idx="1016">
                  <c:v>117.60185786680699</c:v>
                </c:pt>
                <c:pt idx="1017">
                  <c:v>116.85196681834699</c:v>
                </c:pt>
                <c:pt idx="1018">
                  <c:v>116.68444285168201</c:v>
                </c:pt>
                <c:pt idx="1019">
                  <c:v>116.783970220082</c:v>
                </c:pt>
                <c:pt idx="1020">
                  <c:v>117.027576379457</c:v>
                </c:pt>
                <c:pt idx="1021">
                  <c:v>116.663114967661</c:v>
                </c:pt>
                <c:pt idx="1022">
                  <c:v>116.97453604143399</c:v>
                </c:pt>
                <c:pt idx="1023">
                  <c:v>117.46710660759202</c:v>
                </c:pt>
                <c:pt idx="1024">
                  <c:v>117.319805617809</c:v>
                </c:pt>
                <c:pt idx="1025">
                  <c:v>116.414896247594</c:v>
                </c:pt>
                <c:pt idx="1026">
                  <c:v>115.57983580600499</c:v>
                </c:pt>
                <c:pt idx="1027">
                  <c:v>114.69385064199599</c:v>
                </c:pt>
                <c:pt idx="1028">
                  <c:v>115.348729375278</c:v>
                </c:pt>
                <c:pt idx="1029">
                  <c:v>115.348729375278</c:v>
                </c:pt>
                <c:pt idx="1030">
                  <c:v>115.80953345836799</c:v>
                </c:pt>
                <c:pt idx="1031">
                  <c:v>116.099840177654</c:v>
                </c:pt>
                <c:pt idx="1032">
                  <c:v>115.66523372001501</c:v>
                </c:pt>
                <c:pt idx="1033">
                  <c:v>115.583354155427</c:v>
                </c:pt>
                <c:pt idx="1034">
                  <c:v>116.389870973787</c:v>
                </c:pt>
                <c:pt idx="1035">
                  <c:v>116.543513934656</c:v>
                </c:pt>
                <c:pt idx="1036">
                  <c:v>117.331089206819</c:v>
                </c:pt>
                <c:pt idx="1037">
                  <c:v>117.34052763273598</c:v>
                </c:pt>
                <c:pt idx="1038">
                  <c:v>117.608676265222</c:v>
                </c:pt>
                <c:pt idx="1039">
                  <c:v>117.44219849592498</c:v>
                </c:pt>
                <c:pt idx="1040">
                  <c:v>118.03912369808201</c:v>
                </c:pt>
                <c:pt idx="1041">
                  <c:v>118.011520533923</c:v>
                </c:pt>
                <c:pt idx="1042">
                  <c:v>118.490815846979</c:v>
                </c:pt>
                <c:pt idx="1043">
                  <c:v>117.60640164407398</c:v>
                </c:pt>
                <c:pt idx="1044">
                  <c:v>117.57775289483598</c:v>
                </c:pt>
                <c:pt idx="1045">
                  <c:v>116.967906518777</c:v>
                </c:pt>
                <c:pt idx="1046">
                  <c:v>117.903317453382</c:v>
                </c:pt>
                <c:pt idx="1047">
                  <c:v>118.24377452831098</c:v>
                </c:pt>
                <c:pt idx="1048">
                  <c:v>117.98919730818599</c:v>
                </c:pt>
                <c:pt idx="1049">
                  <c:v>118.660675911651</c:v>
                </c:pt>
                <c:pt idx="1050">
                  <c:v>118.24281796026199</c:v>
                </c:pt>
                <c:pt idx="1051">
                  <c:v>118.082626379855</c:v>
                </c:pt>
                <c:pt idx="1052">
                  <c:v>118.782819212756</c:v>
                </c:pt>
                <c:pt idx="1053">
                  <c:v>119.59921704030401</c:v>
                </c:pt>
                <c:pt idx="1054">
                  <c:v>119.36477589133298</c:v>
                </c:pt>
                <c:pt idx="1055">
                  <c:v>119.934628773843</c:v>
                </c:pt>
                <c:pt idx="1056">
                  <c:v>119.67577391563</c:v>
                </c:pt>
                <c:pt idx="1057">
                  <c:v>119.18769235035501</c:v>
                </c:pt>
                <c:pt idx="1058">
                  <c:v>117.93975190848501</c:v>
                </c:pt>
                <c:pt idx="1059">
                  <c:v>117.69457423641498</c:v>
                </c:pt>
                <c:pt idx="1060">
                  <c:v>117.454690697742</c:v>
                </c:pt>
                <c:pt idx="1061">
                  <c:v>117.024802991241</c:v>
                </c:pt>
                <c:pt idx="1062">
                  <c:v>117.73486940070302</c:v>
                </c:pt>
                <c:pt idx="1063">
                  <c:v>117.904622008091</c:v>
                </c:pt>
                <c:pt idx="1064">
                  <c:v>118.617979137985</c:v>
                </c:pt>
                <c:pt idx="1065">
                  <c:v>118.93116270843799</c:v>
                </c:pt>
                <c:pt idx="1066">
                  <c:v>118.955587213816</c:v>
                </c:pt>
                <c:pt idx="1067">
                  <c:v>119.226339047529</c:v>
                </c:pt>
                <c:pt idx="1068">
                  <c:v>119.11495002452401</c:v>
                </c:pt>
                <c:pt idx="1069">
                  <c:v>120.030277778821</c:v>
                </c:pt>
                <c:pt idx="1070">
                  <c:v>120.40730246209699</c:v>
                </c:pt>
                <c:pt idx="1071">
                  <c:v>120.90435100199302</c:v>
                </c:pt>
                <c:pt idx="1072">
                  <c:v>121.447057995447</c:v>
                </c:pt>
                <c:pt idx="1073">
                  <c:v>122.16853066742802</c:v>
                </c:pt>
                <c:pt idx="1074">
                  <c:v>121.776751969719</c:v>
                </c:pt>
                <c:pt idx="1075">
                  <c:v>121.760944967242</c:v>
                </c:pt>
                <c:pt idx="1076">
                  <c:v>120.961245751172</c:v>
                </c:pt>
                <c:pt idx="1077">
                  <c:v>121.37772876111399</c:v>
                </c:pt>
                <c:pt idx="1078">
                  <c:v>121.10822282557298</c:v>
                </c:pt>
                <c:pt idx="1079">
                  <c:v>121.226246888745</c:v>
                </c:pt>
                <c:pt idx="1080">
                  <c:v>121.144543413259</c:v>
                </c:pt>
                <c:pt idx="1081">
                  <c:v>120.581547482682</c:v>
                </c:pt>
                <c:pt idx="1082">
                  <c:v>120.42438121156201</c:v>
                </c:pt>
                <c:pt idx="1083">
                  <c:v>120.314089440166</c:v>
                </c:pt>
                <c:pt idx="1084">
                  <c:v>120.84863305366001</c:v>
                </c:pt>
                <c:pt idx="1085">
                  <c:v>120.84863305366001</c:v>
                </c:pt>
                <c:pt idx="1086">
                  <c:v>121.113425578134</c:v>
                </c:pt>
                <c:pt idx="1087">
                  <c:v>121.29312927829601</c:v>
                </c:pt>
                <c:pt idx="1088">
                  <c:v>121.83550075441501</c:v>
                </c:pt>
                <c:pt idx="1089">
                  <c:v>122.11091896398301</c:v>
                </c:pt>
                <c:pt idx="1090">
                  <c:v>122.415053367334</c:v>
                </c:pt>
                <c:pt idx="1091">
                  <c:v>122.63630162499099</c:v>
                </c:pt>
                <c:pt idx="1092">
                  <c:v>122.12196398883999</c:v>
                </c:pt>
                <c:pt idx="1093">
                  <c:v>121.636505918054</c:v>
                </c:pt>
                <c:pt idx="1094">
                  <c:v>121.36869794987399</c:v>
                </c:pt>
                <c:pt idx="1095">
                  <c:v>121.183801699285</c:v>
                </c:pt>
                <c:pt idx="1096">
                  <c:v>121.945189671073</c:v>
                </c:pt>
                <c:pt idx="1097">
                  <c:v>122.56415269107002</c:v>
                </c:pt>
                <c:pt idx="1098">
                  <c:v>122.179649027095</c:v>
                </c:pt>
                <c:pt idx="1099">
                  <c:v>123.19643679758101</c:v>
                </c:pt>
                <c:pt idx="1100">
                  <c:v>123.808113233925</c:v>
                </c:pt>
                <c:pt idx="1101">
                  <c:v>123.51264850201899</c:v>
                </c:pt>
                <c:pt idx="1102">
                  <c:v>123.75000962746098</c:v>
                </c:pt>
                <c:pt idx="1103">
                  <c:v>123.12832639029401</c:v>
                </c:pt>
                <c:pt idx="1104">
                  <c:v>123.516756847951</c:v>
                </c:pt>
                <c:pt idx="1105">
                  <c:v>123.44780198958001</c:v>
                </c:pt>
                <c:pt idx="1106">
                  <c:v>121.921434470111</c:v>
                </c:pt>
                <c:pt idx="1107">
                  <c:v>122.051344468796</c:v>
                </c:pt>
                <c:pt idx="1108">
                  <c:v>122.433693175359</c:v>
                </c:pt>
                <c:pt idx="1109">
                  <c:v>122.49873692764798</c:v>
                </c:pt>
                <c:pt idx="1110">
                  <c:v>121.37849667579501</c:v>
                </c:pt>
                <c:pt idx="1111">
                  <c:v>121.24666860968701</c:v>
                </c:pt>
                <c:pt idx="1112">
                  <c:v>121.80010052155401</c:v>
                </c:pt>
                <c:pt idx="1113">
                  <c:v>122.670519271622</c:v>
                </c:pt>
                <c:pt idx="1114">
                  <c:v>122.26203553731401</c:v>
                </c:pt>
                <c:pt idx="1115">
                  <c:v>123.295490540797</c:v>
                </c:pt>
                <c:pt idx="1116">
                  <c:v>124.031033984545</c:v>
                </c:pt>
                <c:pt idx="1117">
                  <c:v>123.94077109781001</c:v>
                </c:pt>
                <c:pt idx="1118">
                  <c:v>124.83754735271199</c:v>
                </c:pt>
                <c:pt idx="1119">
                  <c:v>124.75367429934701</c:v>
                </c:pt>
                <c:pt idx="1120">
                  <c:v>125.166908735497</c:v>
                </c:pt>
                <c:pt idx="1121">
                  <c:v>125.075600150841</c:v>
                </c:pt>
                <c:pt idx="1122">
                  <c:v>125.782678057534</c:v>
                </c:pt>
                <c:pt idx="1123">
                  <c:v>125.782678057534</c:v>
                </c:pt>
                <c:pt idx="1124">
                  <c:v>125.782678057534</c:v>
                </c:pt>
                <c:pt idx="1125">
                  <c:v>126.37275478566301</c:v>
                </c:pt>
                <c:pt idx="1126">
                  <c:v>127.17053485052401</c:v>
                </c:pt>
                <c:pt idx="1127">
                  <c:v>127.70856878981101</c:v>
                </c:pt>
                <c:pt idx="1128">
                  <c:v>127.70856878981101</c:v>
                </c:pt>
                <c:pt idx="1129">
                  <c:v>128.66822816182301</c:v>
                </c:pt>
                <c:pt idx="1130">
                  <c:v>129.33418735344401</c:v>
                </c:pt>
                <c:pt idx="1131">
                  <c:v>130.236625138383</c:v>
                </c:pt>
                <c:pt idx="1132">
                  <c:v>130.971916109316</c:v>
                </c:pt>
                <c:pt idx="1133">
                  <c:v>131.608071253943</c:v>
                </c:pt>
                <c:pt idx="1134">
                  <c:v>131.69161867084799</c:v>
                </c:pt>
                <c:pt idx="1135">
                  <c:v>131.33310144612599</c:v>
                </c:pt>
                <c:pt idx="1136">
                  <c:v>131.464584578543</c:v>
                </c:pt>
                <c:pt idx="1137">
                  <c:v>132.53354165975799</c:v>
                </c:pt>
                <c:pt idx="1138">
                  <c:v>132.926039924218</c:v>
                </c:pt>
                <c:pt idx="1139">
                  <c:v>133.20126287555601</c:v>
                </c:pt>
                <c:pt idx="1140">
                  <c:v>133.13629851684101</c:v>
                </c:pt>
                <c:pt idx="1141">
                  <c:v>133.349922118048</c:v>
                </c:pt>
                <c:pt idx="1142">
                  <c:v>133.759629337197</c:v>
                </c:pt>
                <c:pt idx="1143">
                  <c:v>134.26949952853701</c:v>
                </c:pt>
                <c:pt idx="1144">
                  <c:v>134.80825450909899</c:v>
                </c:pt>
                <c:pt idx="1145">
                  <c:v>135.32039993059701</c:v>
                </c:pt>
                <c:pt idx="1146">
                  <c:v>135.89759537189201</c:v>
                </c:pt>
                <c:pt idx="1147">
                  <c:v>136.26699741202299</c:v>
                </c:pt>
                <c:pt idx="1148">
                  <c:v>135.918184870673</c:v>
                </c:pt>
                <c:pt idx="1149">
                  <c:v>134.56285747781999</c:v>
                </c:pt>
                <c:pt idx="1150">
                  <c:v>135.01539102799899</c:v>
                </c:pt>
              </c:numCache>
            </c:numRef>
          </c:val>
          <c:smooth val="0"/>
          <c:extLst xmlns:c16r2="http://schemas.microsoft.com/office/drawing/2015/06/chart">
            <c:ext xmlns:c16="http://schemas.microsoft.com/office/drawing/2014/chart" uri="{C3380CC4-5D6E-409C-BE32-E72D297353CC}">
              <c16:uniqueId val="{00000001-F2E4-4A83-9F97-12AAF836F4B1}"/>
            </c:ext>
          </c:extLst>
        </c:ser>
        <c:ser>
          <c:idx val="1"/>
          <c:order val="1"/>
          <c:tx>
            <c:v>Benchmark</c:v>
          </c:tx>
          <c:spPr>
            <a:ln w="28575">
              <a:solidFill>
                <a:srgbClr val="00A0E3"/>
              </a:solidFill>
              <a:prstDash val="solid"/>
            </a:ln>
          </c:spPr>
          <c:marker>
            <c:symbol val="none"/>
          </c:marker>
          <c:cat>
            <c:numRef>
              <c:f>'Amundi Fds EM MinVar BRUT'!$C$5:$C$1132</c:f>
              <c:numCache>
                <c:formatCode>m/d/yyyy</c:formatCode>
                <c:ptCount val="1128"/>
                <c:pt idx="0">
                  <c:v>41521</c:v>
                </c:pt>
                <c:pt idx="1">
                  <c:v>41522</c:v>
                </c:pt>
                <c:pt idx="2">
                  <c:v>41523</c:v>
                </c:pt>
                <c:pt idx="3">
                  <c:v>41526</c:v>
                </c:pt>
                <c:pt idx="4">
                  <c:v>41527</c:v>
                </c:pt>
                <c:pt idx="5">
                  <c:v>41528</c:v>
                </c:pt>
                <c:pt idx="6">
                  <c:v>41529</c:v>
                </c:pt>
                <c:pt idx="7">
                  <c:v>41530</c:v>
                </c:pt>
                <c:pt idx="8">
                  <c:v>41533</c:v>
                </c:pt>
                <c:pt idx="9">
                  <c:v>41534</c:v>
                </c:pt>
                <c:pt idx="10">
                  <c:v>41535</c:v>
                </c:pt>
                <c:pt idx="11">
                  <c:v>41536</c:v>
                </c:pt>
                <c:pt idx="12">
                  <c:v>41537</c:v>
                </c:pt>
                <c:pt idx="13">
                  <c:v>41540</c:v>
                </c:pt>
                <c:pt idx="14">
                  <c:v>41541</c:v>
                </c:pt>
                <c:pt idx="15">
                  <c:v>41542</c:v>
                </c:pt>
                <c:pt idx="16">
                  <c:v>41543</c:v>
                </c:pt>
                <c:pt idx="17">
                  <c:v>41544</c:v>
                </c:pt>
                <c:pt idx="18">
                  <c:v>41547</c:v>
                </c:pt>
                <c:pt idx="19">
                  <c:v>41548</c:v>
                </c:pt>
                <c:pt idx="20">
                  <c:v>41549</c:v>
                </c:pt>
                <c:pt idx="21">
                  <c:v>41550</c:v>
                </c:pt>
                <c:pt idx="22">
                  <c:v>41551</c:v>
                </c:pt>
                <c:pt idx="23">
                  <c:v>41554</c:v>
                </c:pt>
                <c:pt idx="24">
                  <c:v>41555</c:v>
                </c:pt>
                <c:pt idx="25">
                  <c:v>41556</c:v>
                </c:pt>
                <c:pt idx="26">
                  <c:v>41557</c:v>
                </c:pt>
                <c:pt idx="27">
                  <c:v>41558</c:v>
                </c:pt>
                <c:pt idx="28">
                  <c:v>41561</c:v>
                </c:pt>
                <c:pt idx="29">
                  <c:v>41562</c:v>
                </c:pt>
                <c:pt idx="30">
                  <c:v>41563</c:v>
                </c:pt>
                <c:pt idx="31">
                  <c:v>41564</c:v>
                </c:pt>
                <c:pt idx="32">
                  <c:v>41565</c:v>
                </c:pt>
                <c:pt idx="33">
                  <c:v>41568</c:v>
                </c:pt>
                <c:pt idx="34">
                  <c:v>41569</c:v>
                </c:pt>
                <c:pt idx="35">
                  <c:v>41570</c:v>
                </c:pt>
                <c:pt idx="36">
                  <c:v>41571</c:v>
                </c:pt>
                <c:pt idx="37">
                  <c:v>41572</c:v>
                </c:pt>
                <c:pt idx="38">
                  <c:v>41575</c:v>
                </c:pt>
                <c:pt idx="39">
                  <c:v>41576</c:v>
                </c:pt>
                <c:pt idx="40">
                  <c:v>41577</c:v>
                </c:pt>
                <c:pt idx="41">
                  <c:v>41578</c:v>
                </c:pt>
                <c:pt idx="42">
                  <c:v>41579</c:v>
                </c:pt>
                <c:pt idx="43">
                  <c:v>41582</c:v>
                </c:pt>
                <c:pt idx="44">
                  <c:v>41583</c:v>
                </c:pt>
                <c:pt idx="45">
                  <c:v>41584</c:v>
                </c:pt>
                <c:pt idx="46">
                  <c:v>41585</c:v>
                </c:pt>
                <c:pt idx="47">
                  <c:v>41586</c:v>
                </c:pt>
                <c:pt idx="48">
                  <c:v>41589</c:v>
                </c:pt>
                <c:pt idx="49">
                  <c:v>41590</c:v>
                </c:pt>
                <c:pt idx="50">
                  <c:v>41591</c:v>
                </c:pt>
                <c:pt idx="51">
                  <c:v>41592</c:v>
                </c:pt>
                <c:pt idx="52">
                  <c:v>41593</c:v>
                </c:pt>
                <c:pt idx="53">
                  <c:v>41596</c:v>
                </c:pt>
                <c:pt idx="54">
                  <c:v>41597</c:v>
                </c:pt>
                <c:pt idx="55">
                  <c:v>41598</c:v>
                </c:pt>
                <c:pt idx="56">
                  <c:v>41599</c:v>
                </c:pt>
                <c:pt idx="57">
                  <c:v>41600</c:v>
                </c:pt>
                <c:pt idx="58">
                  <c:v>41603</c:v>
                </c:pt>
                <c:pt idx="59">
                  <c:v>41604</c:v>
                </c:pt>
                <c:pt idx="60">
                  <c:v>41605</c:v>
                </c:pt>
                <c:pt idx="61">
                  <c:v>41606</c:v>
                </c:pt>
                <c:pt idx="62">
                  <c:v>41607</c:v>
                </c:pt>
                <c:pt idx="63">
                  <c:v>41610</c:v>
                </c:pt>
                <c:pt idx="64">
                  <c:v>41611</c:v>
                </c:pt>
                <c:pt idx="65">
                  <c:v>41612</c:v>
                </c:pt>
                <c:pt idx="66">
                  <c:v>41613</c:v>
                </c:pt>
                <c:pt idx="67">
                  <c:v>41614</c:v>
                </c:pt>
                <c:pt idx="68">
                  <c:v>41617</c:v>
                </c:pt>
                <c:pt idx="69">
                  <c:v>41618</c:v>
                </c:pt>
                <c:pt idx="70">
                  <c:v>41619</c:v>
                </c:pt>
                <c:pt idx="71">
                  <c:v>41620</c:v>
                </c:pt>
                <c:pt idx="72">
                  <c:v>41621</c:v>
                </c:pt>
                <c:pt idx="73">
                  <c:v>41624</c:v>
                </c:pt>
                <c:pt idx="74">
                  <c:v>41625</c:v>
                </c:pt>
                <c:pt idx="75">
                  <c:v>41626</c:v>
                </c:pt>
                <c:pt idx="76">
                  <c:v>41627</c:v>
                </c:pt>
                <c:pt idx="77">
                  <c:v>41628</c:v>
                </c:pt>
                <c:pt idx="78">
                  <c:v>41631</c:v>
                </c:pt>
                <c:pt idx="79">
                  <c:v>41632</c:v>
                </c:pt>
                <c:pt idx="80">
                  <c:v>41633</c:v>
                </c:pt>
                <c:pt idx="81">
                  <c:v>41634</c:v>
                </c:pt>
                <c:pt idx="82">
                  <c:v>41635</c:v>
                </c:pt>
                <c:pt idx="83">
                  <c:v>41638</c:v>
                </c:pt>
                <c:pt idx="84">
                  <c:v>41639</c:v>
                </c:pt>
                <c:pt idx="85">
                  <c:v>41640</c:v>
                </c:pt>
                <c:pt idx="86">
                  <c:v>41641</c:v>
                </c:pt>
                <c:pt idx="87">
                  <c:v>41642</c:v>
                </c:pt>
                <c:pt idx="88">
                  <c:v>41645</c:v>
                </c:pt>
                <c:pt idx="89">
                  <c:v>41646</c:v>
                </c:pt>
                <c:pt idx="90">
                  <c:v>41647</c:v>
                </c:pt>
                <c:pt idx="91">
                  <c:v>41648</c:v>
                </c:pt>
                <c:pt idx="92">
                  <c:v>41649</c:v>
                </c:pt>
                <c:pt idx="93">
                  <c:v>41652</c:v>
                </c:pt>
                <c:pt idx="94">
                  <c:v>41653</c:v>
                </c:pt>
                <c:pt idx="95">
                  <c:v>41654</c:v>
                </c:pt>
                <c:pt idx="96">
                  <c:v>41655</c:v>
                </c:pt>
                <c:pt idx="97">
                  <c:v>41656</c:v>
                </c:pt>
                <c:pt idx="98">
                  <c:v>41659</c:v>
                </c:pt>
                <c:pt idx="99">
                  <c:v>41660</c:v>
                </c:pt>
                <c:pt idx="100">
                  <c:v>41661</c:v>
                </c:pt>
                <c:pt idx="101">
                  <c:v>41662</c:v>
                </c:pt>
                <c:pt idx="102">
                  <c:v>41663</c:v>
                </c:pt>
                <c:pt idx="103">
                  <c:v>41666</c:v>
                </c:pt>
                <c:pt idx="104">
                  <c:v>41667</c:v>
                </c:pt>
                <c:pt idx="105">
                  <c:v>41668</c:v>
                </c:pt>
                <c:pt idx="106">
                  <c:v>41669</c:v>
                </c:pt>
                <c:pt idx="107">
                  <c:v>41670</c:v>
                </c:pt>
                <c:pt idx="108">
                  <c:v>41673</c:v>
                </c:pt>
                <c:pt idx="109">
                  <c:v>41674</c:v>
                </c:pt>
                <c:pt idx="110">
                  <c:v>41675</c:v>
                </c:pt>
                <c:pt idx="111">
                  <c:v>41676</c:v>
                </c:pt>
                <c:pt idx="112">
                  <c:v>41677</c:v>
                </c:pt>
                <c:pt idx="113">
                  <c:v>41680</c:v>
                </c:pt>
                <c:pt idx="114">
                  <c:v>41681</c:v>
                </c:pt>
                <c:pt idx="115">
                  <c:v>41682</c:v>
                </c:pt>
                <c:pt idx="116">
                  <c:v>41683</c:v>
                </c:pt>
                <c:pt idx="117">
                  <c:v>41684</c:v>
                </c:pt>
                <c:pt idx="118">
                  <c:v>41687</c:v>
                </c:pt>
                <c:pt idx="119">
                  <c:v>41688</c:v>
                </c:pt>
                <c:pt idx="120">
                  <c:v>41689</c:v>
                </c:pt>
                <c:pt idx="121">
                  <c:v>41690</c:v>
                </c:pt>
                <c:pt idx="122">
                  <c:v>41691</c:v>
                </c:pt>
                <c:pt idx="123">
                  <c:v>41694</c:v>
                </c:pt>
                <c:pt idx="124">
                  <c:v>41695</c:v>
                </c:pt>
                <c:pt idx="125">
                  <c:v>41696</c:v>
                </c:pt>
                <c:pt idx="126">
                  <c:v>41697</c:v>
                </c:pt>
                <c:pt idx="127">
                  <c:v>41698</c:v>
                </c:pt>
                <c:pt idx="128">
                  <c:v>41701</c:v>
                </c:pt>
                <c:pt idx="129">
                  <c:v>41702</c:v>
                </c:pt>
                <c:pt idx="130">
                  <c:v>41703</c:v>
                </c:pt>
                <c:pt idx="131">
                  <c:v>41704</c:v>
                </c:pt>
                <c:pt idx="132">
                  <c:v>41705</c:v>
                </c:pt>
                <c:pt idx="133">
                  <c:v>41708</c:v>
                </c:pt>
                <c:pt idx="134">
                  <c:v>41709</c:v>
                </c:pt>
                <c:pt idx="135">
                  <c:v>41710</c:v>
                </c:pt>
                <c:pt idx="136">
                  <c:v>41711</c:v>
                </c:pt>
                <c:pt idx="137">
                  <c:v>41712</c:v>
                </c:pt>
                <c:pt idx="138">
                  <c:v>41715</c:v>
                </c:pt>
                <c:pt idx="139">
                  <c:v>41716</c:v>
                </c:pt>
                <c:pt idx="140">
                  <c:v>41717</c:v>
                </c:pt>
                <c:pt idx="141">
                  <c:v>41718</c:v>
                </c:pt>
                <c:pt idx="142">
                  <c:v>41719</c:v>
                </c:pt>
                <c:pt idx="143">
                  <c:v>41722</c:v>
                </c:pt>
                <c:pt idx="144">
                  <c:v>41723</c:v>
                </c:pt>
                <c:pt idx="145">
                  <c:v>41724</c:v>
                </c:pt>
                <c:pt idx="146">
                  <c:v>41725</c:v>
                </c:pt>
                <c:pt idx="147">
                  <c:v>41726</c:v>
                </c:pt>
                <c:pt idx="148">
                  <c:v>41729</c:v>
                </c:pt>
                <c:pt idx="149">
                  <c:v>41730</c:v>
                </c:pt>
                <c:pt idx="150">
                  <c:v>41731</c:v>
                </c:pt>
                <c:pt idx="151">
                  <c:v>41732</c:v>
                </c:pt>
                <c:pt idx="152">
                  <c:v>41733</c:v>
                </c:pt>
                <c:pt idx="153">
                  <c:v>41736</c:v>
                </c:pt>
                <c:pt idx="154">
                  <c:v>41737</c:v>
                </c:pt>
                <c:pt idx="155">
                  <c:v>41738</c:v>
                </c:pt>
                <c:pt idx="156">
                  <c:v>41739</c:v>
                </c:pt>
                <c:pt idx="157">
                  <c:v>41740</c:v>
                </c:pt>
                <c:pt idx="158">
                  <c:v>41743</c:v>
                </c:pt>
                <c:pt idx="159">
                  <c:v>41744</c:v>
                </c:pt>
                <c:pt idx="160">
                  <c:v>41745</c:v>
                </c:pt>
                <c:pt idx="161">
                  <c:v>41746</c:v>
                </c:pt>
                <c:pt idx="162">
                  <c:v>41747</c:v>
                </c:pt>
                <c:pt idx="163">
                  <c:v>41750</c:v>
                </c:pt>
                <c:pt idx="164">
                  <c:v>41751</c:v>
                </c:pt>
                <c:pt idx="165">
                  <c:v>41752</c:v>
                </c:pt>
                <c:pt idx="166">
                  <c:v>41753</c:v>
                </c:pt>
                <c:pt idx="167">
                  <c:v>41754</c:v>
                </c:pt>
                <c:pt idx="168">
                  <c:v>41757</c:v>
                </c:pt>
                <c:pt idx="169">
                  <c:v>41758</c:v>
                </c:pt>
                <c:pt idx="170">
                  <c:v>41759</c:v>
                </c:pt>
                <c:pt idx="171">
                  <c:v>41760</c:v>
                </c:pt>
                <c:pt idx="172">
                  <c:v>41761</c:v>
                </c:pt>
                <c:pt idx="173">
                  <c:v>41764</c:v>
                </c:pt>
                <c:pt idx="174">
                  <c:v>41765</c:v>
                </c:pt>
                <c:pt idx="175">
                  <c:v>41766</c:v>
                </c:pt>
                <c:pt idx="176">
                  <c:v>41767</c:v>
                </c:pt>
                <c:pt idx="177">
                  <c:v>41768</c:v>
                </c:pt>
                <c:pt idx="178">
                  <c:v>41771</c:v>
                </c:pt>
                <c:pt idx="179">
                  <c:v>41772</c:v>
                </c:pt>
                <c:pt idx="180">
                  <c:v>41773</c:v>
                </c:pt>
                <c:pt idx="181">
                  <c:v>41774</c:v>
                </c:pt>
                <c:pt idx="182">
                  <c:v>41775</c:v>
                </c:pt>
                <c:pt idx="183">
                  <c:v>41778</c:v>
                </c:pt>
                <c:pt idx="184">
                  <c:v>41779</c:v>
                </c:pt>
                <c:pt idx="185">
                  <c:v>41780</c:v>
                </c:pt>
                <c:pt idx="186">
                  <c:v>41781</c:v>
                </c:pt>
                <c:pt idx="187">
                  <c:v>41782</c:v>
                </c:pt>
                <c:pt idx="188">
                  <c:v>41785</c:v>
                </c:pt>
                <c:pt idx="189">
                  <c:v>41786</c:v>
                </c:pt>
                <c:pt idx="190">
                  <c:v>41787</c:v>
                </c:pt>
                <c:pt idx="191">
                  <c:v>41788</c:v>
                </c:pt>
                <c:pt idx="192">
                  <c:v>41789</c:v>
                </c:pt>
                <c:pt idx="193">
                  <c:v>41792</c:v>
                </c:pt>
                <c:pt idx="194">
                  <c:v>41793</c:v>
                </c:pt>
                <c:pt idx="195">
                  <c:v>41794</c:v>
                </c:pt>
                <c:pt idx="196">
                  <c:v>41795</c:v>
                </c:pt>
                <c:pt idx="197">
                  <c:v>41796</c:v>
                </c:pt>
                <c:pt idx="198">
                  <c:v>41799</c:v>
                </c:pt>
                <c:pt idx="199">
                  <c:v>41800</c:v>
                </c:pt>
                <c:pt idx="200">
                  <c:v>41801</c:v>
                </c:pt>
                <c:pt idx="201">
                  <c:v>41802</c:v>
                </c:pt>
                <c:pt idx="202">
                  <c:v>41803</c:v>
                </c:pt>
                <c:pt idx="203">
                  <c:v>41806</c:v>
                </c:pt>
                <c:pt idx="204">
                  <c:v>41807</c:v>
                </c:pt>
                <c:pt idx="205">
                  <c:v>41808</c:v>
                </c:pt>
                <c:pt idx="206">
                  <c:v>41809</c:v>
                </c:pt>
                <c:pt idx="207">
                  <c:v>41810</c:v>
                </c:pt>
                <c:pt idx="208">
                  <c:v>41813</c:v>
                </c:pt>
                <c:pt idx="209">
                  <c:v>41814</c:v>
                </c:pt>
                <c:pt idx="210">
                  <c:v>41815</c:v>
                </c:pt>
                <c:pt idx="211">
                  <c:v>41816</c:v>
                </c:pt>
                <c:pt idx="212">
                  <c:v>41817</c:v>
                </c:pt>
                <c:pt idx="213">
                  <c:v>41820</c:v>
                </c:pt>
                <c:pt idx="214">
                  <c:v>41821</c:v>
                </c:pt>
                <c:pt idx="215">
                  <c:v>41822</c:v>
                </c:pt>
                <c:pt idx="216">
                  <c:v>41823</c:v>
                </c:pt>
                <c:pt idx="217">
                  <c:v>41824</c:v>
                </c:pt>
                <c:pt idx="218">
                  <c:v>41827</c:v>
                </c:pt>
                <c:pt idx="219">
                  <c:v>41828</c:v>
                </c:pt>
                <c:pt idx="220">
                  <c:v>41829</c:v>
                </c:pt>
                <c:pt idx="221">
                  <c:v>41830</c:v>
                </c:pt>
                <c:pt idx="222">
                  <c:v>41831</c:v>
                </c:pt>
                <c:pt idx="223">
                  <c:v>41834</c:v>
                </c:pt>
                <c:pt idx="224">
                  <c:v>41835</c:v>
                </c:pt>
                <c:pt idx="225">
                  <c:v>41836</c:v>
                </c:pt>
                <c:pt idx="226">
                  <c:v>41837</c:v>
                </c:pt>
                <c:pt idx="227">
                  <c:v>41838</c:v>
                </c:pt>
                <c:pt idx="228">
                  <c:v>41841</c:v>
                </c:pt>
                <c:pt idx="229">
                  <c:v>41842</c:v>
                </c:pt>
                <c:pt idx="230">
                  <c:v>41843</c:v>
                </c:pt>
                <c:pt idx="231">
                  <c:v>41844</c:v>
                </c:pt>
                <c:pt idx="232">
                  <c:v>41845</c:v>
                </c:pt>
                <c:pt idx="233">
                  <c:v>41848</c:v>
                </c:pt>
                <c:pt idx="234">
                  <c:v>41849</c:v>
                </c:pt>
                <c:pt idx="235">
                  <c:v>41850</c:v>
                </c:pt>
                <c:pt idx="236">
                  <c:v>41851</c:v>
                </c:pt>
                <c:pt idx="237">
                  <c:v>41852</c:v>
                </c:pt>
                <c:pt idx="238">
                  <c:v>41855</c:v>
                </c:pt>
                <c:pt idx="239">
                  <c:v>41856</c:v>
                </c:pt>
                <c:pt idx="240">
                  <c:v>41857</c:v>
                </c:pt>
                <c:pt idx="241">
                  <c:v>41858</c:v>
                </c:pt>
                <c:pt idx="242">
                  <c:v>41859</c:v>
                </c:pt>
                <c:pt idx="243">
                  <c:v>41862</c:v>
                </c:pt>
                <c:pt idx="244">
                  <c:v>41863</c:v>
                </c:pt>
                <c:pt idx="245">
                  <c:v>41864</c:v>
                </c:pt>
                <c:pt idx="246">
                  <c:v>41865</c:v>
                </c:pt>
                <c:pt idx="247">
                  <c:v>41866</c:v>
                </c:pt>
                <c:pt idx="248">
                  <c:v>41869</c:v>
                </c:pt>
                <c:pt idx="249">
                  <c:v>41870</c:v>
                </c:pt>
                <c:pt idx="250">
                  <c:v>41871</c:v>
                </c:pt>
                <c:pt idx="251">
                  <c:v>41872</c:v>
                </c:pt>
                <c:pt idx="252">
                  <c:v>41873</c:v>
                </c:pt>
                <c:pt idx="253">
                  <c:v>41876</c:v>
                </c:pt>
                <c:pt idx="254">
                  <c:v>41877</c:v>
                </c:pt>
                <c:pt idx="255">
                  <c:v>41878</c:v>
                </c:pt>
                <c:pt idx="256">
                  <c:v>41879</c:v>
                </c:pt>
                <c:pt idx="257">
                  <c:v>41880</c:v>
                </c:pt>
                <c:pt idx="258">
                  <c:v>41883</c:v>
                </c:pt>
                <c:pt idx="259">
                  <c:v>41884</c:v>
                </c:pt>
                <c:pt idx="260">
                  <c:v>41885</c:v>
                </c:pt>
                <c:pt idx="261">
                  <c:v>41886</c:v>
                </c:pt>
                <c:pt idx="262">
                  <c:v>41887</c:v>
                </c:pt>
                <c:pt idx="263">
                  <c:v>41890</c:v>
                </c:pt>
                <c:pt idx="264">
                  <c:v>41891</c:v>
                </c:pt>
                <c:pt idx="265">
                  <c:v>41892</c:v>
                </c:pt>
                <c:pt idx="266">
                  <c:v>41893</c:v>
                </c:pt>
                <c:pt idx="267">
                  <c:v>41894</c:v>
                </c:pt>
                <c:pt idx="268">
                  <c:v>41897</c:v>
                </c:pt>
                <c:pt idx="269">
                  <c:v>41898</c:v>
                </c:pt>
                <c:pt idx="270">
                  <c:v>41899</c:v>
                </c:pt>
                <c:pt idx="271">
                  <c:v>41900</c:v>
                </c:pt>
                <c:pt idx="272">
                  <c:v>41901</c:v>
                </c:pt>
                <c:pt idx="273">
                  <c:v>41904</c:v>
                </c:pt>
                <c:pt idx="274">
                  <c:v>41905</c:v>
                </c:pt>
                <c:pt idx="275">
                  <c:v>41906</c:v>
                </c:pt>
                <c:pt idx="276">
                  <c:v>41907</c:v>
                </c:pt>
                <c:pt idx="277">
                  <c:v>41908</c:v>
                </c:pt>
                <c:pt idx="278">
                  <c:v>41911</c:v>
                </c:pt>
                <c:pt idx="279">
                  <c:v>41912</c:v>
                </c:pt>
                <c:pt idx="280">
                  <c:v>41913</c:v>
                </c:pt>
                <c:pt idx="281">
                  <c:v>41914</c:v>
                </c:pt>
                <c:pt idx="282">
                  <c:v>41915</c:v>
                </c:pt>
                <c:pt idx="283">
                  <c:v>41918</c:v>
                </c:pt>
                <c:pt idx="284">
                  <c:v>41919</c:v>
                </c:pt>
                <c:pt idx="285">
                  <c:v>41920</c:v>
                </c:pt>
                <c:pt idx="286">
                  <c:v>41921</c:v>
                </c:pt>
                <c:pt idx="287">
                  <c:v>41922</c:v>
                </c:pt>
                <c:pt idx="288">
                  <c:v>41925</c:v>
                </c:pt>
                <c:pt idx="289">
                  <c:v>41926</c:v>
                </c:pt>
                <c:pt idx="290">
                  <c:v>41927</c:v>
                </c:pt>
                <c:pt idx="291">
                  <c:v>41928</c:v>
                </c:pt>
                <c:pt idx="292">
                  <c:v>41929</c:v>
                </c:pt>
                <c:pt idx="293">
                  <c:v>41932</c:v>
                </c:pt>
                <c:pt idx="294">
                  <c:v>41933</c:v>
                </c:pt>
                <c:pt idx="295">
                  <c:v>41934</c:v>
                </c:pt>
                <c:pt idx="296">
                  <c:v>41935</c:v>
                </c:pt>
                <c:pt idx="297">
                  <c:v>41936</c:v>
                </c:pt>
                <c:pt idx="298">
                  <c:v>41939</c:v>
                </c:pt>
                <c:pt idx="299">
                  <c:v>41940</c:v>
                </c:pt>
                <c:pt idx="300">
                  <c:v>41941</c:v>
                </c:pt>
                <c:pt idx="301">
                  <c:v>41942</c:v>
                </c:pt>
                <c:pt idx="302">
                  <c:v>41943</c:v>
                </c:pt>
                <c:pt idx="303">
                  <c:v>41946</c:v>
                </c:pt>
                <c:pt idx="304">
                  <c:v>41947</c:v>
                </c:pt>
                <c:pt idx="305">
                  <c:v>41948</c:v>
                </c:pt>
                <c:pt idx="306">
                  <c:v>41949</c:v>
                </c:pt>
                <c:pt idx="307">
                  <c:v>41950</c:v>
                </c:pt>
                <c:pt idx="308">
                  <c:v>41953</c:v>
                </c:pt>
                <c:pt idx="309">
                  <c:v>41954</c:v>
                </c:pt>
                <c:pt idx="310">
                  <c:v>41955</c:v>
                </c:pt>
                <c:pt idx="311">
                  <c:v>41956</c:v>
                </c:pt>
                <c:pt idx="312">
                  <c:v>41957</c:v>
                </c:pt>
                <c:pt idx="313">
                  <c:v>41960</c:v>
                </c:pt>
                <c:pt idx="314">
                  <c:v>41961</c:v>
                </c:pt>
                <c:pt idx="315">
                  <c:v>41962</c:v>
                </c:pt>
                <c:pt idx="316">
                  <c:v>41963</c:v>
                </c:pt>
                <c:pt idx="317">
                  <c:v>41964</c:v>
                </c:pt>
                <c:pt idx="318">
                  <c:v>41967</c:v>
                </c:pt>
                <c:pt idx="319">
                  <c:v>41968</c:v>
                </c:pt>
                <c:pt idx="320">
                  <c:v>41969</c:v>
                </c:pt>
                <c:pt idx="321">
                  <c:v>41970</c:v>
                </c:pt>
                <c:pt idx="322">
                  <c:v>41971</c:v>
                </c:pt>
                <c:pt idx="323">
                  <c:v>41974</c:v>
                </c:pt>
                <c:pt idx="324">
                  <c:v>41975</c:v>
                </c:pt>
                <c:pt idx="325">
                  <c:v>41976</c:v>
                </c:pt>
                <c:pt idx="326">
                  <c:v>41977</c:v>
                </c:pt>
                <c:pt idx="327">
                  <c:v>41978</c:v>
                </c:pt>
                <c:pt idx="328">
                  <c:v>41981</c:v>
                </c:pt>
                <c:pt idx="329">
                  <c:v>41982</c:v>
                </c:pt>
                <c:pt idx="330">
                  <c:v>41983</c:v>
                </c:pt>
                <c:pt idx="331">
                  <c:v>41984</c:v>
                </c:pt>
                <c:pt idx="332">
                  <c:v>41985</c:v>
                </c:pt>
                <c:pt idx="333">
                  <c:v>41988</c:v>
                </c:pt>
                <c:pt idx="334">
                  <c:v>41989</c:v>
                </c:pt>
                <c:pt idx="335">
                  <c:v>41990</c:v>
                </c:pt>
                <c:pt idx="336">
                  <c:v>41991</c:v>
                </c:pt>
                <c:pt idx="337">
                  <c:v>41992</c:v>
                </c:pt>
                <c:pt idx="338">
                  <c:v>41995</c:v>
                </c:pt>
                <c:pt idx="339">
                  <c:v>41996</c:v>
                </c:pt>
                <c:pt idx="340">
                  <c:v>41997</c:v>
                </c:pt>
                <c:pt idx="341">
                  <c:v>41998</c:v>
                </c:pt>
                <c:pt idx="342">
                  <c:v>41999</c:v>
                </c:pt>
                <c:pt idx="343">
                  <c:v>42002</c:v>
                </c:pt>
                <c:pt idx="344">
                  <c:v>42003</c:v>
                </c:pt>
                <c:pt idx="345">
                  <c:v>42004</c:v>
                </c:pt>
                <c:pt idx="346">
                  <c:v>42005</c:v>
                </c:pt>
                <c:pt idx="347">
                  <c:v>42006</c:v>
                </c:pt>
                <c:pt idx="348">
                  <c:v>42009</c:v>
                </c:pt>
                <c:pt idx="349">
                  <c:v>42010</c:v>
                </c:pt>
                <c:pt idx="350">
                  <c:v>42011</c:v>
                </c:pt>
                <c:pt idx="351">
                  <c:v>42012</c:v>
                </c:pt>
                <c:pt idx="352">
                  <c:v>42013</c:v>
                </c:pt>
                <c:pt idx="353">
                  <c:v>42016</c:v>
                </c:pt>
                <c:pt idx="354">
                  <c:v>42017</c:v>
                </c:pt>
                <c:pt idx="355">
                  <c:v>42018</c:v>
                </c:pt>
                <c:pt idx="356">
                  <c:v>42019</c:v>
                </c:pt>
                <c:pt idx="357">
                  <c:v>42020</c:v>
                </c:pt>
                <c:pt idx="358">
                  <c:v>42023</c:v>
                </c:pt>
                <c:pt idx="359">
                  <c:v>42024</c:v>
                </c:pt>
                <c:pt idx="360">
                  <c:v>42025</c:v>
                </c:pt>
                <c:pt idx="361">
                  <c:v>42026</c:v>
                </c:pt>
                <c:pt idx="362">
                  <c:v>42027</c:v>
                </c:pt>
                <c:pt idx="363">
                  <c:v>42030</c:v>
                </c:pt>
                <c:pt idx="364">
                  <c:v>42031</c:v>
                </c:pt>
                <c:pt idx="365">
                  <c:v>42032</c:v>
                </c:pt>
                <c:pt idx="366">
                  <c:v>42033</c:v>
                </c:pt>
                <c:pt idx="367">
                  <c:v>42034</c:v>
                </c:pt>
                <c:pt idx="368">
                  <c:v>42037</c:v>
                </c:pt>
                <c:pt idx="369">
                  <c:v>42038</c:v>
                </c:pt>
                <c:pt idx="370">
                  <c:v>42039</c:v>
                </c:pt>
                <c:pt idx="371">
                  <c:v>42040</c:v>
                </c:pt>
                <c:pt idx="372">
                  <c:v>42041</c:v>
                </c:pt>
                <c:pt idx="373">
                  <c:v>42044</c:v>
                </c:pt>
                <c:pt idx="374">
                  <c:v>42045</c:v>
                </c:pt>
                <c:pt idx="375">
                  <c:v>42046</c:v>
                </c:pt>
                <c:pt idx="376">
                  <c:v>42047</c:v>
                </c:pt>
                <c:pt idx="377">
                  <c:v>42048</c:v>
                </c:pt>
                <c:pt idx="378">
                  <c:v>42051</c:v>
                </c:pt>
                <c:pt idx="379">
                  <c:v>42052</c:v>
                </c:pt>
                <c:pt idx="380">
                  <c:v>42053</c:v>
                </c:pt>
                <c:pt idx="381">
                  <c:v>42054</c:v>
                </c:pt>
                <c:pt idx="382">
                  <c:v>42055</c:v>
                </c:pt>
                <c:pt idx="383">
                  <c:v>42058</c:v>
                </c:pt>
                <c:pt idx="384">
                  <c:v>42059</c:v>
                </c:pt>
                <c:pt idx="385">
                  <c:v>42060</c:v>
                </c:pt>
                <c:pt idx="386">
                  <c:v>42061</c:v>
                </c:pt>
                <c:pt idx="387">
                  <c:v>42062</c:v>
                </c:pt>
                <c:pt idx="388">
                  <c:v>42065</c:v>
                </c:pt>
                <c:pt idx="389">
                  <c:v>42066</c:v>
                </c:pt>
                <c:pt idx="390">
                  <c:v>42067</c:v>
                </c:pt>
                <c:pt idx="391">
                  <c:v>42068</c:v>
                </c:pt>
                <c:pt idx="392">
                  <c:v>42069</c:v>
                </c:pt>
                <c:pt idx="393">
                  <c:v>42072</c:v>
                </c:pt>
                <c:pt idx="394">
                  <c:v>42073</c:v>
                </c:pt>
                <c:pt idx="395">
                  <c:v>42074</c:v>
                </c:pt>
                <c:pt idx="396">
                  <c:v>42075</c:v>
                </c:pt>
                <c:pt idx="397">
                  <c:v>42076</c:v>
                </c:pt>
                <c:pt idx="398">
                  <c:v>42079</c:v>
                </c:pt>
                <c:pt idx="399">
                  <c:v>42080</c:v>
                </c:pt>
                <c:pt idx="400">
                  <c:v>42081</c:v>
                </c:pt>
                <c:pt idx="401">
                  <c:v>42082</c:v>
                </c:pt>
                <c:pt idx="402">
                  <c:v>42083</c:v>
                </c:pt>
                <c:pt idx="403">
                  <c:v>42086</c:v>
                </c:pt>
                <c:pt idx="404">
                  <c:v>42087</c:v>
                </c:pt>
                <c:pt idx="405">
                  <c:v>42088</c:v>
                </c:pt>
                <c:pt idx="406">
                  <c:v>42089</c:v>
                </c:pt>
                <c:pt idx="407">
                  <c:v>42090</c:v>
                </c:pt>
                <c:pt idx="408">
                  <c:v>42093</c:v>
                </c:pt>
                <c:pt idx="409">
                  <c:v>42094</c:v>
                </c:pt>
                <c:pt idx="410">
                  <c:v>42095</c:v>
                </c:pt>
                <c:pt idx="411">
                  <c:v>42096</c:v>
                </c:pt>
                <c:pt idx="412">
                  <c:v>42097</c:v>
                </c:pt>
                <c:pt idx="413">
                  <c:v>42100</c:v>
                </c:pt>
                <c:pt idx="414">
                  <c:v>42101</c:v>
                </c:pt>
                <c:pt idx="415">
                  <c:v>42102</c:v>
                </c:pt>
                <c:pt idx="416">
                  <c:v>42103</c:v>
                </c:pt>
                <c:pt idx="417">
                  <c:v>42104</c:v>
                </c:pt>
                <c:pt idx="418">
                  <c:v>42107</c:v>
                </c:pt>
                <c:pt idx="419">
                  <c:v>42108</c:v>
                </c:pt>
                <c:pt idx="420">
                  <c:v>42109</c:v>
                </c:pt>
                <c:pt idx="421">
                  <c:v>42110</c:v>
                </c:pt>
                <c:pt idx="422">
                  <c:v>42111</c:v>
                </c:pt>
                <c:pt idx="423">
                  <c:v>42114</c:v>
                </c:pt>
                <c:pt idx="424">
                  <c:v>42115</c:v>
                </c:pt>
                <c:pt idx="425">
                  <c:v>42116</c:v>
                </c:pt>
                <c:pt idx="426">
                  <c:v>42117</c:v>
                </c:pt>
                <c:pt idx="427">
                  <c:v>42118</c:v>
                </c:pt>
                <c:pt idx="428">
                  <c:v>42121</c:v>
                </c:pt>
                <c:pt idx="429">
                  <c:v>42122</c:v>
                </c:pt>
                <c:pt idx="430">
                  <c:v>42123</c:v>
                </c:pt>
                <c:pt idx="431">
                  <c:v>42124</c:v>
                </c:pt>
                <c:pt idx="432">
                  <c:v>42125</c:v>
                </c:pt>
                <c:pt idx="433">
                  <c:v>42128</c:v>
                </c:pt>
                <c:pt idx="434">
                  <c:v>42129</c:v>
                </c:pt>
                <c:pt idx="435">
                  <c:v>42130</c:v>
                </c:pt>
                <c:pt idx="436">
                  <c:v>42131</c:v>
                </c:pt>
                <c:pt idx="437">
                  <c:v>42132</c:v>
                </c:pt>
                <c:pt idx="438">
                  <c:v>42135</c:v>
                </c:pt>
                <c:pt idx="439">
                  <c:v>42136</c:v>
                </c:pt>
                <c:pt idx="440">
                  <c:v>42137</c:v>
                </c:pt>
                <c:pt idx="441">
                  <c:v>42138</c:v>
                </c:pt>
                <c:pt idx="442">
                  <c:v>42139</c:v>
                </c:pt>
                <c:pt idx="443">
                  <c:v>42142</c:v>
                </c:pt>
                <c:pt idx="444">
                  <c:v>42143</c:v>
                </c:pt>
                <c:pt idx="445">
                  <c:v>42144</c:v>
                </c:pt>
                <c:pt idx="446">
                  <c:v>42145</c:v>
                </c:pt>
                <c:pt idx="447">
                  <c:v>42146</c:v>
                </c:pt>
                <c:pt idx="448">
                  <c:v>42149</c:v>
                </c:pt>
                <c:pt idx="449">
                  <c:v>42150</c:v>
                </c:pt>
                <c:pt idx="450">
                  <c:v>42151</c:v>
                </c:pt>
                <c:pt idx="451">
                  <c:v>42152</c:v>
                </c:pt>
                <c:pt idx="452">
                  <c:v>42153</c:v>
                </c:pt>
                <c:pt idx="453">
                  <c:v>42156</c:v>
                </c:pt>
                <c:pt idx="454">
                  <c:v>42157</c:v>
                </c:pt>
                <c:pt idx="455">
                  <c:v>42158</c:v>
                </c:pt>
                <c:pt idx="456">
                  <c:v>42159</c:v>
                </c:pt>
                <c:pt idx="457">
                  <c:v>42160</c:v>
                </c:pt>
                <c:pt idx="458">
                  <c:v>42163</c:v>
                </c:pt>
                <c:pt idx="459">
                  <c:v>42164</c:v>
                </c:pt>
                <c:pt idx="460">
                  <c:v>42165</c:v>
                </c:pt>
                <c:pt idx="461">
                  <c:v>42166</c:v>
                </c:pt>
                <c:pt idx="462">
                  <c:v>42167</c:v>
                </c:pt>
                <c:pt idx="463">
                  <c:v>42170</c:v>
                </c:pt>
                <c:pt idx="464">
                  <c:v>42171</c:v>
                </c:pt>
                <c:pt idx="465">
                  <c:v>42172</c:v>
                </c:pt>
                <c:pt idx="466">
                  <c:v>42173</c:v>
                </c:pt>
                <c:pt idx="467">
                  <c:v>42174</c:v>
                </c:pt>
                <c:pt idx="468">
                  <c:v>42177</c:v>
                </c:pt>
                <c:pt idx="469">
                  <c:v>42178</c:v>
                </c:pt>
                <c:pt idx="470">
                  <c:v>42179</c:v>
                </c:pt>
                <c:pt idx="471">
                  <c:v>42180</c:v>
                </c:pt>
                <c:pt idx="472">
                  <c:v>42181</c:v>
                </c:pt>
                <c:pt idx="473">
                  <c:v>42184</c:v>
                </c:pt>
                <c:pt idx="474">
                  <c:v>42185</c:v>
                </c:pt>
                <c:pt idx="475">
                  <c:v>42186</c:v>
                </c:pt>
                <c:pt idx="476">
                  <c:v>42187</c:v>
                </c:pt>
                <c:pt idx="477">
                  <c:v>42188</c:v>
                </c:pt>
                <c:pt idx="478">
                  <c:v>42191</c:v>
                </c:pt>
                <c:pt idx="479">
                  <c:v>42192</c:v>
                </c:pt>
                <c:pt idx="480">
                  <c:v>42193</c:v>
                </c:pt>
                <c:pt idx="481">
                  <c:v>42194</c:v>
                </c:pt>
                <c:pt idx="482">
                  <c:v>42195</c:v>
                </c:pt>
                <c:pt idx="483">
                  <c:v>42198</c:v>
                </c:pt>
                <c:pt idx="484">
                  <c:v>42199</c:v>
                </c:pt>
                <c:pt idx="485">
                  <c:v>42200</c:v>
                </c:pt>
                <c:pt idx="486">
                  <c:v>42201</c:v>
                </c:pt>
                <c:pt idx="487">
                  <c:v>42202</c:v>
                </c:pt>
                <c:pt idx="488">
                  <c:v>42205</c:v>
                </c:pt>
                <c:pt idx="489">
                  <c:v>42206</c:v>
                </c:pt>
                <c:pt idx="490">
                  <c:v>42207</c:v>
                </c:pt>
                <c:pt idx="491">
                  <c:v>42208</c:v>
                </c:pt>
                <c:pt idx="492">
                  <c:v>42209</c:v>
                </c:pt>
                <c:pt idx="493">
                  <c:v>42212</c:v>
                </c:pt>
                <c:pt idx="494">
                  <c:v>42213</c:v>
                </c:pt>
                <c:pt idx="495">
                  <c:v>42214</c:v>
                </c:pt>
                <c:pt idx="496">
                  <c:v>42215</c:v>
                </c:pt>
                <c:pt idx="497">
                  <c:v>42216</c:v>
                </c:pt>
                <c:pt idx="498">
                  <c:v>42219</c:v>
                </c:pt>
                <c:pt idx="499">
                  <c:v>42220</c:v>
                </c:pt>
                <c:pt idx="500">
                  <c:v>42221</c:v>
                </c:pt>
                <c:pt idx="501">
                  <c:v>42222</c:v>
                </c:pt>
                <c:pt idx="502">
                  <c:v>42223</c:v>
                </c:pt>
                <c:pt idx="503">
                  <c:v>42226</c:v>
                </c:pt>
                <c:pt idx="504">
                  <c:v>42227</c:v>
                </c:pt>
                <c:pt idx="505">
                  <c:v>42228</c:v>
                </c:pt>
                <c:pt idx="506">
                  <c:v>42229</c:v>
                </c:pt>
                <c:pt idx="507">
                  <c:v>42230</c:v>
                </c:pt>
                <c:pt idx="508">
                  <c:v>42233</c:v>
                </c:pt>
                <c:pt idx="509">
                  <c:v>42234</c:v>
                </c:pt>
                <c:pt idx="510">
                  <c:v>42235</c:v>
                </c:pt>
                <c:pt idx="511">
                  <c:v>42236</c:v>
                </c:pt>
                <c:pt idx="512">
                  <c:v>42237</c:v>
                </c:pt>
                <c:pt idx="513">
                  <c:v>42240</c:v>
                </c:pt>
                <c:pt idx="514">
                  <c:v>42241</c:v>
                </c:pt>
                <c:pt idx="515">
                  <c:v>42242</c:v>
                </c:pt>
                <c:pt idx="516">
                  <c:v>42243</c:v>
                </c:pt>
                <c:pt idx="517">
                  <c:v>42244</c:v>
                </c:pt>
                <c:pt idx="518">
                  <c:v>42247</c:v>
                </c:pt>
                <c:pt idx="519">
                  <c:v>42248</c:v>
                </c:pt>
                <c:pt idx="520">
                  <c:v>42249</c:v>
                </c:pt>
                <c:pt idx="521">
                  <c:v>42250</c:v>
                </c:pt>
                <c:pt idx="522">
                  <c:v>42251</c:v>
                </c:pt>
                <c:pt idx="523">
                  <c:v>42254</c:v>
                </c:pt>
                <c:pt idx="524">
                  <c:v>42255</c:v>
                </c:pt>
                <c:pt idx="525">
                  <c:v>42256</c:v>
                </c:pt>
                <c:pt idx="526">
                  <c:v>42257</c:v>
                </c:pt>
                <c:pt idx="527">
                  <c:v>42258</c:v>
                </c:pt>
                <c:pt idx="528">
                  <c:v>42261</c:v>
                </c:pt>
                <c:pt idx="529">
                  <c:v>42262</c:v>
                </c:pt>
                <c:pt idx="530">
                  <c:v>42263</c:v>
                </c:pt>
                <c:pt idx="531">
                  <c:v>42264</c:v>
                </c:pt>
                <c:pt idx="532">
                  <c:v>42265</c:v>
                </c:pt>
                <c:pt idx="533">
                  <c:v>42268</c:v>
                </c:pt>
                <c:pt idx="534">
                  <c:v>42269</c:v>
                </c:pt>
                <c:pt idx="535">
                  <c:v>42270</c:v>
                </c:pt>
                <c:pt idx="536">
                  <c:v>42271</c:v>
                </c:pt>
                <c:pt idx="537">
                  <c:v>42272</c:v>
                </c:pt>
                <c:pt idx="538">
                  <c:v>42275</c:v>
                </c:pt>
                <c:pt idx="539">
                  <c:v>42276</c:v>
                </c:pt>
                <c:pt idx="540">
                  <c:v>42277</c:v>
                </c:pt>
                <c:pt idx="541">
                  <c:v>42278</c:v>
                </c:pt>
                <c:pt idx="542">
                  <c:v>42279</c:v>
                </c:pt>
                <c:pt idx="543">
                  <c:v>42282</c:v>
                </c:pt>
                <c:pt idx="544">
                  <c:v>42283</c:v>
                </c:pt>
                <c:pt idx="545">
                  <c:v>42284</c:v>
                </c:pt>
                <c:pt idx="546">
                  <c:v>42285</c:v>
                </c:pt>
                <c:pt idx="547">
                  <c:v>42286</c:v>
                </c:pt>
                <c:pt idx="548">
                  <c:v>42289</c:v>
                </c:pt>
                <c:pt idx="549">
                  <c:v>42290</c:v>
                </c:pt>
                <c:pt idx="550">
                  <c:v>42291</c:v>
                </c:pt>
                <c:pt idx="551">
                  <c:v>42292</c:v>
                </c:pt>
                <c:pt idx="552">
                  <c:v>42293</c:v>
                </c:pt>
                <c:pt idx="553">
                  <c:v>42296</c:v>
                </c:pt>
                <c:pt idx="554">
                  <c:v>42297</c:v>
                </c:pt>
                <c:pt idx="555">
                  <c:v>42298</c:v>
                </c:pt>
                <c:pt idx="556">
                  <c:v>42299</c:v>
                </c:pt>
                <c:pt idx="557">
                  <c:v>42300</c:v>
                </c:pt>
                <c:pt idx="558">
                  <c:v>42303</c:v>
                </c:pt>
                <c:pt idx="559">
                  <c:v>42304</c:v>
                </c:pt>
                <c:pt idx="560">
                  <c:v>42305</c:v>
                </c:pt>
                <c:pt idx="561">
                  <c:v>42306</c:v>
                </c:pt>
                <c:pt idx="562">
                  <c:v>42307</c:v>
                </c:pt>
                <c:pt idx="563">
                  <c:v>42310</c:v>
                </c:pt>
                <c:pt idx="564">
                  <c:v>42311</c:v>
                </c:pt>
                <c:pt idx="565">
                  <c:v>42312</c:v>
                </c:pt>
                <c:pt idx="566">
                  <c:v>42313</c:v>
                </c:pt>
                <c:pt idx="567">
                  <c:v>42314</c:v>
                </c:pt>
                <c:pt idx="568">
                  <c:v>42317</c:v>
                </c:pt>
                <c:pt idx="569">
                  <c:v>42318</c:v>
                </c:pt>
                <c:pt idx="570">
                  <c:v>42319</c:v>
                </c:pt>
                <c:pt idx="571">
                  <c:v>42320</c:v>
                </c:pt>
                <c:pt idx="572">
                  <c:v>42321</c:v>
                </c:pt>
                <c:pt idx="573">
                  <c:v>42324</c:v>
                </c:pt>
                <c:pt idx="574">
                  <c:v>42325</c:v>
                </c:pt>
                <c:pt idx="575">
                  <c:v>42326</c:v>
                </c:pt>
                <c:pt idx="576">
                  <c:v>42327</c:v>
                </c:pt>
                <c:pt idx="577">
                  <c:v>42328</c:v>
                </c:pt>
                <c:pt idx="578">
                  <c:v>42331</c:v>
                </c:pt>
                <c:pt idx="579">
                  <c:v>42332</c:v>
                </c:pt>
                <c:pt idx="580">
                  <c:v>42333</c:v>
                </c:pt>
                <c:pt idx="581">
                  <c:v>42334</c:v>
                </c:pt>
                <c:pt idx="582">
                  <c:v>42335</c:v>
                </c:pt>
                <c:pt idx="583">
                  <c:v>42338</c:v>
                </c:pt>
                <c:pt idx="584">
                  <c:v>42339</c:v>
                </c:pt>
                <c:pt idx="585">
                  <c:v>42340</c:v>
                </c:pt>
                <c:pt idx="586">
                  <c:v>42341</c:v>
                </c:pt>
                <c:pt idx="587">
                  <c:v>42342</c:v>
                </c:pt>
                <c:pt idx="588">
                  <c:v>42345</c:v>
                </c:pt>
                <c:pt idx="589">
                  <c:v>42346</c:v>
                </c:pt>
                <c:pt idx="590">
                  <c:v>42347</c:v>
                </c:pt>
                <c:pt idx="591">
                  <c:v>42348</c:v>
                </c:pt>
                <c:pt idx="592">
                  <c:v>42349</c:v>
                </c:pt>
                <c:pt idx="593">
                  <c:v>42352</c:v>
                </c:pt>
                <c:pt idx="594">
                  <c:v>42353</c:v>
                </c:pt>
                <c:pt idx="595">
                  <c:v>42354</c:v>
                </c:pt>
                <c:pt idx="596">
                  <c:v>42355</c:v>
                </c:pt>
                <c:pt idx="597">
                  <c:v>42356</c:v>
                </c:pt>
                <c:pt idx="598">
                  <c:v>42359</c:v>
                </c:pt>
                <c:pt idx="599">
                  <c:v>42360</c:v>
                </c:pt>
                <c:pt idx="600">
                  <c:v>42361</c:v>
                </c:pt>
                <c:pt idx="601">
                  <c:v>42362</c:v>
                </c:pt>
                <c:pt idx="602">
                  <c:v>42363</c:v>
                </c:pt>
                <c:pt idx="603">
                  <c:v>42366</c:v>
                </c:pt>
                <c:pt idx="604">
                  <c:v>42367</c:v>
                </c:pt>
                <c:pt idx="605">
                  <c:v>42368</c:v>
                </c:pt>
                <c:pt idx="606">
                  <c:v>42369</c:v>
                </c:pt>
                <c:pt idx="607">
                  <c:v>42370</c:v>
                </c:pt>
                <c:pt idx="608">
                  <c:v>42373</c:v>
                </c:pt>
                <c:pt idx="609">
                  <c:v>42374</c:v>
                </c:pt>
                <c:pt idx="610">
                  <c:v>42375</c:v>
                </c:pt>
                <c:pt idx="611">
                  <c:v>42376</c:v>
                </c:pt>
                <c:pt idx="612">
                  <c:v>42377</c:v>
                </c:pt>
                <c:pt idx="613">
                  <c:v>42380</c:v>
                </c:pt>
                <c:pt idx="614">
                  <c:v>42381</c:v>
                </c:pt>
                <c:pt idx="615">
                  <c:v>42382</c:v>
                </c:pt>
                <c:pt idx="616">
                  <c:v>42383</c:v>
                </c:pt>
                <c:pt idx="617">
                  <c:v>42384</c:v>
                </c:pt>
                <c:pt idx="618">
                  <c:v>42387</c:v>
                </c:pt>
                <c:pt idx="619">
                  <c:v>42388</c:v>
                </c:pt>
                <c:pt idx="620">
                  <c:v>42389</c:v>
                </c:pt>
                <c:pt idx="621">
                  <c:v>42390</c:v>
                </c:pt>
                <c:pt idx="622">
                  <c:v>42391</c:v>
                </c:pt>
                <c:pt idx="623">
                  <c:v>42394</c:v>
                </c:pt>
                <c:pt idx="624">
                  <c:v>42395</c:v>
                </c:pt>
                <c:pt idx="625">
                  <c:v>42396</c:v>
                </c:pt>
                <c:pt idx="626">
                  <c:v>42397</c:v>
                </c:pt>
                <c:pt idx="627">
                  <c:v>42398</c:v>
                </c:pt>
                <c:pt idx="628">
                  <c:v>42401</c:v>
                </c:pt>
                <c:pt idx="629">
                  <c:v>42402</c:v>
                </c:pt>
                <c:pt idx="630">
                  <c:v>42403</c:v>
                </c:pt>
                <c:pt idx="631">
                  <c:v>42404</c:v>
                </c:pt>
                <c:pt idx="632">
                  <c:v>42405</c:v>
                </c:pt>
                <c:pt idx="633">
                  <c:v>42408</c:v>
                </c:pt>
                <c:pt idx="634">
                  <c:v>42409</c:v>
                </c:pt>
                <c:pt idx="635">
                  <c:v>42410</c:v>
                </c:pt>
                <c:pt idx="636">
                  <c:v>42411</c:v>
                </c:pt>
                <c:pt idx="637">
                  <c:v>42412</c:v>
                </c:pt>
                <c:pt idx="638">
                  <c:v>42415</c:v>
                </c:pt>
                <c:pt idx="639">
                  <c:v>42416</c:v>
                </c:pt>
                <c:pt idx="640">
                  <c:v>42417</c:v>
                </c:pt>
                <c:pt idx="641">
                  <c:v>42418</c:v>
                </c:pt>
                <c:pt idx="642">
                  <c:v>42419</c:v>
                </c:pt>
                <c:pt idx="643">
                  <c:v>42422</c:v>
                </c:pt>
                <c:pt idx="644">
                  <c:v>42423</c:v>
                </c:pt>
                <c:pt idx="645">
                  <c:v>42424</c:v>
                </c:pt>
                <c:pt idx="646">
                  <c:v>42425</c:v>
                </c:pt>
                <c:pt idx="647">
                  <c:v>42426</c:v>
                </c:pt>
                <c:pt idx="648">
                  <c:v>42429</c:v>
                </c:pt>
                <c:pt idx="649">
                  <c:v>42430</c:v>
                </c:pt>
                <c:pt idx="650">
                  <c:v>42431</c:v>
                </c:pt>
                <c:pt idx="651">
                  <c:v>42432</c:v>
                </c:pt>
                <c:pt idx="652">
                  <c:v>42433</c:v>
                </c:pt>
                <c:pt idx="653">
                  <c:v>42436</c:v>
                </c:pt>
                <c:pt idx="654">
                  <c:v>42437</c:v>
                </c:pt>
                <c:pt idx="655">
                  <c:v>42438</c:v>
                </c:pt>
                <c:pt idx="656">
                  <c:v>42439</c:v>
                </c:pt>
                <c:pt idx="657">
                  <c:v>42440</c:v>
                </c:pt>
                <c:pt idx="658">
                  <c:v>42443</c:v>
                </c:pt>
                <c:pt idx="659">
                  <c:v>42444</c:v>
                </c:pt>
                <c:pt idx="660">
                  <c:v>42445</c:v>
                </c:pt>
                <c:pt idx="661">
                  <c:v>42446</c:v>
                </c:pt>
                <c:pt idx="662">
                  <c:v>42447</c:v>
                </c:pt>
                <c:pt idx="663">
                  <c:v>42450</c:v>
                </c:pt>
                <c:pt idx="664">
                  <c:v>42451</c:v>
                </c:pt>
                <c:pt idx="665">
                  <c:v>42452</c:v>
                </c:pt>
                <c:pt idx="666">
                  <c:v>42453</c:v>
                </c:pt>
                <c:pt idx="667">
                  <c:v>42454</c:v>
                </c:pt>
                <c:pt idx="668">
                  <c:v>42457</c:v>
                </c:pt>
                <c:pt idx="669">
                  <c:v>42458</c:v>
                </c:pt>
                <c:pt idx="670">
                  <c:v>42459</c:v>
                </c:pt>
                <c:pt idx="671">
                  <c:v>42460</c:v>
                </c:pt>
                <c:pt idx="672">
                  <c:v>42461</c:v>
                </c:pt>
                <c:pt idx="673">
                  <c:v>42464</c:v>
                </c:pt>
                <c:pt idx="674">
                  <c:v>42465</c:v>
                </c:pt>
                <c:pt idx="675">
                  <c:v>42466</c:v>
                </c:pt>
                <c:pt idx="676">
                  <c:v>42467</c:v>
                </c:pt>
                <c:pt idx="677">
                  <c:v>42468</c:v>
                </c:pt>
                <c:pt idx="678">
                  <c:v>42471</c:v>
                </c:pt>
                <c:pt idx="679">
                  <c:v>42472</c:v>
                </c:pt>
                <c:pt idx="680">
                  <c:v>42473</c:v>
                </c:pt>
                <c:pt idx="681">
                  <c:v>42474</c:v>
                </c:pt>
                <c:pt idx="682">
                  <c:v>42475</c:v>
                </c:pt>
                <c:pt idx="683">
                  <c:v>42478</c:v>
                </c:pt>
                <c:pt idx="684">
                  <c:v>42479</c:v>
                </c:pt>
                <c:pt idx="685">
                  <c:v>42480</c:v>
                </c:pt>
                <c:pt idx="686">
                  <c:v>42481</c:v>
                </c:pt>
                <c:pt idx="687">
                  <c:v>42482</c:v>
                </c:pt>
                <c:pt idx="688">
                  <c:v>42485</c:v>
                </c:pt>
                <c:pt idx="689">
                  <c:v>42486</c:v>
                </c:pt>
                <c:pt idx="690">
                  <c:v>42487</c:v>
                </c:pt>
                <c:pt idx="691">
                  <c:v>42488</c:v>
                </c:pt>
                <c:pt idx="692">
                  <c:v>42489</c:v>
                </c:pt>
                <c:pt idx="693">
                  <c:v>42492</c:v>
                </c:pt>
                <c:pt idx="694">
                  <c:v>42493</c:v>
                </c:pt>
                <c:pt idx="695">
                  <c:v>42494</c:v>
                </c:pt>
                <c:pt idx="696">
                  <c:v>42495</c:v>
                </c:pt>
                <c:pt idx="697">
                  <c:v>42496</c:v>
                </c:pt>
                <c:pt idx="698">
                  <c:v>42499</c:v>
                </c:pt>
                <c:pt idx="699">
                  <c:v>42500</c:v>
                </c:pt>
                <c:pt idx="700">
                  <c:v>42501</c:v>
                </c:pt>
                <c:pt idx="701">
                  <c:v>42502</c:v>
                </c:pt>
                <c:pt idx="702">
                  <c:v>42503</c:v>
                </c:pt>
                <c:pt idx="703">
                  <c:v>42506</c:v>
                </c:pt>
                <c:pt idx="704">
                  <c:v>42507</c:v>
                </c:pt>
                <c:pt idx="705">
                  <c:v>42508</c:v>
                </c:pt>
                <c:pt idx="706">
                  <c:v>42509</c:v>
                </c:pt>
                <c:pt idx="707">
                  <c:v>42510</c:v>
                </c:pt>
                <c:pt idx="708">
                  <c:v>42513</c:v>
                </c:pt>
                <c:pt idx="709">
                  <c:v>42514</c:v>
                </c:pt>
                <c:pt idx="710">
                  <c:v>42515</c:v>
                </c:pt>
                <c:pt idx="711">
                  <c:v>42516</c:v>
                </c:pt>
                <c:pt idx="712">
                  <c:v>42517</c:v>
                </c:pt>
                <c:pt idx="713">
                  <c:v>42520</c:v>
                </c:pt>
                <c:pt idx="714">
                  <c:v>42521</c:v>
                </c:pt>
                <c:pt idx="715">
                  <c:v>42522</c:v>
                </c:pt>
                <c:pt idx="716">
                  <c:v>42523</c:v>
                </c:pt>
                <c:pt idx="717">
                  <c:v>42524</c:v>
                </c:pt>
                <c:pt idx="718">
                  <c:v>42527</c:v>
                </c:pt>
                <c:pt idx="719">
                  <c:v>42528</c:v>
                </c:pt>
                <c:pt idx="720">
                  <c:v>42529</c:v>
                </c:pt>
                <c:pt idx="721">
                  <c:v>42530</c:v>
                </c:pt>
                <c:pt idx="722">
                  <c:v>42531</c:v>
                </c:pt>
                <c:pt idx="723">
                  <c:v>42534</c:v>
                </c:pt>
                <c:pt idx="724">
                  <c:v>42535</c:v>
                </c:pt>
                <c:pt idx="725">
                  <c:v>42536</c:v>
                </c:pt>
                <c:pt idx="726">
                  <c:v>42537</c:v>
                </c:pt>
                <c:pt idx="727">
                  <c:v>42538</c:v>
                </c:pt>
                <c:pt idx="728">
                  <c:v>42541</c:v>
                </c:pt>
                <c:pt idx="729">
                  <c:v>42542</c:v>
                </c:pt>
                <c:pt idx="730">
                  <c:v>42543</c:v>
                </c:pt>
                <c:pt idx="731">
                  <c:v>42544</c:v>
                </c:pt>
                <c:pt idx="732">
                  <c:v>42545</c:v>
                </c:pt>
                <c:pt idx="733">
                  <c:v>42548</c:v>
                </c:pt>
                <c:pt idx="734">
                  <c:v>42549</c:v>
                </c:pt>
                <c:pt idx="735">
                  <c:v>42550</c:v>
                </c:pt>
                <c:pt idx="736">
                  <c:v>42551</c:v>
                </c:pt>
                <c:pt idx="737">
                  <c:v>42552</c:v>
                </c:pt>
                <c:pt idx="738">
                  <c:v>42555</c:v>
                </c:pt>
                <c:pt idx="739">
                  <c:v>42556</c:v>
                </c:pt>
                <c:pt idx="740">
                  <c:v>42557</c:v>
                </c:pt>
                <c:pt idx="741">
                  <c:v>42558</c:v>
                </c:pt>
                <c:pt idx="742">
                  <c:v>42559</c:v>
                </c:pt>
                <c:pt idx="743">
                  <c:v>42562</c:v>
                </c:pt>
                <c:pt idx="744">
                  <c:v>42563</c:v>
                </c:pt>
                <c:pt idx="745">
                  <c:v>42564</c:v>
                </c:pt>
                <c:pt idx="746">
                  <c:v>42565</c:v>
                </c:pt>
                <c:pt idx="747">
                  <c:v>42566</c:v>
                </c:pt>
                <c:pt idx="748">
                  <c:v>42569</c:v>
                </c:pt>
                <c:pt idx="749">
                  <c:v>42570</c:v>
                </c:pt>
                <c:pt idx="750">
                  <c:v>42571</c:v>
                </c:pt>
                <c:pt idx="751">
                  <c:v>42572</c:v>
                </c:pt>
                <c:pt idx="752">
                  <c:v>42573</c:v>
                </c:pt>
                <c:pt idx="753">
                  <c:v>42576</c:v>
                </c:pt>
                <c:pt idx="754">
                  <c:v>42577</c:v>
                </c:pt>
                <c:pt idx="755">
                  <c:v>42578</c:v>
                </c:pt>
                <c:pt idx="756">
                  <c:v>42579</c:v>
                </c:pt>
                <c:pt idx="757">
                  <c:v>42580</c:v>
                </c:pt>
                <c:pt idx="758">
                  <c:v>42583</c:v>
                </c:pt>
                <c:pt idx="759">
                  <c:v>42584</c:v>
                </c:pt>
                <c:pt idx="760">
                  <c:v>42585</c:v>
                </c:pt>
                <c:pt idx="761">
                  <c:v>42586</c:v>
                </c:pt>
                <c:pt idx="762">
                  <c:v>42587</c:v>
                </c:pt>
                <c:pt idx="763">
                  <c:v>42590</c:v>
                </c:pt>
                <c:pt idx="764">
                  <c:v>42591</c:v>
                </c:pt>
                <c:pt idx="765">
                  <c:v>42592</c:v>
                </c:pt>
                <c:pt idx="766">
                  <c:v>42593</c:v>
                </c:pt>
                <c:pt idx="767">
                  <c:v>42594</c:v>
                </c:pt>
                <c:pt idx="768">
                  <c:v>42597</c:v>
                </c:pt>
                <c:pt idx="769">
                  <c:v>42598</c:v>
                </c:pt>
                <c:pt idx="770">
                  <c:v>42599</c:v>
                </c:pt>
                <c:pt idx="771">
                  <c:v>42600</c:v>
                </c:pt>
                <c:pt idx="772">
                  <c:v>42601</c:v>
                </c:pt>
                <c:pt idx="773">
                  <c:v>42604</c:v>
                </c:pt>
                <c:pt idx="774">
                  <c:v>42605</c:v>
                </c:pt>
                <c:pt idx="775">
                  <c:v>42606</c:v>
                </c:pt>
                <c:pt idx="776">
                  <c:v>42607</c:v>
                </c:pt>
                <c:pt idx="777">
                  <c:v>42608</c:v>
                </c:pt>
                <c:pt idx="778">
                  <c:v>42611</c:v>
                </c:pt>
                <c:pt idx="779">
                  <c:v>42612</c:v>
                </c:pt>
                <c:pt idx="780">
                  <c:v>42613</c:v>
                </c:pt>
                <c:pt idx="781">
                  <c:v>42614</c:v>
                </c:pt>
                <c:pt idx="782">
                  <c:v>42615</c:v>
                </c:pt>
                <c:pt idx="783">
                  <c:v>42618</c:v>
                </c:pt>
                <c:pt idx="784">
                  <c:v>42619</c:v>
                </c:pt>
                <c:pt idx="785">
                  <c:v>42620</c:v>
                </c:pt>
                <c:pt idx="786">
                  <c:v>42621</c:v>
                </c:pt>
                <c:pt idx="787">
                  <c:v>42622</c:v>
                </c:pt>
                <c:pt idx="788">
                  <c:v>42625</c:v>
                </c:pt>
                <c:pt idx="789">
                  <c:v>42626</c:v>
                </c:pt>
                <c:pt idx="790">
                  <c:v>42627</c:v>
                </c:pt>
                <c:pt idx="791">
                  <c:v>42628</c:v>
                </c:pt>
                <c:pt idx="792">
                  <c:v>42629</c:v>
                </c:pt>
                <c:pt idx="793">
                  <c:v>42632</c:v>
                </c:pt>
                <c:pt idx="794">
                  <c:v>42633</c:v>
                </c:pt>
                <c:pt idx="795">
                  <c:v>42634</c:v>
                </c:pt>
                <c:pt idx="796">
                  <c:v>42635</c:v>
                </c:pt>
                <c:pt idx="797">
                  <c:v>42636</c:v>
                </c:pt>
                <c:pt idx="798">
                  <c:v>42639</c:v>
                </c:pt>
                <c:pt idx="799">
                  <c:v>42640</c:v>
                </c:pt>
                <c:pt idx="800">
                  <c:v>42641</c:v>
                </c:pt>
                <c:pt idx="801">
                  <c:v>42642</c:v>
                </c:pt>
                <c:pt idx="802">
                  <c:v>42643</c:v>
                </c:pt>
                <c:pt idx="803">
                  <c:v>42646</c:v>
                </c:pt>
                <c:pt idx="804">
                  <c:v>42647</c:v>
                </c:pt>
                <c:pt idx="805">
                  <c:v>42648</c:v>
                </c:pt>
                <c:pt idx="806">
                  <c:v>42649</c:v>
                </c:pt>
                <c:pt idx="807">
                  <c:v>42650</c:v>
                </c:pt>
                <c:pt idx="808">
                  <c:v>42653</c:v>
                </c:pt>
                <c:pt idx="809">
                  <c:v>42654</c:v>
                </c:pt>
                <c:pt idx="810">
                  <c:v>42655</c:v>
                </c:pt>
                <c:pt idx="811">
                  <c:v>42656</c:v>
                </c:pt>
                <c:pt idx="812">
                  <c:v>42657</c:v>
                </c:pt>
                <c:pt idx="813">
                  <c:v>42660</c:v>
                </c:pt>
                <c:pt idx="814">
                  <c:v>42661</c:v>
                </c:pt>
                <c:pt idx="815">
                  <c:v>42662</c:v>
                </c:pt>
                <c:pt idx="816">
                  <c:v>42663</c:v>
                </c:pt>
                <c:pt idx="817">
                  <c:v>42664</c:v>
                </c:pt>
                <c:pt idx="818">
                  <c:v>42667</c:v>
                </c:pt>
                <c:pt idx="819">
                  <c:v>42668</c:v>
                </c:pt>
                <c:pt idx="820">
                  <c:v>42669</c:v>
                </c:pt>
                <c:pt idx="821">
                  <c:v>42670</c:v>
                </c:pt>
                <c:pt idx="822">
                  <c:v>42671</c:v>
                </c:pt>
                <c:pt idx="823">
                  <c:v>42674</c:v>
                </c:pt>
                <c:pt idx="824">
                  <c:v>42675</c:v>
                </c:pt>
                <c:pt idx="825">
                  <c:v>42676</c:v>
                </c:pt>
                <c:pt idx="826">
                  <c:v>42677</c:v>
                </c:pt>
                <c:pt idx="827">
                  <c:v>42678</c:v>
                </c:pt>
                <c:pt idx="828">
                  <c:v>42681</c:v>
                </c:pt>
                <c:pt idx="829">
                  <c:v>42682</c:v>
                </c:pt>
                <c:pt idx="830">
                  <c:v>42683</c:v>
                </c:pt>
                <c:pt idx="831">
                  <c:v>42684</c:v>
                </c:pt>
                <c:pt idx="832">
                  <c:v>42685</c:v>
                </c:pt>
                <c:pt idx="833">
                  <c:v>42688</c:v>
                </c:pt>
                <c:pt idx="834">
                  <c:v>42689</c:v>
                </c:pt>
                <c:pt idx="835">
                  <c:v>42690</c:v>
                </c:pt>
                <c:pt idx="836">
                  <c:v>42691</c:v>
                </c:pt>
                <c:pt idx="837">
                  <c:v>42692</c:v>
                </c:pt>
                <c:pt idx="838">
                  <c:v>42695</c:v>
                </c:pt>
                <c:pt idx="839">
                  <c:v>42696</c:v>
                </c:pt>
                <c:pt idx="840">
                  <c:v>42697</c:v>
                </c:pt>
                <c:pt idx="841">
                  <c:v>42698</c:v>
                </c:pt>
                <c:pt idx="842">
                  <c:v>42699</c:v>
                </c:pt>
                <c:pt idx="843">
                  <c:v>42702</c:v>
                </c:pt>
                <c:pt idx="844">
                  <c:v>42703</c:v>
                </c:pt>
                <c:pt idx="845">
                  <c:v>42704</c:v>
                </c:pt>
                <c:pt idx="846">
                  <c:v>42705</c:v>
                </c:pt>
                <c:pt idx="847">
                  <c:v>42706</c:v>
                </c:pt>
                <c:pt idx="848">
                  <c:v>42709</c:v>
                </c:pt>
                <c:pt idx="849">
                  <c:v>42710</c:v>
                </c:pt>
                <c:pt idx="850">
                  <c:v>42711</c:v>
                </c:pt>
                <c:pt idx="851">
                  <c:v>42712</c:v>
                </c:pt>
                <c:pt idx="852">
                  <c:v>42713</c:v>
                </c:pt>
                <c:pt idx="853">
                  <c:v>42716</c:v>
                </c:pt>
                <c:pt idx="854">
                  <c:v>42717</c:v>
                </c:pt>
                <c:pt idx="855">
                  <c:v>42718</c:v>
                </c:pt>
                <c:pt idx="856">
                  <c:v>42719</c:v>
                </c:pt>
                <c:pt idx="857">
                  <c:v>42720</c:v>
                </c:pt>
                <c:pt idx="858">
                  <c:v>42723</c:v>
                </c:pt>
                <c:pt idx="859">
                  <c:v>42724</c:v>
                </c:pt>
                <c:pt idx="860">
                  <c:v>42725</c:v>
                </c:pt>
                <c:pt idx="861">
                  <c:v>42726</c:v>
                </c:pt>
                <c:pt idx="862">
                  <c:v>42727</c:v>
                </c:pt>
                <c:pt idx="863">
                  <c:v>42730</c:v>
                </c:pt>
                <c:pt idx="864">
                  <c:v>42731</c:v>
                </c:pt>
                <c:pt idx="865">
                  <c:v>42732</c:v>
                </c:pt>
                <c:pt idx="866">
                  <c:v>42733</c:v>
                </c:pt>
                <c:pt idx="867">
                  <c:v>42734</c:v>
                </c:pt>
                <c:pt idx="868">
                  <c:v>42737</c:v>
                </c:pt>
                <c:pt idx="869">
                  <c:v>42738</c:v>
                </c:pt>
                <c:pt idx="870">
                  <c:v>42739</c:v>
                </c:pt>
                <c:pt idx="871">
                  <c:v>42740</c:v>
                </c:pt>
                <c:pt idx="872">
                  <c:v>42741</c:v>
                </c:pt>
                <c:pt idx="873">
                  <c:v>42744</c:v>
                </c:pt>
                <c:pt idx="874">
                  <c:v>42745</c:v>
                </c:pt>
                <c:pt idx="875">
                  <c:v>42746</c:v>
                </c:pt>
                <c:pt idx="876">
                  <c:v>42747</c:v>
                </c:pt>
                <c:pt idx="877">
                  <c:v>42748</c:v>
                </c:pt>
                <c:pt idx="878">
                  <c:v>42751</c:v>
                </c:pt>
                <c:pt idx="879">
                  <c:v>42752</c:v>
                </c:pt>
                <c:pt idx="880">
                  <c:v>42753</c:v>
                </c:pt>
                <c:pt idx="881">
                  <c:v>42754</c:v>
                </c:pt>
                <c:pt idx="882">
                  <c:v>42755</c:v>
                </c:pt>
                <c:pt idx="883">
                  <c:v>42758</c:v>
                </c:pt>
                <c:pt idx="884">
                  <c:v>42759</c:v>
                </c:pt>
                <c:pt idx="885">
                  <c:v>42760</c:v>
                </c:pt>
                <c:pt idx="886">
                  <c:v>42761</c:v>
                </c:pt>
                <c:pt idx="887">
                  <c:v>42762</c:v>
                </c:pt>
                <c:pt idx="888">
                  <c:v>42765</c:v>
                </c:pt>
                <c:pt idx="889">
                  <c:v>42766</c:v>
                </c:pt>
                <c:pt idx="890">
                  <c:v>42767</c:v>
                </c:pt>
                <c:pt idx="891">
                  <c:v>42768</c:v>
                </c:pt>
                <c:pt idx="892">
                  <c:v>42769</c:v>
                </c:pt>
                <c:pt idx="893">
                  <c:v>42772</c:v>
                </c:pt>
                <c:pt idx="894">
                  <c:v>42773</c:v>
                </c:pt>
                <c:pt idx="895">
                  <c:v>42774</c:v>
                </c:pt>
                <c:pt idx="896">
                  <c:v>42775</c:v>
                </c:pt>
                <c:pt idx="897">
                  <c:v>42776</c:v>
                </c:pt>
                <c:pt idx="898">
                  <c:v>42779</c:v>
                </c:pt>
                <c:pt idx="899">
                  <c:v>42780</c:v>
                </c:pt>
                <c:pt idx="900">
                  <c:v>42781</c:v>
                </c:pt>
                <c:pt idx="901">
                  <c:v>42782</c:v>
                </c:pt>
                <c:pt idx="902">
                  <c:v>42783</c:v>
                </c:pt>
                <c:pt idx="903">
                  <c:v>42786</c:v>
                </c:pt>
                <c:pt idx="904">
                  <c:v>42787</c:v>
                </c:pt>
                <c:pt idx="905">
                  <c:v>42788</c:v>
                </c:pt>
                <c:pt idx="906">
                  <c:v>42789</c:v>
                </c:pt>
                <c:pt idx="907">
                  <c:v>42790</c:v>
                </c:pt>
                <c:pt idx="908">
                  <c:v>42793</c:v>
                </c:pt>
                <c:pt idx="909">
                  <c:v>42794</c:v>
                </c:pt>
                <c:pt idx="910">
                  <c:v>42795</c:v>
                </c:pt>
                <c:pt idx="911">
                  <c:v>42796</c:v>
                </c:pt>
                <c:pt idx="912">
                  <c:v>42797</c:v>
                </c:pt>
                <c:pt idx="913">
                  <c:v>42800</c:v>
                </c:pt>
                <c:pt idx="914">
                  <c:v>42801</c:v>
                </c:pt>
                <c:pt idx="915">
                  <c:v>42802</c:v>
                </c:pt>
                <c:pt idx="916">
                  <c:v>42803</c:v>
                </c:pt>
                <c:pt idx="917">
                  <c:v>42804</c:v>
                </c:pt>
                <c:pt idx="918">
                  <c:v>42807</c:v>
                </c:pt>
                <c:pt idx="919">
                  <c:v>42808</c:v>
                </c:pt>
                <c:pt idx="920">
                  <c:v>42809</c:v>
                </c:pt>
                <c:pt idx="921">
                  <c:v>42810</c:v>
                </c:pt>
                <c:pt idx="922">
                  <c:v>42811</c:v>
                </c:pt>
                <c:pt idx="923">
                  <c:v>42814</c:v>
                </c:pt>
                <c:pt idx="924">
                  <c:v>42815</c:v>
                </c:pt>
                <c:pt idx="925">
                  <c:v>42816</c:v>
                </c:pt>
                <c:pt idx="926">
                  <c:v>42817</c:v>
                </c:pt>
                <c:pt idx="927">
                  <c:v>42818</c:v>
                </c:pt>
                <c:pt idx="928">
                  <c:v>42821</c:v>
                </c:pt>
                <c:pt idx="929">
                  <c:v>42822</c:v>
                </c:pt>
                <c:pt idx="930">
                  <c:v>42823</c:v>
                </c:pt>
                <c:pt idx="931">
                  <c:v>42824</c:v>
                </c:pt>
                <c:pt idx="932">
                  <c:v>42825</c:v>
                </c:pt>
                <c:pt idx="933">
                  <c:v>42828</c:v>
                </c:pt>
                <c:pt idx="934">
                  <c:v>42829</c:v>
                </c:pt>
                <c:pt idx="935">
                  <c:v>42830</c:v>
                </c:pt>
                <c:pt idx="936">
                  <c:v>42831</c:v>
                </c:pt>
                <c:pt idx="937">
                  <c:v>42832</c:v>
                </c:pt>
                <c:pt idx="938">
                  <c:v>42835</c:v>
                </c:pt>
                <c:pt idx="939">
                  <c:v>42836</c:v>
                </c:pt>
                <c:pt idx="940">
                  <c:v>42837</c:v>
                </c:pt>
                <c:pt idx="941">
                  <c:v>42838</c:v>
                </c:pt>
                <c:pt idx="942">
                  <c:v>42839</c:v>
                </c:pt>
                <c:pt idx="943">
                  <c:v>42842</c:v>
                </c:pt>
                <c:pt idx="944">
                  <c:v>42843</c:v>
                </c:pt>
                <c:pt idx="945">
                  <c:v>42844</c:v>
                </c:pt>
                <c:pt idx="946">
                  <c:v>42845</c:v>
                </c:pt>
                <c:pt idx="947">
                  <c:v>42846</c:v>
                </c:pt>
                <c:pt idx="948">
                  <c:v>42849</c:v>
                </c:pt>
                <c:pt idx="949">
                  <c:v>42850</c:v>
                </c:pt>
                <c:pt idx="950">
                  <c:v>42851</c:v>
                </c:pt>
                <c:pt idx="951">
                  <c:v>42852</c:v>
                </c:pt>
                <c:pt idx="952">
                  <c:v>42853</c:v>
                </c:pt>
                <c:pt idx="953">
                  <c:v>42856</c:v>
                </c:pt>
                <c:pt idx="954">
                  <c:v>42857</c:v>
                </c:pt>
                <c:pt idx="955">
                  <c:v>42858</c:v>
                </c:pt>
                <c:pt idx="956">
                  <c:v>42859</c:v>
                </c:pt>
                <c:pt idx="957">
                  <c:v>42860</c:v>
                </c:pt>
                <c:pt idx="958">
                  <c:v>42863</c:v>
                </c:pt>
                <c:pt idx="959">
                  <c:v>42864</c:v>
                </c:pt>
                <c:pt idx="960">
                  <c:v>42865</c:v>
                </c:pt>
                <c:pt idx="961">
                  <c:v>42866</c:v>
                </c:pt>
                <c:pt idx="962">
                  <c:v>42867</c:v>
                </c:pt>
                <c:pt idx="963">
                  <c:v>42870</c:v>
                </c:pt>
                <c:pt idx="964">
                  <c:v>42871</c:v>
                </c:pt>
                <c:pt idx="965">
                  <c:v>42872</c:v>
                </c:pt>
                <c:pt idx="966">
                  <c:v>42873</c:v>
                </c:pt>
                <c:pt idx="967">
                  <c:v>42874</c:v>
                </c:pt>
                <c:pt idx="968">
                  <c:v>42877</c:v>
                </c:pt>
                <c:pt idx="969">
                  <c:v>42878</c:v>
                </c:pt>
                <c:pt idx="970">
                  <c:v>42879</c:v>
                </c:pt>
                <c:pt idx="971">
                  <c:v>42880</c:v>
                </c:pt>
                <c:pt idx="972">
                  <c:v>42881</c:v>
                </c:pt>
                <c:pt idx="973">
                  <c:v>42884</c:v>
                </c:pt>
                <c:pt idx="974">
                  <c:v>42885</c:v>
                </c:pt>
                <c:pt idx="975">
                  <c:v>42886</c:v>
                </c:pt>
                <c:pt idx="976">
                  <c:v>42887</c:v>
                </c:pt>
                <c:pt idx="977">
                  <c:v>42888</c:v>
                </c:pt>
                <c:pt idx="978">
                  <c:v>42891</c:v>
                </c:pt>
                <c:pt idx="979">
                  <c:v>42892</c:v>
                </c:pt>
                <c:pt idx="980">
                  <c:v>42893</c:v>
                </c:pt>
                <c:pt idx="981">
                  <c:v>42894</c:v>
                </c:pt>
                <c:pt idx="982">
                  <c:v>42895</c:v>
                </c:pt>
                <c:pt idx="983">
                  <c:v>42898</c:v>
                </c:pt>
                <c:pt idx="984">
                  <c:v>42899</c:v>
                </c:pt>
                <c:pt idx="985">
                  <c:v>42900</c:v>
                </c:pt>
                <c:pt idx="986">
                  <c:v>42901</c:v>
                </c:pt>
                <c:pt idx="987">
                  <c:v>42902</c:v>
                </c:pt>
                <c:pt idx="988">
                  <c:v>42905</c:v>
                </c:pt>
                <c:pt idx="989">
                  <c:v>42906</c:v>
                </c:pt>
                <c:pt idx="990">
                  <c:v>42907</c:v>
                </c:pt>
                <c:pt idx="991">
                  <c:v>42908</c:v>
                </c:pt>
                <c:pt idx="992">
                  <c:v>42909</c:v>
                </c:pt>
                <c:pt idx="993">
                  <c:v>42912</c:v>
                </c:pt>
                <c:pt idx="994">
                  <c:v>42913</c:v>
                </c:pt>
                <c:pt idx="995">
                  <c:v>42914</c:v>
                </c:pt>
                <c:pt idx="996">
                  <c:v>42915</c:v>
                </c:pt>
                <c:pt idx="997">
                  <c:v>42916</c:v>
                </c:pt>
                <c:pt idx="998">
                  <c:v>42919</c:v>
                </c:pt>
                <c:pt idx="999">
                  <c:v>42920</c:v>
                </c:pt>
                <c:pt idx="1000">
                  <c:v>42921</c:v>
                </c:pt>
                <c:pt idx="1001">
                  <c:v>42922</c:v>
                </c:pt>
                <c:pt idx="1002">
                  <c:v>42923</c:v>
                </c:pt>
                <c:pt idx="1003">
                  <c:v>42926</c:v>
                </c:pt>
                <c:pt idx="1004">
                  <c:v>42927</c:v>
                </c:pt>
                <c:pt idx="1005">
                  <c:v>42928</c:v>
                </c:pt>
                <c:pt idx="1006">
                  <c:v>42929</c:v>
                </c:pt>
                <c:pt idx="1007">
                  <c:v>42930</c:v>
                </c:pt>
                <c:pt idx="1008">
                  <c:v>42933</c:v>
                </c:pt>
                <c:pt idx="1009">
                  <c:v>42934</c:v>
                </c:pt>
                <c:pt idx="1010">
                  <c:v>42935</c:v>
                </c:pt>
                <c:pt idx="1011">
                  <c:v>42936</c:v>
                </c:pt>
                <c:pt idx="1012">
                  <c:v>42937</c:v>
                </c:pt>
                <c:pt idx="1013">
                  <c:v>42940</c:v>
                </c:pt>
                <c:pt idx="1014">
                  <c:v>42941</c:v>
                </c:pt>
                <c:pt idx="1015">
                  <c:v>42942</c:v>
                </c:pt>
                <c:pt idx="1016">
                  <c:v>42943</c:v>
                </c:pt>
                <c:pt idx="1017">
                  <c:v>42944</c:v>
                </c:pt>
                <c:pt idx="1018">
                  <c:v>42947</c:v>
                </c:pt>
                <c:pt idx="1019">
                  <c:v>42948</c:v>
                </c:pt>
                <c:pt idx="1020">
                  <c:v>42949</c:v>
                </c:pt>
                <c:pt idx="1021">
                  <c:v>42950</c:v>
                </c:pt>
                <c:pt idx="1022">
                  <c:v>42951</c:v>
                </c:pt>
                <c:pt idx="1023">
                  <c:v>42954</c:v>
                </c:pt>
                <c:pt idx="1024">
                  <c:v>42955</c:v>
                </c:pt>
                <c:pt idx="1025">
                  <c:v>42956</c:v>
                </c:pt>
                <c:pt idx="1026">
                  <c:v>42957</c:v>
                </c:pt>
                <c:pt idx="1027">
                  <c:v>42958</c:v>
                </c:pt>
                <c:pt idx="1028">
                  <c:v>42961</c:v>
                </c:pt>
                <c:pt idx="1029">
                  <c:v>42962</c:v>
                </c:pt>
                <c:pt idx="1030">
                  <c:v>42963</c:v>
                </c:pt>
                <c:pt idx="1031">
                  <c:v>42964</c:v>
                </c:pt>
                <c:pt idx="1032">
                  <c:v>42965</c:v>
                </c:pt>
                <c:pt idx="1033">
                  <c:v>42968</c:v>
                </c:pt>
                <c:pt idx="1034">
                  <c:v>42969</c:v>
                </c:pt>
                <c:pt idx="1035">
                  <c:v>42970</c:v>
                </c:pt>
                <c:pt idx="1036">
                  <c:v>42971</c:v>
                </c:pt>
                <c:pt idx="1037">
                  <c:v>42972</c:v>
                </c:pt>
                <c:pt idx="1038">
                  <c:v>42975</c:v>
                </c:pt>
                <c:pt idx="1039">
                  <c:v>42976</c:v>
                </c:pt>
                <c:pt idx="1040">
                  <c:v>42977</c:v>
                </c:pt>
                <c:pt idx="1041">
                  <c:v>42978</c:v>
                </c:pt>
                <c:pt idx="1042">
                  <c:v>42979</c:v>
                </c:pt>
                <c:pt idx="1043">
                  <c:v>42982</c:v>
                </c:pt>
                <c:pt idx="1044">
                  <c:v>42983</c:v>
                </c:pt>
                <c:pt idx="1045">
                  <c:v>42984</c:v>
                </c:pt>
                <c:pt idx="1046">
                  <c:v>42985</c:v>
                </c:pt>
                <c:pt idx="1047">
                  <c:v>42986</c:v>
                </c:pt>
                <c:pt idx="1048">
                  <c:v>42989</c:v>
                </c:pt>
                <c:pt idx="1049">
                  <c:v>42990</c:v>
                </c:pt>
                <c:pt idx="1050">
                  <c:v>42991</c:v>
                </c:pt>
                <c:pt idx="1051">
                  <c:v>42992</c:v>
                </c:pt>
                <c:pt idx="1052">
                  <c:v>42993</c:v>
                </c:pt>
                <c:pt idx="1053">
                  <c:v>42996</c:v>
                </c:pt>
                <c:pt idx="1054">
                  <c:v>42997</c:v>
                </c:pt>
                <c:pt idx="1055">
                  <c:v>42998</c:v>
                </c:pt>
                <c:pt idx="1056">
                  <c:v>42999</c:v>
                </c:pt>
                <c:pt idx="1057">
                  <c:v>43000</c:v>
                </c:pt>
                <c:pt idx="1058">
                  <c:v>43003</c:v>
                </c:pt>
                <c:pt idx="1059">
                  <c:v>43004</c:v>
                </c:pt>
                <c:pt idx="1060">
                  <c:v>43005</c:v>
                </c:pt>
                <c:pt idx="1061">
                  <c:v>43006</c:v>
                </c:pt>
                <c:pt idx="1062">
                  <c:v>43007</c:v>
                </c:pt>
                <c:pt idx="1063">
                  <c:v>43010</c:v>
                </c:pt>
                <c:pt idx="1064">
                  <c:v>43011</c:v>
                </c:pt>
                <c:pt idx="1065">
                  <c:v>43012</c:v>
                </c:pt>
                <c:pt idx="1066">
                  <c:v>43013</c:v>
                </c:pt>
                <c:pt idx="1067">
                  <c:v>43014</c:v>
                </c:pt>
                <c:pt idx="1068">
                  <c:v>43017</c:v>
                </c:pt>
                <c:pt idx="1069">
                  <c:v>43018</c:v>
                </c:pt>
                <c:pt idx="1070">
                  <c:v>43019</c:v>
                </c:pt>
                <c:pt idx="1071">
                  <c:v>43020</c:v>
                </c:pt>
                <c:pt idx="1072">
                  <c:v>43021</c:v>
                </c:pt>
                <c:pt idx="1073">
                  <c:v>43024</c:v>
                </c:pt>
                <c:pt idx="1074">
                  <c:v>43025</c:v>
                </c:pt>
                <c:pt idx="1075">
                  <c:v>43026</c:v>
                </c:pt>
                <c:pt idx="1076">
                  <c:v>43027</c:v>
                </c:pt>
                <c:pt idx="1077">
                  <c:v>43028</c:v>
                </c:pt>
                <c:pt idx="1078">
                  <c:v>43031</c:v>
                </c:pt>
                <c:pt idx="1079">
                  <c:v>43032</c:v>
                </c:pt>
                <c:pt idx="1080">
                  <c:v>43033</c:v>
                </c:pt>
                <c:pt idx="1081">
                  <c:v>43034</c:v>
                </c:pt>
                <c:pt idx="1082">
                  <c:v>43035</c:v>
                </c:pt>
                <c:pt idx="1083">
                  <c:v>43038</c:v>
                </c:pt>
                <c:pt idx="1084">
                  <c:v>43039</c:v>
                </c:pt>
                <c:pt idx="1085">
                  <c:v>43040</c:v>
                </c:pt>
                <c:pt idx="1086">
                  <c:v>43041</c:v>
                </c:pt>
                <c:pt idx="1087">
                  <c:v>43042</c:v>
                </c:pt>
                <c:pt idx="1088">
                  <c:v>43045</c:v>
                </c:pt>
                <c:pt idx="1089">
                  <c:v>43046</c:v>
                </c:pt>
                <c:pt idx="1090">
                  <c:v>43047</c:v>
                </c:pt>
                <c:pt idx="1091">
                  <c:v>43048</c:v>
                </c:pt>
                <c:pt idx="1092">
                  <c:v>43049</c:v>
                </c:pt>
                <c:pt idx="1093">
                  <c:v>43052</c:v>
                </c:pt>
                <c:pt idx="1094">
                  <c:v>43053</c:v>
                </c:pt>
                <c:pt idx="1095">
                  <c:v>43054</c:v>
                </c:pt>
                <c:pt idx="1096">
                  <c:v>43055</c:v>
                </c:pt>
                <c:pt idx="1097">
                  <c:v>43056</c:v>
                </c:pt>
                <c:pt idx="1098">
                  <c:v>43059</c:v>
                </c:pt>
                <c:pt idx="1099">
                  <c:v>43060</c:v>
                </c:pt>
                <c:pt idx="1100">
                  <c:v>43061</c:v>
                </c:pt>
                <c:pt idx="1101">
                  <c:v>43062</c:v>
                </c:pt>
                <c:pt idx="1102">
                  <c:v>43063</c:v>
                </c:pt>
                <c:pt idx="1103">
                  <c:v>43066</c:v>
                </c:pt>
                <c:pt idx="1104">
                  <c:v>43067</c:v>
                </c:pt>
                <c:pt idx="1105">
                  <c:v>43068</c:v>
                </c:pt>
                <c:pt idx="1106">
                  <c:v>43069</c:v>
                </c:pt>
                <c:pt idx="1107">
                  <c:v>43070</c:v>
                </c:pt>
                <c:pt idx="1108">
                  <c:v>43073</c:v>
                </c:pt>
                <c:pt idx="1109">
                  <c:v>43074</c:v>
                </c:pt>
                <c:pt idx="1110">
                  <c:v>43075</c:v>
                </c:pt>
                <c:pt idx="1111">
                  <c:v>43076</c:v>
                </c:pt>
                <c:pt idx="1112">
                  <c:v>43077</c:v>
                </c:pt>
                <c:pt idx="1113">
                  <c:v>43080</c:v>
                </c:pt>
                <c:pt idx="1114">
                  <c:v>43081</c:v>
                </c:pt>
                <c:pt idx="1115">
                  <c:v>43082</c:v>
                </c:pt>
                <c:pt idx="1116">
                  <c:v>43083</c:v>
                </c:pt>
                <c:pt idx="1117">
                  <c:v>43084</c:v>
                </c:pt>
                <c:pt idx="1118">
                  <c:v>43087</c:v>
                </c:pt>
                <c:pt idx="1119">
                  <c:v>43088</c:v>
                </c:pt>
                <c:pt idx="1120">
                  <c:v>43089</c:v>
                </c:pt>
                <c:pt idx="1121">
                  <c:v>43090</c:v>
                </c:pt>
                <c:pt idx="1122">
                  <c:v>43091</c:v>
                </c:pt>
                <c:pt idx="1123">
                  <c:v>43094</c:v>
                </c:pt>
                <c:pt idx="1124">
                  <c:v>43095</c:v>
                </c:pt>
                <c:pt idx="1125">
                  <c:v>43096</c:v>
                </c:pt>
                <c:pt idx="1126">
                  <c:v>43097</c:v>
                </c:pt>
                <c:pt idx="1127">
                  <c:v>43098</c:v>
                </c:pt>
              </c:numCache>
            </c:numRef>
          </c:cat>
          <c:val>
            <c:numRef>
              <c:f>'Amundi Fds EM MinVar BRUT'!$E$5:$E$1155</c:f>
              <c:numCache>
                <c:formatCode>General</c:formatCode>
                <c:ptCount val="1151"/>
                <c:pt idx="0">
                  <c:v>100</c:v>
                </c:pt>
                <c:pt idx="1">
                  <c:v>101.11704895214567</c:v>
                </c:pt>
                <c:pt idx="2">
                  <c:v>101.98523561943806</c:v>
                </c:pt>
                <c:pt idx="3">
                  <c:v>103.94514605874976</c:v>
                </c:pt>
                <c:pt idx="4">
                  <c:v>105.82839386879948</c:v>
                </c:pt>
                <c:pt idx="5">
                  <c:v>105.89266324684155</c:v>
                </c:pt>
                <c:pt idx="6">
                  <c:v>105.73565466840434</c:v>
                </c:pt>
                <c:pt idx="7">
                  <c:v>105.35595992846334</c:v>
                </c:pt>
                <c:pt idx="8">
                  <c:v>106.97582863972852</c:v>
                </c:pt>
                <c:pt idx="9">
                  <c:v>107.06025393375982</c:v>
                </c:pt>
                <c:pt idx="10">
                  <c:v>106.90946161204454</c:v>
                </c:pt>
                <c:pt idx="11">
                  <c:v>109.21461995002836</c:v>
                </c:pt>
                <c:pt idx="12">
                  <c:v>108.21715692037677</c:v>
                </c:pt>
                <c:pt idx="13">
                  <c:v>108.55420110865414</c:v>
                </c:pt>
                <c:pt idx="14">
                  <c:v>107.95344828067668</c:v>
                </c:pt>
                <c:pt idx="15">
                  <c:v>107.6358135026768</c:v>
                </c:pt>
                <c:pt idx="16">
                  <c:v>107.15228248793804</c:v>
                </c:pt>
                <c:pt idx="17">
                  <c:v>106.83232783611894</c:v>
                </c:pt>
                <c:pt idx="18">
                  <c:v>105.51561059268668</c:v>
                </c:pt>
                <c:pt idx="19">
                  <c:v>106.46956244276942</c:v>
                </c:pt>
                <c:pt idx="20">
                  <c:v>106.63237999781256</c:v>
                </c:pt>
                <c:pt idx="21">
                  <c:v>107.4237694972954</c:v>
                </c:pt>
                <c:pt idx="22">
                  <c:v>107.709463410777</c:v>
                </c:pt>
                <c:pt idx="23">
                  <c:v>107.38971318425989</c:v>
                </c:pt>
                <c:pt idx="24">
                  <c:v>107.84130542846471</c:v>
                </c:pt>
                <c:pt idx="25">
                  <c:v>107.50114434326331</c:v>
                </c:pt>
                <c:pt idx="26">
                  <c:v>108.39926086406817</c:v>
                </c:pt>
                <c:pt idx="27">
                  <c:v>109.38256907747569</c:v>
                </c:pt>
                <c:pt idx="28">
                  <c:v>109.32326715575043</c:v>
                </c:pt>
                <c:pt idx="29">
                  <c:v>110.093049084025</c:v>
                </c:pt>
                <c:pt idx="30">
                  <c:v>110.24464732828274</c:v>
                </c:pt>
                <c:pt idx="31">
                  <c:v>110.53742493184188</c:v>
                </c:pt>
                <c:pt idx="32">
                  <c:v>111.43824688148511</c:v>
                </c:pt>
                <c:pt idx="33">
                  <c:v>111.503388666097</c:v>
                </c:pt>
                <c:pt idx="34">
                  <c:v>111.71833310268478</c:v>
                </c:pt>
                <c:pt idx="35">
                  <c:v>110.52618049323451</c:v>
                </c:pt>
                <c:pt idx="36">
                  <c:v>110.24336711809968</c:v>
                </c:pt>
                <c:pt idx="37">
                  <c:v>109.86730046921178</c:v>
                </c:pt>
                <c:pt idx="38">
                  <c:v>110.62810836229772</c:v>
                </c:pt>
                <c:pt idx="39">
                  <c:v>110.88412082125878</c:v>
                </c:pt>
                <c:pt idx="40">
                  <c:v>111.5308811208735</c:v>
                </c:pt>
                <c:pt idx="41">
                  <c:v>110.64191583875194</c:v>
                </c:pt>
                <c:pt idx="42">
                  <c:v>110.64191583875194</c:v>
                </c:pt>
                <c:pt idx="43">
                  <c:v>109.87604809225344</c:v>
                </c:pt>
                <c:pt idx="44">
                  <c:v>108.73351193787842</c:v>
                </c:pt>
                <c:pt idx="45">
                  <c:v>108.7232179067894</c:v>
                </c:pt>
                <c:pt idx="46">
                  <c:v>108.09090924581648</c:v>
                </c:pt>
                <c:pt idx="47">
                  <c:v>106.4982633887364</c:v>
                </c:pt>
                <c:pt idx="48">
                  <c:v>106.25498000386781</c:v>
                </c:pt>
                <c:pt idx="49">
                  <c:v>106.10938547683782</c:v>
                </c:pt>
                <c:pt idx="50">
                  <c:v>104.87098746668397</c:v>
                </c:pt>
                <c:pt idx="51">
                  <c:v>106.1473800524787</c:v>
                </c:pt>
                <c:pt idx="52">
                  <c:v>107.58214335406183</c:v>
                </c:pt>
                <c:pt idx="53">
                  <c:v>109.74512507230712</c:v>
                </c:pt>
                <c:pt idx="54">
                  <c:v>109.66399309345005</c:v>
                </c:pt>
                <c:pt idx="55">
                  <c:v>109.14273658016552</c:v>
                </c:pt>
                <c:pt idx="56">
                  <c:v>107.50400001553724</c:v>
                </c:pt>
                <c:pt idx="57">
                  <c:v>108.03278126452575</c:v>
                </c:pt>
                <c:pt idx="58">
                  <c:v>108.19540041447375</c:v>
                </c:pt>
                <c:pt idx="59">
                  <c:v>107.63731776927139</c:v>
                </c:pt>
                <c:pt idx="60">
                  <c:v>108.00705482449125</c:v>
                </c:pt>
                <c:pt idx="61">
                  <c:v>108.35284218609243</c:v>
                </c:pt>
                <c:pt idx="62">
                  <c:v>109.02404557458158</c:v>
                </c:pt>
                <c:pt idx="63">
                  <c:v>108.51161154430831</c:v>
                </c:pt>
                <c:pt idx="64">
                  <c:v>107.36492877580343</c:v>
                </c:pt>
                <c:pt idx="65">
                  <c:v>106.62123423825594</c:v>
                </c:pt>
                <c:pt idx="66">
                  <c:v>106.91136530631012</c:v>
                </c:pt>
                <c:pt idx="67">
                  <c:v>107.31513721121783</c:v>
                </c:pt>
                <c:pt idx="68">
                  <c:v>108.45147490774525</c:v>
                </c:pt>
                <c:pt idx="69">
                  <c:v>108.40694107817006</c:v>
                </c:pt>
                <c:pt idx="70">
                  <c:v>107.36098004327141</c:v>
                </c:pt>
                <c:pt idx="71">
                  <c:v>106.18339869136506</c:v>
                </c:pt>
                <c:pt idx="72">
                  <c:v>106.08184512215082</c:v>
                </c:pt>
                <c:pt idx="73">
                  <c:v>106.07384871628788</c:v>
                </c:pt>
                <c:pt idx="74">
                  <c:v>106.0853863128187</c:v>
                </c:pt>
                <c:pt idx="75">
                  <c:v>106.33011873542375</c:v>
                </c:pt>
                <c:pt idx="76">
                  <c:v>106.11153102639119</c:v>
                </c:pt>
                <c:pt idx="77">
                  <c:v>105.85683673109433</c:v>
                </c:pt>
                <c:pt idx="78">
                  <c:v>106.35779991061327</c:v>
                </c:pt>
                <c:pt idx="79">
                  <c:v>106.35779991061327</c:v>
                </c:pt>
                <c:pt idx="80">
                  <c:v>106.35779991061327</c:v>
                </c:pt>
                <c:pt idx="81">
                  <c:v>106.35779991061327</c:v>
                </c:pt>
                <c:pt idx="82">
                  <c:v>106.89786224295048</c:v>
                </c:pt>
                <c:pt idx="83">
                  <c:v>107.3630038799364</c:v>
                </c:pt>
                <c:pt idx="84">
                  <c:v>107.44787336057212</c:v>
                </c:pt>
                <c:pt idx="85">
                  <c:v>107.44787336057212</c:v>
                </c:pt>
                <c:pt idx="86">
                  <c:v>106.18111520053897</c:v>
                </c:pt>
                <c:pt idx="87">
                  <c:v>104.97207931216957</c:v>
                </c:pt>
                <c:pt idx="88">
                  <c:v>104.21843546584127</c:v>
                </c:pt>
                <c:pt idx="89">
                  <c:v>104.11805400482442</c:v>
                </c:pt>
                <c:pt idx="90">
                  <c:v>104.29915885584154</c:v>
                </c:pt>
                <c:pt idx="91">
                  <c:v>103.22253036115534</c:v>
                </c:pt>
                <c:pt idx="92">
                  <c:v>103.9769228071807</c:v>
                </c:pt>
                <c:pt idx="93">
                  <c:v>104.76017534204622</c:v>
                </c:pt>
                <c:pt idx="94">
                  <c:v>104.53059551961874</c:v>
                </c:pt>
                <c:pt idx="95">
                  <c:v>104.82121527146168</c:v>
                </c:pt>
                <c:pt idx="96">
                  <c:v>104.47563757012584</c:v>
                </c:pt>
                <c:pt idx="97">
                  <c:v>104.22729119086766</c:v>
                </c:pt>
                <c:pt idx="98">
                  <c:v>104.08014240334533</c:v>
                </c:pt>
                <c:pt idx="99">
                  <c:v>104.07239701395498</c:v>
                </c:pt>
                <c:pt idx="100">
                  <c:v>104.68717038137716</c:v>
                </c:pt>
                <c:pt idx="101">
                  <c:v>103.34879164661928</c:v>
                </c:pt>
                <c:pt idx="102">
                  <c:v>101.83923782311592</c:v>
                </c:pt>
                <c:pt idx="103">
                  <c:v>99.90153491912578</c:v>
                </c:pt>
                <c:pt idx="104">
                  <c:v>100.20775787728988</c:v>
                </c:pt>
                <c:pt idx="105">
                  <c:v>100.49111862408972</c:v>
                </c:pt>
                <c:pt idx="106">
                  <c:v>100.45956391401047</c:v>
                </c:pt>
                <c:pt idx="107">
                  <c:v>100.47797372947471</c:v>
                </c:pt>
                <c:pt idx="108">
                  <c:v>99.44591574174305</c:v>
                </c:pt>
                <c:pt idx="109">
                  <c:v>98.480315174848911</c:v>
                </c:pt>
                <c:pt idx="110">
                  <c:v>98.354443175885237</c:v>
                </c:pt>
                <c:pt idx="111">
                  <c:v>99.779416398015684</c:v>
                </c:pt>
                <c:pt idx="112">
                  <c:v>100.58672720987494</c:v>
                </c:pt>
                <c:pt idx="113">
                  <c:v>100.40553781078569</c:v>
                </c:pt>
                <c:pt idx="114">
                  <c:v>101.41473070771644</c:v>
                </c:pt>
                <c:pt idx="115">
                  <c:v>102.33273704978265</c:v>
                </c:pt>
                <c:pt idx="116">
                  <c:v>101.54169375177977</c:v>
                </c:pt>
                <c:pt idx="117">
                  <c:v>102.77474538718579</c:v>
                </c:pt>
                <c:pt idx="118">
                  <c:v>103.5295187650826</c:v>
                </c:pt>
                <c:pt idx="119">
                  <c:v>102.95278023145211</c:v>
                </c:pt>
                <c:pt idx="120">
                  <c:v>102.99655658373</c:v>
                </c:pt>
                <c:pt idx="121">
                  <c:v>102.09225793545484</c:v>
                </c:pt>
                <c:pt idx="122">
                  <c:v>103.02525881817111</c:v>
                </c:pt>
                <c:pt idx="123">
                  <c:v>102.93669228979721</c:v>
                </c:pt>
                <c:pt idx="124">
                  <c:v>102.63047639934382</c:v>
                </c:pt>
                <c:pt idx="125">
                  <c:v>102.71039047936279</c:v>
                </c:pt>
                <c:pt idx="126">
                  <c:v>103.46200825536793</c:v>
                </c:pt>
                <c:pt idx="127">
                  <c:v>103.80640732135886</c:v>
                </c:pt>
                <c:pt idx="128">
                  <c:v>102.12175855942478</c:v>
                </c:pt>
                <c:pt idx="129">
                  <c:v>102.71608783939395</c:v>
                </c:pt>
                <c:pt idx="130">
                  <c:v>103.04196767128894</c:v>
                </c:pt>
                <c:pt idx="131">
                  <c:v>104.24186755579143</c:v>
                </c:pt>
                <c:pt idx="132">
                  <c:v>103.86482168755387</c:v>
                </c:pt>
                <c:pt idx="133">
                  <c:v>102.62209592696297</c:v>
                </c:pt>
                <c:pt idx="134">
                  <c:v>102.71978739323275</c:v>
                </c:pt>
                <c:pt idx="135">
                  <c:v>101.5135006542676</c:v>
                </c:pt>
                <c:pt idx="136">
                  <c:v>101.36114227901345</c:v>
                </c:pt>
                <c:pt idx="137">
                  <c:v>100.77348884434005</c:v>
                </c:pt>
                <c:pt idx="138">
                  <c:v>101.37394033227518</c:v>
                </c:pt>
                <c:pt idx="139">
                  <c:v>102.37209398880984</c:v>
                </c:pt>
                <c:pt idx="140">
                  <c:v>102.17100662852839</c:v>
                </c:pt>
                <c:pt idx="141">
                  <c:v>101.11422003030503</c:v>
                </c:pt>
                <c:pt idx="142">
                  <c:v>101.57297125054407</c:v>
                </c:pt>
                <c:pt idx="143">
                  <c:v>102.58146392059197</c:v>
                </c:pt>
                <c:pt idx="144">
                  <c:v>103.0752529233929</c:v>
                </c:pt>
                <c:pt idx="145">
                  <c:v>104.12710442726028</c:v>
                </c:pt>
                <c:pt idx="146">
                  <c:v>104.89273092917347</c:v>
                </c:pt>
                <c:pt idx="147">
                  <c:v>105.93206525583372</c:v>
                </c:pt>
                <c:pt idx="148">
                  <c:v>106.99275637150356</c:v>
                </c:pt>
                <c:pt idx="149">
                  <c:v>107.6598911852483</c:v>
                </c:pt>
                <c:pt idx="150">
                  <c:v>108.11526194569237</c:v>
                </c:pt>
                <c:pt idx="151">
                  <c:v>107.66785440093844</c:v>
                </c:pt>
                <c:pt idx="152">
                  <c:v>107.87110945423201</c:v>
                </c:pt>
                <c:pt idx="153">
                  <c:v>108.12997587205646</c:v>
                </c:pt>
                <c:pt idx="154">
                  <c:v>108.92261019024072</c:v>
                </c:pt>
                <c:pt idx="155">
                  <c:v>109.28426624956968</c:v>
                </c:pt>
                <c:pt idx="156">
                  <c:v>110.03022226586397</c:v>
                </c:pt>
                <c:pt idx="157">
                  <c:v>109.36363794824366</c:v>
                </c:pt>
                <c:pt idx="158">
                  <c:v>108.96454789069961</c:v>
                </c:pt>
                <c:pt idx="159">
                  <c:v>107.72173365284343</c:v>
                </c:pt>
                <c:pt idx="160">
                  <c:v>108.0061323060302</c:v>
                </c:pt>
                <c:pt idx="161">
                  <c:v>108.73501823066623</c:v>
                </c:pt>
                <c:pt idx="162">
                  <c:v>108.73501823066623</c:v>
                </c:pt>
                <c:pt idx="163">
                  <c:v>108.73501823066623</c:v>
                </c:pt>
                <c:pt idx="164">
                  <c:v>108.71664323022019</c:v>
                </c:pt>
                <c:pt idx="165">
                  <c:v>108.19164295572227</c:v>
                </c:pt>
                <c:pt idx="166">
                  <c:v>108.26966472167518</c:v>
                </c:pt>
                <c:pt idx="167">
                  <c:v>107.07673359980599</c:v>
                </c:pt>
                <c:pt idx="168">
                  <c:v>107.05542262003169</c:v>
                </c:pt>
                <c:pt idx="169">
                  <c:v>107.83267000874399</c:v>
                </c:pt>
                <c:pt idx="170">
                  <c:v>107.35027598777202</c:v>
                </c:pt>
                <c:pt idx="171">
                  <c:v>107.35027598777202</c:v>
                </c:pt>
                <c:pt idx="172">
                  <c:v>108.24948143438857</c:v>
                </c:pt>
                <c:pt idx="173">
                  <c:v>107.99951117004932</c:v>
                </c:pt>
                <c:pt idx="174">
                  <c:v>108.31943318369157</c:v>
                </c:pt>
                <c:pt idx="175">
                  <c:v>108.38188295086159</c:v>
                </c:pt>
                <c:pt idx="176">
                  <c:v>108.85663782376336</c:v>
                </c:pt>
                <c:pt idx="177">
                  <c:v>108.65755219617866</c:v>
                </c:pt>
                <c:pt idx="178">
                  <c:v>109.61941289710624</c:v>
                </c:pt>
                <c:pt idx="179">
                  <c:v>110.34489166170758</c:v>
                </c:pt>
                <c:pt idx="180">
                  <c:v>111.40593930411133</c:v>
                </c:pt>
                <c:pt idx="181">
                  <c:v>111.07317316620535</c:v>
                </c:pt>
                <c:pt idx="182">
                  <c:v>111.39596571741157</c:v>
                </c:pt>
                <c:pt idx="183">
                  <c:v>111.77836105725922</c:v>
                </c:pt>
                <c:pt idx="184">
                  <c:v>111.18799466879108</c:v>
                </c:pt>
                <c:pt idx="185">
                  <c:v>111.37921471979814</c:v>
                </c:pt>
                <c:pt idx="186">
                  <c:v>112.4331710925843</c:v>
                </c:pt>
                <c:pt idx="187">
                  <c:v>112.63913281726397</c:v>
                </c:pt>
                <c:pt idx="188">
                  <c:v>112.53405245223054</c:v>
                </c:pt>
                <c:pt idx="189">
                  <c:v>111.61190678766624</c:v>
                </c:pt>
                <c:pt idx="190">
                  <c:v>112.21620049248789</c:v>
                </c:pt>
                <c:pt idx="191">
                  <c:v>112.21620049248789</c:v>
                </c:pt>
                <c:pt idx="192">
                  <c:v>111.09741515173566</c:v>
                </c:pt>
                <c:pt idx="193">
                  <c:v>111.29978176763203</c:v>
                </c:pt>
                <c:pt idx="194">
                  <c:v>112.01697979310154</c:v>
                </c:pt>
                <c:pt idx="195">
                  <c:v>111.51342871138483</c:v>
                </c:pt>
                <c:pt idx="196">
                  <c:v>111.95421014658564</c:v>
                </c:pt>
                <c:pt idx="197">
                  <c:v>113.03567404895783</c:v>
                </c:pt>
                <c:pt idx="198">
                  <c:v>113.03567404895783</c:v>
                </c:pt>
                <c:pt idx="199">
                  <c:v>114.42130499101593</c:v>
                </c:pt>
                <c:pt idx="200">
                  <c:v>114.26385550823872</c:v>
                </c:pt>
                <c:pt idx="201">
                  <c:v>114.21163455065017</c:v>
                </c:pt>
                <c:pt idx="202">
                  <c:v>113.61361487868945</c:v>
                </c:pt>
                <c:pt idx="203">
                  <c:v>113.37266301305303</c:v>
                </c:pt>
                <c:pt idx="204">
                  <c:v>113.07797927036678</c:v>
                </c:pt>
                <c:pt idx="205">
                  <c:v>113.20392089936779</c:v>
                </c:pt>
                <c:pt idx="206">
                  <c:v>113.85066144157734</c:v>
                </c:pt>
                <c:pt idx="207">
                  <c:v>113.19639038462623</c:v>
                </c:pt>
                <c:pt idx="208">
                  <c:v>113.19639038462623</c:v>
                </c:pt>
                <c:pt idx="209">
                  <c:v>113.69398731282794</c:v>
                </c:pt>
                <c:pt idx="210">
                  <c:v>113.03160069175932</c:v>
                </c:pt>
                <c:pt idx="211">
                  <c:v>113.58670313092777</c:v>
                </c:pt>
                <c:pt idx="212">
                  <c:v>113.52966304179124</c:v>
                </c:pt>
                <c:pt idx="213">
                  <c:v>114.04914317255721</c:v>
                </c:pt>
                <c:pt idx="214">
                  <c:v>114.12888579515321</c:v>
                </c:pt>
                <c:pt idx="215">
                  <c:v>115.23324803274333</c:v>
                </c:pt>
                <c:pt idx="216">
                  <c:v>115.46235520074511</c:v>
                </c:pt>
                <c:pt idx="217">
                  <c:v>115.53759464463165</c:v>
                </c:pt>
                <c:pt idx="218">
                  <c:v>115.76520659919379</c:v>
                </c:pt>
                <c:pt idx="219">
                  <c:v>115.8127822385605</c:v>
                </c:pt>
                <c:pt idx="220">
                  <c:v>115.42001333194811</c:v>
                </c:pt>
                <c:pt idx="221">
                  <c:v>115.59170608391736</c:v>
                </c:pt>
                <c:pt idx="222">
                  <c:v>115.19266314444407</c:v>
                </c:pt>
                <c:pt idx="223">
                  <c:v>115.82141426908538</c:v>
                </c:pt>
                <c:pt idx="224">
                  <c:v>116.15225929854809</c:v>
                </c:pt>
                <c:pt idx="225">
                  <c:v>116.27899748470905</c:v>
                </c:pt>
                <c:pt idx="226">
                  <c:v>115.84732580491495</c:v>
                </c:pt>
                <c:pt idx="227">
                  <c:v>115.92440442415581</c:v>
                </c:pt>
                <c:pt idx="228">
                  <c:v>115.92667813282662</c:v>
                </c:pt>
                <c:pt idx="229">
                  <c:v>117.15120218276429</c:v>
                </c:pt>
                <c:pt idx="230">
                  <c:v>117.5033375124045</c:v>
                </c:pt>
                <c:pt idx="231">
                  <c:v>117.85267114921703</c:v>
                </c:pt>
                <c:pt idx="232">
                  <c:v>117.62275197979942</c:v>
                </c:pt>
                <c:pt idx="233">
                  <c:v>117.69668808550226</c:v>
                </c:pt>
                <c:pt idx="234">
                  <c:v>117.85017153557416</c:v>
                </c:pt>
                <c:pt idx="235">
                  <c:v>117.65827429318617</c:v>
                </c:pt>
                <c:pt idx="236">
                  <c:v>116.25436782216536</c:v>
                </c:pt>
                <c:pt idx="237">
                  <c:v>115.64921028604967</c:v>
                </c:pt>
                <c:pt idx="238">
                  <c:v>116.65237887589366</c:v>
                </c:pt>
                <c:pt idx="239">
                  <c:v>115.98410092540338</c:v>
                </c:pt>
                <c:pt idx="240">
                  <c:v>115.30037217428001</c:v>
                </c:pt>
                <c:pt idx="241">
                  <c:v>114.710698159681</c:v>
                </c:pt>
                <c:pt idx="242">
                  <c:v>114.09751458378183</c:v>
                </c:pt>
                <c:pt idx="243">
                  <c:v>115.84647846494656</c:v>
                </c:pt>
                <c:pt idx="244">
                  <c:v>116.18522048303308</c:v>
                </c:pt>
                <c:pt idx="245">
                  <c:v>116.91376637225983</c:v>
                </c:pt>
                <c:pt idx="246">
                  <c:v>117.10537567088349</c:v>
                </c:pt>
                <c:pt idx="247">
                  <c:v>117.10537567088349</c:v>
                </c:pt>
                <c:pt idx="248">
                  <c:v>117.61854747730472</c:v>
                </c:pt>
                <c:pt idx="249">
                  <c:v>118.43712788456999</c:v>
                </c:pt>
                <c:pt idx="250">
                  <c:v>118.50742752229404</c:v>
                </c:pt>
                <c:pt idx="251">
                  <c:v>118.16767796279899</c:v>
                </c:pt>
                <c:pt idx="252">
                  <c:v>118.29755264185604</c:v>
                </c:pt>
                <c:pt idx="253">
                  <c:v>118.55679338657454</c:v>
                </c:pt>
                <c:pt idx="254">
                  <c:v>118.83105144567838</c:v>
                </c:pt>
                <c:pt idx="255">
                  <c:v>119.49412625234498</c:v>
                </c:pt>
                <c:pt idx="256">
                  <c:v>118.77491733233052</c:v>
                </c:pt>
                <c:pt idx="257">
                  <c:v>118.87417835388479</c:v>
                </c:pt>
                <c:pt idx="258">
                  <c:v>119.17215277026433</c:v>
                </c:pt>
                <c:pt idx="259">
                  <c:v>118.75438825076037</c:v>
                </c:pt>
                <c:pt idx="260">
                  <c:v>120.31955082112464</c:v>
                </c:pt>
                <c:pt idx="261">
                  <c:v>120.26887952452294</c:v>
                </c:pt>
                <c:pt idx="262">
                  <c:v>119.9051814203705</c:v>
                </c:pt>
                <c:pt idx="263">
                  <c:v>119.72761252146877</c:v>
                </c:pt>
                <c:pt idx="264">
                  <c:v>118.9161506075952</c:v>
                </c:pt>
                <c:pt idx="265">
                  <c:v>117.57336255648359</c:v>
                </c:pt>
                <c:pt idx="266">
                  <c:v>116.97387777429586</c:v>
                </c:pt>
                <c:pt idx="267">
                  <c:v>116.1154328616756</c:v>
                </c:pt>
                <c:pt idx="268">
                  <c:v>115.52736347914593</c:v>
                </c:pt>
                <c:pt idx="269">
                  <c:v>115.34556992168615</c:v>
                </c:pt>
                <c:pt idx="270">
                  <c:v>116.25808334379445</c:v>
                </c:pt>
                <c:pt idx="271">
                  <c:v>115.60254481074563</c:v>
                </c:pt>
                <c:pt idx="272">
                  <c:v>115.33972466326743</c:v>
                </c:pt>
                <c:pt idx="273">
                  <c:v>113.85089991136772</c:v>
                </c:pt>
                <c:pt idx="274">
                  <c:v>113.03223495334159</c:v>
                </c:pt>
                <c:pt idx="275">
                  <c:v>113.30960516100508</c:v>
                </c:pt>
                <c:pt idx="276">
                  <c:v>112.26249818507419</c:v>
                </c:pt>
                <c:pt idx="277">
                  <c:v>112.08110879595343</c:v>
                </c:pt>
                <c:pt idx="278">
                  <c:v>110.51130509563944</c:v>
                </c:pt>
                <c:pt idx="279">
                  <c:v>110.06303241075605</c:v>
                </c:pt>
                <c:pt idx="280">
                  <c:v>109.13754267201905</c:v>
                </c:pt>
                <c:pt idx="281">
                  <c:v>108.66508846979545</c:v>
                </c:pt>
                <c:pt idx="282">
                  <c:v>109.18516935596195</c:v>
                </c:pt>
                <c:pt idx="283">
                  <c:v>110.64063451391387</c:v>
                </c:pt>
                <c:pt idx="284">
                  <c:v>110.70163409157941</c:v>
                </c:pt>
                <c:pt idx="285">
                  <c:v>109.376868702453</c:v>
                </c:pt>
                <c:pt idx="286">
                  <c:v>110.43147870758467</c:v>
                </c:pt>
                <c:pt idx="287">
                  <c:v>108.4121031724757</c:v>
                </c:pt>
                <c:pt idx="288">
                  <c:v>108.59113587276892</c:v>
                </c:pt>
                <c:pt idx="289">
                  <c:v>108.65512325964188</c:v>
                </c:pt>
                <c:pt idx="290">
                  <c:v>107.62120541695812</c:v>
                </c:pt>
                <c:pt idx="291">
                  <c:v>106.31842505778357</c:v>
                </c:pt>
                <c:pt idx="292">
                  <c:v>107.02108192314739</c:v>
                </c:pt>
                <c:pt idx="293">
                  <c:v>107.54045865592559</c:v>
                </c:pt>
                <c:pt idx="294">
                  <c:v>107.57268532204485</c:v>
                </c:pt>
                <c:pt idx="295">
                  <c:v>108.15476442720487</c:v>
                </c:pt>
                <c:pt idx="296">
                  <c:v>107.56990745001826</c:v>
                </c:pt>
                <c:pt idx="297">
                  <c:v>107.8614512968374</c:v>
                </c:pt>
                <c:pt idx="298">
                  <c:v>107.14011761360847</c:v>
                </c:pt>
                <c:pt idx="299">
                  <c:v>108.76840321601829</c:v>
                </c:pt>
                <c:pt idx="300">
                  <c:v>110.12815769903268</c:v>
                </c:pt>
                <c:pt idx="301">
                  <c:v>110.42281526501361</c:v>
                </c:pt>
                <c:pt idx="302">
                  <c:v>111.36077453935454</c:v>
                </c:pt>
                <c:pt idx="303">
                  <c:v>110.74147451436463</c:v>
                </c:pt>
                <c:pt idx="304">
                  <c:v>110.38714636207378</c:v>
                </c:pt>
                <c:pt idx="305">
                  <c:v>109.43870279350195</c:v>
                </c:pt>
                <c:pt idx="306">
                  <c:v>108.6595000048616</c:v>
                </c:pt>
                <c:pt idx="307">
                  <c:v>108.2579726342346</c:v>
                </c:pt>
                <c:pt idx="308">
                  <c:v>109.36421619167562</c:v>
                </c:pt>
                <c:pt idx="309">
                  <c:v>108.93896984610201</c:v>
                </c:pt>
                <c:pt idx="310">
                  <c:v>109.19978171670716</c:v>
                </c:pt>
                <c:pt idx="311">
                  <c:v>108.83363164051596</c:v>
                </c:pt>
                <c:pt idx="312">
                  <c:v>108.6237504776683</c:v>
                </c:pt>
                <c:pt idx="313">
                  <c:v>108.0843933270736</c:v>
                </c:pt>
                <c:pt idx="314">
                  <c:v>108.39321013502111</c:v>
                </c:pt>
                <c:pt idx="315">
                  <c:v>108.53145821874928</c:v>
                </c:pt>
                <c:pt idx="316">
                  <c:v>108.55542613416895</c:v>
                </c:pt>
                <c:pt idx="317">
                  <c:v>110.11802129322186</c:v>
                </c:pt>
                <c:pt idx="318">
                  <c:v>110.88467025726609</c:v>
                </c:pt>
                <c:pt idx="319">
                  <c:v>110.65201064851296</c:v>
                </c:pt>
                <c:pt idx="320">
                  <c:v>110.97810146465757</c:v>
                </c:pt>
                <c:pt idx="321">
                  <c:v>111.04969763462327</c:v>
                </c:pt>
                <c:pt idx="322">
                  <c:v>110.18287094078572</c:v>
                </c:pt>
                <c:pt idx="323">
                  <c:v>108.03703364553061</c:v>
                </c:pt>
                <c:pt idx="324">
                  <c:v>107.97512076259706</c:v>
                </c:pt>
                <c:pt idx="325">
                  <c:v>108.13044679099526</c:v>
                </c:pt>
                <c:pt idx="326">
                  <c:v>108.24383695130342</c:v>
                </c:pt>
                <c:pt idx="327">
                  <c:v>108.11124486841088</c:v>
                </c:pt>
                <c:pt idx="328">
                  <c:v>107.15110999770054</c:v>
                </c:pt>
                <c:pt idx="329">
                  <c:v>105.89862477586381</c:v>
                </c:pt>
                <c:pt idx="330">
                  <c:v>105.15977154693765</c:v>
                </c:pt>
                <c:pt idx="331">
                  <c:v>103.77492747665784</c:v>
                </c:pt>
                <c:pt idx="332">
                  <c:v>102.9415006888958</c:v>
                </c:pt>
                <c:pt idx="333">
                  <c:v>101.3668370213727</c:v>
                </c:pt>
                <c:pt idx="334">
                  <c:v>99.826234221747086</c:v>
                </c:pt>
                <c:pt idx="335">
                  <c:v>100.72811518946925</c:v>
                </c:pt>
                <c:pt idx="336">
                  <c:v>102.58957189346538</c:v>
                </c:pt>
                <c:pt idx="337">
                  <c:v>103.64696265006029</c:v>
                </c:pt>
                <c:pt idx="338">
                  <c:v>105.07093382789074</c:v>
                </c:pt>
                <c:pt idx="339">
                  <c:v>104.47285578187547</c:v>
                </c:pt>
                <c:pt idx="340">
                  <c:v>104.47285578187547</c:v>
                </c:pt>
                <c:pt idx="341">
                  <c:v>104.47285578187547</c:v>
                </c:pt>
                <c:pt idx="342">
                  <c:v>104.47285578187547</c:v>
                </c:pt>
                <c:pt idx="343">
                  <c:v>105.36677039270317</c:v>
                </c:pt>
                <c:pt idx="344">
                  <c:v>104.91536906793546</c:v>
                </c:pt>
                <c:pt idx="345">
                  <c:v>105.10499783699352</c:v>
                </c:pt>
                <c:pt idx="346">
                  <c:v>105.10499783699352</c:v>
                </c:pt>
                <c:pt idx="347">
                  <c:v>104.83576308774423</c:v>
                </c:pt>
                <c:pt idx="348">
                  <c:v>103.40866929067143</c:v>
                </c:pt>
                <c:pt idx="349">
                  <c:v>102.75129969704776</c:v>
                </c:pt>
                <c:pt idx="350">
                  <c:v>103.45965994308463</c:v>
                </c:pt>
                <c:pt idx="351">
                  <c:v>105.40493786221614</c:v>
                </c:pt>
                <c:pt idx="352">
                  <c:v>105.68395091994016</c:v>
                </c:pt>
                <c:pt idx="353">
                  <c:v>105.04570550408403</c:v>
                </c:pt>
                <c:pt idx="354">
                  <c:v>105.5256226851474</c:v>
                </c:pt>
                <c:pt idx="355">
                  <c:v>105.0679431392457</c:v>
                </c:pt>
                <c:pt idx="356">
                  <c:v>105.53485887404284</c:v>
                </c:pt>
                <c:pt idx="357">
                  <c:v>105.25819622273866</c:v>
                </c:pt>
                <c:pt idx="358">
                  <c:v>104.71572980302197</c:v>
                </c:pt>
                <c:pt idx="359">
                  <c:v>105.23936548584403</c:v>
                </c:pt>
                <c:pt idx="360">
                  <c:v>107.3048874121797</c:v>
                </c:pt>
                <c:pt idx="361">
                  <c:v>108.12839270488594</c:v>
                </c:pt>
                <c:pt idx="362">
                  <c:v>108.93794869280644</c:v>
                </c:pt>
                <c:pt idx="363">
                  <c:v>108.70502522285773</c:v>
                </c:pt>
                <c:pt idx="364">
                  <c:v>108.83257279276457</c:v>
                </c:pt>
                <c:pt idx="365">
                  <c:v>108.26253811350401</c:v>
                </c:pt>
                <c:pt idx="366">
                  <c:v>107.00262525137909</c:v>
                </c:pt>
                <c:pt idx="367">
                  <c:v>105.735050205683</c:v>
                </c:pt>
                <c:pt idx="368">
                  <c:v>106.00351823921737</c:v>
                </c:pt>
                <c:pt idx="369">
                  <c:v>107.40027454303262</c:v>
                </c:pt>
                <c:pt idx="370">
                  <c:v>107.87688639144788</c:v>
                </c:pt>
                <c:pt idx="371">
                  <c:v>108.03079913949536</c:v>
                </c:pt>
                <c:pt idx="372">
                  <c:v>107.63364851408907</c:v>
                </c:pt>
                <c:pt idx="373">
                  <c:v>107.00508847940067</c:v>
                </c:pt>
                <c:pt idx="374">
                  <c:v>106.35179145767439</c:v>
                </c:pt>
                <c:pt idx="375">
                  <c:v>105.77073010283794</c:v>
                </c:pt>
                <c:pt idx="376">
                  <c:v>106.86921671703094</c:v>
                </c:pt>
                <c:pt idx="377">
                  <c:v>108.57808128778903</c:v>
                </c:pt>
                <c:pt idx="378">
                  <c:v>108.29777483902964</c:v>
                </c:pt>
                <c:pt idx="379">
                  <c:v>108.19270782411559</c:v>
                </c:pt>
                <c:pt idx="380">
                  <c:v>108.41026321182126</c:v>
                </c:pt>
                <c:pt idx="381">
                  <c:v>108.42214848334935</c:v>
                </c:pt>
                <c:pt idx="382">
                  <c:v>108.35104024718146</c:v>
                </c:pt>
                <c:pt idx="383">
                  <c:v>108.25183027020428</c:v>
                </c:pt>
                <c:pt idx="384">
                  <c:v>108.74050512998119</c:v>
                </c:pt>
                <c:pt idx="385">
                  <c:v>109.28450786056439</c:v>
                </c:pt>
                <c:pt idx="386">
                  <c:v>109.39703418957951</c:v>
                </c:pt>
                <c:pt idx="387">
                  <c:v>109.00889960697182</c:v>
                </c:pt>
                <c:pt idx="388">
                  <c:v>108.80514771980184</c:v>
                </c:pt>
                <c:pt idx="389">
                  <c:v>108.59769261405235</c:v>
                </c:pt>
                <c:pt idx="390">
                  <c:v>107.50484943587576</c:v>
                </c:pt>
                <c:pt idx="391">
                  <c:v>107.33126018156641</c:v>
                </c:pt>
                <c:pt idx="392">
                  <c:v>106.96355468551411</c:v>
                </c:pt>
                <c:pt idx="393">
                  <c:v>105.64906810347756</c:v>
                </c:pt>
                <c:pt idx="394">
                  <c:v>103.95090090533647</c:v>
                </c:pt>
                <c:pt idx="395">
                  <c:v>103.87224042776052</c:v>
                </c:pt>
                <c:pt idx="396">
                  <c:v>104.48473450922722</c:v>
                </c:pt>
                <c:pt idx="397">
                  <c:v>103.49811483282856</c:v>
                </c:pt>
                <c:pt idx="398">
                  <c:v>103.61583017024691</c:v>
                </c:pt>
                <c:pt idx="399">
                  <c:v>104.55185838899625</c:v>
                </c:pt>
                <c:pt idx="400">
                  <c:v>105.40141395407336</c:v>
                </c:pt>
                <c:pt idx="401">
                  <c:v>106.31459985575609</c:v>
                </c:pt>
                <c:pt idx="402">
                  <c:v>106.81645835167157</c:v>
                </c:pt>
                <c:pt idx="403">
                  <c:v>107.50614701518519</c:v>
                </c:pt>
                <c:pt idx="404">
                  <c:v>107.8278550654681</c:v>
                </c:pt>
                <c:pt idx="405">
                  <c:v>107.60031090857349</c:v>
                </c:pt>
                <c:pt idx="406">
                  <c:v>106.09904122717397</c:v>
                </c:pt>
                <c:pt idx="407">
                  <c:v>105.62980518916967</c:v>
                </c:pt>
                <c:pt idx="408">
                  <c:v>106.8302875053772</c:v>
                </c:pt>
                <c:pt idx="409">
                  <c:v>107.458738906736</c:v>
                </c:pt>
                <c:pt idx="410">
                  <c:v>108.38505661468008</c:v>
                </c:pt>
                <c:pt idx="411">
                  <c:v>109.48831759825455</c:v>
                </c:pt>
                <c:pt idx="412">
                  <c:v>109.48831759825455</c:v>
                </c:pt>
                <c:pt idx="413">
                  <c:v>109.48831759825455</c:v>
                </c:pt>
                <c:pt idx="414">
                  <c:v>110.98562805289372</c:v>
                </c:pt>
                <c:pt idx="415">
                  <c:v>112.61789801170239</c:v>
                </c:pt>
                <c:pt idx="416">
                  <c:v>113.46324514777839</c:v>
                </c:pt>
                <c:pt idx="417">
                  <c:v>114.1278895097275</c:v>
                </c:pt>
                <c:pt idx="418">
                  <c:v>114.90073554711691</c:v>
                </c:pt>
                <c:pt idx="419">
                  <c:v>114.38722056408209</c:v>
                </c:pt>
                <c:pt idx="420">
                  <c:v>114.41791615467476</c:v>
                </c:pt>
                <c:pt idx="421">
                  <c:v>116.11625978381393</c:v>
                </c:pt>
                <c:pt idx="422">
                  <c:v>115.07001349797082</c:v>
                </c:pt>
                <c:pt idx="423">
                  <c:v>114.09723972837011</c:v>
                </c:pt>
                <c:pt idx="424">
                  <c:v>115.03660757125334</c:v>
                </c:pt>
                <c:pt idx="425">
                  <c:v>115.6375841639087</c:v>
                </c:pt>
                <c:pt idx="426">
                  <c:v>116.35670460665695</c:v>
                </c:pt>
                <c:pt idx="427">
                  <c:v>117.09183210503798</c:v>
                </c:pt>
                <c:pt idx="428">
                  <c:v>117.67152101518677</c:v>
                </c:pt>
                <c:pt idx="429">
                  <c:v>117.82937021626225</c:v>
                </c:pt>
                <c:pt idx="430">
                  <c:v>117.01015450034498</c:v>
                </c:pt>
                <c:pt idx="431">
                  <c:v>115.72394190184269</c:v>
                </c:pt>
                <c:pt idx="432">
                  <c:v>115.72394190184269</c:v>
                </c:pt>
                <c:pt idx="433">
                  <c:v>115.78601969802287</c:v>
                </c:pt>
                <c:pt idx="434">
                  <c:v>115.75917600969738</c:v>
                </c:pt>
                <c:pt idx="435">
                  <c:v>114.93673453831768</c:v>
                </c:pt>
                <c:pt idx="436">
                  <c:v>113.22785452330271</c:v>
                </c:pt>
                <c:pt idx="437">
                  <c:v>114.34563912859042</c:v>
                </c:pt>
                <c:pt idx="438">
                  <c:v>114.46999183154567</c:v>
                </c:pt>
                <c:pt idx="439">
                  <c:v>113.70261724921529</c:v>
                </c:pt>
                <c:pt idx="440">
                  <c:v>114.24619696423252</c:v>
                </c:pt>
                <c:pt idx="441">
                  <c:v>114.24619696423252</c:v>
                </c:pt>
                <c:pt idx="442">
                  <c:v>115.31458560202708</c:v>
                </c:pt>
                <c:pt idx="443">
                  <c:v>115.04695129657405</c:v>
                </c:pt>
                <c:pt idx="444">
                  <c:v>115.05003910079724</c:v>
                </c:pt>
                <c:pt idx="445">
                  <c:v>114.53631627471812</c:v>
                </c:pt>
                <c:pt idx="446">
                  <c:v>114.16463820178416</c:v>
                </c:pt>
                <c:pt idx="447">
                  <c:v>114.73871482619604</c:v>
                </c:pt>
                <c:pt idx="448">
                  <c:v>114.73871482619604</c:v>
                </c:pt>
                <c:pt idx="449">
                  <c:v>113.52709615401326</c:v>
                </c:pt>
                <c:pt idx="450">
                  <c:v>112.72383959035889</c:v>
                </c:pt>
                <c:pt idx="451">
                  <c:v>111.67461282478675</c:v>
                </c:pt>
                <c:pt idx="452">
                  <c:v>111.08961475515559</c:v>
                </c:pt>
                <c:pt idx="453">
                  <c:v>110.96118188905784</c:v>
                </c:pt>
                <c:pt idx="454">
                  <c:v>110.63425158595663</c:v>
                </c:pt>
                <c:pt idx="455">
                  <c:v>110.20877881187754</c:v>
                </c:pt>
                <c:pt idx="456">
                  <c:v>109.41232557407447</c:v>
                </c:pt>
                <c:pt idx="457">
                  <c:v>108.76916574346012</c:v>
                </c:pt>
                <c:pt idx="458">
                  <c:v>108.21646501705338</c:v>
                </c:pt>
                <c:pt idx="459">
                  <c:v>107.55885904777587</c:v>
                </c:pt>
                <c:pt idx="460">
                  <c:v>108.32028785313739</c:v>
                </c:pt>
                <c:pt idx="461">
                  <c:v>108.21391331176655</c:v>
                </c:pt>
                <c:pt idx="462">
                  <c:v>108.52063258027367</c:v>
                </c:pt>
                <c:pt idx="463">
                  <c:v>107.54643453610615</c:v>
                </c:pt>
                <c:pt idx="464">
                  <c:v>106.9969826006638</c:v>
                </c:pt>
                <c:pt idx="465">
                  <c:v>107.45327347231988</c:v>
                </c:pt>
                <c:pt idx="466">
                  <c:v>108.37143739815527</c:v>
                </c:pt>
                <c:pt idx="467">
                  <c:v>108.04488848965785</c:v>
                </c:pt>
                <c:pt idx="468">
                  <c:v>109.46900651880813</c:v>
                </c:pt>
                <c:pt idx="469">
                  <c:v>109.46900651880813</c:v>
                </c:pt>
                <c:pt idx="470">
                  <c:v>110.26419097167701</c:v>
                </c:pt>
                <c:pt idx="471">
                  <c:v>109.76126446616192</c:v>
                </c:pt>
                <c:pt idx="472">
                  <c:v>108.93650661808046</c:v>
                </c:pt>
                <c:pt idx="473">
                  <c:v>106.74229948220291</c:v>
                </c:pt>
                <c:pt idx="474">
                  <c:v>108.20444441195502</c:v>
                </c:pt>
                <c:pt idx="475">
                  <c:v>108.18248215573844</c:v>
                </c:pt>
                <c:pt idx="476">
                  <c:v>108.18051733219743</c:v>
                </c:pt>
                <c:pt idx="477">
                  <c:v>107.39139723677435</c:v>
                </c:pt>
                <c:pt idx="478">
                  <c:v>105.08006007462112</c:v>
                </c:pt>
                <c:pt idx="479">
                  <c:v>103.61498675678394</c:v>
                </c:pt>
                <c:pt idx="480">
                  <c:v>100.75519446814747</c:v>
                </c:pt>
                <c:pt idx="481">
                  <c:v>102.46533803275379</c:v>
                </c:pt>
                <c:pt idx="482">
                  <c:v>103.92301904885637</c:v>
                </c:pt>
                <c:pt idx="483">
                  <c:v>105.08069590680653</c:v>
                </c:pt>
                <c:pt idx="484">
                  <c:v>104.86522052014978</c:v>
                </c:pt>
                <c:pt idx="485">
                  <c:v>104.64852294309523</c:v>
                </c:pt>
                <c:pt idx="486">
                  <c:v>105.08648410000616</c:v>
                </c:pt>
                <c:pt idx="487">
                  <c:v>105.08656498602731</c:v>
                </c:pt>
                <c:pt idx="488">
                  <c:v>104.3943392761817</c:v>
                </c:pt>
                <c:pt idx="489">
                  <c:v>104.88594697408249</c:v>
                </c:pt>
                <c:pt idx="490">
                  <c:v>103.92111704940869</c:v>
                </c:pt>
                <c:pt idx="491">
                  <c:v>103.09264237086167</c:v>
                </c:pt>
                <c:pt idx="492">
                  <c:v>101.63165288090568</c:v>
                </c:pt>
                <c:pt idx="493">
                  <c:v>99.654593037888375</c:v>
                </c:pt>
                <c:pt idx="494">
                  <c:v>99.510853866572162</c:v>
                </c:pt>
                <c:pt idx="495">
                  <c:v>100.5118798930406</c:v>
                </c:pt>
                <c:pt idx="496">
                  <c:v>99.844622048779087</c:v>
                </c:pt>
                <c:pt idx="497">
                  <c:v>100.70383472418204</c:v>
                </c:pt>
                <c:pt idx="498">
                  <c:v>99.499482182012841</c:v>
                </c:pt>
                <c:pt idx="499">
                  <c:v>99.76175445103749</c:v>
                </c:pt>
                <c:pt idx="500">
                  <c:v>99.634667852921112</c:v>
                </c:pt>
                <c:pt idx="501">
                  <c:v>98.869994444868283</c:v>
                </c:pt>
                <c:pt idx="502">
                  <c:v>98.887389389446582</c:v>
                </c:pt>
                <c:pt idx="503">
                  <c:v>99.203003502605384</c:v>
                </c:pt>
                <c:pt idx="504">
                  <c:v>98.158846903191815</c:v>
                </c:pt>
                <c:pt idx="505">
                  <c:v>96.312404895910902</c:v>
                </c:pt>
                <c:pt idx="506">
                  <c:v>96.693185394773849</c:v>
                </c:pt>
                <c:pt idx="507">
                  <c:v>96.5842704040992</c:v>
                </c:pt>
                <c:pt idx="508">
                  <c:v>95.570509148462392</c:v>
                </c:pt>
                <c:pt idx="509">
                  <c:v>94.835428244617532</c:v>
                </c:pt>
                <c:pt idx="510">
                  <c:v>93.986885456289926</c:v>
                </c:pt>
                <c:pt idx="511">
                  <c:v>92.850630567347565</c:v>
                </c:pt>
                <c:pt idx="512">
                  <c:v>90.851241470697147</c:v>
                </c:pt>
                <c:pt idx="513">
                  <c:v>86.32887445087799</c:v>
                </c:pt>
                <c:pt idx="514">
                  <c:v>88.206355748900037</c:v>
                </c:pt>
                <c:pt idx="515">
                  <c:v>88.07102087076774</c:v>
                </c:pt>
                <c:pt idx="516">
                  <c:v>90.959793652228626</c:v>
                </c:pt>
                <c:pt idx="517">
                  <c:v>91.763277429690831</c:v>
                </c:pt>
                <c:pt idx="518">
                  <c:v>91.595488148099008</c:v>
                </c:pt>
                <c:pt idx="519">
                  <c:v>89.631279497056397</c:v>
                </c:pt>
                <c:pt idx="520">
                  <c:v>89.139007957895046</c:v>
                </c:pt>
                <c:pt idx="521">
                  <c:v>89.709989448606152</c:v>
                </c:pt>
                <c:pt idx="522">
                  <c:v>88.270549408215004</c:v>
                </c:pt>
                <c:pt idx="523">
                  <c:v>87.153106147172025</c:v>
                </c:pt>
                <c:pt idx="524">
                  <c:v>88.544224773846452</c:v>
                </c:pt>
                <c:pt idx="525">
                  <c:v>90.674515985258807</c:v>
                </c:pt>
                <c:pt idx="526">
                  <c:v>90.101474911330627</c:v>
                </c:pt>
                <c:pt idx="527">
                  <c:v>89.917484866481885</c:v>
                </c:pt>
                <c:pt idx="528">
                  <c:v>90.518084514572578</c:v>
                </c:pt>
                <c:pt idx="529">
                  <c:v>90.422689007173474</c:v>
                </c:pt>
                <c:pt idx="530">
                  <c:v>92.210170602175296</c:v>
                </c:pt>
                <c:pt idx="531">
                  <c:v>92.747496963929052</c:v>
                </c:pt>
                <c:pt idx="532">
                  <c:v>93.023787382476002</c:v>
                </c:pt>
                <c:pt idx="533">
                  <c:v>91.431237957139373</c:v>
                </c:pt>
                <c:pt idx="534">
                  <c:v>90.617694209848111</c:v>
                </c:pt>
                <c:pt idx="535">
                  <c:v>88.781335731431213</c:v>
                </c:pt>
                <c:pt idx="536">
                  <c:v>88.10368337903877</c:v>
                </c:pt>
                <c:pt idx="537">
                  <c:v>88.494920686591712</c:v>
                </c:pt>
                <c:pt idx="538">
                  <c:v>87.652285195475685</c:v>
                </c:pt>
                <c:pt idx="539">
                  <c:v>87.077607030362984</c:v>
                </c:pt>
                <c:pt idx="540">
                  <c:v>88.839948255289755</c:v>
                </c:pt>
                <c:pt idx="541">
                  <c:v>89.464582569400051</c:v>
                </c:pt>
                <c:pt idx="542">
                  <c:v>90.194393578821121</c:v>
                </c:pt>
                <c:pt idx="543">
                  <c:v>92.149850833560606</c:v>
                </c:pt>
                <c:pt idx="544">
                  <c:v>92.982176629073621</c:v>
                </c:pt>
                <c:pt idx="545">
                  <c:v>95.462334173262192</c:v>
                </c:pt>
                <c:pt idx="546">
                  <c:v>95.200348539166711</c:v>
                </c:pt>
                <c:pt idx="547">
                  <c:v>96.431819625073018</c:v>
                </c:pt>
                <c:pt idx="548">
                  <c:v>97.096269232330698</c:v>
                </c:pt>
                <c:pt idx="549">
                  <c:v>95.868897418562113</c:v>
                </c:pt>
                <c:pt idx="550">
                  <c:v>95.320118224460401</c:v>
                </c:pt>
                <c:pt idx="551">
                  <c:v>97.041395003836058</c:v>
                </c:pt>
                <c:pt idx="552">
                  <c:v>97.119204214937142</c:v>
                </c:pt>
                <c:pt idx="553">
                  <c:v>97.342641770215849</c:v>
                </c:pt>
                <c:pt idx="554">
                  <c:v>97.031681875359595</c:v>
                </c:pt>
                <c:pt idx="555">
                  <c:v>96.430817057238556</c:v>
                </c:pt>
                <c:pt idx="556">
                  <c:v>96.326124892753128</c:v>
                </c:pt>
                <c:pt idx="557">
                  <c:v>97.494444675771859</c:v>
                </c:pt>
                <c:pt idx="558">
                  <c:v>97.393364111394092</c:v>
                </c:pt>
                <c:pt idx="559">
                  <c:v>96.838618722492669</c:v>
                </c:pt>
                <c:pt idx="560">
                  <c:v>96.569867718767739</c:v>
                </c:pt>
                <c:pt idx="561">
                  <c:v>94.981905761133106</c:v>
                </c:pt>
                <c:pt idx="562">
                  <c:v>95.177243931506311</c:v>
                </c:pt>
                <c:pt idx="563">
                  <c:v>95.446714009341335</c:v>
                </c:pt>
                <c:pt idx="564">
                  <c:v>96.633124513779975</c:v>
                </c:pt>
                <c:pt idx="565">
                  <c:v>97.464936460556956</c:v>
                </c:pt>
                <c:pt idx="566">
                  <c:v>97.015242118778318</c:v>
                </c:pt>
                <c:pt idx="567">
                  <c:v>95.70983963897703</c:v>
                </c:pt>
                <c:pt idx="568">
                  <c:v>94.718879341212684</c:v>
                </c:pt>
                <c:pt idx="569">
                  <c:v>93.583658955685863</c:v>
                </c:pt>
                <c:pt idx="570">
                  <c:v>93.583200078032149</c:v>
                </c:pt>
                <c:pt idx="571">
                  <c:v>93.62285307560326</c:v>
                </c:pt>
                <c:pt idx="572">
                  <c:v>92.208411789308613</c:v>
                </c:pt>
                <c:pt idx="573">
                  <c:v>91.339983866374467</c:v>
                </c:pt>
                <c:pt idx="574">
                  <c:v>92.543221542641191</c:v>
                </c:pt>
                <c:pt idx="575">
                  <c:v>92.40345782764436</c:v>
                </c:pt>
                <c:pt idx="576">
                  <c:v>94.012708514853827</c:v>
                </c:pt>
                <c:pt idx="577">
                  <c:v>94.725318025553136</c:v>
                </c:pt>
                <c:pt idx="578">
                  <c:v>94.46261645855229</c:v>
                </c:pt>
                <c:pt idx="579">
                  <c:v>94.263545751690572</c:v>
                </c:pt>
                <c:pt idx="580">
                  <c:v>93.91216928475329</c:v>
                </c:pt>
                <c:pt idx="581">
                  <c:v>94.130632480617436</c:v>
                </c:pt>
                <c:pt idx="582">
                  <c:v>92.813524563256607</c:v>
                </c:pt>
                <c:pt idx="583">
                  <c:v>91.464600168758196</c:v>
                </c:pt>
                <c:pt idx="584">
                  <c:v>92.727610520487147</c:v>
                </c:pt>
                <c:pt idx="585">
                  <c:v>92.314181910541294</c:v>
                </c:pt>
                <c:pt idx="586">
                  <c:v>92.02974687173301</c:v>
                </c:pt>
                <c:pt idx="587">
                  <c:v>91.246592709343034</c:v>
                </c:pt>
                <c:pt idx="588">
                  <c:v>90.746287539153187</c:v>
                </c:pt>
                <c:pt idx="589">
                  <c:v>89.360923599494996</c:v>
                </c:pt>
                <c:pt idx="590">
                  <c:v>89.338540683615193</c:v>
                </c:pt>
                <c:pt idx="591">
                  <c:v>88.647956253226681</c:v>
                </c:pt>
                <c:pt idx="592">
                  <c:v>86.911589126456803</c:v>
                </c:pt>
                <c:pt idx="593">
                  <c:v>86.656608902383525</c:v>
                </c:pt>
                <c:pt idx="594">
                  <c:v>87.581109161639603</c:v>
                </c:pt>
                <c:pt idx="595">
                  <c:v>88.809445848786169</c:v>
                </c:pt>
                <c:pt idx="596">
                  <c:v>89.752443877238235</c:v>
                </c:pt>
                <c:pt idx="597">
                  <c:v>88.757032230642338</c:v>
                </c:pt>
                <c:pt idx="598">
                  <c:v>88.952924300111619</c:v>
                </c:pt>
                <c:pt idx="599">
                  <c:v>89.315386078446608</c:v>
                </c:pt>
                <c:pt idx="600">
                  <c:v>90.284251404095599</c:v>
                </c:pt>
                <c:pt idx="601">
                  <c:v>90.284251404095599</c:v>
                </c:pt>
                <c:pt idx="602">
                  <c:v>90.284251404095599</c:v>
                </c:pt>
                <c:pt idx="603">
                  <c:v>89.970087480441975</c:v>
                </c:pt>
                <c:pt idx="604">
                  <c:v>90.051211709573181</c:v>
                </c:pt>
                <c:pt idx="605">
                  <c:v>89.125212048605434</c:v>
                </c:pt>
                <c:pt idx="606">
                  <c:v>89.425705711157732</c:v>
                </c:pt>
                <c:pt idx="607">
                  <c:v>89.425705711157732</c:v>
                </c:pt>
                <c:pt idx="608">
                  <c:v>86.463002844637131</c:v>
                </c:pt>
                <c:pt idx="609">
                  <c:v>86.541362813629476</c:v>
                </c:pt>
                <c:pt idx="610">
                  <c:v>85.567183354923841</c:v>
                </c:pt>
                <c:pt idx="611">
                  <c:v>83.210967801176011</c:v>
                </c:pt>
                <c:pt idx="612">
                  <c:v>83.347796060377632</c:v>
                </c:pt>
                <c:pt idx="613">
                  <c:v>81.467726409680154</c:v>
                </c:pt>
                <c:pt idx="614">
                  <c:v>81.451986094679398</c:v>
                </c:pt>
                <c:pt idx="615">
                  <c:v>82.166473260489937</c:v>
                </c:pt>
                <c:pt idx="616">
                  <c:v>81.444728079445511</c:v>
                </c:pt>
                <c:pt idx="617">
                  <c:v>79.87268470017861</c:v>
                </c:pt>
                <c:pt idx="618">
                  <c:v>79.222143300278546</c:v>
                </c:pt>
                <c:pt idx="619">
                  <c:v>80.457029137464332</c:v>
                </c:pt>
                <c:pt idx="620">
                  <c:v>78.022150226703218</c:v>
                </c:pt>
                <c:pt idx="621">
                  <c:v>77.547139083851917</c:v>
                </c:pt>
                <c:pt idx="622">
                  <c:v>80.04098285693243</c:v>
                </c:pt>
                <c:pt idx="623">
                  <c:v>80.655082879303379</c:v>
                </c:pt>
                <c:pt idx="624">
                  <c:v>79.781394485559559</c:v>
                </c:pt>
                <c:pt idx="625">
                  <c:v>80.646466554802458</c:v>
                </c:pt>
                <c:pt idx="626">
                  <c:v>81.35553043069298</c:v>
                </c:pt>
                <c:pt idx="627">
                  <c:v>83.62428803955963</c:v>
                </c:pt>
                <c:pt idx="628">
                  <c:v>83.67284818483374</c:v>
                </c:pt>
                <c:pt idx="629">
                  <c:v>82.098587900347525</c:v>
                </c:pt>
                <c:pt idx="630">
                  <c:v>81.302952684603412</c:v>
                </c:pt>
                <c:pt idx="631">
                  <c:v>83.321368843442386</c:v>
                </c:pt>
                <c:pt idx="632">
                  <c:v>83.336004501455875</c:v>
                </c:pt>
                <c:pt idx="633">
                  <c:v>82.719671867842038</c:v>
                </c:pt>
                <c:pt idx="634">
                  <c:v>82.243554235634051</c:v>
                </c:pt>
                <c:pt idx="635">
                  <c:v>82.322789553670333</c:v>
                </c:pt>
                <c:pt idx="636">
                  <c:v>80.350981019615432</c:v>
                </c:pt>
                <c:pt idx="637">
                  <c:v>80.148543464845844</c:v>
                </c:pt>
                <c:pt idx="638">
                  <c:v>81.908455229701744</c:v>
                </c:pt>
                <c:pt idx="639">
                  <c:v>82.421436469704361</c:v>
                </c:pt>
                <c:pt idx="640">
                  <c:v>82.917465674991988</c:v>
                </c:pt>
                <c:pt idx="641">
                  <c:v>84.102904238341964</c:v>
                </c:pt>
                <c:pt idx="642">
                  <c:v>83.527389203942988</c:v>
                </c:pt>
                <c:pt idx="643">
                  <c:v>84.482211512199143</c:v>
                </c:pt>
                <c:pt idx="644">
                  <c:v>83.959950891736156</c:v>
                </c:pt>
                <c:pt idx="645">
                  <c:v>83.045242552841259</c:v>
                </c:pt>
                <c:pt idx="646">
                  <c:v>82.923513017579737</c:v>
                </c:pt>
                <c:pt idx="647">
                  <c:v>83.449733388338245</c:v>
                </c:pt>
                <c:pt idx="648">
                  <c:v>83.48745742445449</c:v>
                </c:pt>
                <c:pt idx="649">
                  <c:v>84.909825540817749</c:v>
                </c:pt>
                <c:pt idx="650">
                  <c:v>86.749617617742317</c:v>
                </c:pt>
                <c:pt idx="651">
                  <c:v>88.004039392278528</c:v>
                </c:pt>
                <c:pt idx="652">
                  <c:v>89.221416677982646</c:v>
                </c:pt>
                <c:pt idx="653">
                  <c:v>89.70354919366325</c:v>
                </c:pt>
                <c:pt idx="654">
                  <c:v>88.909529342437736</c:v>
                </c:pt>
                <c:pt idx="655">
                  <c:v>88.868006280999992</c:v>
                </c:pt>
                <c:pt idx="656">
                  <c:v>89.223004556960163</c:v>
                </c:pt>
                <c:pt idx="657">
                  <c:v>90.370319104128399</c:v>
                </c:pt>
                <c:pt idx="658">
                  <c:v>90.669501313717035</c:v>
                </c:pt>
                <c:pt idx="659">
                  <c:v>89.238098569093182</c:v>
                </c:pt>
                <c:pt idx="660">
                  <c:v>89.299247092215452</c:v>
                </c:pt>
                <c:pt idx="661">
                  <c:v>92.213375416273664</c:v>
                </c:pt>
                <c:pt idx="662">
                  <c:v>93.329507224353065</c:v>
                </c:pt>
                <c:pt idx="663">
                  <c:v>93.592049898749252</c:v>
                </c:pt>
                <c:pt idx="664">
                  <c:v>93.760013255435055</c:v>
                </c:pt>
                <c:pt idx="665">
                  <c:v>92.767768728481244</c:v>
                </c:pt>
                <c:pt idx="666">
                  <c:v>91.89664669897995</c:v>
                </c:pt>
                <c:pt idx="667">
                  <c:v>91.89664669897995</c:v>
                </c:pt>
                <c:pt idx="668">
                  <c:v>91.89664669897995</c:v>
                </c:pt>
                <c:pt idx="669">
                  <c:v>92.040504712540312</c:v>
                </c:pt>
                <c:pt idx="670">
                  <c:v>94.211582111120379</c:v>
                </c:pt>
                <c:pt idx="671">
                  <c:v>94.535140330973064</c:v>
                </c:pt>
                <c:pt idx="672">
                  <c:v>93.344804367723697</c:v>
                </c:pt>
                <c:pt idx="673">
                  <c:v>93.433522720991974</c:v>
                </c:pt>
                <c:pt idx="674">
                  <c:v>91.882097947629944</c:v>
                </c:pt>
                <c:pt idx="675">
                  <c:v>91.444436775768139</c:v>
                </c:pt>
                <c:pt idx="676">
                  <c:v>91.475749874852198</c:v>
                </c:pt>
                <c:pt idx="677">
                  <c:v>92.326988078582104</c:v>
                </c:pt>
                <c:pt idx="678">
                  <c:v>93.146264524456683</c:v>
                </c:pt>
                <c:pt idx="679">
                  <c:v>93.927489725391894</c:v>
                </c:pt>
                <c:pt idx="680">
                  <c:v>95.429207028462031</c:v>
                </c:pt>
                <c:pt idx="681">
                  <c:v>95.584428611803318</c:v>
                </c:pt>
                <c:pt idx="682">
                  <c:v>95.727553154065475</c:v>
                </c:pt>
                <c:pt idx="683">
                  <c:v>95.403463023549619</c:v>
                </c:pt>
                <c:pt idx="684">
                  <c:v>96.429573140175989</c:v>
                </c:pt>
                <c:pt idx="685">
                  <c:v>96.058678012514036</c:v>
                </c:pt>
                <c:pt idx="686">
                  <c:v>96.545202455903862</c:v>
                </c:pt>
                <c:pt idx="687">
                  <c:v>95.590741647955596</c:v>
                </c:pt>
                <c:pt idx="688">
                  <c:v>94.913932970793027</c:v>
                </c:pt>
                <c:pt idx="689">
                  <c:v>95.30496400590377</c:v>
                </c:pt>
                <c:pt idx="690">
                  <c:v>95.370368337864804</c:v>
                </c:pt>
                <c:pt idx="691">
                  <c:v>95.480879584062833</c:v>
                </c:pt>
                <c:pt idx="692">
                  <c:v>95.048924934078542</c:v>
                </c:pt>
                <c:pt idx="693">
                  <c:v>94.545306054693825</c:v>
                </c:pt>
                <c:pt idx="694">
                  <c:v>92.912194253024623</c:v>
                </c:pt>
                <c:pt idx="695">
                  <c:v>92.067941826787646</c:v>
                </c:pt>
                <c:pt idx="696">
                  <c:v>92.067941826787646</c:v>
                </c:pt>
                <c:pt idx="697">
                  <c:v>91.146480944849031</c:v>
                </c:pt>
                <c:pt idx="698">
                  <c:v>90.651848790353171</c:v>
                </c:pt>
                <c:pt idx="699">
                  <c:v>91.343775038684043</c:v>
                </c:pt>
                <c:pt idx="700">
                  <c:v>91.463887115290433</c:v>
                </c:pt>
                <c:pt idx="701">
                  <c:v>91.321575621512281</c:v>
                </c:pt>
                <c:pt idx="702">
                  <c:v>90.124504915379134</c:v>
                </c:pt>
                <c:pt idx="703">
                  <c:v>90.124504915379134</c:v>
                </c:pt>
                <c:pt idx="704">
                  <c:v>90.761522120196673</c:v>
                </c:pt>
                <c:pt idx="705">
                  <c:v>89.929110726855427</c:v>
                </c:pt>
                <c:pt idx="706">
                  <c:v>88.531440856005347</c:v>
                </c:pt>
                <c:pt idx="707">
                  <c:v>88.931547355037893</c:v>
                </c:pt>
                <c:pt idx="708">
                  <c:v>89.35290227151819</c:v>
                </c:pt>
                <c:pt idx="709">
                  <c:v>89.258145213975041</c:v>
                </c:pt>
                <c:pt idx="710">
                  <c:v>90.587879988941538</c:v>
                </c:pt>
                <c:pt idx="711">
                  <c:v>90.957691139213793</c:v>
                </c:pt>
                <c:pt idx="712">
                  <c:v>91.569317986415129</c:v>
                </c:pt>
                <c:pt idx="713">
                  <c:v>91.519640881102021</c:v>
                </c:pt>
                <c:pt idx="714">
                  <c:v>91.503403993991057</c:v>
                </c:pt>
                <c:pt idx="715">
                  <c:v>91.480368231067018</c:v>
                </c:pt>
                <c:pt idx="716">
                  <c:v>91.74665810090714</c:v>
                </c:pt>
                <c:pt idx="717">
                  <c:v>92.534874052909259</c:v>
                </c:pt>
                <c:pt idx="718">
                  <c:v>93.35485308156926</c:v>
                </c:pt>
                <c:pt idx="719">
                  <c:v>94.804550725918702</c:v>
                </c:pt>
                <c:pt idx="720">
                  <c:v>95.567957181407792</c:v>
                </c:pt>
                <c:pt idx="721">
                  <c:v>94.97186882680505</c:v>
                </c:pt>
                <c:pt idx="722">
                  <c:v>93.494217078267511</c:v>
                </c:pt>
                <c:pt idx="723">
                  <c:v>91.874289959805964</c:v>
                </c:pt>
                <c:pt idx="724">
                  <c:v>91.151353476877802</c:v>
                </c:pt>
                <c:pt idx="725">
                  <c:v>91.737943613759242</c:v>
                </c:pt>
                <c:pt idx="726">
                  <c:v>90.837631677786206</c:v>
                </c:pt>
                <c:pt idx="727">
                  <c:v>91.569959315708687</c:v>
                </c:pt>
                <c:pt idx="728">
                  <c:v>93.284446642885428</c:v>
                </c:pt>
                <c:pt idx="729">
                  <c:v>93.776082611628567</c:v>
                </c:pt>
                <c:pt idx="730">
                  <c:v>94.320936346919453</c:v>
                </c:pt>
                <c:pt idx="731">
                  <c:v>94.320936346919453</c:v>
                </c:pt>
                <c:pt idx="732">
                  <c:v>91.67527762699828</c:v>
                </c:pt>
                <c:pt idx="733">
                  <c:v>90.508928426396693</c:v>
                </c:pt>
                <c:pt idx="734">
                  <c:v>91.735223854020404</c:v>
                </c:pt>
                <c:pt idx="735">
                  <c:v>93.737515947350687</c:v>
                </c:pt>
                <c:pt idx="736">
                  <c:v>95.160537434292209</c:v>
                </c:pt>
                <c:pt idx="737">
                  <c:v>95.752775980764113</c:v>
                </c:pt>
                <c:pt idx="738">
                  <c:v>96.235366327030164</c:v>
                </c:pt>
                <c:pt idx="739">
                  <c:v>94.919872727119753</c:v>
                </c:pt>
                <c:pt idx="740">
                  <c:v>93.501246309092181</c:v>
                </c:pt>
                <c:pt idx="741">
                  <c:v>94.417236521273111</c:v>
                </c:pt>
                <c:pt idx="742">
                  <c:v>94.630890794503628</c:v>
                </c:pt>
                <c:pt idx="743">
                  <c:v>96.698850295688871</c:v>
                </c:pt>
                <c:pt idx="744">
                  <c:v>97.563190464235916</c:v>
                </c:pt>
                <c:pt idx="745">
                  <c:v>97.839569883582215</c:v>
                </c:pt>
                <c:pt idx="746">
                  <c:v>98.945941706881811</c:v>
                </c:pt>
                <c:pt idx="747">
                  <c:v>99.204043764895573</c:v>
                </c:pt>
                <c:pt idx="748">
                  <c:v>99.470669743638965</c:v>
                </c:pt>
                <c:pt idx="749">
                  <c:v>99.284118831655761</c:v>
                </c:pt>
                <c:pt idx="750">
                  <c:v>99.587423087116377</c:v>
                </c:pt>
                <c:pt idx="751">
                  <c:v>99.655483307654421</c:v>
                </c:pt>
                <c:pt idx="752">
                  <c:v>99.441937929519526</c:v>
                </c:pt>
                <c:pt idx="753">
                  <c:v>99.424193787685709</c:v>
                </c:pt>
                <c:pt idx="754">
                  <c:v>99.618919161374379</c:v>
                </c:pt>
                <c:pt idx="755">
                  <c:v>100.00050878221583</c:v>
                </c:pt>
                <c:pt idx="756">
                  <c:v>100.17395720584732</c:v>
                </c:pt>
                <c:pt idx="757">
                  <c:v>99.949183329734211</c:v>
                </c:pt>
                <c:pt idx="758">
                  <c:v>100.99749705180506</c:v>
                </c:pt>
                <c:pt idx="759">
                  <c:v>100.34613684454563</c:v>
                </c:pt>
                <c:pt idx="760">
                  <c:v>99.367291126254045</c:v>
                </c:pt>
                <c:pt idx="761">
                  <c:v>100.27988752852004</c:v>
                </c:pt>
                <c:pt idx="762">
                  <c:v>101.37787181172806</c:v>
                </c:pt>
                <c:pt idx="763">
                  <c:v>102.52591668898891</c:v>
                </c:pt>
                <c:pt idx="764">
                  <c:v>103.02092159977705</c:v>
                </c:pt>
                <c:pt idx="765">
                  <c:v>103.39587699628494</c:v>
                </c:pt>
                <c:pt idx="766">
                  <c:v>103.92896744349616</c:v>
                </c:pt>
                <c:pt idx="767">
                  <c:v>104.21842395978895</c:v>
                </c:pt>
                <c:pt idx="768">
                  <c:v>104.21842395978895</c:v>
                </c:pt>
                <c:pt idx="769">
                  <c:v>104.88239479509687</c:v>
                </c:pt>
                <c:pt idx="770">
                  <c:v>104.20428749155668</c:v>
                </c:pt>
                <c:pt idx="771">
                  <c:v>104.99108152489636</c:v>
                </c:pt>
                <c:pt idx="772">
                  <c:v>104.29669492798166</c:v>
                </c:pt>
                <c:pt idx="773">
                  <c:v>103.59822424141902</c:v>
                </c:pt>
                <c:pt idx="774">
                  <c:v>103.86431071825409</c:v>
                </c:pt>
                <c:pt idx="775">
                  <c:v>102.76153897731193</c:v>
                </c:pt>
                <c:pt idx="776">
                  <c:v>102.91616975240241</c:v>
                </c:pt>
                <c:pt idx="777">
                  <c:v>103.3003061049565</c:v>
                </c:pt>
                <c:pt idx="778">
                  <c:v>102.68121313770979</c:v>
                </c:pt>
                <c:pt idx="779">
                  <c:v>103.02218619643715</c:v>
                </c:pt>
                <c:pt idx="780">
                  <c:v>102.43313597273864</c:v>
                </c:pt>
                <c:pt idx="781">
                  <c:v>102.16653276772956</c:v>
                </c:pt>
                <c:pt idx="782">
                  <c:v>103.1834213544152</c:v>
                </c:pt>
                <c:pt idx="783">
                  <c:v>104.33278763178855</c:v>
                </c:pt>
                <c:pt idx="784">
                  <c:v>105.92241154847891</c:v>
                </c:pt>
                <c:pt idx="785">
                  <c:v>106.23196366009415</c:v>
                </c:pt>
                <c:pt idx="786">
                  <c:v>106.39029058605145</c:v>
                </c:pt>
                <c:pt idx="787">
                  <c:v>104.33759393675155</c:v>
                </c:pt>
                <c:pt idx="788">
                  <c:v>102.05879677588621</c:v>
                </c:pt>
                <c:pt idx="789">
                  <c:v>101.67066088444403</c:v>
                </c:pt>
                <c:pt idx="790">
                  <c:v>101.58692291123306</c:v>
                </c:pt>
                <c:pt idx="791">
                  <c:v>102.0366211795168</c:v>
                </c:pt>
                <c:pt idx="792">
                  <c:v>101.63228190714707</c:v>
                </c:pt>
                <c:pt idx="793">
                  <c:v>103.04222106180083</c:v>
                </c:pt>
                <c:pt idx="794">
                  <c:v>103.17379539436979</c:v>
                </c:pt>
                <c:pt idx="795">
                  <c:v>103.96738254464675</c:v>
                </c:pt>
                <c:pt idx="796">
                  <c:v>105.72331623551352</c:v>
                </c:pt>
                <c:pt idx="797">
                  <c:v>105.33655592996334</c:v>
                </c:pt>
                <c:pt idx="798">
                  <c:v>103.95882878247306</c:v>
                </c:pt>
                <c:pt idx="799">
                  <c:v>104.61154991667063</c:v>
                </c:pt>
                <c:pt idx="800">
                  <c:v>104.7449927425026</c:v>
                </c:pt>
                <c:pt idx="801">
                  <c:v>104.88973683755643</c:v>
                </c:pt>
                <c:pt idx="802">
                  <c:v>103.75027765804981</c:v>
                </c:pt>
                <c:pt idx="803">
                  <c:v>104.70291604373665</c:v>
                </c:pt>
                <c:pt idx="804">
                  <c:v>105.16546131572271</c:v>
                </c:pt>
                <c:pt idx="805">
                  <c:v>105.13546961675064</c:v>
                </c:pt>
                <c:pt idx="806">
                  <c:v>105.34255379857711</c:v>
                </c:pt>
                <c:pt idx="807">
                  <c:v>105.08727489828986</c:v>
                </c:pt>
                <c:pt idx="808">
                  <c:v>105.53443481140714</c:v>
                </c:pt>
                <c:pt idx="809">
                  <c:v>104.02950745889767</c:v>
                </c:pt>
                <c:pt idx="810">
                  <c:v>103.7068785121036</c:v>
                </c:pt>
                <c:pt idx="811">
                  <c:v>102.31871968556075</c:v>
                </c:pt>
                <c:pt idx="812">
                  <c:v>103.05221192512633</c:v>
                </c:pt>
                <c:pt idx="813">
                  <c:v>102.785421294903</c:v>
                </c:pt>
                <c:pt idx="814">
                  <c:v>104.37491668396707</c:v>
                </c:pt>
                <c:pt idx="815">
                  <c:v>104.92678342052477</c:v>
                </c:pt>
                <c:pt idx="816">
                  <c:v>104.93016806859285</c:v>
                </c:pt>
                <c:pt idx="817">
                  <c:v>104.69175612872704</c:v>
                </c:pt>
                <c:pt idx="818">
                  <c:v>105.51595719827537</c:v>
                </c:pt>
                <c:pt idx="819">
                  <c:v>105.49867743120301</c:v>
                </c:pt>
                <c:pt idx="820">
                  <c:v>104.61732685388647</c:v>
                </c:pt>
                <c:pt idx="821">
                  <c:v>104.01806064719246</c:v>
                </c:pt>
                <c:pt idx="822">
                  <c:v>103.81401453384751</c:v>
                </c:pt>
                <c:pt idx="823">
                  <c:v>103.99765669027559</c:v>
                </c:pt>
                <c:pt idx="824">
                  <c:v>103.99765669027559</c:v>
                </c:pt>
                <c:pt idx="825">
                  <c:v>102.29736446715236</c:v>
                </c:pt>
                <c:pt idx="826">
                  <c:v>101.69373931539876</c:v>
                </c:pt>
                <c:pt idx="827">
                  <c:v>101.1476000420829</c:v>
                </c:pt>
                <c:pt idx="828">
                  <c:v>102.83227367188685</c:v>
                </c:pt>
                <c:pt idx="829">
                  <c:v>103.71494643461598</c:v>
                </c:pt>
                <c:pt idx="830">
                  <c:v>101.15857017597507</c:v>
                </c:pt>
                <c:pt idx="831">
                  <c:v>100.64231606243823</c:v>
                </c:pt>
                <c:pt idx="832">
                  <c:v>97.593334773403029</c:v>
                </c:pt>
                <c:pt idx="833">
                  <c:v>96.432476922157065</c:v>
                </c:pt>
                <c:pt idx="834">
                  <c:v>96.724758690313905</c:v>
                </c:pt>
                <c:pt idx="835">
                  <c:v>97.382997612339196</c:v>
                </c:pt>
                <c:pt idx="836">
                  <c:v>97.388571418318008</c:v>
                </c:pt>
                <c:pt idx="837">
                  <c:v>97.083465943727333</c:v>
                </c:pt>
                <c:pt idx="838">
                  <c:v>97.412585666507084</c:v>
                </c:pt>
                <c:pt idx="839">
                  <c:v>98.5720530111371</c:v>
                </c:pt>
                <c:pt idx="840">
                  <c:v>98.400249531701718</c:v>
                </c:pt>
                <c:pt idx="841">
                  <c:v>97.952655870569032</c:v>
                </c:pt>
                <c:pt idx="842">
                  <c:v>98.386186358245482</c:v>
                </c:pt>
                <c:pt idx="843">
                  <c:v>99.2364945036161</c:v>
                </c:pt>
                <c:pt idx="844">
                  <c:v>98.697703816937135</c:v>
                </c:pt>
                <c:pt idx="845">
                  <c:v>99.210545273329771</c:v>
                </c:pt>
                <c:pt idx="846">
                  <c:v>98.704341967776088</c:v>
                </c:pt>
                <c:pt idx="847">
                  <c:v>98.09431896734273</c:v>
                </c:pt>
                <c:pt idx="848">
                  <c:v>98.199209551258676</c:v>
                </c:pt>
                <c:pt idx="849">
                  <c:v>99.066178908141993</c:v>
                </c:pt>
                <c:pt idx="850">
                  <c:v>99.772794214966041</c:v>
                </c:pt>
                <c:pt idx="851">
                  <c:v>101.12170892408341</c:v>
                </c:pt>
                <c:pt idx="852">
                  <c:v>100.95285294172773</c:v>
                </c:pt>
                <c:pt idx="853">
                  <c:v>100.31076478545167</c:v>
                </c:pt>
                <c:pt idx="854">
                  <c:v>100.88269204054497</c:v>
                </c:pt>
                <c:pt idx="855">
                  <c:v>100.3737820636052</c:v>
                </c:pt>
                <c:pt idx="856">
                  <c:v>98.753217018821118</c:v>
                </c:pt>
                <c:pt idx="857">
                  <c:v>98.500208162466947</c:v>
                </c:pt>
                <c:pt idx="858">
                  <c:v>97.893670066884141</c:v>
                </c:pt>
                <c:pt idx="859">
                  <c:v>97.915414271141387</c:v>
                </c:pt>
                <c:pt idx="860">
                  <c:v>97.901010015208129</c:v>
                </c:pt>
                <c:pt idx="861">
                  <c:v>96.934479651721901</c:v>
                </c:pt>
                <c:pt idx="862">
                  <c:v>96.846525658264724</c:v>
                </c:pt>
                <c:pt idx="863">
                  <c:v>96.846525658264724</c:v>
                </c:pt>
                <c:pt idx="864">
                  <c:v>97.215162259744986</c:v>
                </c:pt>
                <c:pt idx="865">
                  <c:v>98.148267849285062</c:v>
                </c:pt>
                <c:pt idx="866">
                  <c:v>98.987422362055682</c:v>
                </c:pt>
                <c:pt idx="867">
                  <c:v>99.429619433509473</c:v>
                </c:pt>
                <c:pt idx="868">
                  <c:v>99.385762718743848</c:v>
                </c:pt>
                <c:pt idx="869">
                  <c:v>100.14350977042568</c:v>
                </c:pt>
                <c:pt idx="870">
                  <c:v>100.49329652601686</c:v>
                </c:pt>
                <c:pt idx="871">
                  <c:v>101.68095173281877</c:v>
                </c:pt>
                <c:pt idx="872">
                  <c:v>101.61115337901188</c:v>
                </c:pt>
                <c:pt idx="873">
                  <c:v>101.30301088300766</c:v>
                </c:pt>
                <c:pt idx="874">
                  <c:v>102.1403882592172</c:v>
                </c:pt>
                <c:pt idx="875">
                  <c:v>102.26229108427218</c:v>
                </c:pt>
                <c:pt idx="876">
                  <c:v>103.40490769803934</c:v>
                </c:pt>
                <c:pt idx="877">
                  <c:v>103.32935439544886</c:v>
                </c:pt>
                <c:pt idx="878">
                  <c:v>102.53706901275346</c:v>
                </c:pt>
                <c:pt idx="879">
                  <c:v>103.20202487750329</c:v>
                </c:pt>
                <c:pt idx="880">
                  <c:v>103.54961645453962</c:v>
                </c:pt>
                <c:pt idx="881">
                  <c:v>103.16190148452789</c:v>
                </c:pt>
                <c:pt idx="882">
                  <c:v>103.01961721452362</c:v>
                </c:pt>
                <c:pt idx="883">
                  <c:v>104.04412453145035</c:v>
                </c:pt>
                <c:pt idx="884">
                  <c:v>104.79547739919212</c:v>
                </c:pt>
                <c:pt idx="885">
                  <c:v>105.20397667365675</c:v>
                </c:pt>
                <c:pt idx="886">
                  <c:v>105.73427668402407</c:v>
                </c:pt>
                <c:pt idx="887">
                  <c:v>105.64114991172163</c:v>
                </c:pt>
                <c:pt idx="888">
                  <c:v>105.31451383479438</c:v>
                </c:pt>
                <c:pt idx="889">
                  <c:v>104.87070872829922</c:v>
                </c:pt>
                <c:pt idx="890">
                  <c:v>105.30793301094023</c:v>
                </c:pt>
                <c:pt idx="891">
                  <c:v>105.56457964410862</c:v>
                </c:pt>
                <c:pt idx="892">
                  <c:v>105.9889425258592</c:v>
                </c:pt>
                <c:pt idx="893">
                  <c:v>106.46493765108463</c:v>
                </c:pt>
                <c:pt idx="894">
                  <c:v>106.10889309219047</c:v>
                </c:pt>
                <c:pt idx="895">
                  <c:v>106.3251328386589</c:v>
                </c:pt>
                <c:pt idx="896">
                  <c:v>106.77607816521129</c:v>
                </c:pt>
                <c:pt idx="897">
                  <c:v>107.30704646687796</c:v>
                </c:pt>
                <c:pt idx="898">
                  <c:v>107.91981959202946</c:v>
                </c:pt>
                <c:pt idx="899">
                  <c:v>107.76239707125963</c:v>
                </c:pt>
                <c:pt idx="900">
                  <c:v>108.65245297387614</c:v>
                </c:pt>
                <c:pt idx="901">
                  <c:v>109.10348311295508</c:v>
                </c:pt>
                <c:pt idx="902">
                  <c:v>108.34849482430329</c:v>
                </c:pt>
                <c:pt idx="903">
                  <c:v>108.87412778978228</c:v>
                </c:pt>
                <c:pt idx="904">
                  <c:v>109.13525666029471</c:v>
                </c:pt>
                <c:pt idx="905">
                  <c:v>109.75108513055443</c:v>
                </c:pt>
                <c:pt idx="906">
                  <c:v>109.88626478082075</c:v>
                </c:pt>
                <c:pt idx="907">
                  <c:v>108.89839726085336</c:v>
                </c:pt>
                <c:pt idx="908">
                  <c:v>108.53245162473542</c:v>
                </c:pt>
                <c:pt idx="909">
                  <c:v>108.08099925539156</c:v>
                </c:pt>
                <c:pt idx="910">
                  <c:v>108.34181243483121</c:v>
                </c:pt>
                <c:pt idx="911">
                  <c:v>108.11363218398446</c:v>
                </c:pt>
                <c:pt idx="912">
                  <c:v>107.49851022301726</c:v>
                </c:pt>
                <c:pt idx="913">
                  <c:v>107.89216364052143</c:v>
                </c:pt>
                <c:pt idx="914">
                  <c:v>108.13209330579257</c:v>
                </c:pt>
                <c:pt idx="915">
                  <c:v>107.95616254514391</c:v>
                </c:pt>
                <c:pt idx="916">
                  <c:v>106.58612820797188</c:v>
                </c:pt>
                <c:pt idx="917">
                  <c:v>106.95765314717738</c:v>
                </c:pt>
                <c:pt idx="918">
                  <c:v>108.38756565193594</c:v>
                </c:pt>
                <c:pt idx="919">
                  <c:v>108.56510025935289</c:v>
                </c:pt>
                <c:pt idx="920">
                  <c:v>108.98439035727492</c:v>
                </c:pt>
                <c:pt idx="921">
                  <c:v>111.26956128425024</c:v>
                </c:pt>
                <c:pt idx="922">
                  <c:v>111.54283509921325</c:v>
                </c:pt>
                <c:pt idx="923">
                  <c:v>112.32842552761831</c:v>
                </c:pt>
                <c:pt idx="924">
                  <c:v>112.41305010585666</c:v>
                </c:pt>
                <c:pt idx="925">
                  <c:v>111.73074903227018</c:v>
                </c:pt>
                <c:pt idx="926">
                  <c:v>111.85118805593268</c:v>
                </c:pt>
                <c:pt idx="927">
                  <c:v>111.99615753242422</c:v>
                </c:pt>
                <c:pt idx="928">
                  <c:v>111.60418413590301</c:v>
                </c:pt>
                <c:pt idx="929">
                  <c:v>112.14014250300821</c:v>
                </c:pt>
                <c:pt idx="930">
                  <c:v>112.34971870723247</c:v>
                </c:pt>
                <c:pt idx="931">
                  <c:v>112.08983637145332</c:v>
                </c:pt>
                <c:pt idx="932">
                  <c:v>110.80933160366391</c:v>
                </c:pt>
                <c:pt idx="933">
                  <c:v>111.60309544670564</c:v>
                </c:pt>
                <c:pt idx="934">
                  <c:v>111.61698559213673</c:v>
                </c:pt>
                <c:pt idx="935">
                  <c:v>112.10205696658417</c:v>
                </c:pt>
                <c:pt idx="936">
                  <c:v>111.41771803644633</c:v>
                </c:pt>
                <c:pt idx="937">
                  <c:v>111.22780525013032</c:v>
                </c:pt>
                <c:pt idx="938">
                  <c:v>110.81255317085422</c:v>
                </c:pt>
                <c:pt idx="939">
                  <c:v>110.41399345337028</c:v>
                </c:pt>
                <c:pt idx="940">
                  <c:v>110.85528664317098</c:v>
                </c:pt>
                <c:pt idx="941">
                  <c:v>111.40189081478269</c:v>
                </c:pt>
                <c:pt idx="942">
                  <c:v>111.40189081478269</c:v>
                </c:pt>
                <c:pt idx="943">
                  <c:v>111.40189081478269</c:v>
                </c:pt>
                <c:pt idx="944">
                  <c:v>110.81885835399461</c:v>
                </c:pt>
                <c:pt idx="945">
                  <c:v>110.27165264168231</c:v>
                </c:pt>
                <c:pt idx="946">
                  <c:v>110.91293507895215</c:v>
                </c:pt>
                <c:pt idx="947">
                  <c:v>111.30929202663711</c:v>
                </c:pt>
                <c:pt idx="948">
                  <c:v>112.45145970989967</c:v>
                </c:pt>
                <c:pt idx="949">
                  <c:v>112.45145970989967</c:v>
                </c:pt>
                <c:pt idx="950">
                  <c:v>113.75135173135016</c:v>
                </c:pt>
                <c:pt idx="951">
                  <c:v>113.42890759209838</c:v>
                </c:pt>
                <c:pt idx="952">
                  <c:v>113.23532299925103</c:v>
                </c:pt>
                <c:pt idx="953">
                  <c:v>113.23532299925103</c:v>
                </c:pt>
                <c:pt idx="954">
                  <c:v>114.44207961008617</c:v>
                </c:pt>
                <c:pt idx="955">
                  <c:v>114.16849272172126</c:v>
                </c:pt>
                <c:pt idx="956">
                  <c:v>113.52328194620192</c:v>
                </c:pt>
                <c:pt idx="957">
                  <c:v>113.32050409425676</c:v>
                </c:pt>
                <c:pt idx="958">
                  <c:v>114.11902162708319</c:v>
                </c:pt>
                <c:pt idx="959">
                  <c:v>114.76328035580995</c:v>
                </c:pt>
                <c:pt idx="960">
                  <c:v>115.28523915885435</c:v>
                </c:pt>
                <c:pt idx="961">
                  <c:v>115.89490144428072</c:v>
                </c:pt>
                <c:pt idx="962">
                  <c:v>116.13411439134624</c:v>
                </c:pt>
                <c:pt idx="963">
                  <c:v>117.05237517099307</c:v>
                </c:pt>
                <c:pt idx="964">
                  <c:v>117.62006939098211</c:v>
                </c:pt>
                <c:pt idx="965">
                  <c:v>116.88075649910097</c:v>
                </c:pt>
                <c:pt idx="966">
                  <c:v>114.53749684415178</c:v>
                </c:pt>
                <c:pt idx="967">
                  <c:v>115.40044415017942</c:v>
                </c:pt>
                <c:pt idx="968">
                  <c:v>116.33419970732672</c:v>
                </c:pt>
                <c:pt idx="969">
                  <c:v>116.43632891054172</c:v>
                </c:pt>
                <c:pt idx="970">
                  <c:v>116.50599140724492</c:v>
                </c:pt>
                <c:pt idx="971">
                  <c:v>116.50599140724492</c:v>
                </c:pt>
                <c:pt idx="972">
                  <c:v>117.90996384356438</c:v>
                </c:pt>
                <c:pt idx="973">
                  <c:v>117.70628682177262</c:v>
                </c:pt>
                <c:pt idx="974">
                  <c:v>117.31239676684793</c:v>
                </c:pt>
                <c:pt idx="975">
                  <c:v>116.58305405869453</c:v>
                </c:pt>
                <c:pt idx="976">
                  <c:v>116.9650350212881</c:v>
                </c:pt>
                <c:pt idx="977">
                  <c:v>117.76049982667722</c:v>
                </c:pt>
                <c:pt idx="978">
                  <c:v>117.76049982667722</c:v>
                </c:pt>
                <c:pt idx="979">
                  <c:v>117.87405830320404</c:v>
                </c:pt>
                <c:pt idx="980">
                  <c:v>117.86744187903157</c:v>
                </c:pt>
                <c:pt idx="981">
                  <c:v>118.28237695839941</c:v>
                </c:pt>
                <c:pt idx="982">
                  <c:v>118.18298950335637</c:v>
                </c:pt>
                <c:pt idx="983">
                  <c:v>117.11638742573589</c:v>
                </c:pt>
                <c:pt idx="984">
                  <c:v>117.2625851132662</c:v>
                </c:pt>
                <c:pt idx="985">
                  <c:v>117.72130832443008</c:v>
                </c:pt>
                <c:pt idx="986">
                  <c:v>116.56310897943159</c:v>
                </c:pt>
                <c:pt idx="987">
                  <c:v>116.50765467513455</c:v>
                </c:pt>
                <c:pt idx="988">
                  <c:v>117.65668170240069</c:v>
                </c:pt>
                <c:pt idx="989">
                  <c:v>117.17799980008681</c:v>
                </c:pt>
                <c:pt idx="990">
                  <c:v>116.92850333412397</c:v>
                </c:pt>
                <c:pt idx="991">
                  <c:v>117.30668893613505</c:v>
                </c:pt>
                <c:pt idx="992">
                  <c:v>117.30668893613505</c:v>
                </c:pt>
                <c:pt idx="993">
                  <c:v>118.65623214796042</c:v>
                </c:pt>
                <c:pt idx="994">
                  <c:v>118.38068462432562</c:v>
                </c:pt>
                <c:pt idx="995">
                  <c:v>117.86372818977036</c:v>
                </c:pt>
                <c:pt idx="996">
                  <c:v>118.12383119518073</c:v>
                </c:pt>
                <c:pt idx="997">
                  <c:v>117.75664556850583</c:v>
                </c:pt>
                <c:pt idx="998">
                  <c:v>118.25349986356235</c:v>
                </c:pt>
                <c:pt idx="999">
                  <c:v>117.38945077998466</c:v>
                </c:pt>
                <c:pt idx="1000">
                  <c:v>117.77859211869979</c:v>
                </c:pt>
                <c:pt idx="1001">
                  <c:v>117.4465544785176</c:v>
                </c:pt>
                <c:pt idx="1002">
                  <c:v>117.03872480418779</c:v>
                </c:pt>
                <c:pt idx="1003">
                  <c:v>117.85396584908689</c:v>
                </c:pt>
                <c:pt idx="1004">
                  <c:v>118.9215807034568</c:v>
                </c:pt>
                <c:pt idx="1005">
                  <c:v>120.31414847256761</c:v>
                </c:pt>
                <c:pt idx="1006">
                  <c:v>121.64549861205356</c:v>
                </c:pt>
                <c:pt idx="1007">
                  <c:v>122.39741977607896</c:v>
                </c:pt>
                <c:pt idx="1008">
                  <c:v>122.93623297472553</c:v>
                </c:pt>
                <c:pt idx="1009">
                  <c:v>123.15466135557054</c:v>
                </c:pt>
                <c:pt idx="1010">
                  <c:v>124.00259972375997</c:v>
                </c:pt>
                <c:pt idx="1011">
                  <c:v>123.92305656766307</c:v>
                </c:pt>
                <c:pt idx="1012">
                  <c:v>124.02727153080026</c:v>
                </c:pt>
                <c:pt idx="1013">
                  <c:v>124.51213270630018</c:v>
                </c:pt>
                <c:pt idx="1014">
                  <c:v>124.21888842066899</c:v>
                </c:pt>
                <c:pt idx="1015">
                  <c:v>124.29963125519514</c:v>
                </c:pt>
                <c:pt idx="1016">
                  <c:v>125.08765585547783</c:v>
                </c:pt>
                <c:pt idx="1017">
                  <c:v>124.38715464184126</c:v>
                </c:pt>
                <c:pt idx="1018">
                  <c:v>124.77606222257252</c:v>
                </c:pt>
                <c:pt idx="1019">
                  <c:v>125.11123164384333</c:v>
                </c:pt>
                <c:pt idx="1020">
                  <c:v>125.23499510915053</c:v>
                </c:pt>
                <c:pt idx="1021">
                  <c:v>124.55807779865893</c:v>
                </c:pt>
                <c:pt idx="1022">
                  <c:v>124.93953339476556</c:v>
                </c:pt>
                <c:pt idx="1023">
                  <c:v>125.8985869057569</c:v>
                </c:pt>
                <c:pt idx="1024">
                  <c:v>126.27914725852332</c:v>
                </c:pt>
                <c:pt idx="1025">
                  <c:v>125.16379499274437</c:v>
                </c:pt>
                <c:pt idx="1026">
                  <c:v>123.69609484247445</c:v>
                </c:pt>
                <c:pt idx="1027">
                  <c:v>122.13475747413669</c:v>
                </c:pt>
                <c:pt idx="1028">
                  <c:v>123.40829269399075</c:v>
                </c:pt>
                <c:pt idx="1029">
                  <c:v>123.40829269399075</c:v>
                </c:pt>
                <c:pt idx="1030">
                  <c:v>124.20313266141156</c:v>
                </c:pt>
                <c:pt idx="1031">
                  <c:v>124.5713857741507</c:v>
                </c:pt>
                <c:pt idx="1032">
                  <c:v>124.13030618627052</c:v>
                </c:pt>
                <c:pt idx="1033">
                  <c:v>124.61650708557643</c:v>
                </c:pt>
                <c:pt idx="1034">
                  <c:v>125.65813946524298</c:v>
                </c:pt>
                <c:pt idx="1035">
                  <c:v>126.02980994693284</c:v>
                </c:pt>
                <c:pt idx="1036">
                  <c:v>126.83779716487092</c:v>
                </c:pt>
                <c:pt idx="1037">
                  <c:v>127.18248103342088</c:v>
                </c:pt>
                <c:pt idx="1038">
                  <c:v>127.15105615980337</c:v>
                </c:pt>
                <c:pt idx="1039">
                  <c:v>126.70253976978778</c:v>
                </c:pt>
                <c:pt idx="1040">
                  <c:v>127.4996272691731</c:v>
                </c:pt>
                <c:pt idx="1041">
                  <c:v>127.55924131379832</c:v>
                </c:pt>
                <c:pt idx="1042">
                  <c:v>127.99252364630374</c:v>
                </c:pt>
                <c:pt idx="1043">
                  <c:v>127.06501646884544</c:v>
                </c:pt>
                <c:pt idx="1044">
                  <c:v>127.25539075048631</c:v>
                </c:pt>
                <c:pt idx="1045">
                  <c:v>127.06977015863016</c:v>
                </c:pt>
                <c:pt idx="1046">
                  <c:v>127.9029349175655</c:v>
                </c:pt>
                <c:pt idx="1047">
                  <c:v>128.03199026572932</c:v>
                </c:pt>
                <c:pt idx="1048">
                  <c:v>128.98936375573868</c:v>
                </c:pt>
                <c:pt idx="1049">
                  <c:v>129.35454948208474</c:v>
                </c:pt>
                <c:pt idx="1050">
                  <c:v>129.04930945922604</c:v>
                </c:pt>
                <c:pt idx="1051">
                  <c:v>129.1106650400921</c:v>
                </c:pt>
                <c:pt idx="1052">
                  <c:v>129.38219155993903</c:v>
                </c:pt>
                <c:pt idx="1053">
                  <c:v>130.65542208293738</c:v>
                </c:pt>
                <c:pt idx="1054">
                  <c:v>130.26990517091613</c:v>
                </c:pt>
                <c:pt idx="1055">
                  <c:v>130.56331018152082</c:v>
                </c:pt>
                <c:pt idx="1056">
                  <c:v>130.1088422556621</c:v>
                </c:pt>
                <c:pt idx="1057">
                  <c:v>129.41589092752938</c:v>
                </c:pt>
                <c:pt idx="1058">
                  <c:v>127.77697862960868</c:v>
                </c:pt>
                <c:pt idx="1059">
                  <c:v>126.82139955278613</c:v>
                </c:pt>
                <c:pt idx="1060">
                  <c:v>126.64782495743256</c:v>
                </c:pt>
                <c:pt idx="1061">
                  <c:v>125.94358204545961</c:v>
                </c:pt>
                <c:pt idx="1062">
                  <c:v>127.05203805808023</c:v>
                </c:pt>
                <c:pt idx="1063">
                  <c:v>127.20123507256747</c:v>
                </c:pt>
                <c:pt idx="1064">
                  <c:v>128.85496835957974</c:v>
                </c:pt>
                <c:pt idx="1065">
                  <c:v>129.43209718789456</c:v>
                </c:pt>
                <c:pt idx="1066">
                  <c:v>129.53957874215627</c:v>
                </c:pt>
                <c:pt idx="1067">
                  <c:v>129.58286244883081</c:v>
                </c:pt>
                <c:pt idx="1068">
                  <c:v>129.27100731063317</c:v>
                </c:pt>
                <c:pt idx="1069">
                  <c:v>130.69936151609298</c:v>
                </c:pt>
                <c:pt idx="1070">
                  <c:v>131.26567465308051</c:v>
                </c:pt>
                <c:pt idx="1071">
                  <c:v>131.77301952477757</c:v>
                </c:pt>
                <c:pt idx="1072">
                  <c:v>132.27907859668233</c:v>
                </c:pt>
                <c:pt idx="1073">
                  <c:v>132.97368141318751</c:v>
                </c:pt>
                <c:pt idx="1074">
                  <c:v>132.25268043589139</c:v>
                </c:pt>
                <c:pt idx="1075">
                  <c:v>132.40322057715665</c:v>
                </c:pt>
                <c:pt idx="1076">
                  <c:v>131.22753309850614</c:v>
                </c:pt>
                <c:pt idx="1077">
                  <c:v>131.55773103980061</c:v>
                </c:pt>
                <c:pt idx="1078">
                  <c:v>131.11225481240405</c:v>
                </c:pt>
                <c:pt idx="1079">
                  <c:v>130.81135200793943</c:v>
                </c:pt>
                <c:pt idx="1080">
                  <c:v>130.90384033038555</c:v>
                </c:pt>
                <c:pt idx="1081">
                  <c:v>130.20757267538761</c:v>
                </c:pt>
                <c:pt idx="1082">
                  <c:v>130.45020875027811</c:v>
                </c:pt>
                <c:pt idx="1083">
                  <c:v>131.07541214597362</c:v>
                </c:pt>
                <c:pt idx="1084">
                  <c:v>131.50594644789842</c:v>
                </c:pt>
                <c:pt idx="1085">
                  <c:v>131.50594644789842</c:v>
                </c:pt>
                <c:pt idx="1086">
                  <c:v>132.47734175216848</c:v>
                </c:pt>
                <c:pt idx="1087">
                  <c:v>132.34777098466708</c:v>
                </c:pt>
                <c:pt idx="1088">
                  <c:v>132.91813287274996</c:v>
                </c:pt>
                <c:pt idx="1089">
                  <c:v>133.33363415426587</c:v>
                </c:pt>
                <c:pt idx="1090">
                  <c:v>133.3503762517997</c:v>
                </c:pt>
                <c:pt idx="1091">
                  <c:v>133.25165159094945</c:v>
                </c:pt>
                <c:pt idx="1092">
                  <c:v>132.63271254273326</c:v>
                </c:pt>
                <c:pt idx="1093">
                  <c:v>132.02646736448992</c:v>
                </c:pt>
                <c:pt idx="1094">
                  <c:v>131.44611068657517</c:v>
                </c:pt>
                <c:pt idx="1095">
                  <c:v>130.60252759870662</c:v>
                </c:pt>
                <c:pt idx="1096">
                  <c:v>132.27639286666169</c:v>
                </c:pt>
                <c:pt idx="1097">
                  <c:v>133.58243536692098</c:v>
                </c:pt>
                <c:pt idx="1098">
                  <c:v>133.54133401221432</c:v>
                </c:pt>
                <c:pt idx="1099">
                  <c:v>135.29487907867107</c:v>
                </c:pt>
                <c:pt idx="1100">
                  <c:v>135.9665856540949</c:v>
                </c:pt>
                <c:pt idx="1101">
                  <c:v>135.46609201162195</c:v>
                </c:pt>
                <c:pt idx="1102">
                  <c:v>135.68436909110835</c:v>
                </c:pt>
                <c:pt idx="1103">
                  <c:v>134.52171447077123</c:v>
                </c:pt>
                <c:pt idx="1104">
                  <c:v>134.77801059784863</c:v>
                </c:pt>
                <c:pt idx="1105">
                  <c:v>134.18676676619944</c:v>
                </c:pt>
                <c:pt idx="1106">
                  <c:v>131.76992910288442</c:v>
                </c:pt>
                <c:pt idx="1107">
                  <c:v>131.19985699093476</c:v>
                </c:pt>
                <c:pt idx="1108">
                  <c:v>131.91439572485567</c:v>
                </c:pt>
                <c:pt idx="1109">
                  <c:v>131.41483030837327</c:v>
                </c:pt>
                <c:pt idx="1110">
                  <c:v>129.48062670642273</c:v>
                </c:pt>
                <c:pt idx="1111">
                  <c:v>129.40570897425096</c:v>
                </c:pt>
                <c:pt idx="1112">
                  <c:v>130.60938013676719</c:v>
                </c:pt>
                <c:pt idx="1113">
                  <c:v>131.69084037440064</c:v>
                </c:pt>
                <c:pt idx="1114">
                  <c:v>130.80002770321659</c:v>
                </c:pt>
                <c:pt idx="1115">
                  <c:v>131.55858073567228</c:v>
                </c:pt>
                <c:pt idx="1116">
                  <c:v>131.84418796736884</c:v>
                </c:pt>
                <c:pt idx="1117">
                  <c:v>131.53142161804166</c:v>
                </c:pt>
                <c:pt idx="1118">
                  <c:v>132.9313557739485</c:v>
                </c:pt>
                <c:pt idx="1119">
                  <c:v>133.1637078064083</c:v>
                </c:pt>
                <c:pt idx="1120">
                  <c:v>133.24373209035903</c:v>
                </c:pt>
                <c:pt idx="1121">
                  <c:v>133.45264471508941</c:v>
                </c:pt>
                <c:pt idx="1122">
                  <c:v>134.25711247492546</c:v>
                </c:pt>
                <c:pt idx="1123">
                  <c:v>134.25711247492546</c:v>
                </c:pt>
                <c:pt idx="1124">
                  <c:v>134.25711247492546</c:v>
                </c:pt>
                <c:pt idx="1125">
                  <c:v>134.84087526580714</c:v>
                </c:pt>
                <c:pt idx="1126">
                  <c:v>135.92495762406585</c:v>
                </c:pt>
                <c:pt idx="1127">
                  <c:v>136.5000941432989</c:v>
                </c:pt>
                <c:pt idx="1128">
                  <c:v>136.5000941432989</c:v>
                </c:pt>
                <c:pt idx="1129">
                  <c:v>138.81609442383305</c:v>
                </c:pt>
                <c:pt idx="1130">
                  <c:v>139.55447516321925</c:v>
                </c:pt>
                <c:pt idx="1131">
                  <c:v>140.53755862842254</c:v>
                </c:pt>
                <c:pt idx="1132">
                  <c:v>141.5360724764308</c:v>
                </c:pt>
                <c:pt idx="1133">
                  <c:v>142.23021144170789</c:v>
                </c:pt>
                <c:pt idx="1134">
                  <c:v>142.02670325966818</c:v>
                </c:pt>
                <c:pt idx="1135">
                  <c:v>141.13564478921728</c:v>
                </c:pt>
                <c:pt idx="1136">
                  <c:v>141.0746025435208</c:v>
                </c:pt>
                <c:pt idx="1137">
                  <c:v>142.39061287160459</c:v>
                </c:pt>
                <c:pt idx="1138">
                  <c:v>142.68185935104444</c:v>
                </c:pt>
                <c:pt idx="1139">
                  <c:v>143.53356690311008</c:v>
                </c:pt>
                <c:pt idx="1140">
                  <c:v>144.0939429014426</c:v>
                </c:pt>
                <c:pt idx="1141">
                  <c:v>144.67310199506466</c:v>
                </c:pt>
                <c:pt idx="1142">
                  <c:v>145.27242107870467</c:v>
                </c:pt>
                <c:pt idx="1143">
                  <c:v>145.97134802525028</c:v>
                </c:pt>
                <c:pt idx="1144">
                  <c:v>147.6079745732153</c:v>
                </c:pt>
                <c:pt idx="1145">
                  <c:v>148.35877615953154</c:v>
                </c:pt>
                <c:pt idx="1146">
                  <c:v>148.91387231629133</c:v>
                </c:pt>
                <c:pt idx="1147">
                  <c:v>150.05225380081771</c:v>
                </c:pt>
                <c:pt idx="1148">
                  <c:v>149.45243133912396</c:v>
                </c:pt>
                <c:pt idx="1149">
                  <c:v>147.05448802209904</c:v>
                </c:pt>
                <c:pt idx="1150">
                  <c:v>147.87680044231905</c:v>
                </c:pt>
              </c:numCache>
            </c:numRef>
          </c:val>
          <c:smooth val="0"/>
          <c:extLst xmlns:c16r2="http://schemas.microsoft.com/office/drawing/2015/06/chart">
            <c:ext xmlns:c16="http://schemas.microsoft.com/office/drawing/2014/chart" uri="{C3380CC4-5D6E-409C-BE32-E72D297353CC}">
              <c16:uniqueId val="{00000002-F2E4-4A83-9F97-12AAF836F4B1}"/>
            </c:ext>
          </c:extLst>
        </c:ser>
        <c:dLbls>
          <c:showLegendKey val="0"/>
          <c:showVal val="0"/>
          <c:showCatName val="0"/>
          <c:showSerName val="0"/>
          <c:showPercent val="0"/>
          <c:showBubbleSize val="0"/>
        </c:dLbls>
        <c:marker val="1"/>
        <c:smooth val="0"/>
        <c:axId val="5325568"/>
        <c:axId val="5327104"/>
      </c:lineChart>
      <c:dateAx>
        <c:axId val="5325568"/>
        <c:scaling>
          <c:orientation val="minMax"/>
        </c:scaling>
        <c:delete val="0"/>
        <c:axPos val="b"/>
        <c:numFmt formatCode="[$-409]mmm\-yy;@" sourceLinked="0"/>
        <c:majorTickMark val="out"/>
        <c:minorTickMark val="none"/>
        <c:tickLblPos val="nextTo"/>
        <c:spPr>
          <a:ln w="3175">
            <a:solidFill>
              <a:srgbClr val="003C64"/>
            </a:solidFill>
            <a:prstDash val="solid"/>
          </a:ln>
        </c:spPr>
        <c:txPr>
          <a:bodyPr rot="0" vert="horz"/>
          <a:lstStyle/>
          <a:p>
            <a:pPr algn="ctr">
              <a:defRPr lang="fr-FR" sz="900" b="0" i="0" u="none" strike="noStrike" kern="1200" baseline="0">
                <a:solidFill>
                  <a:srgbClr val="001C4B"/>
                </a:solidFill>
                <a:latin typeface="Arial"/>
                <a:ea typeface="Arial"/>
                <a:cs typeface="Arial"/>
              </a:defRPr>
            </a:pPr>
            <a:endParaRPr lang="en-US"/>
          </a:p>
        </c:txPr>
        <c:crossAx val="5327104"/>
        <c:crosses val="autoZero"/>
        <c:auto val="1"/>
        <c:lblOffset val="100"/>
        <c:baseTimeUnit val="days"/>
      </c:dateAx>
      <c:valAx>
        <c:axId val="5327104"/>
        <c:scaling>
          <c:orientation val="minMax"/>
        </c:scaling>
        <c:delete val="0"/>
        <c:axPos val="l"/>
        <c:numFmt formatCode="0" sourceLinked="0"/>
        <c:majorTickMark val="out"/>
        <c:minorTickMark val="none"/>
        <c:tickLblPos val="nextTo"/>
        <c:spPr>
          <a:ln w="3175">
            <a:solidFill>
              <a:srgbClr val="003C64"/>
            </a:solidFill>
            <a:prstDash val="solid"/>
          </a:ln>
        </c:spPr>
        <c:txPr>
          <a:bodyPr rot="0" vert="horz"/>
          <a:lstStyle/>
          <a:p>
            <a:pPr>
              <a:defRPr sz="900" b="0" i="0" u="none" strike="noStrike" baseline="0">
                <a:solidFill>
                  <a:srgbClr val="001C4B"/>
                </a:solidFill>
                <a:latin typeface="Arial"/>
                <a:ea typeface="Arial"/>
                <a:cs typeface="Arial"/>
              </a:defRPr>
            </a:pPr>
            <a:endParaRPr lang="en-US"/>
          </a:p>
        </c:txPr>
        <c:crossAx val="5325568"/>
        <c:crosses val="autoZero"/>
        <c:crossBetween val="between"/>
      </c:valAx>
      <c:dateAx>
        <c:axId val="5353472"/>
        <c:scaling>
          <c:orientation val="minMax"/>
        </c:scaling>
        <c:delete val="1"/>
        <c:axPos val="b"/>
        <c:numFmt formatCode="m/d/yyyy" sourceLinked="1"/>
        <c:majorTickMark val="out"/>
        <c:minorTickMark val="none"/>
        <c:tickLblPos val="nextTo"/>
        <c:crossAx val="5355008"/>
        <c:crosses val="autoZero"/>
        <c:auto val="1"/>
        <c:lblOffset val="100"/>
        <c:baseTimeUnit val="days"/>
      </c:dateAx>
      <c:valAx>
        <c:axId val="5355008"/>
        <c:scaling>
          <c:orientation val="minMax"/>
        </c:scaling>
        <c:delete val="0"/>
        <c:axPos val="r"/>
        <c:numFmt formatCode="#,##0" sourceLinked="0"/>
        <c:majorTickMark val="out"/>
        <c:minorTickMark val="none"/>
        <c:tickLblPos val="nextTo"/>
        <c:spPr>
          <a:ln>
            <a:solidFill>
              <a:srgbClr val="003C64"/>
            </a:solidFill>
          </a:ln>
        </c:spPr>
        <c:txPr>
          <a:bodyPr rot="0" vert="horz"/>
          <a:lstStyle/>
          <a:p>
            <a:pPr algn="ctr">
              <a:defRPr lang="fr-FR" sz="900" b="0" i="0" u="none" strike="noStrike" kern="1200" baseline="0">
                <a:solidFill>
                  <a:srgbClr val="001C4B"/>
                </a:solidFill>
                <a:latin typeface="Arial"/>
                <a:ea typeface="Arial"/>
                <a:cs typeface="Arial"/>
              </a:defRPr>
            </a:pPr>
            <a:endParaRPr lang="en-US"/>
          </a:p>
        </c:txPr>
        <c:crossAx val="5353472"/>
        <c:crosses val="max"/>
        <c:crossBetween val="between"/>
      </c:valAx>
      <c:spPr>
        <a:noFill/>
        <a:ln w="25400">
          <a:noFill/>
        </a:ln>
      </c:spPr>
    </c:plotArea>
    <c:legend>
      <c:legendPos val="b"/>
      <c:legendEntry>
        <c:idx val="0"/>
        <c:txPr>
          <a:bodyPr/>
          <a:lstStyle/>
          <a:p>
            <a:pPr algn="ctr">
              <a:defRPr lang="fr-FR" sz="900" b="0" i="0" u="none" strike="noStrike" kern="1200" baseline="0">
                <a:solidFill>
                  <a:srgbClr val="CECCCC"/>
                </a:solidFill>
                <a:latin typeface="Arial"/>
                <a:ea typeface="Arial"/>
                <a:cs typeface="Arial"/>
              </a:defRPr>
            </a:pPr>
            <a:endParaRPr lang="en-US"/>
          </a:p>
        </c:txPr>
      </c:legendEntry>
      <c:legendEntry>
        <c:idx val="1"/>
        <c:txPr>
          <a:bodyPr/>
          <a:lstStyle/>
          <a:p>
            <a:pPr algn="ctr">
              <a:defRPr lang="fr-FR" sz="900" b="0" i="0" u="none" strike="noStrike" kern="1200" baseline="0">
                <a:solidFill>
                  <a:srgbClr val="003C64"/>
                </a:solidFill>
                <a:latin typeface="Arial"/>
                <a:ea typeface="Arial"/>
                <a:cs typeface="Arial"/>
              </a:defRPr>
            </a:pPr>
            <a:endParaRPr lang="en-US"/>
          </a:p>
        </c:txPr>
      </c:legendEntry>
      <c:legendEntry>
        <c:idx val="2"/>
        <c:txPr>
          <a:bodyPr/>
          <a:lstStyle/>
          <a:p>
            <a:pPr algn="ctr">
              <a:defRPr lang="fr-FR" sz="900" b="0" i="0" u="none" strike="noStrike" kern="1200" baseline="0">
                <a:solidFill>
                  <a:srgbClr val="00A0E3"/>
                </a:solidFill>
                <a:latin typeface="Arial"/>
                <a:ea typeface="Arial"/>
                <a:cs typeface="Arial"/>
              </a:defRPr>
            </a:pPr>
            <a:endParaRPr lang="en-US"/>
          </a:p>
        </c:txPr>
      </c:legendEntry>
      <c:layout>
        <c:manualLayout>
          <c:xMode val="edge"/>
          <c:yMode val="edge"/>
          <c:x val="0"/>
          <c:y val="0.88824616955060831"/>
          <c:w val="0.98694644780210816"/>
          <c:h val="0.11175367758532695"/>
        </c:manualLayout>
      </c:layout>
      <c:overlay val="0"/>
      <c:spPr>
        <a:noFill/>
        <a:ln w="25400">
          <a:noFill/>
        </a:ln>
      </c:spPr>
      <c:txPr>
        <a:bodyPr/>
        <a:lstStyle/>
        <a:p>
          <a:pPr algn="ctr">
            <a:defRPr lang="fr-FR" sz="900" b="0" i="0" u="none" strike="noStrike" kern="1200" baseline="0">
              <a:solidFill>
                <a:srgbClr val="001C4B"/>
              </a:solidFill>
              <a:latin typeface="Arial"/>
              <a:ea typeface="Arial"/>
              <a:cs typeface="Arial"/>
            </a:defRPr>
          </a:pPr>
          <a:endParaRPr lang="en-US"/>
        </a:p>
      </c:txPr>
    </c:legend>
    <c:plotVisOnly val="1"/>
    <c:dispBlanksAs val="gap"/>
    <c:showDLblsOverMax val="0"/>
  </c:chart>
  <c:spPr>
    <a:noFill/>
    <a:ln w="9525">
      <a:noFill/>
    </a:ln>
  </c:spPr>
  <c:txPr>
    <a:bodyPr/>
    <a:lstStyle/>
    <a:p>
      <a:pPr>
        <a:defRPr sz="1450" b="0" i="0" u="none" strike="noStrike" baseline="0">
          <a:solidFill>
            <a:srgbClr val="000000"/>
          </a:solidFill>
          <a:latin typeface="Arial"/>
          <a:ea typeface="Arial"/>
          <a:cs typeface="Arial"/>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xMode val="edge"/>
          <c:yMode val="edge"/>
          <c:x val="1.1111084191399152E-2"/>
          <c:y val="0.02"/>
          <c:w val="0.98888891580860083"/>
          <c:h val="0.875"/>
        </c:manualLayout>
      </c:layout>
      <c:barChart>
        <c:barDir val="col"/>
        <c:grouping val="clustered"/>
        <c:varyColors val="0"/>
        <c:ser>
          <c:idx val="0"/>
          <c:order val="0"/>
          <c:tx>
            <c:strRef>
              <c:f>'AFE Euro RP Brut'!$Q$54</c:f>
              <c:strCache>
                <c:ptCount val="1"/>
                <c:pt idx="0">
                  <c:v>Amundi Funds Equity Euro Risk Parity</c:v>
                </c:pt>
              </c:strCache>
            </c:strRef>
          </c:tx>
          <c:spPr>
            <a:solidFill>
              <a:srgbClr val="003C64"/>
            </a:solidFill>
            <a:ln>
              <a:noFill/>
              <a:round/>
            </a:ln>
            <a:effectLst/>
            <a:extLst>
              <a:ext uri="{91240B29-F687-4F45-9708-019B960494DF}">
                <a14:hiddenLine xmlns:a14="http://schemas.microsoft.com/office/drawing/2010/main">
                  <a:noFill/>
                  <a:round/>
                </a14:hiddenLine>
              </a:ext>
            </a:extLst>
          </c:spPr>
          <c:invertIfNegative val="0"/>
          <c:dLbls>
            <c:dLbl>
              <c:idx val="0"/>
              <c:layout>
                <c:manualLayout>
                  <c:x val="-9.2307692307692316E-3"/>
                  <c:y val="5.3691275167785232E-3"/>
                </c:manualLayout>
              </c:layout>
              <c:tx>
                <c:rich>
                  <a:bodyPr/>
                  <a:lstStyle/>
                  <a:p>
                    <a:r>
                      <a:rPr lang="en-US" smtClean="0"/>
                      <a:t>10.2</a:t>
                    </a:r>
                    <a:r>
                      <a:rPr lang="en-US"/>
                      <a:t>%</a:t>
                    </a:r>
                  </a:p>
                </c:rich>
              </c:tx>
              <c:showLegendKey val="0"/>
              <c:showVal val="1"/>
              <c:showCatName val="0"/>
              <c:showSerName val="0"/>
              <c:showPercent val="0"/>
              <c:showBubbleSize val="0"/>
            </c:dLbl>
            <c:dLbl>
              <c:idx val="1"/>
              <c:layout>
                <c:manualLayout>
                  <c:x val="-3.6923076923076927E-2"/>
                  <c:y val="2.6476985678803574E-2"/>
                </c:manualLayout>
              </c:layout>
              <c:tx>
                <c:rich>
                  <a:bodyPr/>
                  <a:lstStyle/>
                  <a:p>
                    <a:r>
                      <a:rPr lang="en-US" dirty="0"/>
                      <a:t>-</a:t>
                    </a:r>
                    <a:r>
                      <a:rPr lang="en-US" dirty="0" smtClean="0"/>
                      <a:t>11.1</a:t>
                    </a:r>
                    <a:r>
                      <a:rPr lang="en-US" dirty="0"/>
                      <a:t>%</a:t>
                    </a:r>
                  </a:p>
                </c:rich>
              </c:tx>
              <c:showLegendKey val="0"/>
              <c:showVal val="1"/>
              <c:showCatName val="0"/>
              <c:showSerName val="0"/>
              <c:showPercent val="0"/>
              <c:showBubbleSize val="0"/>
            </c:dLbl>
            <c:dLbl>
              <c:idx val="2"/>
              <c:layout>
                <c:manualLayout>
                  <c:x val="-3.3846153846153845E-2"/>
                  <c:y val="2.1476510067114093E-2"/>
                </c:manualLayout>
              </c:layout>
              <c:tx>
                <c:rich>
                  <a:bodyPr/>
                  <a:lstStyle/>
                  <a:p>
                    <a:r>
                      <a:rPr lang="en-US" dirty="0" smtClean="0"/>
                      <a:t>16.6</a:t>
                    </a:r>
                    <a:r>
                      <a:rPr lang="en-US" dirty="0"/>
                      <a:t>%</a:t>
                    </a:r>
                  </a:p>
                </c:rich>
              </c:tx>
              <c:showLegendKey val="0"/>
              <c:showVal val="1"/>
              <c:showCatName val="0"/>
              <c:showSerName val="0"/>
              <c:showPercent val="0"/>
              <c:showBubbleSize val="0"/>
            </c:dLbl>
            <c:dLbl>
              <c:idx val="3"/>
              <c:layout>
                <c:manualLayout>
                  <c:x val="0"/>
                  <c:y val="-1.0738255033557045E-2"/>
                </c:manualLayout>
              </c:layout>
              <c:tx>
                <c:rich>
                  <a:bodyPr/>
                  <a:lstStyle/>
                  <a:p>
                    <a:r>
                      <a:rPr lang="en-US" dirty="0" smtClean="0"/>
                      <a:t>22.8</a:t>
                    </a:r>
                    <a:r>
                      <a:rPr lang="en-US" dirty="0"/>
                      <a:t>%</a:t>
                    </a:r>
                  </a:p>
                </c:rich>
              </c:tx>
              <c:showLegendKey val="0"/>
              <c:showVal val="1"/>
              <c:showCatName val="0"/>
              <c:showSerName val="0"/>
              <c:showPercent val="0"/>
              <c:showBubbleSize val="0"/>
            </c:dLbl>
            <c:dLbl>
              <c:idx val="4"/>
              <c:tx>
                <c:rich>
                  <a:bodyPr/>
                  <a:lstStyle/>
                  <a:p>
                    <a:r>
                      <a:rPr lang="en-US" smtClean="0"/>
                      <a:t>7.6</a:t>
                    </a:r>
                    <a:r>
                      <a:rPr lang="en-US"/>
                      <a:t>%</a:t>
                    </a:r>
                  </a:p>
                </c:rich>
              </c:tx>
              <c:showLegendKey val="0"/>
              <c:showVal val="1"/>
              <c:showCatName val="0"/>
              <c:showSerName val="0"/>
              <c:showPercent val="0"/>
              <c:showBubbleSize val="0"/>
            </c:dLbl>
            <c:dLbl>
              <c:idx val="5"/>
              <c:tx>
                <c:rich>
                  <a:bodyPr/>
                  <a:lstStyle/>
                  <a:p>
                    <a:r>
                      <a:rPr lang="en-US" smtClean="0"/>
                      <a:t>14.7</a:t>
                    </a:r>
                    <a:r>
                      <a:rPr lang="en-US"/>
                      <a:t>%</a:t>
                    </a:r>
                  </a:p>
                </c:rich>
              </c:tx>
              <c:showLegendKey val="0"/>
              <c:showVal val="1"/>
              <c:showCatName val="0"/>
              <c:showSerName val="0"/>
              <c:showPercent val="0"/>
              <c:showBubbleSize val="0"/>
            </c:dLbl>
            <c:dLbl>
              <c:idx val="6"/>
              <c:layout>
                <c:manualLayout>
                  <c:x val="-2.1538461538461538E-2"/>
                  <c:y val="0.01"/>
                </c:manualLayout>
              </c:layout>
              <c:tx>
                <c:rich>
                  <a:bodyPr/>
                  <a:lstStyle/>
                  <a:p>
                    <a:r>
                      <a:rPr lang="en-US" dirty="0" smtClean="0"/>
                      <a:t>4.1</a:t>
                    </a:r>
                    <a:r>
                      <a:rPr lang="en-US" dirty="0"/>
                      <a:t>%</a:t>
                    </a:r>
                  </a:p>
                </c:rich>
              </c:tx>
              <c:showLegendKey val="0"/>
              <c:showVal val="1"/>
              <c:showCatName val="0"/>
              <c:showSerName val="0"/>
              <c:showPercent val="0"/>
              <c:showBubbleSize val="0"/>
            </c:dLbl>
            <c:dLbl>
              <c:idx val="7"/>
              <c:layout>
                <c:manualLayout>
                  <c:x val="-1.8461538461538463E-2"/>
                  <c:y val="3.8928288326375311E-3"/>
                </c:manualLayout>
              </c:layout>
              <c:tx>
                <c:rich>
                  <a:bodyPr/>
                  <a:lstStyle/>
                  <a:p>
                    <a:r>
                      <a:rPr lang="en-US" dirty="0" smtClean="0"/>
                      <a:t>13.2</a:t>
                    </a:r>
                    <a:r>
                      <a:rPr lang="en-US" dirty="0"/>
                      <a:t>%</a:t>
                    </a:r>
                  </a:p>
                </c:rich>
              </c:tx>
              <c:showLegendKey val="0"/>
              <c:showVal val="1"/>
              <c:showCatName val="0"/>
              <c:showSerName val="0"/>
              <c:showPercent val="0"/>
              <c:showBubbleSize val="0"/>
            </c:dLbl>
            <c:dLbl>
              <c:idx val="8"/>
              <c:layout>
                <c:manualLayout>
                  <c:x val="-1.8461538461538463E-2"/>
                  <c:y val="2.1476510067114093E-2"/>
                </c:manualLayout>
              </c:layout>
              <c:showLegendKey val="0"/>
              <c:showVal val="1"/>
              <c:showCatName val="0"/>
              <c:showSerName val="0"/>
              <c:showPercent val="0"/>
              <c:showBubbleSize val="0"/>
            </c:dLbl>
            <c:numFmt formatCode="0.0%" sourceLinked="0"/>
            <c:txPr>
              <a:bodyPr/>
              <a:lstStyle/>
              <a:p>
                <a:pPr>
                  <a:defRPr sz="900" b="0" i="0">
                    <a:solidFill>
                      <a:srgbClr val="003C64"/>
                    </a:solidFill>
                    <a:latin typeface="Arial(Corps)"/>
                    <a:ea typeface="Arial(Corps)"/>
                    <a:cs typeface="Arial(Corps)"/>
                  </a:defRPr>
                </a:pPr>
                <a:endParaRPr lang="en-US"/>
              </a:p>
            </c:txPr>
            <c:showLegendKey val="0"/>
            <c:showVal val="1"/>
            <c:showCatName val="0"/>
            <c:showSerName val="0"/>
            <c:showPercent val="0"/>
            <c:showBubbleSize val="0"/>
            <c:showLeaderLines val="0"/>
          </c:dLbls>
          <c:cat>
            <c:strRef>
              <c:f>'AFE Euro RP Brut'!$P$55:$P$63</c:f>
              <c:strCache>
                <c:ptCount val="9"/>
                <c:pt idx="0">
                  <c:v>2010 (partial)</c:v>
                </c:pt>
                <c:pt idx="1">
                  <c:v>2011</c:v>
                </c:pt>
                <c:pt idx="2">
                  <c:v>2012</c:v>
                </c:pt>
                <c:pt idx="3">
                  <c:v>2013</c:v>
                </c:pt>
                <c:pt idx="4">
                  <c:v>2014</c:v>
                </c:pt>
                <c:pt idx="5">
                  <c:v>2015</c:v>
                </c:pt>
                <c:pt idx="6">
                  <c:v>2016</c:v>
                </c:pt>
                <c:pt idx="7">
                  <c:v>2017</c:v>
                </c:pt>
                <c:pt idx="8">
                  <c:v>YTD</c:v>
                </c:pt>
              </c:strCache>
            </c:strRef>
          </c:cat>
          <c:val>
            <c:numRef>
              <c:f>'AFE Euro RP Brut'!$Q$55:$Q$63</c:f>
              <c:numCache>
                <c:formatCode>0\.0%</c:formatCode>
                <c:ptCount val="9"/>
                <c:pt idx="0">
                  <c:v>0.10162110469527996</c:v>
                </c:pt>
                <c:pt idx="1">
                  <c:v>-0.11051402846851854</c:v>
                </c:pt>
                <c:pt idx="2">
                  <c:v>0.16550861268467854</c:v>
                </c:pt>
                <c:pt idx="3">
                  <c:v>0.22790066140919585</c:v>
                </c:pt>
                <c:pt idx="4">
                  <c:v>7.5623938238098543E-2</c:v>
                </c:pt>
                <c:pt idx="5">
                  <c:v>0.14650576628418133</c:v>
                </c:pt>
                <c:pt idx="6">
                  <c:v>4.1043362561319574E-2</c:v>
                </c:pt>
                <c:pt idx="7">
                  <c:v>0.13181969428521167</c:v>
                </c:pt>
                <c:pt idx="8">
                  <c:v>1.8593460378899973E-2</c:v>
                </c:pt>
              </c:numCache>
            </c:numRef>
          </c:val>
        </c:ser>
        <c:ser>
          <c:idx val="1"/>
          <c:order val="1"/>
          <c:tx>
            <c:strRef>
              <c:f>'AFE Euro RP Brut'!$R$54</c:f>
              <c:strCache>
                <c:ptCount val="1"/>
                <c:pt idx="0">
                  <c:v>MSCI EMU Index</c:v>
                </c:pt>
              </c:strCache>
            </c:strRef>
          </c:tx>
          <c:spPr>
            <a:solidFill>
              <a:srgbClr val="00A0E3"/>
            </a:solidFill>
            <a:ln>
              <a:noFill/>
              <a:round/>
            </a:ln>
            <a:effectLst/>
            <a:extLst>
              <a:ext uri="{91240B29-F687-4F45-9708-019B960494DF}">
                <a14:hiddenLine xmlns:a14="http://schemas.microsoft.com/office/drawing/2010/main">
                  <a:noFill/>
                  <a:round/>
                </a14:hiddenLine>
              </a:ext>
            </a:extLst>
          </c:spPr>
          <c:invertIfNegative val="0"/>
          <c:dLbls>
            <c:dLbl>
              <c:idx val="0"/>
              <c:layout>
                <c:manualLayout>
                  <c:x val="2.7692307692307693E-2"/>
                  <c:y val="1.5000158537229826E-2"/>
                </c:manualLayout>
              </c:layout>
              <c:tx>
                <c:rich>
                  <a:bodyPr/>
                  <a:lstStyle/>
                  <a:p>
                    <a:r>
                      <a:rPr lang="en-US" dirty="0" smtClean="0"/>
                      <a:t>8.6</a:t>
                    </a:r>
                    <a:r>
                      <a:rPr lang="en-US" dirty="0"/>
                      <a:t>%</a:t>
                    </a:r>
                  </a:p>
                </c:rich>
              </c:tx>
              <c:showLegendKey val="0"/>
              <c:showVal val="1"/>
              <c:showCatName val="0"/>
              <c:showSerName val="0"/>
              <c:showPercent val="0"/>
              <c:showBubbleSize val="0"/>
            </c:dLbl>
            <c:dLbl>
              <c:idx val="1"/>
              <c:layout>
                <c:manualLayout>
                  <c:x val="1.2307692307692308E-2"/>
                  <c:y val="1.6107805316281774E-2"/>
                </c:manualLayout>
              </c:layout>
              <c:tx>
                <c:rich>
                  <a:bodyPr/>
                  <a:lstStyle/>
                  <a:p>
                    <a:r>
                      <a:rPr lang="en-US" dirty="0"/>
                      <a:t>-</a:t>
                    </a:r>
                    <a:r>
                      <a:rPr lang="en-US" dirty="0" smtClean="0"/>
                      <a:t>14.9</a:t>
                    </a:r>
                    <a:r>
                      <a:rPr lang="en-US" dirty="0"/>
                      <a:t>%</a:t>
                    </a:r>
                  </a:p>
                </c:rich>
              </c:tx>
              <c:showLegendKey val="0"/>
              <c:showVal val="1"/>
              <c:showCatName val="0"/>
              <c:showSerName val="0"/>
              <c:showPercent val="0"/>
              <c:showBubbleSize val="0"/>
            </c:dLbl>
            <c:dLbl>
              <c:idx val="2"/>
              <c:layout>
                <c:manualLayout>
                  <c:x val="0"/>
                  <c:y val="1.6107382550335572E-2"/>
                </c:manualLayout>
              </c:layout>
              <c:tx>
                <c:rich>
                  <a:bodyPr/>
                  <a:lstStyle/>
                  <a:p>
                    <a:r>
                      <a:rPr lang="en-US" smtClean="0"/>
                      <a:t>19.3</a:t>
                    </a:r>
                    <a:r>
                      <a:rPr lang="en-US"/>
                      <a:t>%</a:t>
                    </a:r>
                  </a:p>
                </c:rich>
              </c:tx>
              <c:showLegendKey val="0"/>
              <c:showVal val="1"/>
              <c:showCatName val="0"/>
              <c:showSerName val="0"/>
              <c:showPercent val="0"/>
              <c:showBubbleSize val="0"/>
            </c:dLbl>
            <c:dLbl>
              <c:idx val="3"/>
              <c:layout>
                <c:manualLayout>
                  <c:x val="5.2307207752877047E-2"/>
                  <c:y val="0.01"/>
                </c:manualLayout>
              </c:layout>
              <c:tx>
                <c:rich>
                  <a:bodyPr/>
                  <a:lstStyle/>
                  <a:p>
                    <a:r>
                      <a:rPr lang="en-US" dirty="0" smtClean="0"/>
                      <a:t>23.4</a:t>
                    </a:r>
                    <a:r>
                      <a:rPr lang="en-US" dirty="0"/>
                      <a:t>%</a:t>
                    </a:r>
                  </a:p>
                </c:rich>
              </c:tx>
              <c:showLegendKey val="0"/>
              <c:showVal val="1"/>
              <c:showCatName val="0"/>
              <c:showSerName val="0"/>
              <c:showPercent val="0"/>
              <c:showBubbleSize val="0"/>
            </c:dLbl>
            <c:dLbl>
              <c:idx val="4"/>
              <c:layout>
                <c:manualLayout>
                  <c:x val="2.1538461538461538E-2"/>
                  <c:y val="0.01"/>
                </c:manualLayout>
              </c:layout>
              <c:tx>
                <c:rich>
                  <a:bodyPr/>
                  <a:lstStyle/>
                  <a:p>
                    <a:r>
                      <a:rPr lang="en-US" dirty="0" smtClean="0"/>
                      <a:t>4.3</a:t>
                    </a:r>
                    <a:r>
                      <a:rPr lang="en-US" dirty="0"/>
                      <a:t>%</a:t>
                    </a:r>
                  </a:p>
                </c:rich>
              </c:tx>
              <c:showLegendKey val="0"/>
              <c:showVal val="1"/>
              <c:showCatName val="0"/>
              <c:showSerName val="0"/>
              <c:showPercent val="0"/>
              <c:showBubbleSize val="0"/>
            </c:dLbl>
            <c:dLbl>
              <c:idx val="5"/>
              <c:layout>
                <c:manualLayout>
                  <c:x val="2.4615384615384615E-2"/>
                  <c:y val="1.4999999999999999E-2"/>
                </c:manualLayout>
              </c:layout>
              <c:tx>
                <c:rich>
                  <a:bodyPr/>
                  <a:lstStyle/>
                  <a:p>
                    <a:r>
                      <a:rPr lang="en-US" dirty="0" smtClean="0"/>
                      <a:t>9.8</a:t>
                    </a:r>
                    <a:r>
                      <a:rPr lang="en-US" dirty="0"/>
                      <a:t>%</a:t>
                    </a:r>
                  </a:p>
                </c:rich>
              </c:tx>
              <c:showLegendKey val="0"/>
              <c:showVal val="1"/>
              <c:showCatName val="0"/>
              <c:showSerName val="0"/>
              <c:showPercent val="0"/>
              <c:showBubbleSize val="0"/>
            </c:dLbl>
            <c:dLbl>
              <c:idx val="6"/>
              <c:layout>
                <c:manualLayout>
                  <c:x val="9.2307692307692316E-3"/>
                  <c:y val="1.0738255033557046E-2"/>
                </c:manualLayout>
              </c:layout>
              <c:tx>
                <c:rich>
                  <a:bodyPr/>
                  <a:lstStyle/>
                  <a:p>
                    <a:r>
                      <a:rPr lang="en-US" dirty="0" smtClean="0"/>
                      <a:t>4.4</a:t>
                    </a:r>
                    <a:r>
                      <a:rPr lang="en-US" dirty="0"/>
                      <a:t>%</a:t>
                    </a:r>
                  </a:p>
                </c:rich>
              </c:tx>
              <c:showLegendKey val="0"/>
              <c:showVal val="1"/>
              <c:showCatName val="0"/>
              <c:showSerName val="0"/>
              <c:showPercent val="0"/>
              <c:showBubbleSize val="0"/>
            </c:dLbl>
            <c:dLbl>
              <c:idx val="7"/>
              <c:layout>
                <c:manualLayout>
                  <c:x val="2.4615384615384615E-2"/>
                  <c:y val="2.1476510067114093E-2"/>
                </c:manualLayout>
              </c:layout>
              <c:tx>
                <c:rich>
                  <a:bodyPr/>
                  <a:lstStyle/>
                  <a:p>
                    <a:r>
                      <a:rPr lang="en-US" dirty="0" smtClean="0"/>
                      <a:t>12.5</a:t>
                    </a:r>
                    <a:r>
                      <a:rPr lang="en-US" dirty="0"/>
                      <a:t>%</a:t>
                    </a:r>
                  </a:p>
                </c:rich>
              </c:tx>
              <c:showLegendKey val="0"/>
              <c:showVal val="1"/>
              <c:showCatName val="0"/>
              <c:showSerName val="0"/>
              <c:showPercent val="0"/>
              <c:showBubbleSize val="0"/>
            </c:dLbl>
            <c:dLbl>
              <c:idx val="8"/>
              <c:layout>
                <c:manualLayout>
                  <c:x val="0"/>
                  <c:y val="-1.6107382550335572E-2"/>
                </c:manualLayout>
              </c:layout>
              <c:showLegendKey val="0"/>
              <c:showVal val="1"/>
              <c:showCatName val="0"/>
              <c:showSerName val="0"/>
              <c:showPercent val="0"/>
              <c:showBubbleSize val="0"/>
            </c:dLbl>
            <c:numFmt formatCode="0.0%" sourceLinked="0"/>
            <c:txPr>
              <a:bodyPr/>
              <a:lstStyle/>
              <a:p>
                <a:pPr>
                  <a:defRPr sz="900" b="0" i="0">
                    <a:solidFill>
                      <a:srgbClr val="00A0E3"/>
                    </a:solidFill>
                    <a:latin typeface="Arial(Corps)"/>
                    <a:ea typeface="Arial(Corps)"/>
                    <a:cs typeface="Arial(Corps)"/>
                  </a:defRPr>
                </a:pPr>
                <a:endParaRPr lang="en-US"/>
              </a:p>
            </c:txPr>
            <c:showLegendKey val="0"/>
            <c:showVal val="1"/>
            <c:showCatName val="0"/>
            <c:showSerName val="0"/>
            <c:showPercent val="0"/>
            <c:showBubbleSize val="0"/>
            <c:showLeaderLines val="0"/>
          </c:dLbls>
          <c:cat>
            <c:strRef>
              <c:f>'AFE Euro RP Brut'!$P$55:$P$63</c:f>
              <c:strCache>
                <c:ptCount val="9"/>
                <c:pt idx="0">
                  <c:v>2010 (partial)</c:v>
                </c:pt>
                <c:pt idx="1">
                  <c:v>2011</c:v>
                </c:pt>
                <c:pt idx="2">
                  <c:v>2012</c:v>
                </c:pt>
                <c:pt idx="3">
                  <c:v>2013</c:v>
                </c:pt>
                <c:pt idx="4">
                  <c:v>2014</c:v>
                </c:pt>
                <c:pt idx="5">
                  <c:v>2015</c:v>
                </c:pt>
                <c:pt idx="6">
                  <c:v>2016</c:v>
                </c:pt>
                <c:pt idx="7">
                  <c:v>2017</c:v>
                </c:pt>
                <c:pt idx="8">
                  <c:v>YTD</c:v>
                </c:pt>
              </c:strCache>
            </c:strRef>
          </c:cat>
          <c:val>
            <c:numRef>
              <c:f>'AFE Euro RP Brut'!$R$55:$R$63</c:f>
              <c:numCache>
                <c:formatCode>0\.0%</c:formatCode>
                <c:ptCount val="9"/>
                <c:pt idx="0">
                  <c:v>8.5720935047794544E-2</c:v>
                </c:pt>
                <c:pt idx="1">
                  <c:v>-0.14891514039644815</c:v>
                </c:pt>
                <c:pt idx="2">
                  <c:v>0.19302774631057229</c:v>
                </c:pt>
                <c:pt idx="3">
                  <c:v>0.23364216116809011</c:v>
                </c:pt>
                <c:pt idx="4">
                  <c:v>4.3173832056331074E-2</c:v>
                </c:pt>
                <c:pt idx="5">
                  <c:v>9.8089483407333367E-2</c:v>
                </c:pt>
                <c:pt idx="6">
                  <c:v>4.3737725815759187E-2</c:v>
                </c:pt>
                <c:pt idx="7">
                  <c:v>0.12488681577704708</c:v>
                </c:pt>
                <c:pt idx="8">
                  <c:v>3.167275682748727E-2</c:v>
                </c:pt>
              </c:numCache>
            </c:numRef>
          </c:val>
        </c:ser>
        <c:dLbls>
          <c:showLegendKey val="0"/>
          <c:showVal val="0"/>
          <c:showCatName val="0"/>
          <c:showSerName val="0"/>
          <c:showPercent val="0"/>
          <c:showBubbleSize val="0"/>
        </c:dLbls>
        <c:gapWidth val="150"/>
        <c:axId val="494213376"/>
        <c:axId val="494264320"/>
      </c:barChart>
      <c:catAx>
        <c:axId val="494213376"/>
        <c:scaling>
          <c:orientation val="minMax"/>
        </c:scaling>
        <c:delete val="0"/>
        <c:axPos val="b"/>
        <c:majorTickMark val="out"/>
        <c:minorTickMark val="none"/>
        <c:tickLblPos val="low"/>
        <c:spPr>
          <a:ln>
            <a:solidFill>
              <a:srgbClr val="003C64"/>
            </a:solidFill>
          </a:ln>
        </c:spPr>
        <c:txPr>
          <a:bodyPr/>
          <a:lstStyle/>
          <a:p>
            <a:pPr algn="ctr">
              <a:defRPr lang="fr-FR" sz="900" b="0" i="0" u="none" strike="noStrike" kern="1200" baseline="0">
                <a:solidFill>
                  <a:srgbClr val="003C64"/>
                </a:solidFill>
                <a:latin typeface="Arial"/>
                <a:ea typeface="Arial"/>
                <a:cs typeface="Arial"/>
              </a:defRPr>
            </a:pPr>
            <a:endParaRPr lang="en-US"/>
          </a:p>
        </c:txPr>
        <c:crossAx val="494264320"/>
        <c:crosses val="autoZero"/>
        <c:auto val="1"/>
        <c:lblAlgn val="ctr"/>
        <c:lblOffset val="100"/>
        <c:noMultiLvlLbl val="0"/>
      </c:catAx>
      <c:valAx>
        <c:axId val="494264320"/>
        <c:scaling>
          <c:orientation val="minMax"/>
        </c:scaling>
        <c:delete val="1"/>
        <c:axPos val="l"/>
        <c:majorGridlines>
          <c:spPr>
            <a:ln>
              <a:solidFill>
                <a:srgbClr val="FFFFFF"/>
              </a:solidFill>
            </a:ln>
          </c:spPr>
        </c:majorGridlines>
        <c:numFmt formatCode="0\.0%" sourceLinked="1"/>
        <c:majorTickMark val="none"/>
        <c:minorTickMark val="none"/>
        <c:tickLblPos val="nextTo"/>
        <c:crossAx val="494213376"/>
        <c:crosses val="autoZero"/>
        <c:crossBetween val="between"/>
      </c:valAx>
      <c:spPr>
        <a:ln>
          <a:noFill/>
        </a:ln>
      </c:spPr>
    </c:plotArea>
    <c:legend>
      <c:legendPos val="b"/>
      <c:legendEntry>
        <c:idx val="0"/>
        <c:txPr>
          <a:bodyPr/>
          <a:lstStyle/>
          <a:p>
            <a:pPr algn="ctr">
              <a:defRPr lang="fr-FR" sz="900" b="0" i="0" u="none" strike="noStrike" kern="1200" baseline="0">
                <a:solidFill>
                  <a:srgbClr val="003C64"/>
                </a:solidFill>
                <a:latin typeface="Arial"/>
                <a:ea typeface="Arial"/>
                <a:cs typeface="Arial"/>
              </a:defRPr>
            </a:pPr>
            <a:endParaRPr lang="en-US"/>
          </a:p>
        </c:txPr>
      </c:legendEntry>
      <c:legendEntry>
        <c:idx val="1"/>
        <c:txPr>
          <a:bodyPr/>
          <a:lstStyle/>
          <a:p>
            <a:pPr algn="ctr">
              <a:defRPr lang="fr-FR" sz="900" b="0" i="0" u="none" strike="noStrike" kern="1200" baseline="0">
                <a:solidFill>
                  <a:srgbClr val="00A0E3"/>
                </a:solidFill>
                <a:latin typeface="Arial"/>
                <a:ea typeface="Arial"/>
                <a:cs typeface="Arial"/>
              </a:defRPr>
            </a:pPr>
            <a:endParaRPr lang="en-US"/>
          </a:p>
        </c:txPr>
      </c:legendEntry>
      <c:overlay val="0"/>
      <c:txPr>
        <a:bodyPr/>
        <a:lstStyle/>
        <a:p>
          <a:pPr algn="ctr">
            <a:defRPr lang="fr-FR" sz="900" b="0" i="0" u="none" strike="noStrike" kern="1200" baseline="0">
              <a:solidFill>
                <a:srgbClr val="003C64"/>
              </a:solidFill>
              <a:latin typeface="Arial"/>
              <a:ea typeface="Arial"/>
              <a:cs typeface="Arial"/>
            </a:defRPr>
          </a:pPr>
          <a:endParaRPr lang="en-US"/>
        </a:p>
      </c:txPr>
    </c:legend>
    <c:plotVisOnly val="1"/>
    <c:dispBlanksAs val="gap"/>
    <c:showDLblsOverMax val="0"/>
  </c:chart>
  <c:spPr>
    <a:ln w="9525">
      <a:noFill/>
    </a:ln>
  </c:sp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216247252779721E-2"/>
          <c:y val="6.3038220290865851E-2"/>
          <c:w val="0.81621035336839465"/>
          <c:h val="0.59151633829137551"/>
        </c:manualLayout>
      </c:layout>
      <c:areaChart>
        <c:grouping val="stacked"/>
        <c:varyColors val="0"/>
        <c:ser>
          <c:idx val="2"/>
          <c:order val="2"/>
          <c:tx>
            <c:strRef>
              <c:f>'AFE Euro RP Brut'!$M$4</c:f>
              <c:strCache>
                <c:ptCount val="1"/>
                <c:pt idx="0">
                  <c:v>Excess return</c:v>
                </c:pt>
              </c:strCache>
            </c:strRef>
          </c:tx>
          <c:spPr>
            <a:solidFill>
              <a:schemeClr val="bg1">
                <a:lumMod val="95000"/>
              </a:schemeClr>
            </a:solidFill>
            <a:ln>
              <a:noFill/>
            </a:ln>
          </c:spPr>
          <c:cat>
            <c:numRef>
              <c:f>'AFE Euro RP Brut'!$C$5:$C$1989</c:f>
              <c:numCache>
                <c:formatCode>m/d/yyyy</c:formatCode>
                <c:ptCount val="1985"/>
                <c:pt idx="0">
                  <c:v>40353</c:v>
                </c:pt>
                <c:pt idx="1">
                  <c:v>40354</c:v>
                </c:pt>
                <c:pt idx="2">
                  <c:v>40357</c:v>
                </c:pt>
                <c:pt idx="3">
                  <c:v>40358</c:v>
                </c:pt>
                <c:pt idx="4">
                  <c:v>40359</c:v>
                </c:pt>
                <c:pt idx="5">
                  <c:v>40360</c:v>
                </c:pt>
                <c:pt idx="6">
                  <c:v>40361</c:v>
                </c:pt>
                <c:pt idx="7">
                  <c:v>40364</c:v>
                </c:pt>
                <c:pt idx="8">
                  <c:v>40365</c:v>
                </c:pt>
                <c:pt idx="9">
                  <c:v>40366</c:v>
                </c:pt>
                <c:pt idx="10">
                  <c:v>40367</c:v>
                </c:pt>
                <c:pt idx="11">
                  <c:v>40368</c:v>
                </c:pt>
                <c:pt idx="12">
                  <c:v>40371</c:v>
                </c:pt>
                <c:pt idx="13">
                  <c:v>40372</c:v>
                </c:pt>
                <c:pt idx="14">
                  <c:v>40373</c:v>
                </c:pt>
                <c:pt idx="15">
                  <c:v>40374</c:v>
                </c:pt>
                <c:pt idx="16">
                  <c:v>40375</c:v>
                </c:pt>
                <c:pt idx="17">
                  <c:v>40378</c:v>
                </c:pt>
                <c:pt idx="18">
                  <c:v>40379</c:v>
                </c:pt>
                <c:pt idx="19">
                  <c:v>40380</c:v>
                </c:pt>
                <c:pt idx="20">
                  <c:v>40381</c:v>
                </c:pt>
                <c:pt idx="21">
                  <c:v>40382</c:v>
                </c:pt>
                <c:pt idx="22">
                  <c:v>40385</c:v>
                </c:pt>
                <c:pt idx="23">
                  <c:v>40386</c:v>
                </c:pt>
                <c:pt idx="24">
                  <c:v>40387</c:v>
                </c:pt>
                <c:pt idx="25">
                  <c:v>40388</c:v>
                </c:pt>
                <c:pt idx="26">
                  <c:v>40389</c:v>
                </c:pt>
                <c:pt idx="27">
                  <c:v>40392</c:v>
                </c:pt>
                <c:pt idx="28">
                  <c:v>40393</c:v>
                </c:pt>
                <c:pt idx="29">
                  <c:v>40394</c:v>
                </c:pt>
                <c:pt idx="30">
                  <c:v>40395</c:v>
                </c:pt>
                <c:pt idx="31">
                  <c:v>40396</c:v>
                </c:pt>
                <c:pt idx="32">
                  <c:v>40399</c:v>
                </c:pt>
                <c:pt idx="33">
                  <c:v>40400</c:v>
                </c:pt>
                <c:pt idx="34">
                  <c:v>40401</c:v>
                </c:pt>
                <c:pt idx="35">
                  <c:v>40402</c:v>
                </c:pt>
                <c:pt idx="36">
                  <c:v>40403</c:v>
                </c:pt>
                <c:pt idx="37">
                  <c:v>40406</c:v>
                </c:pt>
                <c:pt idx="38">
                  <c:v>40407</c:v>
                </c:pt>
                <c:pt idx="39">
                  <c:v>40408</c:v>
                </c:pt>
                <c:pt idx="40">
                  <c:v>40409</c:v>
                </c:pt>
                <c:pt idx="41">
                  <c:v>40410</c:v>
                </c:pt>
                <c:pt idx="42">
                  <c:v>40413</c:v>
                </c:pt>
                <c:pt idx="43">
                  <c:v>40414</c:v>
                </c:pt>
                <c:pt idx="44">
                  <c:v>40415</c:v>
                </c:pt>
                <c:pt idx="45">
                  <c:v>40416</c:v>
                </c:pt>
                <c:pt idx="46">
                  <c:v>40417</c:v>
                </c:pt>
                <c:pt idx="47">
                  <c:v>40420</c:v>
                </c:pt>
                <c:pt idx="48">
                  <c:v>40421</c:v>
                </c:pt>
                <c:pt idx="49">
                  <c:v>40422</c:v>
                </c:pt>
                <c:pt idx="50">
                  <c:v>40423</c:v>
                </c:pt>
                <c:pt idx="51">
                  <c:v>40424</c:v>
                </c:pt>
                <c:pt idx="52">
                  <c:v>40427</c:v>
                </c:pt>
                <c:pt idx="53">
                  <c:v>40428</c:v>
                </c:pt>
                <c:pt idx="54">
                  <c:v>40429</c:v>
                </c:pt>
                <c:pt idx="55">
                  <c:v>40430</c:v>
                </c:pt>
                <c:pt idx="56">
                  <c:v>40431</c:v>
                </c:pt>
                <c:pt idx="57">
                  <c:v>40434</c:v>
                </c:pt>
                <c:pt idx="58">
                  <c:v>40435</c:v>
                </c:pt>
                <c:pt idx="59">
                  <c:v>40436</c:v>
                </c:pt>
                <c:pt idx="60">
                  <c:v>40437</c:v>
                </c:pt>
                <c:pt idx="61">
                  <c:v>40438</c:v>
                </c:pt>
                <c:pt idx="62">
                  <c:v>40441</c:v>
                </c:pt>
                <c:pt idx="63">
                  <c:v>40442</c:v>
                </c:pt>
                <c:pt idx="64">
                  <c:v>40443</c:v>
                </c:pt>
                <c:pt idx="65">
                  <c:v>40444</c:v>
                </c:pt>
                <c:pt idx="66">
                  <c:v>40445</c:v>
                </c:pt>
                <c:pt idx="67">
                  <c:v>40448</c:v>
                </c:pt>
                <c:pt idx="68">
                  <c:v>40449</c:v>
                </c:pt>
                <c:pt idx="69">
                  <c:v>40450</c:v>
                </c:pt>
                <c:pt idx="70">
                  <c:v>40451</c:v>
                </c:pt>
                <c:pt idx="71">
                  <c:v>40452</c:v>
                </c:pt>
                <c:pt idx="72">
                  <c:v>40455</c:v>
                </c:pt>
                <c:pt idx="73">
                  <c:v>40456</c:v>
                </c:pt>
                <c:pt idx="74">
                  <c:v>40457</c:v>
                </c:pt>
                <c:pt idx="75">
                  <c:v>40458</c:v>
                </c:pt>
                <c:pt idx="76">
                  <c:v>40459</c:v>
                </c:pt>
                <c:pt idx="77">
                  <c:v>40462</c:v>
                </c:pt>
                <c:pt idx="78">
                  <c:v>40463</c:v>
                </c:pt>
                <c:pt idx="79">
                  <c:v>40464</c:v>
                </c:pt>
                <c:pt idx="80">
                  <c:v>40465</c:v>
                </c:pt>
                <c:pt idx="81">
                  <c:v>40466</c:v>
                </c:pt>
                <c:pt idx="82">
                  <c:v>40469</c:v>
                </c:pt>
                <c:pt idx="83">
                  <c:v>40470</c:v>
                </c:pt>
                <c:pt idx="84">
                  <c:v>40471</c:v>
                </c:pt>
                <c:pt idx="85">
                  <c:v>40472</c:v>
                </c:pt>
                <c:pt idx="86">
                  <c:v>40473</c:v>
                </c:pt>
                <c:pt idx="87">
                  <c:v>40476</c:v>
                </c:pt>
                <c:pt idx="88">
                  <c:v>40477</c:v>
                </c:pt>
                <c:pt idx="89">
                  <c:v>40478</c:v>
                </c:pt>
                <c:pt idx="90">
                  <c:v>40479</c:v>
                </c:pt>
                <c:pt idx="91">
                  <c:v>40480</c:v>
                </c:pt>
                <c:pt idx="92">
                  <c:v>40483</c:v>
                </c:pt>
                <c:pt idx="93">
                  <c:v>40484</c:v>
                </c:pt>
                <c:pt idx="94">
                  <c:v>40485</c:v>
                </c:pt>
                <c:pt idx="95">
                  <c:v>40486</c:v>
                </c:pt>
                <c:pt idx="96">
                  <c:v>40487</c:v>
                </c:pt>
                <c:pt idx="97">
                  <c:v>40490</c:v>
                </c:pt>
                <c:pt idx="98">
                  <c:v>40491</c:v>
                </c:pt>
                <c:pt idx="99">
                  <c:v>40492</c:v>
                </c:pt>
                <c:pt idx="100">
                  <c:v>40493</c:v>
                </c:pt>
                <c:pt idx="101">
                  <c:v>40494</c:v>
                </c:pt>
                <c:pt idx="102">
                  <c:v>40497</c:v>
                </c:pt>
                <c:pt idx="103">
                  <c:v>40498</c:v>
                </c:pt>
                <c:pt idx="104">
                  <c:v>40499</c:v>
                </c:pt>
                <c:pt idx="105">
                  <c:v>40500</c:v>
                </c:pt>
                <c:pt idx="106">
                  <c:v>40501</c:v>
                </c:pt>
                <c:pt idx="107">
                  <c:v>40504</c:v>
                </c:pt>
                <c:pt idx="108">
                  <c:v>40505</c:v>
                </c:pt>
                <c:pt idx="109">
                  <c:v>40506</c:v>
                </c:pt>
                <c:pt idx="110">
                  <c:v>40507</c:v>
                </c:pt>
                <c:pt idx="111">
                  <c:v>40508</c:v>
                </c:pt>
                <c:pt idx="112">
                  <c:v>40511</c:v>
                </c:pt>
                <c:pt idx="113">
                  <c:v>40512</c:v>
                </c:pt>
                <c:pt idx="114">
                  <c:v>40513</c:v>
                </c:pt>
                <c:pt idx="115">
                  <c:v>40514</c:v>
                </c:pt>
                <c:pt idx="116">
                  <c:v>40515</c:v>
                </c:pt>
                <c:pt idx="117">
                  <c:v>40518</c:v>
                </c:pt>
                <c:pt idx="118">
                  <c:v>40519</c:v>
                </c:pt>
                <c:pt idx="119">
                  <c:v>40520</c:v>
                </c:pt>
                <c:pt idx="120">
                  <c:v>40521</c:v>
                </c:pt>
                <c:pt idx="121">
                  <c:v>40522</c:v>
                </c:pt>
                <c:pt idx="122">
                  <c:v>40525</c:v>
                </c:pt>
                <c:pt idx="123">
                  <c:v>40526</c:v>
                </c:pt>
                <c:pt idx="124">
                  <c:v>40527</c:v>
                </c:pt>
                <c:pt idx="125">
                  <c:v>40528</c:v>
                </c:pt>
                <c:pt idx="126">
                  <c:v>40529</c:v>
                </c:pt>
                <c:pt idx="127">
                  <c:v>40532</c:v>
                </c:pt>
                <c:pt idx="128">
                  <c:v>40533</c:v>
                </c:pt>
                <c:pt idx="129">
                  <c:v>40534</c:v>
                </c:pt>
                <c:pt idx="130">
                  <c:v>40535</c:v>
                </c:pt>
                <c:pt idx="131">
                  <c:v>40536</c:v>
                </c:pt>
                <c:pt idx="132">
                  <c:v>40539</c:v>
                </c:pt>
                <c:pt idx="133">
                  <c:v>40540</c:v>
                </c:pt>
                <c:pt idx="134">
                  <c:v>40541</c:v>
                </c:pt>
                <c:pt idx="135">
                  <c:v>40542</c:v>
                </c:pt>
                <c:pt idx="136">
                  <c:v>40543</c:v>
                </c:pt>
                <c:pt idx="137">
                  <c:v>40546</c:v>
                </c:pt>
                <c:pt idx="138">
                  <c:v>40547</c:v>
                </c:pt>
                <c:pt idx="139">
                  <c:v>40548</c:v>
                </c:pt>
                <c:pt idx="140">
                  <c:v>40549</c:v>
                </c:pt>
                <c:pt idx="141">
                  <c:v>40550</c:v>
                </c:pt>
                <c:pt idx="142">
                  <c:v>40553</c:v>
                </c:pt>
                <c:pt idx="143">
                  <c:v>40554</c:v>
                </c:pt>
                <c:pt idx="144">
                  <c:v>40555</c:v>
                </c:pt>
                <c:pt idx="145">
                  <c:v>40556</c:v>
                </c:pt>
                <c:pt idx="146">
                  <c:v>40557</c:v>
                </c:pt>
                <c:pt idx="147">
                  <c:v>40560</c:v>
                </c:pt>
                <c:pt idx="148">
                  <c:v>40561</c:v>
                </c:pt>
                <c:pt idx="149">
                  <c:v>40562</c:v>
                </c:pt>
                <c:pt idx="150">
                  <c:v>40563</c:v>
                </c:pt>
                <c:pt idx="151">
                  <c:v>40564</c:v>
                </c:pt>
                <c:pt idx="152">
                  <c:v>40567</c:v>
                </c:pt>
                <c:pt idx="153">
                  <c:v>40568</c:v>
                </c:pt>
                <c:pt idx="154">
                  <c:v>40569</c:v>
                </c:pt>
                <c:pt idx="155">
                  <c:v>40570</c:v>
                </c:pt>
                <c:pt idx="156">
                  <c:v>40571</c:v>
                </c:pt>
                <c:pt idx="157">
                  <c:v>40574</c:v>
                </c:pt>
                <c:pt idx="158">
                  <c:v>40575</c:v>
                </c:pt>
                <c:pt idx="159">
                  <c:v>40576</c:v>
                </c:pt>
                <c:pt idx="160">
                  <c:v>40577</c:v>
                </c:pt>
                <c:pt idx="161">
                  <c:v>40578</c:v>
                </c:pt>
                <c:pt idx="162">
                  <c:v>40581</c:v>
                </c:pt>
                <c:pt idx="163">
                  <c:v>40582</c:v>
                </c:pt>
                <c:pt idx="164">
                  <c:v>40583</c:v>
                </c:pt>
                <c:pt idx="165">
                  <c:v>40584</c:v>
                </c:pt>
                <c:pt idx="166">
                  <c:v>40585</c:v>
                </c:pt>
                <c:pt idx="167">
                  <c:v>40588</c:v>
                </c:pt>
                <c:pt idx="168">
                  <c:v>40589</c:v>
                </c:pt>
                <c:pt idx="169">
                  <c:v>40590</c:v>
                </c:pt>
                <c:pt idx="170">
                  <c:v>40591</c:v>
                </c:pt>
                <c:pt idx="171">
                  <c:v>40592</c:v>
                </c:pt>
                <c:pt idx="172">
                  <c:v>40595</c:v>
                </c:pt>
                <c:pt idx="173">
                  <c:v>40596</c:v>
                </c:pt>
                <c:pt idx="174">
                  <c:v>40597</c:v>
                </c:pt>
                <c:pt idx="175">
                  <c:v>40598</c:v>
                </c:pt>
                <c:pt idx="176">
                  <c:v>40599</c:v>
                </c:pt>
                <c:pt idx="177">
                  <c:v>40602</c:v>
                </c:pt>
                <c:pt idx="178">
                  <c:v>40603</c:v>
                </c:pt>
                <c:pt idx="179">
                  <c:v>40604</c:v>
                </c:pt>
                <c:pt idx="180">
                  <c:v>40605</c:v>
                </c:pt>
                <c:pt idx="181">
                  <c:v>40606</c:v>
                </c:pt>
                <c:pt idx="182">
                  <c:v>40609</c:v>
                </c:pt>
                <c:pt idx="183">
                  <c:v>40610</c:v>
                </c:pt>
                <c:pt idx="184">
                  <c:v>40611</c:v>
                </c:pt>
                <c:pt idx="185">
                  <c:v>40612</c:v>
                </c:pt>
                <c:pt idx="186">
                  <c:v>40613</c:v>
                </c:pt>
                <c:pt idx="187">
                  <c:v>40616</c:v>
                </c:pt>
                <c:pt idx="188">
                  <c:v>40617</c:v>
                </c:pt>
                <c:pt idx="189">
                  <c:v>40618</c:v>
                </c:pt>
                <c:pt idx="190">
                  <c:v>40619</c:v>
                </c:pt>
                <c:pt idx="191">
                  <c:v>40620</c:v>
                </c:pt>
                <c:pt idx="192">
                  <c:v>40623</c:v>
                </c:pt>
                <c:pt idx="193">
                  <c:v>40624</c:v>
                </c:pt>
                <c:pt idx="194">
                  <c:v>40625</c:v>
                </c:pt>
                <c:pt idx="195">
                  <c:v>40626</c:v>
                </c:pt>
                <c:pt idx="196">
                  <c:v>40627</c:v>
                </c:pt>
                <c:pt idx="197">
                  <c:v>40630</c:v>
                </c:pt>
                <c:pt idx="198">
                  <c:v>40631</c:v>
                </c:pt>
                <c:pt idx="199">
                  <c:v>40632</c:v>
                </c:pt>
                <c:pt idx="200">
                  <c:v>40633</c:v>
                </c:pt>
                <c:pt idx="201">
                  <c:v>40634</c:v>
                </c:pt>
                <c:pt idx="202">
                  <c:v>40637</c:v>
                </c:pt>
                <c:pt idx="203">
                  <c:v>40638</c:v>
                </c:pt>
                <c:pt idx="204">
                  <c:v>40639</c:v>
                </c:pt>
                <c:pt idx="205">
                  <c:v>40640</c:v>
                </c:pt>
                <c:pt idx="206">
                  <c:v>40641</c:v>
                </c:pt>
                <c:pt idx="207">
                  <c:v>40644</c:v>
                </c:pt>
                <c:pt idx="208">
                  <c:v>40645</c:v>
                </c:pt>
                <c:pt idx="209">
                  <c:v>40646</c:v>
                </c:pt>
                <c:pt idx="210">
                  <c:v>40647</c:v>
                </c:pt>
                <c:pt idx="211">
                  <c:v>40648</c:v>
                </c:pt>
                <c:pt idx="212">
                  <c:v>40651</c:v>
                </c:pt>
                <c:pt idx="213">
                  <c:v>40652</c:v>
                </c:pt>
                <c:pt idx="214">
                  <c:v>40653</c:v>
                </c:pt>
                <c:pt idx="215">
                  <c:v>40654</c:v>
                </c:pt>
                <c:pt idx="216">
                  <c:v>40655</c:v>
                </c:pt>
                <c:pt idx="217">
                  <c:v>40658</c:v>
                </c:pt>
                <c:pt idx="218">
                  <c:v>40659</c:v>
                </c:pt>
                <c:pt idx="219">
                  <c:v>40660</c:v>
                </c:pt>
                <c:pt idx="220">
                  <c:v>40661</c:v>
                </c:pt>
                <c:pt idx="221">
                  <c:v>40662</c:v>
                </c:pt>
                <c:pt idx="222">
                  <c:v>40665</c:v>
                </c:pt>
                <c:pt idx="223">
                  <c:v>40666</c:v>
                </c:pt>
                <c:pt idx="224">
                  <c:v>40667</c:v>
                </c:pt>
                <c:pt idx="225">
                  <c:v>40668</c:v>
                </c:pt>
                <c:pt idx="226">
                  <c:v>40669</c:v>
                </c:pt>
                <c:pt idx="227">
                  <c:v>40672</c:v>
                </c:pt>
                <c:pt idx="228">
                  <c:v>40673</c:v>
                </c:pt>
                <c:pt idx="229">
                  <c:v>40674</c:v>
                </c:pt>
                <c:pt idx="230">
                  <c:v>40675</c:v>
                </c:pt>
                <c:pt idx="231">
                  <c:v>40676</c:v>
                </c:pt>
                <c:pt idx="232">
                  <c:v>40679</c:v>
                </c:pt>
                <c:pt idx="233">
                  <c:v>40680</c:v>
                </c:pt>
                <c:pt idx="234">
                  <c:v>40681</c:v>
                </c:pt>
                <c:pt idx="235">
                  <c:v>40682</c:v>
                </c:pt>
                <c:pt idx="236">
                  <c:v>40683</c:v>
                </c:pt>
                <c:pt idx="237">
                  <c:v>40686</c:v>
                </c:pt>
                <c:pt idx="238">
                  <c:v>40687</c:v>
                </c:pt>
                <c:pt idx="239">
                  <c:v>40688</c:v>
                </c:pt>
                <c:pt idx="240">
                  <c:v>40689</c:v>
                </c:pt>
                <c:pt idx="241">
                  <c:v>40690</c:v>
                </c:pt>
                <c:pt idx="242">
                  <c:v>40693</c:v>
                </c:pt>
                <c:pt idx="243">
                  <c:v>40694</c:v>
                </c:pt>
                <c:pt idx="244">
                  <c:v>40695</c:v>
                </c:pt>
                <c:pt idx="245">
                  <c:v>40696</c:v>
                </c:pt>
                <c:pt idx="246">
                  <c:v>40697</c:v>
                </c:pt>
                <c:pt idx="247">
                  <c:v>40700</c:v>
                </c:pt>
                <c:pt idx="248">
                  <c:v>40701</c:v>
                </c:pt>
                <c:pt idx="249">
                  <c:v>40702</c:v>
                </c:pt>
                <c:pt idx="250">
                  <c:v>40703</c:v>
                </c:pt>
                <c:pt idx="251">
                  <c:v>40704</c:v>
                </c:pt>
                <c:pt idx="252">
                  <c:v>40707</c:v>
                </c:pt>
                <c:pt idx="253">
                  <c:v>40708</c:v>
                </c:pt>
                <c:pt idx="254">
                  <c:v>40709</c:v>
                </c:pt>
                <c:pt idx="255">
                  <c:v>40710</c:v>
                </c:pt>
                <c:pt idx="256">
                  <c:v>40711</c:v>
                </c:pt>
                <c:pt idx="257">
                  <c:v>40714</c:v>
                </c:pt>
                <c:pt idx="258">
                  <c:v>40715</c:v>
                </c:pt>
                <c:pt idx="259">
                  <c:v>40716</c:v>
                </c:pt>
                <c:pt idx="260">
                  <c:v>40717</c:v>
                </c:pt>
                <c:pt idx="261">
                  <c:v>40718</c:v>
                </c:pt>
                <c:pt idx="262">
                  <c:v>40721</c:v>
                </c:pt>
                <c:pt idx="263">
                  <c:v>40722</c:v>
                </c:pt>
                <c:pt idx="264">
                  <c:v>40723</c:v>
                </c:pt>
                <c:pt idx="265">
                  <c:v>40724</c:v>
                </c:pt>
                <c:pt idx="266">
                  <c:v>40725</c:v>
                </c:pt>
                <c:pt idx="267">
                  <c:v>40728</c:v>
                </c:pt>
                <c:pt idx="268">
                  <c:v>40729</c:v>
                </c:pt>
                <c:pt idx="269">
                  <c:v>40730</c:v>
                </c:pt>
                <c:pt idx="270">
                  <c:v>40731</c:v>
                </c:pt>
                <c:pt idx="271">
                  <c:v>40732</c:v>
                </c:pt>
                <c:pt idx="272">
                  <c:v>40735</c:v>
                </c:pt>
                <c:pt idx="273">
                  <c:v>40736</c:v>
                </c:pt>
                <c:pt idx="274">
                  <c:v>40737</c:v>
                </c:pt>
                <c:pt idx="275">
                  <c:v>40738</c:v>
                </c:pt>
                <c:pt idx="276">
                  <c:v>40739</c:v>
                </c:pt>
                <c:pt idx="277">
                  <c:v>40742</c:v>
                </c:pt>
                <c:pt idx="278">
                  <c:v>40743</c:v>
                </c:pt>
                <c:pt idx="279">
                  <c:v>40744</c:v>
                </c:pt>
                <c:pt idx="280">
                  <c:v>40745</c:v>
                </c:pt>
                <c:pt idx="281">
                  <c:v>40746</c:v>
                </c:pt>
                <c:pt idx="282">
                  <c:v>40749</c:v>
                </c:pt>
                <c:pt idx="283">
                  <c:v>40750</c:v>
                </c:pt>
                <c:pt idx="284">
                  <c:v>40751</c:v>
                </c:pt>
                <c:pt idx="285">
                  <c:v>40752</c:v>
                </c:pt>
                <c:pt idx="286">
                  <c:v>40753</c:v>
                </c:pt>
                <c:pt idx="287">
                  <c:v>40756</c:v>
                </c:pt>
                <c:pt idx="288">
                  <c:v>40757</c:v>
                </c:pt>
                <c:pt idx="289">
                  <c:v>40758</c:v>
                </c:pt>
                <c:pt idx="290">
                  <c:v>40759</c:v>
                </c:pt>
                <c:pt idx="291">
                  <c:v>40760</c:v>
                </c:pt>
                <c:pt idx="292">
                  <c:v>40763</c:v>
                </c:pt>
                <c:pt idx="293">
                  <c:v>40764</c:v>
                </c:pt>
                <c:pt idx="294">
                  <c:v>40765</c:v>
                </c:pt>
                <c:pt idx="295">
                  <c:v>40766</c:v>
                </c:pt>
                <c:pt idx="296">
                  <c:v>40767</c:v>
                </c:pt>
                <c:pt idx="297">
                  <c:v>40770</c:v>
                </c:pt>
                <c:pt idx="298">
                  <c:v>40771</c:v>
                </c:pt>
                <c:pt idx="299">
                  <c:v>40772</c:v>
                </c:pt>
                <c:pt idx="300">
                  <c:v>40773</c:v>
                </c:pt>
                <c:pt idx="301">
                  <c:v>40774</c:v>
                </c:pt>
                <c:pt idx="302">
                  <c:v>40777</c:v>
                </c:pt>
                <c:pt idx="303">
                  <c:v>40778</c:v>
                </c:pt>
                <c:pt idx="304">
                  <c:v>40779</c:v>
                </c:pt>
                <c:pt idx="305">
                  <c:v>40780</c:v>
                </c:pt>
                <c:pt idx="306">
                  <c:v>40781</c:v>
                </c:pt>
                <c:pt idx="307">
                  <c:v>40784</c:v>
                </c:pt>
                <c:pt idx="308">
                  <c:v>40785</c:v>
                </c:pt>
                <c:pt idx="309">
                  <c:v>40786</c:v>
                </c:pt>
                <c:pt idx="310">
                  <c:v>40787</c:v>
                </c:pt>
                <c:pt idx="311">
                  <c:v>40788</c:v>
                </c:pt>
                <c:pt idx="312">
                  <c:v>40791</c:v>
                </c:pt>
                <c:pt idx="313">
                  <c:v>40792</c:v>
                </c:pt>
                <c:pt idx="314">
                  <c:v>40793</c:v>
                </c:pt>
                <c:pt idx="315">
                  <c:v>40794</c:v>
                </c:pt>
                <c:pt idx="316">
                  <c:v>40795</c:v>
                </c:pt>
                <c:pt idx="317">
                  <c:v>40798</c:v>
                </c:pt>
                <c:pt idx="318">
                  <c:v>40799</c:v>
                </c:pt>
                <c:pt idx="319">
                  <c:v>40800</c:v>
                </c:pt>
                <c:pt idx="320">
                  <c:v>40801</c:v>
                </c:pt>
                <c:pt idx="321">
                  <c:v>40802</c:v>
                </c:pt>
                <c:pt idx="322">
                  <c:v>40805</c:v>
                </c:pt>
                <c:pt idx="323">
                  <c:v>40806</c:v>
                </c:pt>
                <c:pt idx="324">
                  <c:v>40807</c:v>
                </c:pt>
                <c:pt idx="325">
                  <c:v>40808</c:v>
                </c:pt>
                <c:pt idx="326">
                  <c:v>40809</c:v>
                </c:pt>
                <c:pt idx="327">
                  <c:v>40812</c:v>
                </c:pt>
                <c:pt idx="328">
                  <c:v>40813</c:v>
                </c:pt>
                <c:pt idx="329">
                  <c:v>40814</c:v>
                </c:pt>
                <c:pt idx="330">
                  <c:v>40815</c:v>
                </c:pt>
                <c:pt idx="331">
                  <c:v>40816</c:v>
                </c:pt>
                <c:pt idx="332">
                  <c:v>40819</c:v>
                </c:pt>
                <c:pt idx="333">
                  <c:v>40820</c:v>
                </c:pt>
                <c:pt idx="334">
                  <c:v>40821</c:v>
                </c:pt>
                <c:pt idx="335">
                  <c:v>40822</c:v>
                </c:pt>
                <c:pt idx="336">
                  <c:v>40823</c:v>
                </c:pt>
                <c:pt idx="337">
                  <c:v>40826</c:v>
                </c:pt>
                <c:pt idx="338">
                  <c:v>40827</c:v>
                </c:pt>
                <c:pt idx="339">
                  <c:v>40828</c:v>
                </c:pt>
                <c:pt idx="340">
                  <c:v>40829</c:v>
                </c:pt>
                <c:pt idx="341">
                  <c:v>40830</c:v>
                </c:pt>
                <c:pt idx="342">
                  <c:v>40833</c:v>
                </c:pt>
                <c:pt idx="343">
                  <c:v>40834</c:v>
                </c:pt>
                <c:pt idx="344">
                  <c:v>40835</c:v>
                </c:pt>
                <c:pt idx="345">
                  <c:v>40836</c:v>
                </c:pt>
                <c:pt idx="346">
                  <c:v>40837</c:v>
                </c:pt>
                <c:pt idx="347">
                  <c:v>40840</c:v>
                </c:pt>
                <c:pt idx="348">
                  <c:v>40841</c:v>
                </c:pt>
                <c:pt idx="349">
                  <c:v>40842</c:v>
                </c:pt>
                <c:pt idx="350">
                  <c:v>40843</c:v>
                </c:pt>
                <c:pt idx="351">
                  <c:v>40844</c:v>
                </c:pt>
                <c:pt idx="352">
                  <c:v>40847</c:v>
                </c:pt>
                <c:pt idx="353">
                  <c:v>40848</c:v>
                </c:pt>
                <c:pt idx="354">
                  <c:v>40849</c:v>
                </c:pt>
                <c:pt idx="355">
                  <c:v>40850</c:v>
                </c:pt>
                <c:pt idx="356">
                  <c:v>40851</c:v>
                </c:pt>
                <c:pt idx="357">
                  <c:v>40854</c:v>
                </c:pt>
                <c:pt idx="358">
                  <c:v>40855</c:v>
                </c:pt>
                <c:pt idx="359">
                  <c:v>40856</c:v>
                </c:pt>
                <c:pt idx="360">
                  <c:v>40857</c:v>
                </c:pt>
                <c:pt idx="361">
                  <c:v>40858</c:v>
                </c:pt>
                <c:pt idx="362">
                  <c:v>40861</c:v>
                </c:pt>
                <c:pt idx="363">
                  <c:v>40862</c:v>
                </c:pt>
                <c:pt idx="364">
                  <c:v>40863</c:v>
                </c:pt>
                <c:pt idx="365">
                  <c:v>40864</c:v>
                </c:pt>
                <c:pt idx="366">
                  <c:v>40865</c:v>
                </c:pt>
                <c:pt idx="367">
                  <c:v>40868</c:v>
                </c:pt>
                <c:pt idx="368">
                  <c:v>40869</c:v>
                </c:pt>
                <c:pt idx="369">
                  <c:v>40870</c:v>
                </c:pt>
                <c:pt idx="370">
                  <c:v>40871</c:v>
                </c:pt>
                <c:pt idx="371">
                  <c:v>40872</c:v>
                </c:pt>
                <c:pt idx="372">
                  <c:v>40875</c:v>
                </c:pt>
                <c:pt idx="373">
                  <c:v>40876</c:v>
                </c:pt>
                <c:pt idx="374">
                  <c:v>40877</c:v>
                </c:pt>
                <c:pt idx="375">
                  <c:v>40878</c:v>
                </c:pt>
                <c:pt idx="376">
                  <c:v>40879</c:v>
                </c:pt>
                <c:pt idx="377">
                  <c:v>40882</c:v>
                </c:pt>
                <c:pt idx="378">
                  <c:v>40883</c:v>
                </c:pt>
                <c:pt idx="379">
                  <c:v>40884</c:v>
                </c:pt>
                <c:pt idx="380">
                  <c:v>40885</c:v>
                </c:pt>
                <c:pt idx="381">
                  <c:v>40886</c:v>
                </c:pt>
                <c:pt idx="382">
                  <c:v>40889</c:v>
                </c:pt>
                <c:pt idx="383">
                  <c:v>40890</c:v>
                </c:pt>
                <c:pt idx="384">
                  <c:v>40891</c:v>
                </c:pt>
                <c:pt idx="385">
                  <c:v>40892</c:v>
                </c:pt>
                <c:pt idx="386">
                  <c:v>40893</c:v>
                </c:pt>
                <c:pt idx="387">
                  <c:v>40896</c:v>
                </c:pt>
                <c:pt idx="388">
                  <c:v>40897</c:v>
                </c:pt>
                <c:pt idx="389">
                  <c:v>40898</c:v>
                </c:pt>
                <c:pt idx="390">
                  <c:v>40899</c:v>
                </c:pt>
                <c:pt idx="391">
                  <c:v>40900</c:v>
                </c:pt>
                <c:pt idx="392">
                  <c:v>40903</c:v>
                </c:pt>
                <c:pt idx="393">
                  <c:v>40904</c:v>
                </c:pt>
                <c:pt idx="394">
                  <c:v>40905</c:v>
                </c:pt>
                <c:pt idx="395">
                  <c:v>40906</c:v>
                </c:pt>
                <c:pt idx="396">
                  <c:v>40907</c:v>
                </c:pt>
                <c:pt idx="397">
                  <c:v>40910</c:v>
                </c:pt>
                <c:pt idx="398">
                  <c:v>40911</c:v>
                </c:pt>
                <c:pt idx="399">
                  <c:v>40912</c:v>
                </c:pt>
                <c:pt idx="400">
                  <c:v>40913</c:v>
                </c:pt>
                <c:pt idx="401">
                  <c:v>40914</c:v>
                </c:pt>
                <c:pt idx="402">
                  <c:v>40917</c:v>
                </c:pt>
                <c:pt idx="403">
                  <c:v>40918</c:v>
                </c:pt>
                <c:pt idx="404">
                  <c:v>40919</c:v>
                </c:pt>
                <c:pt idx="405">
                  <c:v>40920</c:v>
                </c:pt>
                <c:pt idx="406">
                  <c:v>40921</c:v>
                </c:pt>
                <c:pt idx="407">
                  <c:v>40924</c:v>
                </c:pt>
                <c:pt idx="408">
                  <c:v>40925</c:v>
                </c:pt>
                <c:pt idx="409">
                  <c:v>40926</c:v>
                </c:pt>
                <c:pt idx="410">
                  <c:v>40927</c:v>
                </c:pt>
                <c:pt idx="411">
                  <c:v>40928</c:v>
                </c:pt>
                <c:pt idx="412">
                  <c:v>40931</c:v>
                </c:pt>
                <c:pt idx="413">
                  <c:v>40932</c:v>
                </c:pt>
                <c:pt idx="414">
                  <c:v>40933</c:v>
                </c:pt>
                <c:pt idx="415">
                  <c:v>40934</c:v>
                </c:pt>
                <c:pt idx="416">
                  <c:v>40935</c:v>
                </c:pt>
                <c:pt idx="417">
                  <c:v>40938</c:v>
                </c:pt>
                <c:pt idx="418">
                  <c:v>40939</c:v>
                </c:pt>
                <c:pt idx="419">
                  <c:v>40940</c:v>
                </c:pt>
                <c:pt idx="420">
                  <c:v>40941</c:v>
                </c:pt>
                <c:pt idx="421">
                  <c:v>40942</c:v>
                </c:pt>
                <c:pt idx="422">
                  <c:v>40945</c:v>
                </c:pt>
                <c:pt idx="423">
                  <c:v>40946</c:v>
                </c:pt>
                <c:pt idx="424">
                  <c:v>40947</c:v>
                </c:pt>
                <c:pt idx="425">
                  <c:v>40948</c:v>
                </c:pt>
                <c:pt idx="426">
                  <c:v>40949</c:v>
                </c:pt>
                <c:pt idx="427">
                  <c:v>40952</c:v>
                </c:pt>
                <c:pt idx="428">
                  <c:v>40953</c:v>
                </c:pt>
                <c:pt idx="429">
                  <c:v>40954</c:v>
                </c:pt>
                <c:pt idx="430">
                  <c:v>40955</c:v>
                </c:pt>
                <c:pt idx="431">
                  <c:v>40956</c:v>
                </c:pt>
                <c:pt idx="432">
                  <c:v>40959</c:v>
                </c:pt>
                <c:pt idx="433">
                  <c:v>40960</c:v>
                </c:pt>
                <c:pt idx="434">
                  <c:v>40961</c:v>
                </c:pt>
                <c:pt idx="435">
                  <c:v>40962</c:v>
                </c:pt>
                <c:pt idx="436">
                  <c:v>40963</c:v>
                </c:pt>
                <c:pt idx="437">
                  <c:v>40966</c:v>
                </c:pt>
                <c:pt idx="438">
                  <c:v>40967</c:v>
                </c:pt>
                <c:pt idx="439">
                  <c:v>40968</c:v>
                </c:pt>
                <c:pt idx="440">
                  <c:v>40969</c:v>
                </c:pt>
                <c:pt idx="441">
                  <c:v>40970</c:v>
                </c:pt>
                <c:pt idx="442">
                  <c:v>40973</c:v>
                </c:pt>
                <c:pt idx="443">
                  <c:v>40974</c:v>
                </c:pt>
                <c:pt idx="444">
                  <c:v>40975</c:v>
                </c:pt>
                <c:pt idx="445">
                  <c:v>40976</c:v>
                </c:pt>
                <c:pt idx="446">
                  <c:v>40977</c:v>
                </c:pt>
                <c:pt idx="447">
                  <c:v>40980</c:v>
                </c:pt>
                <c:pt idx="448">
                  <c:v>40981</c:v>
                </c:pt>
                <c:pt idx="449">
                  <c:v>40982</c:v>
                </c:pt>
                <c:pt idx="450">
                  <c:v>40983</c:v>
                </c:pt>
                <c:pt idx="451">
                  <c:v>40984</c:v>
                </c:pt>
                <c:pt idx="452">
                  <c:v>40987</c:v>
                </c:pt>
                <c:pt idx="453">
                  <c:v>40988</c:v>
                </c:pt>
                <c:pt idx="454">
                  <c:v>40989</c:v>
                </c:pt>
                <c:pt idx="455">
                  <c:v>40990</c:v>
                </c:pt>
                <c:pt idx="456">
                  <c:v>40991</c:v>
                </c:pt>
                <c:pt idx="457">
                  <c:v>40994</c:v>
                </c:pt>
                <c:pt idx="458">
                  <c:v>40995</c:v>
                </c:pt>
                <c:pt idx="459">
                  <c:v>40996</c:v>
                </c:pt>
                <c:pt idx="460">
                  <c:v>40997</c:v>
                </c:pt>
                <c:pt idx="461">
                  <c:v>40998</c:v>
                </c:pt>
                <c:pt idx="462">
                  <c:v>41001</c:v>
                </c:pt>
                <c:pt idx="463">
                  <c:v>41002</c:v>
                </c:pt>
                <c:pt idx="464">
                  <c:v>41003</c:v>
                </c:pt>
                <c:pt idx="465">
                  <c:v>41004</c:v>
                </c:pt>
                <c:pt idx="466">
                  <c:v>41005</c:v>
                </c:pt>
                <c:pt idx="467">
                  <c:v>41008</c:v>
                </c:pt>
                <c:pt idx="468">
                  <c:v>41009</c:v>
                </c:pt>
                <c:pt idx="469">
                  <c:v>41010</c:v>
                </c:pt>
                <c:pt idx="470">
                  <c:v>41011</c:v>
                </c:pt>
                <c:pt idx="471">
                  <c:v>41012</c:v>
                </c:pt>
                <c:pt idx="472">
                  <c:v>41015</c:v>
                </c:pt>
                <c:pt idx="473">
                  <c:v>41016</c:v>
                </c:pt>
                <c:pt idx="474">
                  <c:v>41017</c:v>
                </c:pt>
                <c:pt idx="475">
                  <c:v>41018</c:v>
                </c:pt>
                <c:pt idx="476">
                  <c:v>41019</c:v>
                </c:pt>
                <c:pt idx="477">
                  <c:v>41022</c:v>
                </c:pt>
                <c:pt idx="478">
                  <c:v>41023</c:v>
                </c:pt>
                <c:pt idx="479">
                  <c:v>41024</c:v>
                </c:pt>
                <c:pt idx="480">
                  <c:v>41025</c:v>
                </c:pt>
                <c:pt idx="481">
                  <c:v>41026</c:v>
                </c:pt>
                <c:pt idx="482">
                  <c:v>41029</c:v>
                </c:pt>
                <c:pt idx="483">
                  <c:v>41030</c:v>
                </c:pt>
                <c:pt idx="484">
                  <c:v>41031</c:v>
                </c:pt>
                <c:pt idx="485">
                  <c:v>41032</c:v>
                </c:pt>
                <c:pt idx="486">
                  <c:v>41033</c:v>
                </c:pt>
                <c:pt idx="487">
                  <c:v>41036</c:v>
                </c:pt>
                <c:pt idx="488">
                  <c:v>41037</c:v>
                </c:pt>
                <c:pt idx="489">
                  <c:v>41038</c:v>
                </c:pt>
                <c:pt idx="490">
                  <c:v>41039</c:v>
                </c:pt>
                <c:pt idx="491">
                  <c:v>41040</c:v>
                </c:pt>
                <c:pt idx="492">
                  <c:v>41043</c:v>
                </c:pt>
                <c:pt idx="493">
                  <c:v>41044</c:v>
                </c:pt>
                <c:pt idx="494">
                  <c:v>41045</c:v>
                </c:pt>
                <c:pt idx="495">
                  <c:v>41046</c:v>
                </c:pt>
                <c:pt idx="496">
                  <c:v>41047</c:v>
                </c:pt>
                <c:pt idx="497">
                  <c:v>41050</c:v>
                </c:pt>
                <c:pt idx="498">
                  <c:v>41051</c:v>
                </c:pt>
                <c:pt idx="499">
                  <c:v>41052</c:v>
                </c:pt>
                <c:pt idx="500">
                  <c:v>41053</c:v>
                </c:pt>
                <c:pt idx="501">
                  <c:v>41054</c:v>
                </c:pt>
                <c:pt idx="502">
                  <c:v>41057</c:v>
                </c:pt>
                <c:pt idx="503">
                  <c:v>41058</c:v>
                </c:pt>
                <c:pt idx="504">
                  <c:v>41059</c:v>
                </c:pt>
                <c:pt idx="505">
                  <c:v>41060</c:v>
                </c:pt>
                <c:pt idx="506">
                  <c:v>41061</c:v>
                </c:pt>
                <c:pt idx="507">
                  <c:v>41064</c:v>
                </c:pt>
                <c:pt idx="508">
                  <c:v>41065</c:v>
                </c:pt>
                <c:pt idx="509">
                  <c:v>41066</c:v>
                </c:pt>
                <c:pt idx="510">
                  <c:v>41067</c:v>
                </c:pt>
                <c:pt idx="511">
                  <c:v>41068</c:v>
                </c:pt>
                <c:pt idx="512">
                  <c:v>41071</c:v>
                </c:pt>
                <c:pt idx="513">
                  <c:v>41072</c:v>
                </c:pt>
                <c:pt idx="514">
                  <c:v>41073</c:v>
                </c:pt>
                <c:pt idx="515">
                  <c:v>41074</c:v>
                </c:pt>
                <c:pt idx="516">
                  <c:v>41075</c:v>
                </c:pt>
                <c:pt idx="517">
                  <c:v>41078</c:v>
                </c:pt>
                <c:pt idx="518">
                  <c:v>41079</c:v>
                </c:pt>
                <c:pt idx="519">
                  <c:v>41080</c:v>
                </c:pt>
                <c:pt idx="520">
                  <c:v>41081</c:v>
                </c:pt>
                <c:pt idx="521">
                  <c:v>41082</c:v>
                </c:pt>
                <c:pt idx="522">
                  <c:v>41085</c:v>
                </c:pt>
                <c:pt idx="523">
                  <c:v>41086</c:v>
                </c:pt>
                <c:pt idx="524">
                  <c:v>41087</c:v>
                </c:pt>
                <c:pt idx="525">
                  <c:v>41088</c:v>
                </c:pt>
                <c:pt idx="526">
                  <c:v>41089</c:v>
                </c:pt>
                <c:pt idx="527">
                  <c:v>41092</c:v>
                </c:pt>
                <c:pt idx="528">
                  <c:v>41093</c:v>
                </c:pt>
                <c:pt idx="529">
                  <c:v>41094</c:v>
                </c:pt>
                <c:pt idx="530">
                  <c:v>41095</c:v>
                </c:pt>
                <c:pt idx="531">
                  <c:v>41096</c:v>
                </c:pt>
                <c:pt idx="532">
                  <c:v>41099</c:v>
                </c:pt>
                <c:pt idx="533">
                  <c:v>41100</c:v>
                </c:pt>
                <c:pt idx="534">
                  <c:v>41101</c:v>
                </c:pt>
                <c:pt idx="535">
                  <c:v>41102</c:v>
                </c:pt>
                <c:pt idx="536">
                  <c:v>41103</c:v>
                </c:pt>
                <c:pt idx="537">
                  <c:v>41106</c:v>
                </c:pt>
                <c:pt idx="538">
                  <c:v>41107</c:v>
                </c:pt>
                <c:pt idx="539">
                  <c:v>41108</c:v>
                </c:pt>
                <c:pt idx="540">
                  <c:v>41109</c:v>
                </c:pt>
                <c:pt idx="541">
                  <c:v>41110</c:v>
                </c:pt>
                <c:pt idx="542">
                  <c:v>41113</c:v>
                </c:pt>
                <c:pt idx="543">
                  <c:v>41114</c:v>
                </c:pt>
                <c:pt idx="544">
                  <c:v>41115</c:v>
                </c:pt>
                <c:pt idx="545">
                  <c:v>41116</c:v>
                </c:pt>
                <c:pt idx="546">
                  <c:v>41117</c:v>
                </c:pt>
                <c:pt idx="547">
                  <c:v>41120</c:v>
                </c:pt>
                <c:pt idx="548">
                  <c:v>41121</c:v>
                </c:pt>
                <c:pt idx="549">
                  <c:v>41122</c:v>
                </c:pt>
                <c:pt idx="550">
                  <c:v>41123</c:v>
                </c:pt>
                <c:pt idx="551">
                  <c:v>41124</c:v>
                </c:pt>
                <c:pt idx="552">
                  <c:v>41127</c:v>
                </c:pt>
                <c:pt idx="553">
                  <c:v>41128</c:v>
                </c:pt>
                <c:pt idx="554">
                  <c:v>41129</c:v>
                </c:pt>
                <c:pt idx="555">
                  <c:v>41130</c:v>
                </c:pt>
                <c:pt idx="556">
                  <c:v>41131</c:v>
                </c:pt>
                <c:pt idx="557">
                  <c:v>41134</c:v>
                </c:pt>
                <c:pt idx="558">
                  <c:v>41135</c:v>
                </c:pt>
                <c:pt idx="559">
                  <c:v>41136</c:v>
                </c:pt>
                <c:pt idx="560">
                  <c:v>41137</c:v>
                </c:pt>
                <c:pt idx="561">
                  <c:v>41138</c:v>
                </c:pt>
                <c:pt idx="562">
                  <c:v>41141</c:v>
                </c:pt>
                <c:pt idx="563">
                  <c:v>41142</c:v>
                </c:pt>
                <c:pt idx="564">
                  <c:v>41143</c:v>
                </c:pt>
                <c:pt idx="565">
                  <c:v>41144</c:v>
                </c:pt>
                <c:pt idx="566">
                  <c:v>41145</c:v>
                </c:pt>
                <c:pt idx="567">
                  <c:v>41148</c:v>
                </c:pt>
                <c:pt idx="568">
                  <c:v>41149</c:v>
                </c:pt>
                <c:pt idx="569">
                  <c:v>41150</c:v>
                </c:pt>
                <c:pt idx="570">
                  <c:v>41151</c:v>
                </c:pt>
                <c:pt idx="571">
                  <c:v>41152</c:v>
                </c:pt>
                <c:pt idx="572">
                  <c:v>41155</c:v>
                </c:pt>
                <c:pt idx="573">
                  <c:v>41156</c:v>
                </c:pt>
                <c:pt idx="574">
                  <c:v>41157</c:v>
                </c:pt>
                <c:pt idx="575">
                  <c:v>41158</c:v>
                </c:pt>
                <c:pt idx="576">
                  <c:v>41159</c:v>
                </c:pt>
                <c:pt idx="577">
                  <c:v>41162</c:v>
                </c:pt>
                <c:pt idx="578">
                  <c:v>41163</c:v>
                </c:pt>
                <c:pt idx="579">
                  <c:v>41164</c:v>
                </c:pt>
                <c:pt idx="580">
                  <c:v>41165</c:v>
                </c:pt>
                <c:pt idx="581">
                  <c:v>41166</c:v>
                </c:pt>
                <c:pt idx="582">
                  <c:v>41169</c:v>
                </c:pt>
                <c:pt idx="583">
                  <c:v>41170</c:v>
                </c:pt>
                <c:pt idx="584">
                  <c:v>41171</c:v>
                </c:pt>
                <c:pt idx="585">
                  <c:v>41172</c:v>
                </c:pt>
                <c:pt idx="586">
                  <c:v>41173</c:v>
                </c:pt>
                <c:pt idx="587">
                  <c:v>41176</c:v>
                </c:pt>
                <c:pt idx="588">
                  <c:v>41177</c:v>
                </c:pt>
                <c:pt idx="589">
                  <c:v>41178</c:v>
                </c:pt>
                <c:pt idx="590">
                  <c:v>41179</c:v>
                </c:pt>
                <c:pt idx="591">
                  <c:v>41180</c:v>
                </c:pt>
                <c:pt idx="592">
                  <c:v>41183</c:v>
                </c:pt>
                <c:pt idx="593">
                  <c:v>41184</c:v>
                </c:pt>
                <c:pt idx="594">
                  <c:v>41185</c:v>
                </c:pt>
                <c:pt idx="595">
                  <c:v>41186</c:v>
                </c:pt>
                <c:pt idx="596">
                  <c:v>41187</c:v>
                </c:pt>
                <c:pt idx="597">
                  <c:v>41190</c:v>
                </c:pt>
                <c:pt idx="598">
                  <c:v>41191</c:v>
                </c:pt>
                <c:pt idx="599">
                  <c:v>41192</c:v>
                </c:pt>
                <c:pt idx="600">
                  <c:v>41193</c:v>
                </c:pt>
                <c:pt idx="601">
                  <c:v>41194</c:v>
                </c:pt>
                <c:pt idx="602">
                  <c:v>41197</c:v>
                </c:pt>
                <c:pt idx="603">
                  <c:v>41198</c:v>
                </c:pt>
                <c:pt idx="604">
                  <c:v>41199</c:v>
                </c:pt>
                <c:pt idx="605">
                  <c:v>41200</c:v>
                </c:pt>
                <c:pt idx="606">
                  <c:v>41201</c:v>
                </c:pt>
                <c:pt idx="607">
                  <c:v>41204</c:v>
                </c:pt>
                <c:pt idx="608">
                  <c:v>41205</c:v>
                </c:pt>
                <c:pt idx="609">
                  <c:v>41206</c:v>
                </c:pt>
                <c:pt idx="610">
                  <c:v>41207</c:v>
                </c:pt>
                <c:pt idx="611">
                  <c:v>41208</c:v>
                </c:pt>
                <c:pt idx="612">
                  <c:v>41211</c:v>
                </c:pt>
                <c:pt idx="613">
                  <c:v>41212</c:v>
                </c:pt>
                <c:pt idx="614">
                  <c:v>41213</c:v>
                </c:pt>
                <c:pt idx="615">
                  <c:v>41214</c:v>
                </c:pt>
                <c:pt idx="616">
                  <c:v>41215</c:v>
                </c:pt>
                <c:pt idx="617">
                  <c:v>41218</c:v>
                </c:pt>
                <c:pt idx="618">
                  <c:v>41219</c:v>
                </c:pt>
                <c:pt idx="619">
                  <c:v>41220</c:v>
                </c:pt>
                <c:pt idx="620">
                  <c:v>41221</c:v>
                </c:pt>
                <c:pt idx="621">
                  <c:v>41222</c:v>
                </c:pt>
                <c:pt idx="622">
                  <c:v>41225</c:v>
                </c:pt>
                <c:pt idx="623">
                  <c:v>41226</c:v>
                </c:pt>
                <c:pt idx="624">
                  <c:v>41227</c:v>
                </c:pt>
                <c:pt idx="625">
                  <c:v>41228</c:v>
                </c:pt>
                <c:pt idx="626">
                  <c:v>41229</c:v>
                </c:pt>
                <c:pt idx="627">
                  <c:v>41232</c:v>
                </c:pt>
                <c:pt idx="628">
                  <c:v>41233</c:v>
                </c:pt>
                <c:pt idx="629">
                  <c:v>41234</c:v>
                </c:pt>
                <c:pt idx="630">
                  <c:v>41235</c:v>
                </c:pt>
                <c:pt idx="631">
                  <c:v>41236</c:v>
                </c:pt>
                <c:pt idx="632">
                  <c:v>41239</c:v>
                </c:pt>
                <c:pt idx="633">
                  <c:v>41240</c:v>
                </c:pt>
                <c:pt idx="634">
                  <c:v>41241</c:v>
                </c:pt>
                <c:pt idx="635">
                  <c:v>41242</c:v>
                </c:pt>
                <c:pt idx="636">
                  <c:v>41243</c:v>
                </c:pt>
                <c:pt idx="637">
                  <c:v>41246</c:v>
                </c:pt>
                <c:pt idx="638">
                  <c:v>41247</c:v>
                </c:pt>
                <c:pt idx="639">
                  <c:v>41248</c:v>
                </c:pt>
                <c:pt idx="640">
                  <c:v>41249</c:v>
                </c:pt>
                <c:pt idx="641">
                  <c:v>41250</c:v>
                </c:pt>
                <c:pt idx="642">
                  <c:v>41253</c:v>
                </c:pt>
                <c:pt idx="643">
                  <c:v>41254</c:v>
                </c:pt>
                <c:pt idx="644">
                  <c:v>41255</c:v>
                </c:pt>
                <c:pt idx="645">
                  <c:v>41256</c:v>
                </c:pt>
                <c:pt idx="646">
                  <c:v>41257</c:v>
                </c:pt>
                <c:pt idx="647">
                  <c:v>41260</c:v>
                </c:pt>
                <c:pt idx="648">
                  <c:v>41261</c:v>
                </c:pt>
                <c:pt idx="649">
                  <c:v>41262</c:v>
                </c:pt>
                <c:pt idx="650">
                  <c:v>41263</c:v>
                </c:pt>
                <c:pt idx="651">
                  <c:v>41264</c:v>
                </c:pt>
                <c:pt idx="652">
                  <c:v>41267</c:v>
                </c:pt>
                <c:pt idx="653">
                  <c:v>41268</c:v>
                </c:pt>
                <c:pt idx="654">
                  <c:v>41269</c:v>
                </c:pt>
                <c:pt idx="655">
                  <c:v>41270</c:v>
                </c:pt>
                <c:pt idx="656">
                  <c:v>41271</c:v>
                </c:pt>
                <c:pt idx="657">
                  <c:v>41274</c:v>
                </c:pt>
                <c:pt idx="658">
                  <c:v>41275</c:v>
                </c:pt>
                <c:pt idx="659">
                  <c:v>41276</c:v>
                </c:pt>
                <c:pt idx="660">
                  <c:v>41277</c:v>
                </c:pt>
                <c:pt idx="661">
                  <c:v>41278</c:v>
                </c:pt>
                <c:pt idx="662">
                  <c:v>41281</c:v>
                </c:pt>
                <c:pt idx="663">
                  <c:v>41282</c:v>
                </c:pt>
                <c:pt idx="664">
                  <c:v>41283</c:v>
                </c:pt>
                <c:pt idx="665">
                  <c:v>41284</c:v>
                </c:pt>
                <c:pt idx="666">
                  <c:v>41285</c:v>
                </c:pt>
                <c:pt idx="667">
                  <c:v>41288</c:v>
                </c:pt>
                <c:pt idx="668">
                  <c:v>41289</c:v>
                </c:pt>
                <c:pt idx="669">
                  <c:v>41290</c:v>
                </c:pt>
                <c:pt idx="670">
                  <c:v>41291</c:v>
                </c:pt>
                <c:pt idx="671">
                  <c:v>41292</c:v>
                </c:pt>
                <c:pt idx="672">
                  <c:v>41295</c:v>
                </c:pt>
                <c:pt idx="673">
                  <c:v>41296</c:v>
                </c:pt>
                <c:pt idx="674">
                  <c:v>41297</c:v>
                </c:pt>
                <c:pt idx="675">
                  <c:v>41298</c:v>
                </c:pt>
                <c:pt idx="676">
                  <c:v>41299</c:v>
                </c:pt>
                <c:pt idx="677">
                  <c:v>41302</c:v>
                </c:pt>
                <c:pt idx="678">
                  <c:v>41303</c:v>
                </c:pt>
                <c:pt idx="679">
                  <c:v>41304</c:v>
                </c:pt>
                <c:pt idx="680">
                  <c:v>41305</c:v>
                </c:pt>
                <c:pt idx="681">
                  <c:v>41306</c:v>
                </c:pt>
                <c:pt idx="682">
                  <c:v>41309</c:v>
                </c:pt>
                <c:pt idx="683">
                  <c:v>41310</c:v>
                </c:pt>
                <c:pt idx="684">
                  <c:v>41311</c:v>
                </c:pt>
                <c:pt idx="685">
                  <c:v>41312</c:v>
                </c:pt>
                <c:pt idx="686">
                  <c:v>41313</c:v>
                </c:pt>
                <c:pt idx="687">
                  <c:v>41316</c:v>
                </c:pt>
                <c:pt idx="688">
                  <c:v>41317</c:v>
                </c:pt>
                <c:pt idx="689">
                  <c:v>41318</c:v>
                </c:pt>
                <c:pt idx="690">
                  <c:v>41319</c:v>
                </c:pt>
                <c:pt idx="691">
                  <c:v>41320</c:v>
                </c:pt>
                <c:pt idx="692">
                  <c:v>41323</c:v>
                </c:pt>
                <c:pt idx="693">
                  <c:v>41324</c:v>
                </c:pt>
                <c:pt idx="694">
                  <c:v>41325</c:v>
                </c:pt>
                <c:pt idx="695">
                  <c:v>41326</c:v>
                </c:pt>
                <c:pt idx="696">
                  <c:v>41327</c:v>
                </c:pt>
                <c:pt idx="697">
                  <c:v>41330</c:v>
                </c:pt>
                <c:pt idx="698">
                  <c:v>41331</c:v>
                </c:pt>
                <c:pt idx="699">
                  <c:v>41332</c:v>
                </c:pt>
                <c:pt idx="700">
                  <c:v>41333</c:v>
                </c:pt>
                <c:pt idx="701">
                  <c:v>41334</c:v>
                </c:pt>
                <c:pt idx="702">
                  <c:v>41337</c:v>
                </c:pt>
                <c:pt idx="703">
                  <c:v>41338</c:v>
                </c:pt>
                <c:pt idx="704">
                  <c:v>41339</c:v>
                </c:pt>
                <c:pt idx="705">
                  <c:v>41340</c:v>
                </c:pt>
                <c:pt idx="706">
                  <c:v>41341</c:v>
                </c:pt>
                <c:pt idx="707">
                  <c:v>41344</c:v>
                </c:pt>
                <c:pt idx="708">
                  <c:v>41345</c:v>
                </c:pt>
                <c:pt idx="709">
                  <c:v>41346</c:v>
                </c:pt>
                <c:pt idx="710">
                  <c:v>41347</c:v>
                </c:pt>
                <c:pt idx="711">
                  <c:v>41348</c:v>
                </c:pt>
                <c:pt idx="712">
                  <c:v>41351</c:v>
                </c:pt>
                <c:pt idx="713">
                  <c:v>41352</c:v>
                </c:pt>
                <c:pt idx="714">
                  <c:v>41353</c:v>
                </c:pt>
                <c:pt idx="715">
                  <c:v>41354</c:v>
                </c:pt>
                <c:pt idx="716">
                  <c:v>41355</c:v>
                </c:pt>
                <c:pt idx="717">
                  <c:v>41358</c:v>
                </c:pt>
                <c:pt idx="718">
                  <c:v>41359</c:v>
                </c:pt>
                <c:pt idx="719">
                  <c:v>41360</c:v>
                </c:pt>
                <c:pt idx="720">
                  <c:v>41361</c:v>
                </c:pt>
                <c:pt idx="721">
                  <c:v>41362</c:v>
                </c:pt>
                <c:pt idx="722">
                  <c:v>41365</c:v>
                </c:pt>
                <c:pt idx="723">
                  <c:v>41366</c:v>
                </c:pt>
                <c:pt idx="724">
                  <c:v>41367</c:v>
                </c:pt>
                <c:pt idx="725">
                  <c:v>41368</c:v>
                </c:pt>
                <c:pt idx="726">
                  <c:v>41369</c:v>
                </c:pt>
                <c:pt idx="727">
                  <c:v>41372</c:v>
                </c:pt>
                <c:pt idx="728">
                  <c:v>41373</c:v>
                </c:pt>
                <c:pt idx="729">
                  <c:v>41374</c:v>
                </c:pt>
                <c:pt idx="730">
                  <c:v>41375</c:v>
                </c:pt>
                <c:pt idx="731">
                  <c:v>41376</c:v>
                </c:pt>
                <c:pt idx="732">
                  <c:v>41379</c:v>
                </c:pt>
                <c:pt idx="733">
                  <c:v>41380</c:v>
                </c:pt>
                <c:pt idx="734">
                  <c:v>41381</c:v>
                </c:pt>
                <c:pt idx="735">
                  <c:v>41382</c:v>
                </c:pt>
                <c:pt idx="736">
                  <c:v>41383</c:v>
                </c:pt>
                <c:pt idx="737">
                  <c:v>41386</c:v>
                </c:pt>
                <c:pt idx="738">
                  <c:v>41387</c:v>
                </c:pt>
                <c:pt idx="739">
                  <c:v>41388</c:v>
                </c:pt>
                <c:pt idx="740">
                  <c:v>41389</c:v>
                </c:pt>
                <c:pt idx="741">
                  <c:v>41390</c:v>
                </c:pt>
                <c:pt idx="742">
                  <c:v>41393</c:v>
                </c:pt>
                <c:pt idx="743">
                  <c:v>41394</c:v>
                </c:pt>
                <c:pt idx="744">
                  <c:v>41395</c:v>
                </c:pt>
                <c:pt idx="745">
                  <c:v>41396</c:v>
                </c:pt>
                <c:pt idx="746">
                  <c:v>41397</c:v>
                </c:pt>
                <c:pt idx="747">
                  <c:v>41400</c:v>
                </c:pt>
                <c:pt idx="748">
                  <c:v>41401</c:v>
                </c:pt>
                <c:pt idx="749">
                  <c:v>41402</c:v>
                </c:pt>
                <c:pt idx="750">
                  <c:v>41403</c:v>
                </c:pt>
                <c:pt idx="751">
                  <c:v>41404</c:v>
                </c:pt>
                <c:pt idx="752">
                  <c:v>41407</c:v>
                </c:pt>
                <c:pt idx="753">
                  <c:v>41408</c:v>
                </c:pt>
                <c:pt idx="754">
                  <c:v>41409</c:v>
                </c:pt>
                <c:pt idx="755">
                  <c:v>41410</c:v>
                </c:pt>
                <c:pt idx="756">
                  <c:v>41411</c:v>
                </c:pt>
                <c:pt idx="757">
                  <c:v>41414</c:v>
                </c:pt>
                <c:pt idx="758">
                  <c:v>41415</c:v>
                </c:pt>
                <c:pt idx="759">
                  <c:v>41416</c:v>
                </c:pt>
                <c:pt idx="760">
                  <c:v>41417</c:v>
                </c:pt>
                <c:pt idx="761">
                  <c:v>41418</c:v>
                </c:pt>
                <c:pt idx="762">
                  <c:v>41421</c:v>
                </c:pt>
                <c:pt idx="763">
                  <c:v>41422</c:v>
                </c:pt>
                <c:pt idx="764">
                  <c:v>41423</c:v>
                </c:pt>
                <c:pt idx="765">
                  <c:v>41424</c:v>
                </c:pt>
                <c:pt idx="766">
                  <c:v>41425</c:v>
                </c:pt>
                <c:pt idx="767">
                  <c:v>41428</c:v>
                </c:pt>
                <c:pt idx="768">
                  <c:v>41429</c:v>
                </c:pt>
                <c:pt idx="769">
                  <c:v>41430</c:v>
                </c:pt>
                <c:pt idx="770">
                  <c:v>41431</c:v>
                </c:pt>
                <c:pt idx="771">
                  <c:v>41432</c:v>
                </c:pt>
                <c:pt idx="772">
                  <c:v>41435</c:v>
                </c:pt>
                <c:pt idx="773">
                  <c:v>41436</c:v>
                </c:pt>
                <c:pt idx="774">
                  <c:v>41437</c:v>
                </c:pt>
                <c:pt idx="775">
                  <c:v>41438</c:v>
                </c:pt>
                <c:pt idx="776">
                  <c:v>41439</c:v>
                </c:pt>
                <c:pt idx="777">
                  <c:v>41442</c:v>
                </c:pt>
                <c:pt idx="778">
                  <c:v>41443</c:v>
                </c:pt>
                <c:pt idx="779">
                  <c:v>41444</c:v>
                </c:pt>
                <c:pt idx="780">
                  <c:v>41445</c:v>
                </c:pt>
                <c:pt idx="781">
                  <c:v>41446</c:v>
                </c:pt>
                <c:pt idx="782">
                  <c:v>41449</c:v>
                </c:pt>
                <c:pt idx="783">
                  <c:v>41450</c:v>
                </c:pt>
                <c:pt idx="784">
                  <c:v>41451</c:v>
                </c:pt>
                <c:pt idx="785">
                  <c:v>41452</c:v>
                </c:pt>
                <c:pt idx="786">
                  <c:v>41453</c:v>
                </c:pt>
                <c:pt idx="787">
                  <c:v>41456</c:v>
                </c:pt>
                <c:pt idx="788">
                  <c:v>41457</c:v>
                </c:pt>
                <c:pt idx="789">
                  <c:v>41458</c:v>
                </c:pt>
                <c:pt idx="790">
                  <c:v>41459</c:v>
                </c:pt>
                <c:pt idx="791">
                  <c:v>41460</c:v>
                </c:pt>
                <c:pt idx="792">
                  <c:v>41463</c:v>
                </c:pt>
                <c:pt idx="793">
                  <c:v>41464</c:v>
                </c:pt>
                <c:pt idx="794">
                  <c:v>41465</c:v>
                </c:pt>
                <c:pt idx="795">
                  <c:v>41466</c:v>
                </c:pt>
                <c:pt idx="796">
                  <c:v>41467</c:v>
                </c:pt>
                <c:pt idx="797">
                  <c:v>41470</c:v>
                </c:pt>
                <c:pt idx="798">
                  <c:v>41471</c:v>
                </c:pt>
                <c:pt idx="799">
                  <c:v>41472</c:v>
                </c:pt>
                <c:pt idx="800">
                  <c:v>41473</c:v>
                </c:pt>
                <c:pt idx="801">
                  <c:v>41474</c:v>
                </c:pt>
                <c:pt idx="802">
                  <c:v>41477</c:v>
                </c:pt>
                <c:pt idx="803">
                  <c:v>41478</c:v>
                </c:pt>
                <c:pt idx="804">
                  <c:v>41479</c:v>
                </c:pt>
                <c:pt idx="805">
                  <c:v>41480</c:v>
                </c:pt>
                <c:pt idx="806">
                  <c:v>41481</c:v>
                </c:pt>
                <c:pt idx="807">
                  <c:v>41484</c:v>
                </c:pt>
                <c:pt idx="808">
                  <c:v>41485</c:v>
                </c:pt>
                <c:pt idx="809">
                  <c:v>41486</c:v>
                </c:pt>
                <c:pt idx="810">
                  <c:v>41487</c:v>
                </c:pt>
                <c:pt idx="811">
                  <c:v>41488</c:v>
                </c:pt>
                <c:pt idx="812">
                  <c:v>41491</c:v>
                </c:pt>
                <c:pt idx="813">
                  <c:v>41492</c:v>
                </c:pt>
                <c:pt idx="814">
                  <c:v>41493</c:v>
                </c:pt>
                <c:pt idx="815">
                  <c:v>41494</c:v>
                </c:pt>
                <c:pt idx="816">
                  <c:v>41495</c:v>
                </c:pt>
                <c:pt idx="817">
                  <c:v>41498</c:v>
                </c:pt>
                <c:pt idx="818">
                  <c:v>41499</c:v>
                </c:pt>
                <c:pt idx="819">
                  <c:v>41500</c:v>
                </c:pt>
                <c:pt idx="820">
                  <c:v>41501</c:v>
                </c:pt>
                <c:pt idx="821">
                  <c:v>41502</c:v>
                </c:pt>
                <c:pt idx="822">
                  <c:v>41505</c:v>
                </c:pt>
                <c:pt idx="823">
                  <c:v>41506</c:v>
                </c:pt>
                <c:pt idx="824">
                  <c:v>41507</c:v>
                </c:pt>
                <c:pt idx="825">
                  <c:v>41508</c:v>
                </c:pt>
                <c:pt idx="826">
                  <c:v>41509</c:v>
                </c:pt>
                <c:pt idx="827">
                  <c:v>41512</c:v>
                </c:pt>
                <c:pt idx="828">
                  <c:v>41513</c:v>
                </c:pt>
                <c:pt idx="829">
                  <c:v>41514</c:v>
                </c:pt>
                <c:pt idx="830">
                  <c:v>41515</c:v>
                </c:pt>
                <c:pt idx="831">
                  <c:v>41516</c:v>
                </c:pt>
                <c:pt idx="832">
                  <c:v>41519</c:v>
                </c:pt>
                <c:pt idx="833">
                  <c:v>41520</c:v>
                </c:pt>
                <c:pt idx="834">
                  <c:v>41521</c:v>
                </c:pt>
                <c:pt idx="835">
                  <c:v>41522</c:v>
                </c:pt>
                <c:pt idx="836">
                  <c:v>41523</c:v>
                </c:pt>
                <c:pt idx="837">
                  <c:v>41526</c:v>
                </c:pt>
                <c:pt idx="838">
                  <c:v>41527</c:v>
                </c:pt>
                <c:pt idx="839">
                  <c:v>41528</c:v>
                </c:pt>
                <c:pt idx="840">
                  <c:v>41529</c:v>
                </c:pt>
                <c:pt idx="841">
                  <c:v>41530</c:v>
                </c:pt>
                <c:pt idx="842">
                  <c:v>41533</c:v>
                </c:pt>
                <c:pt idx="843">
                  <c:v>41534</c:v>
                </c:pt>
                <c:pt idx="844">
                  <c:v>41535</c:v>
                </c:pt>
                <c:pt idx="845">
                  <c:v>41536</c:v>
                </c:pt>
                <c:pt idx="846">
                  <c:v>41537</c:v>
                </c:pt>
                <c:pt idx="847">
                  <c:v>41540</c:v>
                </c:pt>
                <c:pt idx="848">
                  <c:v>41541</c:v>
                </c:pt>
                <c:pt idx="849">
                  <c:v>41542</c:v>
                </c:pt>
                <c:pt idx="850">
                  <c:v>41543</c:v>
                </c:pt>
                <c:pt idx="851">
                  <c:v>41544</c:v>
                </c:pt>
                <c:pt idx="852">
                  <c:v>41547</c:v>
                </c:pt>
                <c:pt idx="853">
                  <c:v>41548</c:v>
                </c:pt>
                <c:pt idx="854">
                  <c:v>41549</c:v>
                </c:pt>
                <c:pt idx="855">
                  <c:v>41550</c:v>
                </c:pt>
                <c:pt idx="856">
                  <c:v>41551</c:v>
                </c:pt>
                <c:pt idx="857">
                  <c:v>41554</c:v>
                </c:pt>
                <c:pt idx="858">
                  <c:v>41555</c:v>
                </c:pt>
                <c:pt idx="859">
                  <c:v>41556</c:v>
                </c:pt>
                <c:pt idx="860">
                  <c:v>41557</c:v>
                </c:pt>
                <c:pt idx="861">
                  <c:v>41558</c:v>
                </c:pt>
                <c:pt idx="862">
                  <c:v>41561</c:v>
                </c:pt>
                <c:pt idx="863">
                  <c:v>41562</c:v>
                </c:pt>
                <c:pt idx="864">
                  <c:v>41563</c:v>
                </c:pt>
                <c:pt idx="865">
                  <c:v>41564</c:v>
                </c:pt>
                <c:pt idx="866">
                  <c:v>41565</c:v>
                </c:pt>
                <c:pt idx="867">
                  <c:v>41568</c:v>
                </c:pt>
                <c:pt idx="868">
                  <c:v>41569</c:v>
                </c:pt>
                <c:pt idx="869">
                  <c:v>41570</c:v>
                </c:pt>
                <c:pt idx="870">
                  <c:v>41571</c:v>
                </c:pt>
                <c:pt idx="871">
                  <c:v>41572</c:v>
                </c:pt>
                <c:pt idx="872">
                  <c:v>41575</c:v>
                </c:pt>
                <c:pt idx="873">
                  <c:v>41576</c:v>
                </c:pt>
                <c:pt idx="874">
                  <c:v>41577</c:v>
                </c:pt>
                <c:pt idx="875">
                  <c:v>41578</c:v>
                </c:pt>
                <c:pt idx="876">
                  <c:v>41579</c:v>
                </c:pt>
                <c:pt idx="877">
                  <c:v>41582</c:v>
                </c:pt>
                <c:pt idx="878">
                  <c:v>41583</c:v>
                </c:pt>
                <c:pt idx="879">
                  <c:v>41584</c:v>
                </c:pt>
                <c:pt idx="880">
                  <c:v>41585</c:v>
                </c:pt>
                <c:pt idx="881">
                  <c:v>41586</c:v>
                </c:pt>
                <c:pt idx="882">
                  <c:v>41589</c:v>
                </c:pt>
                <c:pt idx="883">
                  <c:v>41590</c:v>
                </c:pt>
                <c:pt idx="884">
                  <c:v>41591</c:v>
                </c:pt>
                <c:pt idx="885">
                  <c:v>41592</c:v>
                </c:pt>
                <c:pt idx="886">
                  <c:v>41593</c:v>
                </c:pt>
                <c:pt idx="887">
                  <c:v>41596</c:v>
                </c:pt>
                <c:pt idx="888">
                  <c:v>41597</c:v>
                </c:pt>
                <c:pt idx="889">
                  <c:v>41598</c:v>
                </c:pt>
                <c:pt idx="890">
                  <c:v>41599</c:v>
                </c:pt>
                <c:pt idx="891">
                  <c:v>41600</c:v>
                </c:pt>
                <c:pt idx="892">
                  <c:v>41603</c:v>
                </c:pt>
                <c:pt idx="893">
                  <c:v>41604</c:v>
                </c:pt>
                <c:pt idx="894">
                  <c:v>41605</c:v>
                </c:pt>
                <c:pt idx="895">
                  <c:v>41606</c:v>
                </c:pt>
                <c:pt idx="896">
                  <c:v>41607</c:v>
                </c:pt>
                <c:pt idx="897">
                  <c:v>41610</c:v>
                </c:pt>
                <c:pt idx="898">
                  <c:v>41611</c:v>
                </c:pt>
                <c:pt idx="899">
                  <c:v>41612</c:v>
                </c:pt>
                <c:pt idx="900">
                  <c:v>41613</c:v>
                </c:pt>
                <c:pt idx="901">
                  <c:v>41614</c:v>
                </c:pt>
                <c:pt idx="902">
                  <c:v>41617</c:v>
                </c:pt>
                <c:pt idx="903">
                  <c:v>41618</c:v>
                </c:pt>
                <c:pt idx="904">
                  <c:v>41619</c:v>
                </c:pt>
                <c:pt idx="905">
                  <c:v>41620</c:v>
                </c:pt>
                <c:pt idx="906">
                  <c:v>41621</c:v>
                </c:pt>
                <c:pt idx="907">
                  <c:v>41624</c:v>
                </c:pt>
                <c:pt idx="908">
                  <c:v>41625</c:v>
                </c:pt>
                <c:pt idx="909">
                  <c:v>41626</c:v>
                </c:pt>
                <c:pt idx="910">
                  <c:v>41627</c:v>
                </c:pt>
                <c:pt idx="911">
                  <c:v>41628</c:v>
                </c:pt>
                <c:pt idx="912">
                  <c:v>41631</c:v>
                </c:pt>
                <c:pt idx="913">
                  <c:v>41632</c:v>
                </c:pt>
                <c:pt idx="914">
                  <c:v>41633</c:v>
                </c:pt>
                <c:pt idx="915">
                  <c:v>41634</c:v>
                </c:pt>
                <c:pt idx="916">
                  <c:v>41635</c:v>
                </c:pt>
                <c:pt idx="917">
                  <c:v>41638</c:v>
                </c:pt>
                <c:pt idx="918">
                  <c:v>41639</c:v>
                </c:pt>
                <c:pt idx="919">
                  <c:v>41640</c:v>
                </c:pt>
                <c:pt idx="920">
                  <c:v>41641</c:v>
                </c:pt>
                <c:pt idx="921">
                  <c:v>41642</c:v>
                </c:pt>
                <c:pt idx="922">
                  <c:v>41645</c:v>
                </c:pt>
                <c:pt idx="923">
                  <c:v>41646</c:v>
                </c:pt>
                <c:pt idx="924">
                  <c:v>41647</c:v>
                </c:pt>
                <c:pt idx="925">
                  <c:v>41648</c:v>
                </c:pt>
                <c:pt idx="926">
                  <c:v>41649</c:v>
                </c:pt>
                <c:pt idx="927">
                  <c:v>41652</c:v>
                </c:pt>
                <c:pt idx="928">
                  <c:v>41653</c:v>
                </c:pt>
                <c:pt idx="929">
                  <c:v>41654</c:v>
                </c:pt>
                <c:pt idx="930">
                  <c:v>41655</c:v>
                </c:pt>
                <c:pt idx="931">
                  <c:v>41656</c:v>
                </c:pt>
                <c:pt idx="932">
                  <c:v>41659</c:v>
                </c:pt>
                <c:pt idx="933">
                  <c:v>41660</c:v>
                </c:pt>
                <c:pt idx="934">
                  <c:v>41661</c:v>
                </c:pt>
                <c:pt idx="935">
                  <c:v>41662</c:v>
                </c:pt>
                <c:pt idx="936">
                  <c:v>41663</c:v>
                </c:pt>
                <c:pt idx="937">
                  <c:v>41666</c:v>
                </c:pt>
                <c:pt idx="938">
                  <c:v>41667</c:v>
                </c:pt>
                <c:pt idx="939">
                  <c:v>41668</c:v>
                </c:pt>
                <c:pt idx="940">
                  <c:v>41669</c:v>
                </c:pt>
                <c:pt idx="941">
                  <c:v>41670</c:v>
                </c:pt>
                <c:pt idx="942">
                  <c:v>41673</c:v>
                </c:pt>
                <c:pt idx="943">
                  <c:v>41674</c:v>
                </c:pt>
                <c:pt idx="944">
                  <c:v>41675</c:v>
                </c:pt>
                <c:pt idx="945">
                  <c:v>41676</c:v>
                </c:pt>
                <c:pt idx="946">
                  <c:v>41677</c:v>
                </c:pt>
                <c:pt idx="947">
                  <c:v>41680</c:v>
                </c:pt>
                <c:pt idx="948">
                  <c:v>41681</c:v>
                </c:pt>
                <c:pt idx="949">
                  <c:v>41682</c:v>
                </c:pt>
                <c:pt idx="950">
                  <c:v>41683</c:v>
                </c:pt>
                <c:pt idx="951">
                  <c:v>41684</c:v>
                </c:pt>
                <c:pt idx="952">
                  <c:v>41687</c:v>
                </c:pt>
                <c:pt idx="953">
                  <c:v>41688</c:v>
                </c:pt>
                <c:pt idx="954">
                  <c:v>41689</c:v>
                </c:pt>
                <c:pt idx="955">
                  <c:v>41690</c:v>
                </c:pt>
                <c:pt idx="956">
                  <c:v>41691</c:v>
                </c:pt>
                <c:pt idx="957">
                  <c:v>41694</c:v>
                </c:pt>
                <c:pt idx="958">
                  <c:v>41695</c:v>
                </c:pt>
                <c:pt idx="959">
                  <c:v>41696</c:v>
                </c:pt>
                <c:pt idx="960">
                  <c:v>41697</c:v>
                </c:pt>
                <c:pt idx="961">
                  <c:v>41698</c:v>
                </c:pt>
                <c:pt idx="962">
                  <c:v>41701</c:v>
                </c:pt>
                <c:pt idx="963">
                  <c:v>41702</c:v>
                </c:pt>
                <c:pt idx="964">
                  <c:v>41703</c:v>
                </c:pt>
                <c:pt idx="965">
                  <c:v>41704</c:v>
                </c:pt>
                <c:pt idx="966">
                  <c:v>41705</c:v>
                </c:pt>
                <c:pt idx="967">
                  <c:v>41708</c:v>
                </c:pt>
                <c:pt idx="968">
                  <c:v>41709</c:v>
                </c:pt>
                <c:pt idx="969">
                  <c:v>41710</c:v>
                </c:pt>
                <c:pt idx="970">
                  <c:v>41711</c:v>
                </c:pt>
                <c:pt idx="971">
                  <c:v>41712</c:v>
                </c:pt>
                <c:pt idx="972">
                  <c:v>41715</c:v>
                </c:pt>
                <c:pt idx="973">
                  <c:v>41716</c:v>
                </c:pt>
                <c:pt idx="974">
                  <c:v>41717</c:v>
                </c:pt>
                <c:pt idx="975">
                  <c:v>41718</c:v>
                </c:pt>
                <c:pt idx="976">
                  <c:v>41719</c:v>
                </c:pt>
                <c:pt idx="977">
                  <c:v>41722</c:v>
                </c:pt>
                <c:pt idx="978">
                  <c:v>41723</c:v>
                </c:pt>
                <c:pt idx="979">
                  <c:v>41724</c:v>
                </c:pt>
                <c:pt idx="980">
                  <c:v>41725</c:v>
                </c:pt>
                <c:pt idx="981">
                  <c:v>41726</c:v>
                </c:pt>
                <c:pt idx="982">
                  <c:v>41729</c:v>
                </c:pt>
                <c:pt idx="983">
                  <c:v>41730</c:v>
                </c:pt>
                <c:pt idx="984">
                  <c:v>41731</c:v>
                </c:pt>
                <c:pt idx="985">
                  <c:v>41732</c:v>
                </c:pt>
                <c:pt idx="986">
                  <c:v>41733</c:v>
                </c:pt>
                <c:pt idx="987">
                  <c:v>41736</c:v>
                </c:pt>
                <c:pt idx="988">
                  <c:v>41737</c:v>
                </c:pt>
                <c:pt idx="989">
                  <c:v>41738</c:v>
                </c:pt>
                <c:pt idx="990">
                  <c:v>41739</c:v>
                </c:pt>
                <c:pt idx="991">
                  <c:v>41740</c:v>
                </c:pt>
                <c:pt idx="992">
                  <c:v>41743</c:v>
                </c:pt>
                <c:pt idx="993">
                  <c:v>41744</c:v>
                </c:pt>
                <c:pt idx="994">
                  <c:v>41745</c:v>
                </c:pt>
                <c:pt idx="995">
                  <c:v>41746</c:v>
                </c:pt>
                <c:pt idx="996">
                  <c:v>41747</c:v>
                </c:pt>
                <c:pt idx="997">
                  <c:v>41750</c:v>
                </c:pt>
                <c:pt idx="998">
                  <c:v>41751</c:v>
                </c:pt>
                <c:pt idx="999">
                  <c:v>41752</c:v>
                </c:pt>
                <c:pt idx="1000">
                  <c:v>41753</c:v>
                </c:pt>
                <c:pt idx="1001">
                  <c:v>41754</c:v>
                </c:pt>
                <c:pt idx="1002">
                  <c:v>41757</c:v>
                </c:pt>
                <c:pt idx="1003">
                  <c:v>41758</c:v>
                </c:pt>
                <c:pt idx="1004">
                  <c:v>41759</c:v>
                </c:pt>
                <c:pt idx="1005">
                  <c:v>41760</c:v>
                </c:pt>
                <c:pt idx="1006">
                  <c:v>41761</c:v>
                </c:pt>
                <c:pt idx="1007">
                  <c:v>41764</c:v>
                </c:pt>
                <c:pt idx="1008">
                  <c:v>41765</c:v>
                </c:pt>
                <c:pt idx="1009">
                  <c:v>41766</c:v>
                </c:pt>
                <c:pt idx="1010">
                  <c:v>41767</c:v>
                </c:pt>
                <c:pt idx="1011">
                  <c:v>41768</c:v>
                </c:pt>
                <c:pt idx="1012">
                  <c:v>41771</c:v>
                </c:pt>
                <c:pt idx="1013">
                  <c:v>41772</c:v>
                </c:pt>
                <c:pt idx="1014">
                  <c:v>41773</c:v>
                </c:pt>
                <c:pt idx="1015">
                  <c:v>41774</c:v>
                </c:pt>
                <c:pt idx="1016">
                  <c:v>41775</c:v>
                </c:pt>
                <c:pt idx="1017">
                  <c:v>41778</c:v>
                </c:pt>
                <c:pt idx="1018">
                  <c:v>41779</c:v>
                </c:pt>
                <c:pt idx="1019">
                  <c:v>41780</c:v>
                </c:pt>
                <c:pt idx="1020">
                  <c:v>41781</c:v>
                </c:pt>
                <c:pt idx="1021">
                  <c:v>41782</c:v>
                </c:pt>
                <c:pt idx="1022">
                  <c:v>41785</c:v>
                </c:pt>
                <c:pt idx="1023">
                  <c:v>41786</c:v>
                </c:pt>
                <c:pt idx="1024">
                  <c:v>41787</c:v>
                </c:pt>
                <c:pt idx="1025">
                  <c:v>41788</c:v>
                </c:pt>
                <c:pt idx="1026">
                  <c:v>41789</c:v>
                </c:pt>
                <c:pt idx="1027">
                  <c:v>41792</c:v>
                </c:pt>
                <c:pt idx="1028">
                  <c:v>41793</c:v>
                </c:pt>
                <c:pt idx="1029">
                  <c:v>41794</c:v>
                </c:pt>
                <c:pt idx="1030">
                  <c:v>41795</c:v>
                </c:pt>
                <c:pt idx="1031">
                  <c:v>41796</c:v>
                </c:pt>
                <c:pt idx="1032">
                  <c:v>41799</c:v>
                </c:pt>
                <c:pt idx="1033">
                  <c:v>41800</c:v>
                </c:pt>
                <c:pt idx="1034">
                  <c:v>41801</c:v>
                </c:pt>
                <c:pt idx="1035">
                  <c:v>41802</c:v>
                </c:pt>
                <c:pt idx="1036">
                  <c:v>41803</c:v>
                </c:pt>
                <c:pt idx="1037">
                  <c:v>41806</c:v>
                </c:pt>
                <c:pt idx="1038">
                  <c:v>41807</c:v>
                </c:pt>
                <c:pt idx="1039">
                  <c:v>41808</c:v>
                </c:pt>
                <c:pt idx="1040">
                  <c:v>41809</c:v>
                </c:pt>
                <c:pt idx="1041">
                  <c:v>41810</c:v>
                </c:pt>
                <c:pt idx="1042">
                  <c:v>41813</c:v>
                </c:pt>
                <c:pt idx="1043">
                  <c:v>41814</c:v>
                </c:pt>
                <c:pt idx="1044">
                  <c:v>41815</c:v>
                </c:pt>
                <c:pt idx="1045">
                  <c:v>41816</c:v>
                </c:pt>
                <c:pt idx="1046">
                  <c:v>41817</c:v>
                </c:pt>
                <c:pt idx="1047">
                  <c:v>41820</c:v>
                </c:pt>
                <c:pt idx="1048">
                  <c:v>41821</c:v>
                </c:pt>
                <c:pt idx="1049">
                  <c:v>41822</c:v>
                </c:pt>
                <c:pt idx="1050">
                  <c:v>41823</c:v>
                </c:pt>
                <c:pt idx="1051">
                  <c:v>41824</c:v>
                </c:pt>
                <c:pt idx="1052">
                  <c:v>41827</c:v>
                </c:pt>
                <c:pt idx="1053">
                  <c:v>41828</c:v>
                </c:pt>
                <c:pt idx="1054">
                  <c:v>41829</c:v>
                </c:pt>
                <c:pt idx="1055">
                  <c:v>41830</c:v>
                </c:pt>
                <c:pt idx="1056">
                  <c:v>41831</c:v>
                </c:pt>
                <c:pt idx="1057">
                  <c:v>41834</c:v>
                </c:pt>
                <c:pt idx="1058">
                  <c:v>41835</c:v>
                </c:pt>
                <c:pt idx="1059">
                  <c:v>41836</c:v>
                </c:pt>
                <c:pt idx="1060">
                  <c:v>41837</c:v>
                </c:pt>
                <c:pt idx="1061">
                  <c:v>41838</c:v>
                </c:pt>
                <c:pt idx="1062">
                  <c:v>41841</c:v>
                </c:pt>
                <c:pt idx="1063">
                  <c:v>41842</c:v>
                </c:pt>
                <c:pt idx="1064">
                  <c:v>41843</c:v>
                </c:pt>
                <c:pt idx="1065">
                  <c:v>41844</c:v>
                </c:pt>
                <c:pt idx="1066">
                  <c:v>41845</c:v>
                </c:pt>
                <c:pt idx="1067">
                  <c:v>41848</c:v>
                </c:pt>
                <c:pt idx="1068">
                  <c:v>41849</c:v>
                </c:pt>
                <c:pt idx="1069">
                  <c:v>41850</c:v>
                </c:pt>
                <c:pt idx="1070">
                  <c:v>41851</c:v>
                </c:pt>
                <c:pt idx="1071">
                  <c:v>41852</c:v>
                </c:pt>
                <c:pt idx="1072">
                  <c:v>41855</c:v>
                </c:pt>
                <c:pt idx="1073">
                  <c:v>41856</c:v>
                </c:pt>
                <c:pt idx="1074">
                  <c:v>41857</c:v>
                </c:pt>
                <c:pt idx="1075">
                  <c:v>41858</c:v>
                </c:pt>
                <c:pt idx="1076">
                  <c:v>41859</c:v>
                </c:pt>
                <c:pt idx="1077">
                  <c:v>41862</c:v>
                </c:pt>
                <c:pt idx="1078">
                  <c:v>41863</c:v>
                </c:pt>
                <c:pt idx="1079">
                  <c:v>41864</c:v>
                </c:pt>
                <c:pt idx="1080">
                  <c:v>41865</c:v>
                </c:pt>
                <c:pt idx="1081">
                  <c:v>41866</c:v>
                </c:pt>
                <c:pt idx="1082">
                  <c:v>41869</c:v>
                </c:pt>
                <c:pt idx="1083">
                  <c:v>41870</c:v>
                </c:pt>
                <c:pt idx="1084">
                  <c:v>41871</c:v>
                </c:pt>
                <c:pt idx="1085">
                  <c:v>41872</c:v>
                </c:pt>
                <c:pt idx="1086">
                  <c:v>41873</c:v>
                </c:pt>
                <c:pt idx="1087">
                  <c:v>41876</c:v>
                </c:pt>
                <c:pt idx="1088">
                  <c:v>41877</c:v>
                </c:pt>
                <c:pt idx="1089">
                  <c:v>41878</c:v>
                </c:pt>
                <c:pt idx="1090">
                  <c:v>41879</c:v>
                </c:pt>
                <c:pt idx="1091">
                  <c:v>41880</c:v>
                </c:pt>
                <c:pt idx="1092">
                  <c:v>41883</c:v>
                </c:pt>
                <c:pt idx="1093">
                  <c:v>41884</c:v>
                </c:pt>
                <c:pt idx="1094">
                  <c:v>41885</c:v>
                </c:pt>
                <c:pt idx="1095">
                  <c:v>41886</c:v>
                </c:pt>
                <c:pt idx="1096">
                  <c:v>41887</c:v>
                </c:pt>
                <c:pt idx="1097">
                  <c:v>41890</c:v>
                </c:pt>
                <c:pt idx="1098">
                  <c:v>41891</c:v>
                </c:pt>
                <c:pt idx="1099">
                  <c:v>41892</c:v>
                </c:pt>
                <c:pt idx="1100">
                  <c:v>41893</c:v>
                </c:pt>
                <c:pt idx="1101">
                  <c:v>41894</c:v>
                </c:pt>
                <c:pt idx="1102">
                  <c:v>41897</c:v>
                </c:pt>
                <c:pt idx="1103">
                  <c:v>41898</c:v>
                </c:pt>
                <c:pt idx="1104">
                  <c:v>41899</c:v>
                </c:pt>
                <c:pt idx="1105">
                  <c:v>41900</c:v>
                </c:pt>
                <c:pt idx="1106">
                  <c:v>41901</c:v>
                </c:pt>
                <c:pt idx="1107">
                  <c:v>41904</c:v>
                </c:pt>
                <c:pt idx="1108">
                  <c:v>41905</c:v>
                </c:pt>
                <c:pt idx="1109">
                  <c:v>41906</c:v>
                </c:pt>
                <c:pt idx="1110">
                  <c:v>41907</c:v>
                </c:pt>
                <c:pt idx="1111">
                  <c:v>41908</c:v>
                </c:pt>
                <c:pt idx="1112">
                  <c:v>41911</c:v>
                </c:pt>
                <c:pt idx="1113">
                  <c:v>41912</c:v>
                </c:pt>
                <c:pt idx="1114">
                  <c:v>41913</c:v>
                </c:pt>
                <c:pt idx="1115">
                  <c:v>41914</c:v>
                </c:pt>
                <c:pt idx="1116">
                  <c:v>41915</c:v>
                </c:pt>
                <c:pt idx="1117">
                  <c:v>41918</c:v>
                </c:pt>
                <c:pt idx="1118">
                  <c:v>41919</c:v>
                </c:pt>
                <c:pt idx="1119">
                  <c:v>41920</c:v>
                </c:pt>
                <c:pt idx="1120">
                  <c:v>41921</c:v>
                </c:pt>
                <c:pt idx="1121">
                  <c:v>41922</c:v>
                </c:pt>
                <c:pt idx="1122">
                  <c:v>41925</c:v>
                </c:pt>
                <c:pt idx="1123">
                  <c:v>41926</c:v>
                </c:pt>
                <c:pt idx="1124">
                  <c:v>41927</c:v>
                </c:pt>
                <c:pt idx="1125">
                  <c:v>41928</c:v>
                </c:pt>
                <c:pt idx="1126">
                  <c:v>41929</c:v>
                </c:pt>
                <c:pt idx="1127">
                  <c:v>41932</c:v>
                </c:pt>
                <c:pt idx="1128">
                  <c:v>41933</c:v>
                </c:pt>
                <c:pt idx="1129">
                  <c:v>41934</c:v>
                </c:pt>
                <c:pt idx="1130">
                  <c:v>41935</c:v>
                </c:pt>
                <c:pt idx="1131">
                  <c:v>41936</c:v>
                </c:pt>
                <c:pt idx="1132">
                  <c:v>41939</c:v>
                </c:pt>
                <c:pt idx="1133">
                  <c:v>41940</c:v>
                </c:pt>
                <c:pt idx="1134">
                  <c:v>41941</c:v>
                </c:pt>
                <c:pt idx="1135">
                  <c:v>41942</c:v>
                </c:pt>
                <c:pt idx="1136">
                  <c:v>41943</c:v>
                </c:pt>
                <c:pt idx="1137">
                  <c:v>41946</c:v>
                </c:pt>
                <c:pt idx="1138">
                  <c:v>41947</c:v>
                </c:pt>
                <c:pt idx="1139">
                  <c:v>41948</c:v>
                </c:pt>
                <c:pt idx="1140">
                  <c:v>41949</c:v>
                </c:pt>
                <c:pt idx="1141">
                  <c:v>41950</c:v>
                </c:pt>
                <c:pt idx="1142">
                  <c:v>41953</c:v>
                </c:pt>
                <c:pt idx="1143">
                  <c:v>41954</c:v>
                </c:pt>
                <c:pt idx="1144">
                  <c:v>41955</c:v>
                </c:pt>
                <c:pt idx="1145">
                  <c:v>41956</c:v>
                </c:pt>
                <c:pt idx="1146">
                  <c:v>41957</c:v>
                </c:pt>
                <c:pt idx="1147">
                  <c:v>41960</c:v>
                </c:pt>
                <c:pt idx="1148">
                  <c:v>41961</c:v>
                </c:pt>
                <c:pt idx="1149">
                  <c:v>41962</c:v>
                </c:pt>
                <c:pt idx="1150">
                  <c:v>41963</c:v>
                </c:pt>
                <c:pt idx="1151">
                  <c:v>41964</c:v>
                </c:pt>
                <c:pt idx="1152">
                  <c:v>41967</c:v>
                </c:pt>
                <c:pt idx="1153">
                  <c:v>41968</c:v>
                </c:pt>
                <c:pt idx="1154">
                  <c:v>41969</c:v>
                </c:pt>
                <c:pt idx="1155">
                  <c:v>41970</c:v>
                </c:pt>
                <c:pt idx="1156">
                  <c:v>41971</c:v>
                </c:pt>
                <c:pt idx="1157">
                  <c:v>41974</c:v>
                </c:pt>
                <c:pt idx="1158">
                  <c:v>41975</c:v>
                </c:pt>
                <c:pt idx="1159">
                  <c:v>41976</c:v>
                </c:pt>
                <c:pt idx="1160">
                  <c:v>41977</c:v>
                </c:pt>
                <c:pt idx="1161">
                  <c:v>41978</c:v>
                </c:pt>
                <c:pt idx="1162">
                  <c:v>41981</c:v>
                </c:pt>
                <c:pt idx="1163">
                  <c:v>41982</c:v>
                </c:pt>
                <c:pt idx="1164">
                  <c:v>41983</c:v>
                </c:pt>
                <c:pt idx="1165">
                  <c:v>41984</c:v>
                </c:pt>
                <c:pt idx="1166">
                  <c:v>41985</c:v>
                </c:pt>
                <c:pt idx="1167">
                  <c:v>41988</c:v>
                </c:pt>
                <c:pt idx="1168">
                  <c:v>41989</c:v>
                </c:pt>
                <c:pt idx="1169">
                  <c:v>41990</c:v>
                </c:pt>
                <c:pt idx="1170">
                  <c:v>41991</c:v>
                </c:pt>
                <c:pt idx="1171">
                  <c:v>41992</c:v>
                </c:pt>
                <c:pt idx="1172">
                  <c:v>41995</c:v>
                </c:pt>
                <c:pt idx="1173">
                  <c:v>41996</c:v>
                </c:pt>
                <c:pt idx="1174">
                  <c:v>41997</c:v>
                </c:pt>
                <c:pt idx="1175">
                  <c:v>41998</c:v>
                </c:pt>
                <c:pt idx="1176">
                  <c:v>41999</c:v>
                </c:pt>
                <c:pt idx="1177">
                  <c:v>42002</c:v>
                </c:pt>
                <c:pt idx="1178">
                  <c:v>42003</c:v>
                </c:pt>
                <c:pt idx="1179">
                  <c:v>42004</c:v>
                </c:pt>
                <c:pt idx="1180">
                  <c:v>42005</c:v>
                </c:pt>
                <c:pt idx="1181">
                  <c:v>42006</c:v>
                </c:pt>
                <c:pt idx="1182">
                  <c:v>42009</c:v>
                </c:pt>
                <c:pt idx="1183">
                  <c:v>42010</c:v>
                </c:pt>
                <c:pt idx="1184">
                  <c:v>42011</c:v>
                </c:pt>
                <c:pt idx="1185">
                  <c:v>42012</c:v>
                </c:pt>
                <c:pt idx="1186">
                  <c:v>42013</c:v>
                </c:pt>
                <c:pt idx="1187">
                  <c:v>42016</c:v>
                </c:pt>
                <c:pt idx="1188">
                  <c:v>42017</c:v>
                </c:pt>
                <c:pt idx="1189">
                  <c:v>42018</c:v>
                </c:pt>
                <c:pt idx="1190">
                  <c:v>42019</c:v>
                </c:pt>
                <c:pt idx="1191">
                  <c:v>42020</c:v>
                </c:pt>
                <c:pt idx="1192">
                  <c:v>42023</c:v>
                </c:pt>
                <c:pt idx="1193">
                  <c:v>42024</c:v>
                </c:pt>
                <c:pt idx="1194">
                  <c:v>42025</c:v>
                </c:pt>
                <c:pt idx="1195">
                  <c:v>42026</c:v>
                </c:pt>
                <c:pt idx="1196">
                  <c:v>42027</c:v>
                </c:pt>
                <c:pt idx="1197">
                  <c:v>42030</c:v>
                </c:pt>
                <c:pt idx="1198">
                  <c:v>42031</c:v>
                </c:pt>
                <c:pt idx="1199">
                  <c:v>42032</c:v>
                </c:pt>
                <c:pt idx="1200">
                  <c:v>42033</c:v>
                </c:pt>
                <c:pt idx="1201">
                  <c:v>42034</c:v>
                </c:pt>
                <c:pt idx="1202">
                  <c:v>42037</c:v>
                </c:pt>
                <c:pt idx="1203">
                  <c:v>42038</c:v>
                </c:pt>
                <c:pt idx="1204">
                  <c:v>42039</c:v>
                </c:pt>
                <c:pt idx="1205">
                  <c:v>42040</c:v>
                </c:pt>
                <c:pt idx="1206">
                  <c:v>42041</c:v>
                </c:pt>
                <c:pt idx="1207">
                  <c:v>42044</c:v>
                </c:pt>
                <c:pt idx="1208">
                  <c:v>42045</c:v>
                </c:pt>
                <c:pt idx="1209">
                  <c:v>42046</c:v>
                </c:pt>
                <c:pt idx="1210">
                  <c:v>42047</c:v>
                </c:pt>
                <c:pt idx="1211">
                  <c:v>42048</c:v>
                </c:pt>
                <c:pt idx="1212">
                  <c:v>42051</c:v>
                </c:pt>
                <c:pt idx="1213">
                  <c:v>42052</c:v>
                </c:pt>
                <c:pt idx="1214">
                  <c:v>42053</c:v>
                </c:pt>
                <c:pt idx="1215">
                  <c:v>42054</c:v>
                </c:pt>
                <c:pt idx="1216">
                  <c:v>42055</c:v>
                </c:pt>
                <c:pt idx="1217">
                  <c:v>42058</c:v>
                </c:pt>
                <c:pt idx="1218">
                  <c:v>42059</c:v>
                </c:pt>
                <c:pt idx="1219">
                  <c:v>42060</c:v>
                </c:pt>
                <c:pt idx="1220">
                  <c:v>42061</c:v>
                </c:pt>
                <c:pt idx="1221">
                  <c:v>42062</c:v>
                </c:pt>
                <c:pt idx="1222">
                  <c:v>42065</c:v>
                </c:pt>
                <c:pt idx="1223">
                  <c:v>42066</c:v>
                </c:pt>
                <c:pt idx="1224">
                  <c:v>42067</c:v>
                </c:pt>
                <c:pt idx="1225">
                  <c:v>42068</c:v>
                </c:pt>
                <c:pt idx="1226">
                  <c:v>42069</c:v>
                </c:pt>
                <c:pt idx="1227">
                  <c:v>42072</c:v>
                </c:pt>
                <c:pt idx="1228">
                  <c:v>42073</c:v>
                </c:pt>
                <c:pt idx="1229">
                  <c:v>42074</c:v>
                </c:pt>
                <c:pt idx="1230">
                  <c:v>42075</c:v>
                </c:pt>
                <c:pt idx="1231">
                  <c:v>42076</c:v>
                </c:pt>
                <c:pt idx="1232">
                  <c:v>42079</c:v>
                </c:pt>
                <c:pt idx="1233">
                  <c:v>42080</c:v>
                </c:pt>
                <c:pt idx="1234">
                  <c:v>42081</c:v>
                </c:pt>
                <c:pt idx="1235">
                  <c:v>42082</c:v>
                </c:pt>
                <c:pt idx="1236">
                  <c:v>42083</c:v>
                </c:pt>
                <c:pt idx="1237">
                  <c:v>42086</c:v>
                </c:pt>
                <c:pt idx="1238">
                  <c:v>42087</c:v>
                </c:pt>
                <c:pt idx="1239">
                  <c:v>42088</c:v>
                </c:pt>
                <c:pt idx="1240">
                  <c:v>42089</c:v>
                </c:pt>
                <c:pt idx="1241">
                  <c:v>42090</c:v>
                </c:pt>
                <c:pt idx="1242">
                  <c:v>42093</c:v>
                </c:pt>
                <c:pt idx="1243">
                  <c:v>42094</c:v>
                </c:pt>
                <c:pt idx="1244">
                  <c:v>42095</c:v>
                </c:pt>
                <c:pt idx="1245">
                  <c:v>42096</c:v>
                </c:pt>
                <c:pt idx="1246">
                  <c:v>42097</c:v>
                </c:pt>
                <c:pt idx="1247">
                  <c:v>42100</c:v>
                </c:pt>
                <c:pt idx="1248">
                  <c:v>42101</c:v>
                </c:pt>
                <c:pt idx="1249">
                  <c:v>42102</c:v>
                </c:pt>
                <c:pt idx="1250">
                  <c:v>42103</c:v>
                </c:pt>
                <c:pt idx="1251">
                  <c:v>42104</c:v>
                </c:pt>
                <c:pt idx="1252">
                  <c:v>42107</c:v>
                </c:pt>
                <c:pt idx="1253">
                  <c:v>42108</c:v>
                </c:pt>
                <c:pt idx="1254">
                  <c:v>42109</c:v>
                </c:pt>
                <c:pt idx="1255">
                  <c:v>42110</c:v>
                </c:pt>
                <c:pt idx="1256">
                  <c:v>42111</c:v>
                </c:pt>
                <c:pt idx="1257">
                  <c:v>42114</c:v>
                </c:pt>
                <c:pt idx="1258">
                  <c:v>42115</c:v>
                </c:pt>
                <c:pt idx="1259">
                  <c:v>42116</c:v>
                </c:pt>
                <c:pt idx="1260">
                  <c:v>42117</c:v>
                </c:pt>
                <c:pt idx="1261">
                  <c:v>42118</c:v>
                </c:pt>
                <c:pt idx="1262">
                  <c:v>42121</c:v>
                </c:pt>
                <c:pt idx="1263">
                  <c:v>42122</c:v>
                </c:pt>
                <c:pt idx="1264">
                  <c:v>42123</c:v>
                </c:pt>
                <c:pt idx="1265">
                  <c:v>42124</c:v>
                </c:pt>
                <c:pt idx="1266">
                  <c:v>42125</c:v>
                </c:pt>
                <c:pt idx="1267">
                  <c:v>42128</c:v>
                </c:pt>
                <c:pt idx="1268">
                  <c:v>42129</c:v>
                </c:pt>
                <c:pt idx="1269">
                  <c:v>42130</c:v>
                </c:pt>
                <c:pt idx="1270">
                  <c:v>42131</c:v>
                </c:pt>
                <c:pt idx="1271">
                  <c:v>42132</c:v>
                </c:pt>
                <c:pt idx="1272">
                  <c:v>42135</c:v>
                </c:pt>
                <c:pt idx="1273">
                  <c:v>42136</c:v>
                </c:pt>
                <c:pt idx="1274">
                  <c:v>42137</c:v>
                </c:pt>
                <c:pt idx="1275">
                  <c:v>42138</c:v>
                </c:pt>
                <c:pt idx="1276">
                  <c:v>42139</c:v>
                </c:pt>
                <c:pt idx="1277">
                  <c:v>42142</c:v>
                </c:pt>
                <c:pt idx="1278">
                  <c:v>42143</c:v>
                </c:pt>
                <c:pt idx="1279">
                  <c:v>42144</c:v>
                </c:pt>
                <c:pt idx="1280">
                  <c:v>42145</c:v>
                </c:pt>
                <c:pt idx="1281">
                  <c:v>42146</c:v>
                </c:pt>
                <c:pt idx="1282">
                  <c:v>42149</c:v>
                </c:pt>
                <c:pt idx="1283">
                  <c:v>42150</c:v>
                </c:pt>
                <c:pt idx="1284">
                  <c:v>42151</c:v>
                </c:pt>
                <c:pt idx="1285">
                  <c:v>42152</c:v>
                </c:pt>
                <c:pt idx="1286">
                  <c:v>42153</c:v>
                </c:pt>
                <c:pt idx="1287">
                  <c:v>42156</c:v>
                </c:pt>
                <c:pt idx="1288">
                  <c:v>42157</c:v>
                </c:pt>
                <c:pt idx="1289">
                  <c:v>42158</c:v>
                </c:pt>
                <c:pt idx="1290">
                  <c:v>42159</c:v>
                </c:pt>
                <c:pt idx="1291">
                  <c:v>42160</c:v>
                </c:pt>
                <c:pt idx="1292">
                  <c:v>42163</c:v>
                </c:pt>
                <c:pt idx="1293">
                  <c:v>42164</c:v>
                </c:pt>
                <c:pt idx="1294">
                  <c:v>42165</c:v>
                </c:pt>
                <c:pt idx="1295">
                  <c:v>42166</c:v>
                </c:pt>
                <c:pt idx="1296">
                  <c:v>42167</c:v>
                </c:pt>
                <c:pt idx="1297">
                  <c:v>42170</c:v>
                </c:pt>
                <c:pt idx="1298">
                  <c:v>42171</c:v>
                </c:pt>
                <c:pt idx="1299">
                  <c:v>42172</c:v>
                </c:pt>
                <c:pt idx="1300">
                  <c:v>42173</c:v>
                </c:pt>
                <c:pt idx="1301">
                  <c:v>42174</c:v>
                </c:pt>
                <c:pt idx="1302">
                  <c:v>42177</c:v>
                </c:pt>
                <c:pt idx="1303">
                  <c:v>42178</c:v>
                </c:pt>
                <c:pt idx="1304">
                  <c:v>42179</c:v>
                </c:pt>
                <c:pt idx="1305">
                  <c:v>42180</c:v>
                </c:pt>
                <c:pt idx="1306">
                  <c:v>42181</c:v>
                </c:pt>
                <c:pt idx="1307">
                  <c:v>42184</c:v>
                </c:pt>
                <c:pt idx="1308">
                  <c:v>42185</c:v>
                </c:pt>
                <c:pt idx="1309">
                  <c:v>42186</c:v>
                </c:pt>
                <c:pt idx="1310">
                  <c:v>42187</c:v>
                </c:pt>
                <c:pt idx="1311">
                  <c:v>42188</c:v>
                </c:pt>
                <c:pt idx="1312">
                  <c:v>42191</c:v>
                </c:pt>
                <c:pt idx="1313">
                  <c:v>42192</c:v>
                </c:pt>
                <c:pt idx="1314">
                  <c:v>42193</c:v>
                </c:pt>
                <c:pt idx="1315">
                  <c:v>42194</c:v>
                </c:pt>
                <c:pt idx="1316">
                  <c:v>42195</c:v>
                </c:pt>
                <c:pt idx="1317">
                  <c:v>42198</c:v>
                </c:pt>
                <c:pt idx="1318">
                  <c:v>42199</c:v>
                </c:pt>
                <c:pt idx="1319">
                  <c:v>42200</c:v>
                </c:pt>
                <c:pt idx="1320">
                  <c:v>42201</c:v>
                </c:pt>
                <c:pt idx="1321">
                  <c:v>42202</c:v>
                </c:pt>
                <c:pt idx="1322">
                  <c:v>42205</c:v>
                </c:pt>
                <c:pt idx="1323">
                  <c:v>42206</c:v>
                </c:pt>
                <c:pt idx="1324">
                  <c:v>42207</c:v>
                </c:pt>
                <c:pt idx="1325">
                  <c:v>42208</c:v>
                </c:pt>
                <c:pt idx="1326">
                  <c:v>42209</c:v>
                </c:pt>
                <c:pt idx="1327">
                  <c:v>42212</c:v>
                </c:pt>
                <c:pt idx="1328">
                  <c:v>42213</c:v>
                </c:pt>
                <c:pt idx="1329">
                  <c:v>42214</c:v>
                </c:pt>
                <c:pt idx="1330">
                  <c:v>42215</c:v>
                </c:pt>
                <c:pt idx="1331">
                  <c:v>42216</c:v>
                </c:pt>
                <c:pt idx="1332">
                  <c:v>42219</c:v>
                </c:pt>
                <c:pt idx="1333">
                  <c:v>42220</c:v>
                </c:pt>
                <c:pt idx="1334">
                  <c:v>42221</c:v>
                </c:pt>
                <c:pt idx="1335">
                  <c:v>42222</c:v>
                </c:pt>
                <c:pt idx="1336">
                  <c:v>42223</c:v>
                </c:pt>
                <c:pt idx="1337">
                  <c:v>42226</c:v>
                </c:pt>
                <c:pt idx="1338">
                  <c:v>42227</c:v>
                </c:pt>
                <c:pt idx="1339">
                  <c:v>42228</c:v>
                </c:pt>
                <c:pt idx="1340">
                  <c:v>42229</c:v>
                </c:pt>
                <c:pt idx="1341">
                  <c:v>42230</c:v>
                </c:pt>
                <c:pt idx="1342">
                  <c:v>42233</c:v>
                </c:pt>
                <c:pt idx="1343">
                  <c:v>42234</c:v>
                </c:pt>
                <c:pt idx="1344">
                  <c:v>42235</c:v>
                </c:pt>
                <c:pt idx="1345">
                  <c:v>42236</c:v>
                </c:pt>
                <c:pt idx="1346">
                  <c:v>42237</c:v>
                </c:pt>
                <c:pt idx="1347">
                  <c:v>42240</c:v>
                </c:pt>
                <c:pt idx="1348">
                  <c:v>42241</c:v>
                </c:pt>
                <c:pt idx="1349">
                  <c:v>42242</c:v>
                </c:pt>
                <c:pt idx="1350">
                  <c:v>42243</c:v>
                </c:pt>
                <c:pt idx="1351">
                  <c:v>42244</c:v>
                </c:pt>
                <c:pt idx="1352">
                  <c:v>42247</c:v>
                </c:pt>
                <c:pt idx="1353">
                  <c:v>42248</c:v>
                </c:pt>
                <c:pt idx="1354">
                  <c:v>42249</c:v>
                </c:pt>
                <c:pt idx="1355">
                  <c:v>42250</c:v>
                </c:pt>
                <c:pt idx="1356">
                  <c:v>42251</c:v>
                </c:pt>
                <c:pt idx="1357">
                  <c:v>42254</c:v>
                </c:pt>
                <c:pt idx="1358">
                  <c:v>42255</c:v>
                </c:pt>
                <c:pt idx="1359">
                  <c:v>42256</c:v>
                </c:pt>
                <c:pt idx="1360">
                  <c:v>42257</c:v>
                </c:pt>
                <c:pt idx="1361">
                  <c:v>42258</c:v>
                </c:pt>
                <c:pt idx="1362">
                  <c:v>42261</c:v>
                </c:pt>
                <c:pt idx="1363">
                  <c:v>42262</c:v>
                </c:pt>
                <c:pt idx="1364">
                  <c:v>42263</c:v>
                </c:pt>
                <c:pt idx="1365">
                  <c:v>42264</c:v>
                </c:pt>
                <c:pt idx="1366">
                  <c:v>42265</c:v>
                </c:pt>
                <c:pt idx="1367">
                  <c:v>42268</c:v>
                </c:pt>
                <c:pt idx="1368">
                  <c:v>42269</c:v>
                </c:pt>
                <c:pt idx="1369">
                  <c:v>42270</c:v>
                </c:pt>
                <c:pt idx="1370">
                  <c:v>42271</c:v>
                </c:pt>
                <c:pt idx="1371">
                  <c:v>42272</c:v>
                </c:pt>
                <c:pt idx="1372">
                  <c:v>42275</c:v>
                </c:pt>
                <c:pt idx="1373">
                  <c:v>42276</c:v>
                </c:pt>
                <c:pt idx="1374">
                  <c:v>42277</c:v>
                </c:pt>
                <c:pt idx="1375">
                  <c:v>42278</c:v>
                </c:pt>
                <c:pt idx="1376">
                  <c:v>42279</c:v>
                </c:pt>
                <c:pt idx="1377">
                  <c:v>42282</c:v>
                </c:pt>
                <c:pt idx="1378">
                  <c:v>42283</c:v>
                </c:pt>
                <c:pt idx="1379">
                  <c:v>42284</c:v>
                </c:pt>
                <c:pt idx="1380">
                  <c:v>42285</c:v>
                </c:pt>
                <c:pt idx="1381">
                  <c:v>42286</c:v>
                </c:pt>
                <c:pt idx="1382">
                  <c:v>42289</c:v>
                </c:pt>
                <c:pt idx="1383">
                  <c:v>42290</c:v>
                </c:pt>
                <c:pt idx="1384">
                  <c:v>42291</c:v>
                </c:pt>
                <c:pt idx="1385">
                  <c:v>42292</c:v>
                </c:pt>
                <c:pt idx="1386">
                  <c:v>42293</c:v>
                </c:pt>
                <c:pt idx="1387">
                  <c:v>42296</c:v>
                </c:pt>
                <c:pt idx="1388">
                  <c:v>42297</c:v>
                </c:pt>
                <c:pt idx="1389">
                  <c:v>42298</c:v>
                </c:pt>
                <c:pt idx="1390">
                  <c:v>42299</c:v>
                </c:pt>
                <c:pt idx="1391">
                  <c:v>42300</c:v>
                </c:pt>
                <c:pt idx="1392">
                  <c:v>42303</c:v>
                </c:pt>
                <c:pt idx="1393">
                  <c:v>42304</c:v>
                </c:pt>
                <c:pt idx="1394">
                  <c:v>42305</c:v>
                </c:pt>
                <c:pt idx="1395">
                  <c:v>42306</c:v>
                </c:pt>
                <c:pt idx="1396">
                  <c:v>42307</c:v>
                </c:pt>
                <c:pt idx="1397">
                  <c:v>42310</c:v>
                </c:pt>
                <c:pt idx="1398">
                  <c:v>42311</c:v>
                </c:pt>
                <c:pt idx="1399">
                  <c:v>42312</c:v>
                </c:pt>
                <c:pt idx="1400">
                  <c:v>42313</c:v>
                </c:pt>
                <c:pt idx="1401">
                  <c:v>42314</c:v>
                </c:pt>
                <c:pt idx="1402">
                  <c:v>42317</c:v>
                </c:pt>
                <c:pt idx="1403">
                  <c:v>42318</c:v>
                </c:pt>
                <c:pt idx="1404">
                  <c:v>42319</c:v>
                </c:pt>
                <c:pt idx="1405">
                  <c:v>42320</c:v>
                </c:pt>
                <c:pt idx="1406">
                  <c:v>42321</c:v>
                </c:pt>
                <c:pt idx="1407">
                  <c:v>42324</c:v>
                </c:pt>
                <c:pt idx="1408">
                  <c:v>42325</c:v>
                </c:pt>
                <c:pt idx="1409">
                  <c:v>42326</c:v>
                </c:pt>
                <c:pt idx="1410">
                  <c:v>42327</c:v>
                </c:pt>
                <c:pt idx="1411">
                  <c:v>42328</c:v>
                </c:pt>
                <c:pt idx="1412">
                  <c:v>42331</c:v>
                </c:pt>
                <c:pt idx="1413">
                  <c:v>42332</c:v>
                </c:pt>
                <c:pt idx="1414">
                  <c:v>42333</c:v>
                </c:pt>
                <c:pt idx="1415">
                  <c:v>42334</c:v>
                </c:pt>
                <c:pt idx="1416">
                  <c:v>42335</c:v>
                </c:pt>
                <c:pt idx="1417">
                  <c:v>42338</c:v>
                </c:pt>
                <c:pt idx="1418">
                  <c:v>42339</c:v>
                </c:pt>
                <c:pt idx="1419">
                  <c:v>42340</c:v>
                </c:pt>
                <c:pt idx="1420">
                  <c:v>42341</c:v>
                </c:pt>
                <c:pt idx="1421">
                  <c:v>42342</c:v>
                </c:pt>
                <c:pt idx="1422">
                  <c:v>42345</c:v>
                </c:pt>
                <c:pt idx="1423">
                  <c:v>42346</c:v>
                </c:pt>
                <c:pt idx="1424">
                  <c:v>42347</c:v>
                </c:pt>
                <c:pt idx="1425">
                  <c:v>42348</c:v>
                </c:pt>
                <c:pt idx="1426">
                  <c:v>42349</c:v>
                </c:pt>
                <c:pt idx="1427">
                  <c:v>42352</c:v>
                </c:pt>
                <c:pt idx="1428">
                  <c:v>42353</c:v>
                </c:pt>
                <c:pt idx="1429">
                  <c:v>42354</c:v>
                </c:pt>
                <c:pt idx="1430">
                  <c:v>42355</c:v>
                </c:pt>
                <c:pt idx="1431">
                  <c:v>42356</c:v>
                </c:pt>
                <c:pt idx="1432">
                  <c:v>42359</c:v>
                </c:pt>
                <c:pt idx="1433">
                  <c:v>42360</c:v>
                </c:pt>
                <c:pt idx="1434">
                  <c:v>42361</c:v>
                </c:pt>
                <c:pt idx="1435">
                  <c:v>42362</c:v>
                </c:pt>
                <c:pt idx="1436">
                  <c:v>42363</c:v>
                </c:pt>
                <c:pt idx="1437">
                  <c:v>42366</c:v>
                </c:pt>
                <c:pt idx="1438">
                  <c:v>42367</c:v>
                </c:pt>
                <c:pt idx="1439">
                  <c:v>42368</c:v>
                </c:pt>
                <c:pt idx="1440">
                  <c:v>42369</c:v>
                </c:pt>
                <c:pt idx="1441">
                  <c:v>42370</c:v>
                </c:pt>
                <c:pt idx="1442">
                  <c:v>42373</c:v>
                </c:pt>
                <c:pt idx="1443">
                  <c:v>42374</c:v>
                </c:pt>
                <c:pt idx="1444">
                  <c:v>42375</c:v>
                </c:pt>
                <c:pt idx="1445">
                  <c:v>42376</c:v>
                </c:pt>
                <c:pt idx="1446">
                  <c:v>42377</c:v>
                </c:pt>
                <c:pt idx="1447">
                  <c:v>42380</c:v>
                </c:pt>
                <c:pt idx="1448">
                  <c:v>42381</c:v>
                </c:pt>
                <c:pt idx="1449">
                  <c:v>42382</c:v>
                </c:pt>
                <c:pt idx="1450">
                  <c:v>42383</c:v>
                </c:pt>
                <c:pt idx="1451">
                  <c:v>42384</c:v>
                </c:pt>
                <c:pt idx="1452">
                  <c:v>42387</c:v>
                </c:pt>
                <c:pt idx="1453">
                  <c:v>42388</c:v>
                </c:pt>
                <c:pt idx="1454">
                  <c:v>42389</c:v>
                </c:pt>
                <c:pt idx="1455">
                  <c:v>42390</c:v>
                </c:pt>
                <c:pt idx="1456">
                  <c:v>42391</c:v>
                </c:pt>
                <c:pt idx="1457">
                  <c:v>42394</c:v>
                </c:pt>
                <c:pt idx="1458">
                  <c:v>42395</c:v>
                </c:pt>
                <c:pt idx="1459">
                  <c:v>42396</c:v>
                </c:pt>
                <c:pt idx="1460">
                  <c:v>42397</c:v>
                </c:pt>
                <c:pt idx="1461">
                  <c:v>42398</c:v>
                </c:pt>
                <c:pt idx="1462">
                  <c:v>42401</c:v>
                </c:pt>
                <c:pt idx="1463">
                  <c:v>42402</c:v>
                </c:pt>
                <c:pt idx="1464">
                  <c:v>42403</c:v>
                </c:pt>
                <c:pt idx="1465">
                  <c:v>42404</c:v>
                </c:pt>
                <c:pt idx="1466">
                  <c:v>42405</c:v>
                </c:pt>
                <c:pt idx="1467">
                  <c:v>42408</c:v>
                </c:pt>
                <c:pt idx="1468">
                  <c:v>42409</c:v>
                </c:pt>
                <c:pt idx="1469">
                  <c:v>42410</c:v>
                </c:pt>
                <c:pt idx="1470">
                  <c:v>42411</c:v>
                </c:pt>
                <c:pt idx="1471">
                  <c:v>42412</c:v>
                </c:pt>
                <c:pt idx="1472">
                  <c:v>42415</c:v>
                </c:pt>
                <c:pt idx="1473">
                  <c:v>42416</c:v>
                </c:pt>
                <c:pt idx="1474">
                  <c:v>42417</c:v>
                </c:pt>
                <c:pt idx="1475">
                  <c:v>42418</c:v>
                </c:pt>
                <c:pt idx="1476">
                  <c:v>42419</c:v>
                </c:pt>
                <c:pt idx="1477">
                  <c:v>42422</c:v>
                </c:pt>
                <c:pt idx="1478">
                  <c:v>42423</c:v>
                </c:pt>
                <c:pt idx="1479">
                  <c:v>42424</c:v>
                </c:pt>
                <c:pt idx="1480">
                  <c:v>42425</c:v>
                </c:pt>
                <c:pt idx="1481">
                  <c:v>42426</c:v>
                </c:pt>
                <c:pt idx="1482">
                  <c:v>42429</c:v>
                </c:pt>
                <c:pt idx="1483">
                  <c:v>42430</c:v>
                </c:pt>
                <c:pt idx="1484">
                  <c:v>42431</c:v>
                </c:pt>
                <c:pt idx="1485">
                  <c:v>42432</c:v>
                </c:pt>
                <c:pt idx="1486">
                  <c:v>42433</c:v>
                </c:pt>
                <c:pt idx="1487">
                  <c:v>42436</c:v>
                </c:pt>
                <c:pt idx="1488">
                  <c:v>42437</c:v>
                </c:pt>
                <c:pt idx="1489">
                  <c:v>42438</c:v>
                </c:pt>
                <c:pt idx="1490">
                  <c:v>42439</c:v>
                </c:pt>
                <c:pt idx="1491">
                  <c:v>42440</c:v>
                </c:pt>
                <c:pt idx="1492">
                  <c:v>42443</c:v>
                </c:pt>
                <c:pt idx="1493">
                  <c:v>42444</c:v>
                </c:pt>
                <c:pt idx="1494">
                  <c:v>42445</c:v>
                </c:pt>
                <c:pt idx="1495">
                  <c:v>42446</c:v>
                </c:pt>
                <c:pt idx="1496">
                  <c:v>42447</c:v>
                </c:pt>
                <c:pt idx="1497">
                  <c:v>42450</c:v>
                </c:pt>
                <c:pt idx="1498">
                  <c:v>42451</c:v>
                </c:pt>
                <c:pt idx="1499">
                  <c:v>42452</c:v>
                </c:pt>
                <c:pt idx="1500">
                  <c:v>42453</c:v>
                </c:pt>
                <c:pt idx="1501">
                  <c:v>42454</c:v>
                </c:pt>
                <c:pt idx="1502">
                  <c:v>42457</c:v>
                </c:pt>
                <c:pt idx="1503">
                  <c:v>42458</c:v>
                </c:pt>
                <c:pt idx="1504">
                  <c:v>42459</c:v>
                </c:pt>
                <c:pt idx="1505">
                  <c:v>42460</c:v>
                </c:pt>
                <c:pt idx="1506">
                  <c:v>42461</c:v>
                </c:pt>
                <c:pt idx="1507">
                  <c:v>42464</c:v>
                </c:pt>
                <c:pt idx="1508">
                  <c:v>42465</c:v>
                </c:pt>
                <c:pt idx="1509">
                  <c:v>42466</c:v>
                </c:pt>
                <c:pt idx="1510">
                  <c:v>42467</c:v>
                </c:pt>
                <c:pt idx="1511">
                  <c:v>42468</c:v>
                </c:pt>
                <c:pt idx="1512">
                  <c:v>42471</c:v>
                </c:pt>
                <c:pt idx="1513">
                  <c:v>42472</c:v>
                </c:pt>
                <c:pt idx="1514">
                  <c:v>42473</c:v>
                </c:pt>
                <c:pt idx="1515">
                  <c:v>42474</c:v>
                </c:pt>
                <c:pt idx="1516">
                  <c:v>42475</c:v>
                </c:pt>
                <c:pt idx="1517">
                  <c:v>42478</c:v>
                </c:pt>
                <c:pt idx="1518">
                  <c:v>42479</c:v>
                </c:pt>
                <c:pt idx="1519">
                  <c:v>42480</c:v>
                </c:pt>
                <c:pt idx="1520">
                  <c:v>42481</c:v>
                </c:pt>
                <c:pt idx="1521">
                  <c:v>42482</c:v>
                </c:pt>
                <c:pt idx="1522">
                  <c:v>42485</c:v>
                </c:pt>
                <c:pt idx="1523">
                  <c:v>42486</c:v>
                </c:pt>
                <c:pt idx="1524">
                  <c:v>42487</c:v>
                </c:pt>
                <c:pt idx="1525">
                  <c:v>42488</c:v>
                </c:pt>
                <c:pt idx="1526">
                  <c:v>42489</c:v>
                </c:pt>
                <c:pt idx="1527">
                  <c:v>42492</c:v>
                </c:pt>
                <c:pt idx="1528">
                  <c:v>42493</c:v>
                </c:pt>
                <c:pt idx="1529">
                  <c:v>42494</c:v>
                </c:pt>
                <c:pt idx="1530">
                  <c:v>42495</c:v>
                </c:pt>
                <c:pt idx="1531">
                  <c:v>42496</c:v>
                </c:pt>
                <c:pt idx="1532">
                  <c:v>42499</c:v>
                </c:pt>
                <c:pt idx="1533">
                  <c:v>42500</c:v>
                </c:pt>
                <c:pt idx="1534">
                  <c:v>42501</c:v>
                </c:pt>
                <c:pt idx="1535">
                  <c:v>42502</c:v>
                </c:pt>
                <c:pt idx="1536">
                  <c:v>42503</c:v>
                </c:pt>
                <c:pt idx="1537">
                  <c:v>42506</c:v>
                </c:pt>
                <c:pt idx="1538">
                  <c:v>42507</c:v>
                </c:pt>
                <c:pt idx="1539">
                  <c:v>42508</c:v>
                </c:pt>
                <c:pt idx="1540">
                  <c:v>42509</c:v>
                </c:pt>
                <c:pt idx="1541">
                  <c:v>42510</c:v>
                </c:pt>
                <c:pt idx="1542">
                  <c:v>42513</c:v>
                </c:pt>
                <c:pt idx="1543">
                  <c:v>42514</c:v>
                </c:pt>
                <c:pt idx="1544">
                  <c:v>42515</c:v>
                </c:pt>
                <c:pt idx="1545">
                  <c:v>42516</c:v>
                </c:pt>
                <c:pt idx="1546">
                  <c:v>42517</c:v>
                </c:pt>
                <c:pt idx="1547">
                  <c:v>42520</c:v>
                </c:pt>
                <c:pt idx="1548">
                  <c:v>42521</c:v>
                </c:pt>
                <c:pt idx="1549">
                  <c:v>42522</c:v>
                </c:pt>
                <c:pt idx="1550">
                  <c:v>42523</c:v>
                </c:pt>
                <c:pt idx="1551">
                  <c:v>42524</c:v>
                </c:pt>
                <c:pt idx="1552">
                  <c:v>42527</c:v>
                </c:pt>
                <c:pt idx="1553">
                  <c:v>42528</c:v>
                </c:pt>
                <c:pt idx="1554">
                  <c:v>42529</c:v>
                </c:pt>
                <c:pt idx="1555">
                  <c:v>42530</c:v>
                </c:pt>
                <c:pt idx="1556">
                  <c:v>42531</c:v>
                </c:pt>
                <c:pt idx="1557">
                  <c:v>42534</c:v>
                </c:pt>
                <c:pt idx="1558">
                  <c:v>42535</c:v>
                </c:pt>
                <c:pt idx="1559">
                  <c:v>42536</c:v>
                </c:pt>
                <c:pt idx="1560">
                  <c:v>42537</c:v>
                </c:pt>
                <c:pt idx="1561">
                  <c:v>42538</c:v>
                </c:pt>
                <c:pt idx="1562">
                  <c:v>42541</c:v>
                </c:pt>
                <c:pt idx="1563">
                  <c:v>42542</c:v>
                </c:pt>
                <c:pt idx="1564">
                  <c:v>42543</c:v>
                </c:pt>
                <c:pt idx="1565">
                  <c:v>42544</c:v>
                </c:pt>
                <c:pt idx="1566">
                  <c:v>42545</c:v>
                </c:pt>
                <c:pt idx="1567">
                  <c:v>42548</c:v>
                </c:pt>
                <c:pt idx="1568">
                  <c:v>42549</c:v>
                </c:pt>
                <c:pt idx="1569">
                  <c:v>42550</c:v>
                </c:pt>
                <c:pt idx="1570">
                  <c:v>42551</c:v>
                </c:pt>
                <c:pt idx="1571">
                  <c:v>42552</c:v>
                </c:pt>
                <c:pt idx="1572">
                  <c:v>42555</c:v>
                </c:pt>
                <c:pt idx="1573">
                  <c:v>42556</c:v>
                </c:pt>
                <c:pt idx="1574">
                  <c:v>42557</c:v>
                </c:pt>
                <c:pt idx="1575">
                  <c:v>42558</c:v>
                </c:pt>
                <c:pt idx="1576">
                  <c:v>42559</c:v>
                </c:pt>
                <c:pt idx="1577">
                  <c:v>42562</c:v>
                </c:pt>
                <c:pt idx="1578">
                  <c:v>42563</c:v>
                </c:pt>
                <c:pt idx="1579">
                  <c:v>42564</c:v>
                </c:pt>
                <c:pt idx="1580">
                  <c:v>42565</c:v>
                </c:pt>
                <c:pt idx="1581">
                  <c:v>42566</c:v>
                </c:pt>
                <c:pt idx="1582">
                  <c:v>42569</c:v>
                </c:pt>
                <c:pt idx="1583">
                  <c:v>42570</c:v>
                </c:pt>
                <c:pt idx="1584">
                  <c:v>42571</c:v>
                </c:pt>
                <c:pt idx="1585">
                  <c:v>42572</c:v>
                </c:pt>
                <c:pt idx="1586">
                  <c:v>42573</c:v>
                </c:pt>
                <c:pt idx="1587">
                  <c:v>42576</c:v>
                </c:pt>
                <c:pt idx="1588">
                  <c:v>42577</c:v>
                </c:pt>
                <c:pt idx="1589">
                  <c:v>42578</c:v>
                </c:pt>
                <c:pt idx="1590">
                  <c:v>42579</c:v>
                </c:pt>
                <c:pt idx="1591">
                  <c:v>42580</c:v>
                </c:pt>
                <c:pt idx="1592">
                  <c:v>42583</c:v>
                </c:pt>
                <c:pt idx="1593">
                  <c:v>42584</c:v>
                </c:pt>
                <c:pt idx="1594">
                  <c:v>42585</c:v>
                </c:pt>
                <c:pt idx="1595">
                  <c:v>42586</c:v>
                </c:pt>
                <c:pt idx="1596">
                  <c:v>42587</c:v>
                </c:pt>
                <c:pt idx="1597">
                  <c:v>42590</c:v>
                </c:pt>
                <c:pt idx="1598">
                  <c:v>42591</c:v>
                </c:pt>
                <c:pt idx="1599">
                  <c:v>42592</c:v>
                </c:pt>
                <c:pt idx="1600">
                  <c:v>42593</c:v>
                </c:pt>
                <c:pt idx="1601">
                  <c:v>42594</c:v>
                </c:pt>
                <c:pt idx="1602">
                  <c:v>42597</c:v>
                </c:pt>
                <c:pt idx="1603">
                  <c:v>42598</c:v>
                </c:pt>
                <c:pt idx="1604">
                  <c:v>42599</c:v>
                </c:pt>
                <c:pt idx="1605">
                  <c:v>42600</c:v>
                </c:pt>
                <c:pt idx="1606">
                  <c:v>42601</c:v>
                </c:pt>
                <c:pt idx="1607">
                  <c:v>42604</c:v>
                </c:pt>
                <c:pt idx="1608">
                  <c:v>42605</c:v>
                </c:pt>
                <c:pt idx="1609">
                  <c:v>42606</c:v>
                </c:pt>
                <c:pt idx="1610">
                  <c:v>42607</c:v>
                </c:pt>
                <c:pt idx="1611">
                  <c:v>42608</c:v>
                </c:pt>
                <c:pt idx="1612">
                  <c:v>42611</c:v>
                </c:pt>
                <c:pt idx="1613">
                  <c:v>42612</c:v>
                </c:pt>
                <c:pt idx="1614">
                  <c:v>42613</c:v>
                </c:pt>
                <c:pt idx="1615">
                  <c:v>42614</c:v>
                </c:pt>
                <c:pt idx="1616">
                  <c:v>42615</c:v>
                </c:pt>
                <c:pt idx="1617">
                  <c:v>42618</c:v>
                </c:pt>
                <c:pt idx="1618">
                  <c:v>42619</c:v>
                </c:pt>
                <c:pt idx="1619">
                  <c:v>42620</c:v>
                </c:pt>
                <c:pt idx="1620">
                  <c:v>42621</c:v>
                </c:pt>
                <c:pt idx="1621">
                  <c:v>42622</c:v>
                </c:pt>
                <c:pt idx="1622">
                  <c:v>42625</c:v>
                </c:pt>
                <c:pt idx="1623">
                  <c:v>42626</c:v>
                </c:pt>
                <c:pt idx="1624">
                  <c:v>42627</c:v>
                </c:pt>
                <c:pt idx="1625">
                  <c:v>42628</c:v>
                </c:pt>
                <c:pt idx="1626">
                  <c:v>42629</c:v>
                </c:pt>
                <c:pt idx="1627">
                  <c:v>42632</c:v>
                </c:pt>
                <c:pt idx="1628">
                  <c:v>42633</c:v>
                </c:pt>
                <c:pt idx="1629">
                  <c:v>42634</c:v>
                </c:pt>
                <c:pt idx="1630">
                  <c:v>42635</c:v>
                </c:pt>
                <c:pt idx="1631">
                  <c:v>42636</c:v>
                </c:pt>
                <c:pt idx="1632">
                  <c:v>42639</c:v>
                </c:pt>
                <c:pt idx="1633">
                  <c:v>42640</c:v>
                </c:pt>
                <c:pt idx="1634">
                  <c:v>42641</c:v>
                </c:pt>
                <c:pt idx="1635">
                  <c:v>42642</c:v>
                </c:pt>
                <c:pt idx="1636">
                  <c:v>42643</c:v>
                </c:pt>
                <c:pt idx="1637">
                  <c:v>42646</c:v>
                </c:pt>
                <c:pt idx="1638">
                  <c:v>42647</c:v>
                </c:pt>
                <c:pt idx="1639">
                  <c:v>42648</c:v>
                </c:pt>
                <c:pt idx="1640">
                  <c:v>42649</c:v>
                </c:pt>
                <c:pt idx="1641">
                  <c:v>42650</c:v>
                </c:pt>
                <c:pt idx="1642">
                  <c:v>42653</c:v>
                </c:pt>
                <c:pt idx="1643">
                  <c:v>42654</c:v>
                </c:pt>
                <c:pt idx="1644">
                  <c:v>42655</c:v>
                </c:pt>
                <c:pt idx="1645">
                  <c:v>42656</c:v>
                </c:pt>
                <c:pt idx="1646">
                  <c:v>42657</c:v>
                </c:pt>
                <c:pt idx="1647">
                  <c:v>42660</c:v>
                </c:pt>
                <c:pt idx="1648">
                  <c:v>42661</c:v>
                </c:pt>
                <c:pt idx="1649">
                  <c:v>42662</c:v>
                </c:pt>
                <c:pt idx="1650">
                  <c:v>42663</c:v>
                </c:pt>
                <c:pt idx="1651">
                  <c:v>42664</c:v>
                </c:pt>
                <c:pt idx="1652">
                  <c:v>42667</c:v>
                </c:pt>
                <c:pt idx="1653">
                  <c:v>42668</c:v>
                </c:pt>
                <c:pt idx="1654">
                  <c:v>42669</c:v>
                </c:pt>
                <c:pt idx="1655">
                  <c:v>42670</c:v>
                </c:pt>
                <c:pt idx="1656">
                  <c:v>42671</c:v>
                </c:pt>
                <c:pt idx="1657">
                  <c:v>42674</c:v>
                </c:pt>
                <c:pt idx="1658">
                  <c:v>42675</c:v>
                </c:pt>
                <c:pt idx="1659">
                  <c:v>42676</c:v>
                </c:pt>
                <c:pt idx="1660">
                  <c:v>42677</c:v>
                </c:pt>
                <c:pt idx="1661">
                  <c:v>42678</c:v>
                </c:pt>
                <c:pt idx="1662">
                  <c:v>42681</c:v>
                </c:pt>
                <c:pt idx="1663">
                  <c:v>42682</c:v>
                </c:pt>
                <c:pt idx="1664">
                  <c:v>42683</c:v>
                </c:pt>
                <c:pt idx="1665">
                  <c:v>42684</c:v>
                </c:pt>
                <c:pt idx="1666">
                  <c:v>42685</c:v>
                </c:pt>
                <c:pt idx="1667">
                  <c:v>42688</c:v>
                </c:pt>
                <c:pt idx="1668">
                  <c:v>42689</c:v>
                </c:pt>
                <c:pt idx="1669">
                  <c:v>42690</c:v>
                </c:pt>
                <c:pt idx="1670">
                  <c:v>42691</c:v>
                </c:pt>
                <c:pt idx="1671">
                  <c:v>42692</c:v>
                </c:pt>
                <c:pt idx="1672">
                  <c:v>42695</c:v>
                </c:pt>
                <c:pt idx="1673">
                  <c:v>42696</c:v>
                </c:pt>
                <c:pt idx="1674">
                  <c:v>42697</c:v>
                </c:pt>
                <c:pt idx="1675">
                  <c:v>42698</c:v>
                </c:pt>
                <c:pt idx="1676">
                  <c:v>42699</c:v>
                </c:pt>
                <c:pt idx="1677">
                  <c:v>42702</c:v>
                </c:pt>
                <c:pt idx="1678">
                  <c:v>42703</c:v>
                </c:pt>
                <c:pt idx="1679">
                  <c:v>42704</c:v>
                </c:pt>
                <c:pt idx="1680">
                  <c:v>42705</c:v>
                </c:pt>
                <c:pt idx="1681">
                  <c:v>42706</c:v>
                </c:pt>
                <c:pt idx="1682">
                  <c:v>42709</c:v>
                </c:pt>
                <c:pt idx="1683">
                  <c:v>42710</c:v>
                </c:pt>
                <c:pt idx="1684">
                  <c:v>42711</c:v>
                </c:pt>
                <c:pt idx="1685">
                  <c:v>42712</c:v>
                </c:pt>
                <c:pt idx="1686">
                  <c:v>42713</c:v>
                </c:pt>
                <c:pt idx="1687">
                  <c:v>42716</c:v>
                </c:pt>
                <c:pt idx="1688">
                  <c:v>42717</c:v>
                </c:pt>
                <c:pt idx="1689">
                  <c:v>42718</c:v>
                </c:pt>
                <c:pt idx="1690">
                  <c:v>42719</c:v>
                </c:pt>
                <c:pt idx="1691">
                  <c:v>42720</c:v>
                </c:pt>
                <c:pt idx="1692">
                  <c:v>42723</c:v>
                </c:pt>
                <c:pt idx="1693">
                  <c:v>42724</c:v>
                </c:pt>
                <c:pt idx="1694">
                  <c:v>42725</c:v>
                </c:pt>
                <c:pt idx="1695">
                  <c:v>42726</c:v>
                </c:pt>
                <c:pt idx="1696">
                  <c:v>42727</c:v>
                </c:pt>
                <c:pt idx="1697">
                  <c:v>42730</c:v>
                </c:pt>
                <c:pt idx="1698">
                  <c:v>42731</c:v>
                </c:pt>
                <c:pt idx="1699">
                  <c:v>42732</c:v>
                </c:pt>
                <c:pt idx="1700">
                  <c:v>42733</c:v>
                </c:pt>
                <c:pt idx="1701">
                  <c:v>42734</c:v>
                </c:pt>
                <c:pt idx="1702">
                  <c:v>42737</c:v>
                </c:pt>
                <c:pt idx="1703">
                  <c:v>42738</c:v>
                </c:pt>
                <c:pt idx="1704">
                  <c:v>42739</c:v>
                </c:pt>
                <c:pt idx="1705">
                  <c:v>42740</c:v>
                </c:pt>
                <c:pt idx="1706">
                  <c:v>42741</c:v>
                </c:pt>
                <c:pt idx="1707">
                  <c:v>42744</c:v>
                </c:pt>
                <c:pt idx="1708">
                  <c:v>42745</c:v>
                </c:pt>
                <c:pt idx="1709">
                  <c:v>42746</c:v>
                </c:pt>
                <c:pt idx="1710">
                  <c:v>42747</c:v>
                </c:pt>
                <c:pt idx="1711">
                  <c:v>42748</c:v>
                </c:pt>
                <c:pt idx="1712">
                  <c:v>42751</c:v>
                </c:pt>
                <c:pt idx="1713">
                  <c:v>42752</c:v>
                </c:pt>
                <c:pt idx="1714">
                  <c:v>42753</c:v>
                </c:pt>
                <c:pt idx="1715">
                  <c:v>42754</c:v>
                </c:pt>
                <c:pt idx="1716">
                  <c:v>42755</c:v>
                </c:pt>
                <c:pt idx="1717">
                  <c:v>42758</c:v>
                </c:pt>
                <c:pt idx="1718">
                  <c:v>42759</c:v>
                </c:pt>
                <c:pt idx="1719">
                  <c:v>42760</c:v>
                </c:pt>
                <c:pt idx="1720">
                  <c:v>42761</c:v>
                </c:pt>
                <c:pt idx="1721">
                  <c:v>42762</c:v>
                </c:pt>
                <c:pt idx="1722">
                  <c:v>42765</c:v>
                </c:pt>
                <c:pt idx="1723">
                  <c:v>42766</c:v>
                </c:pt>
                <c:pt idx="1724">
                  <c:v>42767</c:v>
                </c:pt>
                <c:pt idx="1725">
                  <c:v>42768</c:v>
                </c:pt>
                <c:pt idx="1726">
                  <c:v>42769</c:v>
                </c:pt>
                <c:pt idx="1727">
                  <c:v>42772</c:v>
                </c:pt>
                <c:pt idx="1728">
                  <c:v>42773</c:v>
                </c:pt>
                <c:pt idx="1729">
                  <c:v>42774</c:v>
                </c:pt>
                <c:pt idx="1730">
                  <c:v>42775</c:v>
                </c:pt>
                <c:pt idx="1731">
                  <c:v>42776</c:v>
                </c:pt>
                <c:pt idx="1732">
                  <c:v>42779</c:v>
                </c:pt>
                <c:pt idx="1733">
                  <c:v>42780</c:v>
                </c:pt>
                <c:pt idx="1734">
                  <c:v>42781</c:v>
                </c:pt>
                <c:pt idx="1735">
                  <c:v>42782</c:v>
                </c:pt>
                <c:pt idx="1736">
                  <c:v>42783</c:v>
                </c:pt>
                <c:pt idx="1737">
                  <c:v>42786</c:v>
                </c:pt>
                <c:pt idx="1738">
                  <c:v>42787</c:v>
                </c:pt>
                <c:pt idx="1739">
                  <c:v>42788</c:v>
                </c:pt>
                <c:pt idx="1740">
                  <c:v>42789</c:v>
                </c:pt>
                <c:pt idx="1741">
                  <c:v>42790</c:v>
                </c:pt>
                <c:pt idx="1742">
                  <c:v>42793</c:v>
                </c:pt>
                <c:pt idx="1743">
                  <c:v>42794</c:v>
                </c:pt>
                <c:pt idx="1744">
                  <c:v>42795</c:v>
                </c:pt>
                <c:pt idx="1745">
                  <c:v>42796</c:v>
                </c:pt>
                <c:pt idx="1746">
                  <c:v>42797</c:v>
                </c:pt>
                <c:pt idx="1747">
                  <c:v>42800</c:v>
                </c:pt>
                <c:pt idx="1748">
                  <c:v>42801</c:v>
                </c:pt>
                <c:pt idx="1749">
                  <c:v>42802</c:v>
                </c:pt>
                <c:pt idx="1750">
                  <c:v>42803</c:v>
                </c:pt>
                <c:pt idx="1751">
                  <c:v>42804</c:v>
                </c:pt>
                <c:pt idx="1752">
                  <c:v>42807</c:v>
                </c:pt>
                <c:pt idx="1753">
                  <c:v>42808</c:v>
                </c:pt>
                <c:pt idx="1754">
                  <c:v>42809</c:v>
                </c:pt>
                <c:pt idx="1755">
                  <c:v>42810</c:v>
                </c:pt>
                <c:pt idx="1756">
                  <c:v>42811</c:v>
                </c:pt>
                <c:pt idx="1757">
                  <c:v>42814</c:v>
                </c:pt>
                <c:pt idx="1758">
                  <c:v>42815</c:v>
                </c:pt>
                <c:pt idx="1759">
                  <c:v>42816</c:v>
                </c:pt>
                <c:pt idx="1760">
                  <c:v>42817</c:v>
                </c:pt>
                <c:pt idx="1761">
                  <c:v>42818</c:v>
                </c:pt>
                <c:pt idx="1762">
                  <c:v>42821</c:v>
                </c:pt>
                <c:pt idx="1763">
                  <c:v>42822</c:v>
                </c:pt>
                <c:pt idx="1764">
                  <c:v>42823</c:v>
                </c:pt>
                <c:pt idx="1765">
                  <c:v>42824</c:v>
                </c:pt>
                <c:pt idx="1766">
                  <c:v>42825</c:v>
                </c:pt>
                <c:pt idx="1767">
                  <c:v>42828</c:v>
                </c:pt>
                <c:pt idx="1768">
                  <c:v>42829</c:v>
                </c:pt>
                <c:pt idx="1769">
                  <c:v>42830</c:v>
                </c:pt>
                <c:pt idx="1770">
                  <c:v>42831</c:v>
                </c:pt>
                <c:pt idx="1771">
                  <c:v>42832</c:v>
                </c:pt>
                <c:pt idx="1772">
                  <c:v>42835</c:v>
                </c:pt>
                <c:pt idx="1773">
                  <c:v>42836</c:v>
                </c:pt>
                <c:pt idx="1774">
                  <c:v>42837</c:v>
                </c:pt>
                <c:pt idx="1775">
                  <c:v>42838</c:v>
                </c:pt>
                <c:pt idx="1776">
                  <c:v>42839</c:v>
                </c:pt>
                <c:pt idx="1777">
                  <c:v>42842</c:v>
                </c:pt>
                <c:pt idx="1778">
                  <c:v>42843</c:v>
                </c:pt>
                <c:pt idx="1779">
                  <c:v>42844</c:v>
                </c:pt>
                <c:pt idx="1780">
                  <c:v>42845</c:v>
                </c:pt>
                <c:pt idx="1781">
                  <c:v>42846</c:v>
                </c:pt>
                <c:pt idx="1782">
                  <c:v>42849</c:v>
                </c:pt>
                <c:pt idx="1783">
                  <c:v>42850</c:v>
                </c:pt>
                <c:pt idx="1784">
                  <c:v>42851</c:v>
                </c:pt>
                <c:pt idx="1785">
                  <c:v>42852</c:v>
                </c:pt>
                <c:pt idx="1786">
                  <c:v>42853</c:v>
                </c:pt>
                <c:pt idx="1787">
                  <c:v>42856</c:v>
                </c:pt>
                <c:pt idx="1788">
                  <c:v>42857</c:v>
                </c:pt>
                <c:pt idx="1789">
                  <c:v>42858</c:v>
                </c:pt>
                <c:pt idx="1790">
                  <c:v>42859</c:v>
                </c:pt>
                <c:pt idx="1791">
                  <c:v>42860</c:v>
                </c:pt>
                <c:pt idx="1792">
                  <c:v>42863</c:v>
                </c:pt>
                <c:pt idx="1793">
                  <c:v>42864</c:v>
                </c:pt>
                <c:pt idx="1794">
                  <c:v>42865</c:v>
                </c:pt>
                <c:pt idx="1795">
                  <c:v>42866</c:v>
                </c:pt>
                <c:pt idx="1796">
                  <c:v>42867</c:v>
                </c:pt>
                <c:pt idx="1797">
                  <c:v>42870</c:v>
                </c:pt>
                <c:pt idx="1798">
                  <c:v>42871</c:v>
                </c:pt>
                <c:pt idx="1799">
                  <c:v>42872</c:v>
                </c:pt>
                <c:pt idx="1800">
                  <c:v>42873</c:v>
                </c:pt>
                <c:pt idx="1801">
                  <c:v>42874</c:v>
                </c:pt>
                <c:pt idx="1802">
                  <c:v>42877</c:v>
                </c:pt>
                <c:pt idx="1803">
                  <c:v>42878</c:v>
                </c:pt>
                <c:pt idx="1804">
                  <c:v>42879</c:v>
                </c:pt>
                <c:pt idx="1805">
                  <c:v>42880</c:v>
                </c:pt>
                <c:pt idx="1806">
                  <c:v>42881</c:v>
                </c:pt>
                <c:pt idx="1807">
                  <c:v>42884</c:v>
                </c:pt>
                <c:pt idx="1808">
                  <c:v>42885</c:v>
                </c:pt>
                <c:pt idx="1809">
                  <c:v>42886</c:v>
                </c:pt>
                <c:pt idx="1810">
                  <c:v>42887</c:v>
                </c:pt>
                <c:pt idx="1811">
                  <c:v>42888</c:v>
                </c:pt>
                <c:pt idx="1812">
                  <c:v>42891</c:v>
                </c:pt>
                <c:pt idx="1813">
                  <c:v>42892</c:v>
                </c:pt>
                <c:pt idx="1814">
                  <c:v>42893</c:v>
                </c:pt>
                <c:pt idx="1815">
                  <c:v>42894</c:v>
                </c:pt>
                <c:pt idx="1816">
                  <c:v>42895</c:v>
                </c:pt>
                <c:pt idx="1817">
                  <c:v>42898</c:v>
                </c:pt>
                <c:pt idx="1818">
                  <c:v>42899</c:v>
                </c:pt>
                <c:pt idx="1819">
                  <c:v>42900</c:v>
                </c:pt>
                <c:pt idx="1820">
                  <c:v>42901</c:v>
                </c:pt>
                <c:pt idx="1821">
                  <c:v>42902</c:v>
                </c:pt>
                <c:pt idx="1822">
                  <c:v>42905</c:v>
                </c:pt>
                <c:pt idx="1823">
                  <c:v>42906</c:v>
                </c:pt>
                <c:pt idx="1824">
                  <c:v>42907</c:v>
                </c:pt>
                <c:pt idx="1825">
                  <c:v>42908</c:v>
                </c:pt>
                <c:pt idx="1826">
                  <c:v>42909</c:v>
                </c:pt>
                <c:pt idx="1827">
                  <c:v>42912</c:v>
                </c:pt>
                <c:pt idx="1828">
                  <c:v>42913</c:v>
                </c:pt>
                <c:pt idx="1829">
                  <c:v>42914</c:v>
                </c:pt>
                <c:pt idx="1830">
                  <c:v>42915</c:v>
                </c:pt>
                <c:pt idx="1831">
                  <c:v>42916</c:v>
                </c:pt>
                <c:pt idx="1832">
                  <c:v>42919</c:v>
                </c:pt>
                <c:pt idx="1833">
                  <c:v>42920</c:v>
                </c:pt>
                <c:pt idx="1834">
                  <c:v>42921</c:v>
                </c:pt>
                <c:pt idx="1835">
                  <c:v>42922</c:v>
                </c:pt>
                <c:pt idx="1836">
                  <c:v>42923</c:v>
                </c:pt>
                <c:pt idx="1837">
                  <c:v>42926</c:v>
                </c:pt>
                <c:pt idx="1838">
                  <c:v>42927</c:v>
                </c:pt>
                <c:pt idx="1839">
                  <c:v>42928</c:v>
                </c:pt>
                <c:pt idx="1840">
                  <c:v>42929</c:v>
                </c:pt>
                <c:pt idx="1841">
                  <c:v>42930</c:v>
                </c:pt>
                <c:pt idx="1842">
                  <c:v>42933</c:v>
                </c:pt>
                <c:pt idx="1843">
                  <c:v>42934</c:v>
                </c:pt>
                <c:pt idx="1844">
                  <c:v>42935</c:v>
                </c:pt>
                <c:pt idx="1845">
                  <c:v>42936</c:v>
                </c:pt>
                <c:pt idx="1846">
                  <c:v>42937</c:v>
                </c:pt>
                <c:pt idx="1847">
                  <c:v>42940</c:v>
                </c:pt>
                <c:pt idx="1848">
                  <c:v>42941</c:v>
                </c:pt>
                <c:pt idx="1849">
                  <c:v>42942</c:v>
                </c:pt>
                <c:pt idx="1850">
                  <c:v>42943</c:v>
                </c:pt>
                <c:pt idx="1851">
                  <c:v>42944</c:v>
                </c:pt>
                <c:pt idx="1852">
                  <c:v>42947</c:v>
                </c:pt>
                <c:pt idx="1853">
                  <c:v>42948</c:v>
                </c:pt>
                <c:pt idx="1854">
                  <c:v>42949</c:v>
                </c:pt>
                <c:pt idx="1855">
                  <c:v>42950</c:v>
                </c:pt>
                <c:pt idx="1856">
                  <c:v>42951</c:v>
                </c:pt>
                <c:pt idx="1857">
                  <c:v>42954</c:v>
                </c:pt>
                <c:pt idx="1858">
                  <c:v>42955</c:v>
                </c:pt>
                <c:pt idx="1859">
                  <c:v>42956</c:v>
                </c:pt>
                <c:pt idx="1860">
                  <c:v>42957</c:v>
                </c:pt>
                <c:pt idx="1861">
                  <c:v>42958</c:v>
                </c:pt>
                <c:pt idx="1862">
                  <c:v>42961</c:v>
                </c:pt>
                <c:pt idx="1863">
                  <c:v>42962</c:v>
                </c:pt>
                <c:pt idx="1864">
                  <c:v>42963</c:v>
                </c:pt>
                <c:pt idx="1865">
                  <c:v>42964</c:v>
                </c:pt>
                <c:pt idx="1866">
                  <c:v>42965</c:v>
                </c:pt>
                <c:pt idx="1867">
                  <c:v>42968</c:v>
                </c:pt>
                <c:pt idx="1868">
                  <c:v>42969</c:v>
                </c:pt>
                <c:pt idx="1869">
                  <c:v>42970</c:v>
                </c:pt>
                <c:pt idx="1870">
                  <c:v>42971</c:v>
                </c:pt>
                <c:pt idx="1871">
                  <c:v>42972</c:v>
                </c:pt>
                <c:pt idx="1872">
                  <c:v>42975</c:v>
                </c:pt>
                <c:pt idx="1873">
                  <c:v>42976</c:v>
                </c:pt>
                <c:pt idx="1874">
                  <c:v>42977</c:v>
                </c:pt>
                <c:pt idx="1875">
                  <c:v>42978</c:v>
                </c:pt>
                <c:pt idx="1876">
                  <c:v>42979</c:v>
                </c:pt>
                <c:pt idx="1877">
                  <c:v>42982</c:v>
                </c:pt>
                <c:pt idx="1878">
                  <c:v>42983</c:v>
                </c:pt>
                <c:pt idx="1879">
                  <c:v>42984</c:v>
                </c:pt>
                <c:pt idx="1880">
                  <c:v>42985</c:v>
                </c:pt>
                <c:pt idx="1881">
                  <c:v>42986</c:v>
                </c:pt>
                <c:pt idx="1882">
                  <c:v>42989</c:v>
                </c:pt>
                <c:pt idx="1883">
                  <c:v>42990</c:v>
                </c:pt>
                <c:pt idx="1884">
                  <c:v>42991</c:v>
                </c:pt>
                <c:pt idx="1885">
                  <c:v>42992</c:v>
                </c:pt>
                <c:pt idx="1886">
                  <c:v>42993</c:v>
                </c:pt>
                <c:pt idx="1887">
                  <c:v>42996</c:v>
                </c:pt>
                <c:pt idx="1888">
                  <c:v>42997</c:v>
                </c:pt>
                <c:pt idx="1889">
                  <c:v>42998</c:v>
                </c:pt>
                <c:pt idx="1890">
                  <c:v>42999</c:v>
                </c:pt>
                <c:pt idx="1891">
                  <c:v>43000</c:v>
                </c:pt>
                <c:pt idx="1892">
                  <c:v>43003</c:v>
                </c:pt>
                <c:pt idx="1893">
                  <c:v>43004</c:v>
                </c:pt>
                <c:pt idx="1894">
                  <c:v>43005</c:v>
                </c:pt>
                <c:pt idx="1895">
                  <c:v>43006</c:v>
                </c:pt>
                <c:pt idx="1896">
                  <c:v>43007</c:v>
                </c:pt>
                <c:pt idx="1897">
                  <c:v>43010</c:v>
                </c:pt>
                <c:pt idx="1898">
                  <c:v>43011</c:v>
                </c:pt>
                <c:pt idx="1899">
                  <c:v>43012</c:v>
                </c:pt>
                <c:pt idx="1900">
                  <c:v>43013</c:v>
                </c:pt>
                <c:pt idx="1901">
                  <c:v>43014</c:v>
                </c:pt>
                <c:pt idx="1902">
                  <c:v>43017</c:v>
                </c:pt>
                <c:pt idx="1903">
                  <c:v>43018</c:v>
                </c:pt>
                <c:pt idx="1904">
                  <c:v>43019</c:v>
                </c:pt>
                <c:pt idx="1905">
                  <c:v>43020</c:v>
                </c:pt>
                <c:pt idx="1906">
                  <c:v>43021</c:v>
                </c:pt>
                <c:pt idx="1907">
                  <c:v>43024</c:v>
                </c:pt>
                <c:pt idx="1908">
                  <c:v>43025</c:v>
                </c:pt>
                <c:pt idx="1909">
                  <c:v>43026</c:v>
                </c:pt>
                <c:pt idx="1910">
                  <c:v>43027</c:v>
                </c:pt>
                <c:pt idx="1911">
                  <c:v>43028</c:v>
                </c:pt>
                <c:pt idx="1912">
                  <c:v>43031</c:v>
                </c:pt>
                <c:pt idx="1913">
                  <c:v>43032</c:v>
                </c:pt>
                <c:pt idx="1914">
                  <c:v>43033</c:v>
                </c:pt>
                <c:pt idx="1915">
                  <c:v>43034</c:v>
                </c:pt>
                <c:pt idx="1916">
                  <c:v>43035</c:v>
                </c:pt>
                <c:pt idx="1917">
                  <c:v>43038</c:v>
                </c:pt>
                <c:pt idx="1918">
                  <c:v>43039</c:v>
                </c:pt>
                <c:pt idx="1919">
                  <c:v>43040</c:v>
                </c:pt>
                <c:pt idx="1920">
                  <c:v>43041</c:v>
                </c:pt>
                <c:pt idx="1921">
                  <c:v>43042</c:v>
                </c:pt>
                <c:pt idx="1922">
                  <c:v>43045</c:v>
                </c:pt>
                <c:pt idx="1923">
                  <c:v>43046</c:v>
                </c:pt>
                <c:pt idx="1924">
                  <c:v>43047</c:v>
                </c:pt>
                <c:pt idx="1925">
                  <c:v>43048</c:v>
                </c:pt>
                <c:pt idx="1926">
                  <c:v>43049</c:v>
                </c:pt>
                <c:pt idx="1927">
                  <c:v>43052</c:v>
                </c:pt>
                <c:pt idx="1928">
                  <c:v>43053</c:v>
                </c:pt>
                <c:pt idx="1929">
                  <c:v>43054</c:v>
                </c:pt>
                <c:pt idx="1930">
                  <c:v>43055</c:v>
                </c:pt>
                <c:pt idx="1931">
                  <c:v>43056</c:v>
                </c:pt>
                <c:pt idx="1932">
                  <c:v>43059</c:v>
                </c:pt>
                <c:pt idx="1933">
                  <c:v>43060</c:v>
                </c:pt>
                <c:pt idx="1934">
                  <c:v>43061</c:v>
                </c:pt>
                <c:pt idx="1935">
                  <c:v>43062</c:v>
                </c:pt>
                <c:pt idx="1936">
                  <c:v>43063</c:v>
                </c:pt>
                <c:pt idx="1937">
                  <c:v>43066</c:v>
                </c:pt>
                <c:pt idx="1938">
                  <c:v>43067</c:v>
                </c:pt>
                <c:pt idx="1939">
                  <c:v>43068</c:v>
                </c:pt>
                <c:pt idx="1940">
                  <c:v>43069</c:v>
                </c:pt>
                <c:pt idx="1941">
                  <c:v>43070</c:v>
                </c:pt>
                <c:pt idx="1942">
                  <c:v>43073</c:v>
                </c:pt>
                <c:pt idx="1943">
                  <c:v>43074</c:v>
                </c:pt>
                <c:pt idx="1944">
                  <c:v>43075</c:v>
                </c:pt>
                <c:pt idx="1945">
                  <c:v>43076</c:v>
                </c:pt>
                <c:pt idx="1946">
                  <c:v>43077</c:v>
                </c:pt>
                <c:pt idx="1947">
                  <c:v>43080</c:v>
                </c:pt>
                <c:pt idx="1948">
                  <c:v>43081</c:v>
                </c:pt>
                <c:pt idx="1949">
                  <c:v>43082</c:v>
                </c:pt>
                <c:pt idx="1950">
                  <c:v>43083</c:v>
                </c:pt>
                <c:pt idx="1951">
                  <c:v>43084</c:v>
                </c:pt>
                <c:pt idx="1952">
                  <c:v>43087</c:v>
                </c:pt>
                <c:pt idx="1953">
                  <c:v>43088</c:v>
                </c:pt>
                <c:pt idx="1954">
                  <c:v>43089</c:v>
                </c:pt>
                <c:pt idx="1955">
                  <c:v>43090</c:v>
                </c:pt>
                <c:pt idx="1956">
                  <c:v>43091</c:v>
                </c:pt>
                <c:pt idx="1957">
                  <c:v>43094</c:v>
                </c:pt>
                <c:pt idx="1958">
                  <c:v>43095</c:v>
                </c:pt>
                <c:pt idx="1959">
                  <c:v>43096</c:v>
                </c:pt>
                <c:pt idx="1960">
                  <c:v>43097</c:v>
                </c:pt>
                <c:pt idx="1961">
                  <c:v>43098</c:v>
                </c:pt>
                <c:pt idx="1962">
                  <c:v>43101</c:v>
                </c:pt>
                <c:pt idx="1963">
                  <c:v>43102</c:v>
                </c:pt>
                <c:pt idx="1964">
                  <c:v>43103</c:v>
                </c:pt>
                <c:pt idx="1965">
                  <c:v>43104</c:v>
                </c:pt>
                <c:pt idx="1966">
                  <c:v>43105</c:v>
                </c:pt>
                <c:pt idx="1967">
                  <c:v>43108</c:v>
                </c:pt>
                <c:pt idx="1968">
                  <c:v>43109</c:v>
                </c:pt>
                <c:pt idx="1969">
                  <c:v>43110</c:v>
                </c:pt>
                <c:pt idx="1970">
                  <c:v>43111</c:v>
                </c:pt>
                <c:pt idx="1971">
                  <c:v>43112</c:v>
                </c:pt>
                <c:pt idx="1972">
                  <c:v>43115</c:v>
                </c:pt>
                <c:pt idx="1973">
                  <c:v>43116</c:v>
                </c:pt>
                <c:pt idx="1974">
                  <c:v>43117</c:v>
                </c:pt>
                <c:pt idx="1975">
                  <c:v>43118</c:v>
                </c:pt>
                <c:pt idx="1976">
                  <c:v>43119</c:v>
                </c:pt>
                <c:pt idx="1977">
                  <c:v>43122</c:v>
                </c:pt>
                <c:pt idx="1978">
                  <c:v>43123</c:v>
                </c:pt>
                <c:pt idx="1979">
                  <c:v>43124</c:v>
                </c:pt>
                <c:pt idx="1980">
                  <c:v>43125</c:v>
                </c:pt>
                <c:pt idx="1981">
                  <c:v>43126</c:v>
                </c:pt>
                <c:pt idx="1982">
                  <c:v>43129</c:v>
                </c:pt>
                <c:pt idx="1983">
                  <c:v>43130</c:v>
                </c:pt>
                <c:pt idx="1984">
                  <c:v>43131</c:v>
                </c:pt>
              </c:numCache>
            </c:numRef>
          </c:cat>
          <c:val>
            <c:numRef>
              <c:f>'AFE Euro RP Brut'!$M$5:$M$1989</c:f>
              <c:numCache>
                <c:formatCode>0.00%</c:formatCode>
                <c:ptCount val="1985"/>
                <c:pt idx="0" formatCode="0%">
                  <c:v>0</c:v>
                </c:pt>
                <c:pt idx="1">
                  <c:v>1.9082895840668357E-2</c:v>
                </c:pt>
                <c:pt idx="2">
                  <c:v>-0.38282534376031663</c:v>
                </c:pt>
                <c:pt idx="3">
                  <c:v>0.54557523389118501</c:v>
                </c:pt>
                <c:pt idx="4">
                  <c:v>6.0682393792120592E-2</c:v>
                </c:pt>
                <c:pt idx="5">
                  <c:v>0.53714709215783785</c:v>
                </c:pt>
                <c:pt idx="6">
                  <c:v>0.49239667536444642</c:v>
                </c:pt>
                <c:pt idx="7">
                  <c:v>0.79665572195685286</c:v>
                </c:pt>
                <c:pt idx="8">
                  <c:v>0.43919632451891744</c:v>
                </c:pt>
                <c:pt idx="9">
                  <c:v>-0.34419370661207438</c:v>
                </c:pt>
                <c:pt idx="10">
                  <c:v>-0.72318053620615785</c:v>
                </c:pt>
                <c:pt idx="11">
                  <c:v>-0.86767248814140885</c:v>
                </c:pt>
                <c:pt idx="12">
                  <c:v>-0.79321921642066684</c:v>
                </c:pt>
                <c:pt idx="13">
                  <c:v>-1.2075524930368573</c:v>
                </c:pt>
                <c:pt idx="14">
                  <c:v>-1.1115560665886193</c:v>
                </c:pt>
                <c:pt idx="15">
                  <c:v>-0.61081814698511039</c:v>
                </c:pt>
                <c:pt idx="16">
                  <c:v>-0.28827315364060269</c:v>
                </c:pt>
                <c:pt idx="17">
                  <c:v>-0.13888317618031465</c:v>
                </c:pt>
                <c:pt idx="18">
                  <c:v>-0.31949786838555383</c:v>
                </c:pt>
                <c:pt idx="19">
                  <c:v>-0.20484947911006657</c:v>
                </c:pt>
                <c:pt idx="20">
                  <c:v>-0.98484687069102961</c:v>
                </c:pt>
                <c:pt idx="21">
                  <c:v>-1.1600575582459953</c:v>
                </c:pt>
                <c:pt idx="22">
                  <c:v>-1.6018735872622614</c:v>
                </c:pt>
                <c:pt idx="23">
                  <c:v>-2.0955211954935891</c:v>
                </c:pt>
                <c:pt idx="24">
                  <c:v>-2.1348317403588197</c:v>
                </c:pt>
                <c:pt idx="25">
                  <c:v>-1.8548368274400104</c:v>
                </c:pt>
                <c:pt idx="26">
                  <c:v>-1.9168111333023745</c:v>
                </c:pt>
                <c:pt idx="27">
                  <c:v>-2.5588401727846843</c:v>
                </c:pt>
                <c:pt idx="28">
                  <c:v>-2.4248877849152422</c:v>
                </c:pt>
                <c:pt idx="29">
                  <c:v>-2.1950213918396031</c:v>
                </c:pt>
                <c:pt idx="30">
                  <c:v>-2.4375987141062012</c:v>
                </c:pt>
                <c:pt idx="31">
                  <c:v>-2.061745038971651</c:v>
                </c:pt>
                <c:pt idx="32">
                  <c:v>-2.501072362112069</c:v>
                </c:pt>
                <c:pt idx="33">
                  <c:v>-2.2257419141959218</c:v>
                </c:pt>
                <c:pt idx="34">
                  <c:v>-1.7040261656723743</c:v>
                </c:pt>
                <c:pt idx="35">
                  <c:v>-1.516271601210704</c:v>
                </c:pt>
                <c:pt idx="36">
                  <c:v>-1.2332766066245711</c:v>
                </c:pt>
                <c:pt idx="37">
                  <c:v>-1.0231506138832458</c:v>
                </c:pt>
                <c:pt idx="38">
                  <c:v>-1.1821612299547297</c:v>
                </c:pt>
                <c:pt idx="39">
                  <c:v>-1.141674729679437</c:v>
                </c:pt>
                <c:pt idx="40">
                  <c:v>-0.61173910388097852</c:v>
                </c:pt>
                <c:pt idx="41">
                  <c:v>-0.4989025225669792</c:v>
                </c:pt>
                <c:pt idx="42">
                  <c:v>-0.57955384139370381</c:v>
                </c:pt>
                <c:pt idx="43">
                  <c:v>-0.20335000331684228</c:v>
                </c:pt>
                <c:pt idx="44">
                  <c:v>1.191754534666245E-2</c:v>
                </c:pt>
                <c:pt idx="45">
                  <c:v>-9.8518449600419444E-2</c:v>
                </c:pt>
                <c:pt idx="46">
                  <c:v>4.4460687497291929E-2</c:v>
                </c:pt>
                <c:pt idx="47">
                  <c:v>0.27202267383248113</c:v>
                </c:pt>
                <c:pt idx="48">
                  <c:v>0.25430858759726505</c:v>
                </c:pt>
                <c:pt idx="49">
                  <c:v>-0.64886721456261398</c:v>
                </c:pt>
                <c:pt idx="50">
                  <c:v>-0.60194398587236719</c:v>
                </c:pt>
                <c:pt idx="51">
                  <c:v>-0.9966303114295556</c:v>
                </c:pt>
                <c:pt idx="52">
                  <c:v>-0.85132918568706373</c:v>
                </c:pt>
                <c:pt idx="53">
                  <c:v>-0.67219131889966377</c:v>
                </c:pt>
                <c:pt idx="54">
                  <c:v>-0.81940067288704199</c:v>
                </c:pt>
                <c:pt idx="55">
                  <c:v>-1.0268006892350741</c:v>
                </c:pt>
                <c:pt idx="56">
                  <c:v>-1.0289982494521865</c:v>
                </c:pt>
                <c:pt idx="57">
                  <c:v>-1.3591595106038028</c:v>
                </c:pt>
                <c:pt idx="58">
                  <c:v>-1.3183403722988345</c:v>
                </c:pt>
                <c:pt idx="59">
                  <c:v>-1.2679514540732981</c:v>
                </c:pt>
                <c:pt idx="60">
                  <c:v>-1.2961463500766683</c:v>
                </c:pt>
                <c:pt idx="61">
                  <c:v>-0.83308595331465085</c:v>
                </c:pt>
                <c:pt idx="62">
                  <c:v>-1.1890736352897733</c:v>
                </c:pt>
                <c:pt idx="63">
                  <c:v>-1.0272908799243794</c:v>
                </c:pt>
                <c:pt idx="64">
                  <c:v>-0.64913516998655041</c:v>
                </c:pt>
                <c:pt idx="65">
                  <c:v>-0.37500504544352964</c:v>
                </c:pt>
                <c:pt idx="66">
                  <c:v>-1.1230750412577208</c:v>
                </c:pt>
                <c:pt idx="67">
                  <c:v>-0.81983844440989628</c:v>
                </c:pt>
                <c:pt idx="68">
                  <c:v>-0.57396425142334806</c:v>
                </c:pt>
                <c:pt idx="69">
                  <c:v>-0.23913598414119974</c:v>
                </c:pt>
                <c:pt idx="70">
                  <c:v>-0.16982423122773582</c:v>
                </c:pt>
                <c:pt idx="71">
                  <c:v>0.32453421914415514</c:v>
                </c:pt>
                <c:pt idx="72">
                  <c:v>0.45513158073067927</c:v>
                </c:pt>
                <c:pt idx="73">
                  <c:v>-3.2960352605357457E-2</c:v>
                </c:pt>
                <c:pt idx="74">
                  <c:v>-0.2963986101029974</c:v>
                </c:pt>
                <c:pt idx="75">
                  <c:v>-0.48093306949321857</c:v>
                </c:pt>
                <c:pt idx="76">
                  <c:v>-0.43338535255418265</c:v>
                </c:pt>
                <c:pt idx="77">
                  <c:v>-0.43506739615027357</c:v>
                </c:pt>
                <c:pt idx="78">
                  <c:v>-0.23664049469184079</c:v>
                </c:pt>
                <c:pt idx="79">
                  <c:v>-0.73341877574213754</c:v>
                </c:pt>
                <c:pt idx="80">
                  <c:v>-0.58889561888499031</c:v>
                </c:pt>
                <c:pt idx="81">
                  <c:v>-0.61989571825951373</c:v>
                </c:pt>
                <c:pt idx="82">
                  <c:v>-0.61608892537167037</c:v>
                </c:pt>
                <c:pt idx="83">
                  <c:v>-0.6632436262822381</c:v>
                </c:pt>
                <c:pt idx="84">
                  <c:v>-0.86483972304586132</c:v>
                </c:pt>
                <c:pt idx="85">
                  <c:v>-1.0224893456238391</c:v>
                </c:pt>
                <c:pt idx="86">
                  <c:v>-1.0119385060543067</c:v>
                </c:pt>
                <c:pt idx="87">
                  <c:v>-0.87718377059502473</c:v>
                </c:pt>
                <c:pt idx="88">
                  <c:v>-0.54791398276637437</c:v>
                </c:pt>
                <c:pt idx="89">
                  <c:v>-0.36107511038743212</c:v>
                </c:pt>
                <c:pt idx="90">
                  <c:v>-0.18321990209599903</c:v>
                </c:pt>
                <c:pt idx="91">
                  <c:v>-0.11227146837752855</c:v>
                </c:pt>
                <c:pt idx="92">
                  <c:v>0.1107581125743593</c:v>
                </c:pt>
                <c:pt idx="93">
                  <c:v>4.8097227218917737E-2</c:v>
                </c:pt>
                <c:pt idx="94">
                  <c:v>0.34102565450437794</c:v>
                </c:pt>
                <c:pt idx="95">
                  <c:v>-0.50595989040895972</c:v>
                </c:pt>
                <c:pt idx="96">
                  <c:v>-0.55143210861672287</c:v>
                </c:pt>
                <c:pt idx="97">
                  <c:v>-0.59012491512534382</c:v>
                </c:pt>
                <c:pt idx="98">
                  <c:v>-0.65537431752497355</c:v>
                </c:pt>
                <c:pt idx="99">
                  <c:v>2.5558482482267664E-2</c:v>
                </c:pt>
                <c:pt idx="100">
                  <c:v>-0.17041194878848387</c:v>
                </c:pt>
                <c:pt idx="101">
                  <c:v>-0.40121626249727171</c:v>
                </c:pt>
                <c:pt idx="102">
                  <c:v>-0.57929172027802167</c:v>
                </c:pt>
                <c:pt idx="103">
                  <c:v>2.6008404282279685E-2</c:v>
                </c:pt>
                <c:pt idx="104">
                  <c:v>-9.6551322743110291E-2</c:v>
                </c:pt>
                <c:pt idx="105">
                  <c:v>-0.39992156792196454</c:v>
                </c:pt>
                <c:pt idx="106">
                  <c:v>-0.29878670996339451</c:v>
                </c:pt>
                <c:pt idx="107">
                  <c:v>-7.7432438688816774E-2</c:v>
                </c:pt>
                <c:pt idx="108">
                  <c:v>0.68986757430060663</c:v>
                </c:pt>
                <c:pt idx="109">
                  <c:v>0.55559820461814979</c:v>
                </c:pt>
                <c:pt idx="110">
                  <c:v>0.58430873408786965</c:v>
                </c:pt>
                <c:pt idx="111">
                  <c:v>1.1644402461095495</c:v>
                </c:pt>
                <c:pt idx="112">
                  <c:v>1.4668715693172629</c:v>
                </c:pt>
                <c:pt idx="113">
                  <c:v>1.5794954381981654</c:v>
                </c:pt>
                <c:pt idx="114">
                  <c:v>0.9158455013269986</c:v>
                </c:pt>
                <c:pt idx="115">
                  <c:v>0.4086713726446618</c:v>
                </c:pt>
                <c:pt idx="116">
                  <c:v>0.50647998639392711</c:v>
                </c:pt>
                <c:pt idx="117">
                  <c:v>0.75909189350808504</c:v>
                </c:pt>
                <c:pt idx="118">
                  <c:v>0.55186342615338901</c:v>
                </c:pt>
                <c:pt idx="119">
                  <c:v>0.39533767849795254</c:v>
                </c:pt>
                <c:pt idx="120">
                  <c:v>0.13631147859760517</c:v>
                </c:pt>
                <c:pt idx="121">
                  <c:v>0.14246067709477472</c:v>
                </c:pt>
                <c:pt idx="122">
                  <c:v>8.649178623666387E-2</c:v>
                </c:pt>
                <c:pt idx="123">
                  <c:v>0.10410128778914896</c:v>
                </c:pt>
                <c:pt idx="124">
                  <c:v>0.35223144967920916</c:v>
                </c:pt>
                <c:pt idx="125">
                  <c:v>0.36090518465924504</c:v>
                </c:pt>
                <c:pt idx="126">
                  <c:v>0.81659696102350665</c:v>
                </c:pt>
                <c:pt idx="127">
                  <c:v>0.75233480576200407</c:v>
                </c:pt>
                <c:pt idx="128">
                  <c:v>0.53047070045759881</c:v>
                </c:pt>
                <c:pt idx="129">
                  <c:v>0.79177566189332538</c:v>
                </c:pt>
                <c:pt idx="130">
                  <c:v>0.98991546950028919</c:v>
                </c:pt>
                <c:pt idx="131">
                  <c:v>0.98220424625600344</c:v>
                </c:pt>
                <c:pt idx="132">
                  <c:v>1.3855677225936915</c:v>
                </c:pt>
                <c:pt idx="133">
                  <c:v>1.5116725467802468</c:v>
                </c:pt>
                <c:pt idx="134">
                  <c:v>1.4299573794555158</c:v>
                </c:pt>
                <c:pt idx="135">
                  <c:v>1.5937186347920687</c:v>
                </c:pt>
                <c:pt idx="136">
                  <c:v>1.5900169647485427</c:v>
                </c:pt>
                <c:pt idx="137">
                  <c:v>1.2353004701378438</c:v>
                </c:pt>
                <c:pt idx="138">
                  <c:v>1.1554018435377742</c:v>
                </c:pt>
                <c:pt idx="139">
                  <c:v>1.3071515712165223</c:v>
                </c:pt>
                <c:pt idx="140">
                  <c:v>1.3384342794758908</c:v>
                </c:pt>
                <c:pt idx="141">
                  <c:v>1.7437526933429552</c:v>
                </c:pt>
                <c:pt idx="142">
                  <c:v>2.0443139912958088</c:v>
                </c:pt>
                <c:pt idx="143">
                  <c:v>1.7344314768972282</c:v>
                </c:pt>
                <c:pt idx="144">
                  <c:v>0.85748097739985951</c:v>
                </c:pt>
                <c:pt idx="145">
                  <c:v>7.867103352292304E-2</c:v>
                </c:pt>
                <c:pt idx="146">
                  <c:v>-0.25943186399477725</c:v>
                </c:pt>
                <c:pt idx="147">
                  <c:v>-4.8215398800707021E-2</c:v>
                </c:pt>
                <c:pt idx="148">
                  <c:v>-0.42331242204600983</c:v>
                </c:pt>
                <c:pt idx="149">
                  <c:v>-0.29683309100407484</c:v>
                </c:pt>
                <c:pt idx="150">
                  <c:v>-0.6631551004075078</c:v>
                </c:pt>
                <c:pt idx="151">
                  <c:v>-1.1796569127344441</c:v>
                </c:pt>
                <c:pt idx="152">
                  <c:v>-1.1896245573091306</c:v>
                </c:pt>
                <c:pt idx="153">
                  <c:v>-0.82767152256059262</c:v>
                </c:pt>
                <c:pt idx="154">
                  <c:v>-0.70587662730608258</c:v>
                </c:pt>
                <c:pt idx="155">
                  <c:v>-0.91478712699264975</c:v>
                </c:pt>
                <c:pt idx="156">
                  <c:v>-0.56155756980713534</c:v>
                </c:pt>
                <c:pt idx="157">
                  <c:v>-0.46061125940093461</c:v>
                </c:pt>
                <c:pt idx="158">
                  <c:v>-0.70818861957316415</c:v>
                </c:pt>
                <c:pt idx="159">
                  <c:v>-0.53669649213495063</c:v>
                </c:pt>
                <c:pt idx="160">
                  <c:v>-0.35023631222512108</c:v>
                </c:pt>
                <c:pt idx="161">
                  <c:v>-0.35877927007355481</c:v>
                </c:pt>
                <c:pt idx="162">
                  <c:v>-0.64556765102916813</c:v>
                </c:pt>
                <c:pt idx="163">
                  <c:v>-0.92636991189154116</c:v>
                </c:pt>
                <c:pt idx="164">
                  <c:v>-0.8869422880432154</c:v>
                </c:pt>
                <c:pt idx="165">
                  <c:v>-0.81757080894537637</c:v>
                </c:pt>
                <c:pt idx="166">
                  <c:v>-0.81193026292409343</c:v>
                </c:pt>
                <c:pt idx="167">
                  <c:v>-0.45684119142833879</c:v>
                </c:pt>
                <c:pt idx="168">
                  <c:v>-0.76586786514354799</c:v>
                </c:pt>
                <c:pt idx="169">
                  <c:v>-1.2123373055415954</c:v>
                </c:pt>
                <c:pt idx="170">
                  <c:v>-1.1488347625018918</c:v>
                </c:pt>
                <c:pt idx="171">
                  <c:v>-1.2110521877326335</c:v>
                </c:pt>
                <c:pt idx="172">
                  <c:v>-0.6998123162073</c:v>
                </c:pt>
                <c:pt idx="173">
                  <c:v>-0.41119919690949303</c:v>
                </c:pt>
                <c:pt idx="174">
                  <c:v>-0.12015119887546177</c:v>
                </c:pt>
                <c:pt idx="175">
                  <c:v>9.7379578951759527E-2</c:v>
                </c:pt>
                <c:pt idx="176">
                  <c:v>-1.6044134158434531E-2</c:v>
                </c:pt>
                <c:pt idx="177">
                  <c:v>-0.22575867012824347</c:v>
                </c:pt>
                <c:pt idx="178">
                  <c:v>0.47303680632174405</c:v>
                </c:pt>
                <c:pt idx="179">
                  <c:v>0.63603334555912738</c:v>
                </c:pt>
                <c:pt idx="180">
                  <c:v>0.62661044887614992</c:v>
                </c:pt>
                <c:pt idx="181">
                  <c:v>1.0170519535552813</c:v>
                </c:pt>
                <c:pt idx="182">
                  <c:v>1.3171170090302979</c:v>
                </c:pt>
                <c:pt idx="183">
                  <c:v>1.3167565676502164</c:v>
                </c:pt>
                <c:pt idx="184">
                  <c:v>1.5532850890539862</c:v>
                </c:pt>
                <c:pt idx="185">
                  <c:v>1.6963379623139616</c:v>
                </c:pt>
                <c:pt idx="186">
                  <c:v>1.7628287668248674</c:v>
                </c:pt>
                <c:pt idx="187">
                  <c:v>1.7923975601920716</c:v>
                </c:pt>
                <c:pt idx="188">
                  <c:v>1.9643244242754321</c:v>
                </c:pt>
                <c:pt idx="189">
                  <c:v>2.6966629731784906</c:v>
                </c:pt>
                <c:pt idx="190">
                  <c:v>2.0087084355781428</c:v>
                </c:pt>
                <c:pt idx="191">
                  <c:v>2.0725328988419705</c:v>
                </c:pt>
                <c:pt idx="192">
                  <c:v>1.8689943246429408</c:v>
                </c:pt>
                <c:pt idx="193">
                  <c:v>1.7826694786008375</c:v>
                </c:pt>
                <c:pt idx="194">
                  <c:v>1.8280016657156892</c:v>
                </c:pt>
                <c:pt idx="195">
                  <c:v>1.597935513534452</c:v>
                </c:pt>
                <c:pt idx="196">
                  <c:v>1.7833981554600058</c:v>
                </c:pt>
                <c:pt idx="197">
                  <c:v>1.8329868174840271</c:v>
                </c:pt>
                <c:pt idx="198">
                  <c:v>2.0353602994149469</c:v>
                </c:pt>
                <c:pt idx="199">
                  <c:v>2.0409013068605475</c:v>
                </c:pt>
                <c:pt idx="200">
                  <c:v>2.2183117800391869</c:v>
                </c:pt>
                <c:pt idx="201">
                  <c:v>1.6539035547244225</c:v>
                </c:pt>
                <c:pt idx="202">
                  <c:v>2.0306399942399196</c:v>
                </c:pt>
                <c:pt idx="203">
                  <c:v>2.078141570887837</c:v>
                </c:pt>
                <c:pt idx="204">
                  <c:v>1.7044877219184684</c:v>
                </c:pt>
                <c:pt idx="205">
                  <c:v>1.6567449013296027</c:v>
                </c:pt>
                <c:pt idx="206">
                  <c:v>1.5795149021227246</c:v>
                </c:pt>
                <c:pt idx="207">
                  <c:v>1.8045524892789331</c:v>
                </c:pt>
                <c:pt idx="208">
                  <c:v>1.8650598378562933</c:v>
                </c:pt>
                <c:pt idx="209">
                  <c:v>2.0565783975286536</c:v>
                </c:pt>
                <c:pt idx="210">
                  <c:v>2.2902064246516147</c:v>
                </c:pt>
                <c:pt idx="211">
                  <c:v>2.4963655674781506</c:v>
                </c:pt>
                <c:pt idx="212">
                  <c:v>3.0540620125634348</c:v>
                </c:pt>
                <c:pt idx="213">
                  <c:v>3.0650144839066797</c:v>
                </c:pt>
                <c:pt idx="214">
                  <c:v>2.6970503652225801</c:v>
                </c:pt>
                <c:pt idx="215">
                  <c:v>2.192943552302296</c:v>
                </c:pt>
                <c:pt idx="216">
                  <c:v>2.192943552302296</c:v>
                </c:pt>
                <c:pt idx="217">
                  <c:v>2.1961758610709268</c:v>
                </c:pt>
                <c:pt idx="218">
                  <c:v>2.2177739696433747</c:v>
                </c:pt>
                <c:pt idx="219">
                  <c:v>1.8171680183630201</c:v>
                </c:pt>
                <c:pt idx="220">
                  <c:v>1.5370316330572962</c:v>
                </c:pt>
                <c:pt idx="221">
                  <c:v>1.4926773744376618</c:v>
                </c:pt>
                <c:pt idx="222">
                  <c:v>1.703018420383799</c:v>
                </c:pt>
                <c:pt idx="223">
                  <c:v>1.6072784606124202</c:v>
                </c:pt>
                <c:pt idx="224">
                  <c:v>2.1616778410115955</c:v>
                </c:pt>
                <c:pt idx="225">
                  <c:v>2.3079116175061074</c:v>
                </c:pt>
                <c:pt idx="226">
                  <c:v>2.1237141463577984</c:v>
                </c:pt>
                <c:pt idx="227">
                  <c:v>2.9275834490446613</c:v>
                </c:pt>
                <c:pt idx="228">
                  <c:v>2.5042736543308592</c:v>
                </c:pt>
                <c:pt idx="229">
                  <c:v>2.7240575804315341</c:v>
                </c:pt>
                <c:pt idx="230">
                  <c:v>2.9754916147321353</c:v>
                </c:pt>
                <c:pt idx="231">
                  <c:v>3.3682412569147857</c:v>
                </c:pt>
                <c:pt idx="232">
                  <c:v>3.3513870798886956</c:v>
                </c:pt>
                <c:pt idx="233">
                  <c:v>3.3943738639422065</c:v>
                </c:pt>
                <c:pt idx="234">
                  <c:v>3.351291469706652</c:v>
                </c:pt>
                <c:pt idx="235">
                  <c:v>3.2624524919171023</c:v>
                </c:pt>
                <c:pt idx="236">
                  <c:v>3.7357259137172178</c:v>
                </c:pt>
                <c:pt idx="237">
                  <c:v>3.995650576107451</c:v>
                </c:pt>
                <c:pt idx="238">
                  <c:v>3.9176844166596538</c:v>
                </c:pt>
                <c:pt idx="239">
                  <c:v>3.5337138800424412</c:v>
                </c:pt>
                <c:pt idx="240">
                  <c:v>3.8108644687362414</c:v>
                </c:pt>
                <c:pt idx="241">
                  <c:v>3.5658049312439886</c:v>
                </c:pt>
                <c:pt idx="242">
                  <c:v>3.7584211349957144</c:v>
                </c:pt>
                <c:pt idx="243">
                  <c:v>3.2631045641203968</c:v>
                </c:pt>
                <c:pt idx="244">
                  <c:v>3.7889621249930912</c:v>
                </c:pt>
                <c:pt idx="245">
                  <c:v>5.4329164396096132</c:v>
                </c:pt>
                <c:pt idx="246">
                  <c:v>3.7981367485676856</c:v>
                </c:pt>
                <c:pt idx="247">
                  <c:v>4.1988676133674687</c:v>
                </c:pt>
                <c:pt idx="248">
                  <c:v>3.9385139586339761</c:v>
                </c:pt>
                <c:pt idx="249">
                  <c:v>3.7867496357465598</c:v>
                </c:pt>
                <c:pt idx="250">
                  <c:v>3.6649380036932655</c:v>
                </c:pt>
                <c:pt idx="251">
                  <c:v>3.8027031480241078</c:v>
                </c:pt>
                <c:pt idx="252">
                  <c:v>3.7380568953949194</c:v>
                </c:pt>
                <c:pt idx="253">
                  <c:v>3.4926395240749599</c:v>
                </c:pt>
                <c:pt idx="254">
                  <c:v>3.7341883410208681</c:v>
                </c:pt>
                <c:pt idx="255">
                  <c:v>3.2649461407328175</c:v>
                </c:pt>
                <c:pt idx="256">
                  <c:v>2.6272439029637269</c:v>
                </c:pt>
                <c:pt idx="257">
                  <c:v>2.5412135023455988</c:v>
                </c:pt>
                <c:pt idx="258">
                  <c:v>2.1862709382715479</c:v>
                </c:pt>
                <c:pt idx="259">
                  <c:v>2.115948092580922</c:v>
                </c:pt>
                <c:pt idx="260">
                  <c:v>4.3636983694500771</c:v>
                </c:pt>
                <c:pt idx="261">
                  <c:v>2.7953278405837949</c:v>
                </c:pt>
                <c:pt idx="262">
                  <c:v>2.7620361027931324</c:v>
                </c:pt>
                <c:pt idx="263">
                  <c:v>2.1703261530296487</c:v>
                </c:pt>
                <c:pt idx="264">
                  <c:v>2.1470850636997625</c:v>
                </c:pt>
                <c:pt idx="265">
                  <c:v>2.1439057636410865</c:v>
                </c:pt>
                <c:pt idx="266">
                  <c:v>1.7418161569242301</c:v>
                </c:pt>
                <c:pt idx="267">
                  <c:v>2.0513373026042387</c:v>
                </c:pt>
                <c:pt idx="268">
                  <c:v>2.0915822438908549</c:v>
                </c:pt>
                <c:pt idx="269">
                  <c:v>2.1191732365642366</c:v>
                </c:pt>
                <c:pt idx="270">
                  <c:v>2.4384056089164261</c:v>
                </c:pt>
                <c:pt idx="271">
                  <c:v>2.8049046305564929</c:v>
                </c:pt>
                <c:pt idx="272">
                  <c:v>3.3275031669263626</c:v>
                </c:pt>
                <c:pt idx="273">
                  <c:v>3.2431148892982833</c:v>
                </c:pt>
                <c:pt idx="274">
                  <c:v>3.1548083289929423</c:v>
                </c:pt>
                <c:pt idx="275">
                  <c:v>2.9741284207913168</c:v>
                </c:pt>
                <c:pt idx="276">
                  <c:v>3.4236904274766147</c:v>
                </c:pt>
                <c:pt idx="277">
                  <c:v>3.8248172826697413</c:v>
                </c:pt>
                <c:pt idx="278">
                  <c:v>3.6555041344678898</c:v>
                </c:pt>
                <c:pt idx="279">
                  <c:v>3.3508868848769708</c:v>
                </c:pt>
                <c:pt idx="280">
                  <c:v>2.9312633054249631</c:v>
                </c:pt>
                <c:pt idx="281">
                  <c:v>3.1307612705550554</c:v>
                </c:pt>
                <c:pt idx="282">
                  <c:v>3.4762982050043689</c:v>
                </c:pt>
                <c:pt idx="283">
                  <c:v>3.5245058095031396</c:v>
                </c:pt>
                <c:pt idx="284">
                  <c:v>3.7871938791525537</c:v>
                </c:pt>
                <c:pt idx="285">
                  <c:v>3.6475940574655112</c:v>
                </c:pt>
                <c:pt idx="286">
                  <c:v>3.8318341757753984</c:v>
                </c:pt>
                <c:pt idx="287">
                  <c:v>4.217431693407363</c:v>
                </c:pt>
                <c:pt idx="288">
                  <c:v>4.2467345215813452</c:v>
                </c:pt>
                <c:pt idx="289">
                  <c:v>4.2688707073969425</c:v>
                </c:pt>
                <c:pt idx="290">
                  <c:v>4.1399534629707091</c:v>
                </c:pt>
                <c:pt idx="291">
                  <c:v>4.1707952118112672</c:v>
                </c:pt>
                <c:pt idx="292">
                  <c:v>4.1163594517670248</c:v>
                </c:pt>
                <c:pt idx="293">
                  <c:v>4.2005925024448914</c:v>
                </c:pt>
                <c:pt idx="294">
                  <c:v>5.7571569558502631</c:v>
                </c:pt>
                <c:pt idx="295">
                  <c:v>5.9042919932577576</c:v>
                </c:pt>
                <c:pt idx="296">
                  <c:v>5.6482629137648104</c:v>
                </c:pt>
                <c:pt idx="297">
                  <c:v>5.0186083820331362</c:v>
                </c:pt>
                <c:pt idx="298">
                  <c:v>5.1689336372593289</c:v>
                </c:pt>
                <c:pt idx="299">
                  <c:v>5.2969748228303075</c:v>
                </c:pt>
                <c:pt idx="300">
                  <c:v>5.6785482908660043</c:v>
                </c:pt>
                <c:pt idx="301">
                  <c:v>6.1589041951529282</c:v>
                </c:pt>
                <c:pt idx="302">
                  <c:v>6.4166837049249494</c:v>
                </c:pt>
                <c:pt idx="303">
                  <c:v>6.3422047522193594</c:v>
                </c:pt>
                <c:pt idx="304">
                  <c:v>6.1581749521114517</c:v>
                </c:pt>
                <c:pt idx="305">
                  <c:v>6.0584792809449937</c:v>
                </c:pt>
                <c:pt idx="306">
                  <c:v>6.2896400079772263</c:v>
                </c:pt>
                <c:pt idx="307">
                  <c:v>6.3353879148415331</c:v>
                </c:pt>
                <c:pt idx="308">
                  <c:v>6.3663163361686799</c:v>
                </c:pt>
                <c:pt idx="309">
                  <c:v>6.1855457023905274</c:v>
                </c:pt>
                <c:pt idx="310">
                  <c:v>6.4338004018271135</c:v>
                </c:pt>
                <c:pt idx="311">
                  <c:v>7.2266300794411791</c:v>
                </c:pt>
                <c:pt idx="312">
                  <c:v>7.557265127631112</c:v>
                </c:pt>
                <c:pt idx="313">
                  <c:v>7.7740651292236578</c:v>
                </c:pt>
                <c:pt idx="314">
                  <c:v>7.7972670042169625</c:v>
                </c:pt>
                <c:pt idx="315">
                  <c:v>7.9374209752605935</c:v>
                </c:pt>
                <c:pt idx="316">
                  <c:v>8.3328799479028959</c:v>
                </c:pt>
                <c:pt idx="317">
                  <c:v>8.5075575775360335</c:v>
                </c:pt>
                <c:pt idx="318">
                  <c:v>7.9057477229673481</c:v>
                </c:pt>
                <c:pt idx="319">
                  <c:v>7.9097324994902323</c:v>
                </c:pt>
                <c:pt idx="320">
                  <c:v>7.2848002445428364</c:v>
                </c:pt>
                <c:pt idx="321">
                  <c:v>7.6299153537876094</c:v>
                </c:pt>
                <c:pt idx="322">
                  <c:v>7.7994343970515985</c:v>
                </c:pt>
                <c:pt idx="323">
                  <c:v>7.7172304047093405</c:v>
                </c:pt>
                <c:pt idx="324">
                  <c:v>8.0423573637586685</c:v>
                </c:pt>
                <c:pt idx="325">
                  <c:v>7.8708927225292626</c:v>
                </c:pt>
                <c:pt idx="326">
                  <c:v>7.257479184256951</c:v>
                </c:pt>
                <c:pt idx="327">
                  <c:v>6.7779469146723983</c:v>
                </c:pt>
                <c:pt idx="328">
                  <c:v>6.2353916712520174</c:v>
                </c:pt>
                <c:pt idx="329">
                  <c:v>6.3156698246590111</c:v>
                </c:pt>
                <c:pt idx="330">
                  <c:v>5.9873652022240833</c:v>
                </c:pt>
                <c:pt idx="331">
                  <c:v>6.1460032561973605</c:v>
                </c:pt>
                <c:pt idx="332">
                  <c:v>6.2739594217218269</c:v>
                </c:pt>
                <c:pt idx="333">
                  <c:v>6.1194239947668763</c:v>
                </c:pt>
                <c:pt idx="334">
                  <c:v>5.5563607039434828</c:v>
                </c:pt>
                <c:pt idx="335">
                  <c:v>5.3657396742484167</c:v>
                </c:pt>
                <c:pt idx="336">
                  <c:v>5.1157345947781181</c:v>
                </c:pt>
                <c:pt idx="337">
                  <c:v>4.9182784941303339</c:v>
                </c:pt>
                <c:pt idx="338">
                  <c:v>4.6986683359466497</c:v>
                </c:pt>
                <c:pt idx="339">
                  <c:v>4.7005333529239408</c:v>
                </c:pt>
                <c:pt idx="340">
                  <c:v>5.14011221001482</c:v>
                </c:pt>
                <c:pt idx="341">
                  <c:v>5.5226950165557724</c:v>
                </c:pt>
                <c:pt idx="342">
                  <c:v>5.6145666257187372</c:v>
                </c:pt>
                <c:pt idx="343">
                  <c:v>5.7813881694382587</c:v>
                </c:pt>
                <c:pt idx="344">
                  <c:v>5.2179119901090729</c:v>
                </c:pt>
                <c:pt idx="345">
                  <c:v>5.7176420236842915</c:v>
                </c:pt>
                <c:pt idx="346">
                  <c:v>5.6036668512105194</c:v>
                </c:pt>
                <c:pt idx="347">
                  <c:v>5.4575469806710117</c:v>
                </c:pt>
                <c:pt idx="348">
                  <c:v>5.6471394063919576</c:v>
                </c:pt>
                <c:pt idx="349">
                  <c:v>6.0347127685215725</c:v>
                </c:pt>
                <c:pt idx="350">
                  <c:v>4.8350432897505158</c:v>
                </c:pt>
                <c:pt idx="351">
                  <c:v>4.7996990960751305</c:v>
                </c:pt>
                <c:pt idx="352">
                  <c:v>5.304838115194471</c:v>
                </c:pt>
                <c:pt idx="353">
                  <c:v>9.882439477205935</c:v>
                </c:pt>
                <c:pt idx="354">
                  <c:v>5.497621516427543</c:v>
                </c:pt>
                <c:pt idx="355">
                  <c:v>5.6305202274011492</c:v>
                </c:pt>
                <c:pt idx="356">
                  <c:v>6.1602393337443146</c:v>
                </c:pt>
                <c:pt idx="357">
                  <c:v>6.3476322522367497</c:v>
                </c:pt>
                <c:pt idx="358">
                  <c:v>6.1667224837599832</c:v>
                </c:pt>
                <c:pt idx="359">
                  <c:v>6.2963091206630963</c:v>
                </c:pt>
                <c:pt idx="360">
                  <c:v>6.0301019310069535</c:v>
                </c:pt>
                <c:pt idx="361">
                  <c:v>5.6969577712132775</c:v>
                </c:pt>
                <c:pt idx="362">
                  <c:v>5.8852892867252393</c:v>
                </c:pt>
                <c:pt idx="363">
                  <c:v>6.1190909003233998</c:v>
                </c:pt>
                <c:pt idx="364">
                  <c:v>5.8439032692876509</c:v>
                </c:pt>
                <c:pt idx="365">
                  <c:v>5.770319020951419</c:v>
                </c:pt>
                <c:pt idx="366">
                  <c:v>5.6268641719737644</c:v>
                </c:pt>
                <c:pt idx="367">
                  <c:v>5.6252030898082523</c:v>
                </c:pt>
                <c:pt idx="368">
                  <c:v>5.7450481436433165</c:v>
                </c:pt>
                <c:pt idx="369">
                  <c:v>5.9685198623288755</c:v>
                </c:pt>
                <c:pt idx="370">
                  <c:v>5.9763420152248159</c:v>
                </c:pt>
                <c:pt idx="371">
                  <c:v>5.8105861090163131</c:v>
                </c:pt>
                <c:pt idx="372">
                  <c:v>5.4132236195070078</c:v>
                </c:pt>
                <c:pt idx="373">
                  <c:v>5.3771055598299284</c:v>
                </c:pt>
                <c:pt idx="374">
                  <c:v>5.3225760947933907</c:v>
                </c:pt>
                <c:pt idx="375">
                  <c:v>5.2390176097244137</c:v>
                </c:pt>
                <c:pt idx="376">
                  <c:v>4.8508936572378616</c:v>
                </c:pt>
                <c:pt idx="377">
                  <c:v>4.8184021004384618</c:v>
                </c:pt>
                <c:pt idx="378">
                  <c:v>4.6847319024620191</c:v>
                </c:pt>
                <c:pt idx="379">
                  <c:v>4.7210246577579369</c:v>
                </c:pt>
                <c:pt idx="380">
                  <c:v>4.9764674704134677</c:v>
                </c:pt>
                <c:pt idx="381">
                  <c:v>4.5225087462237497</c:v>
                </c:pt>
                <c:pt idx="382">
                  <c:v>5.0130787898982874</c:v>
                </c:pt>
                <c:pt idx="383">
                  <c:v>5.2309664364632482</c:v>
                </c:pt>
                <c:pt idx="384">
                  <c:v>5.3842336058423257</c:v>
                </c:pt>
                <c:pt idx="385">
                  <c:v>5.3013413711803707</c:v>
                </c:pt>
                <c:pt idx="386">
                  <c:v>5.6416332489328056</c:v>
                </c:pt>
                <c:pt idx="387">
                  <c:v>5.5759178655115988</c:v>
                </c:pt>
                <c:pt idx="388">
                  <c:v>5.3994475345821371</c:v>
                </c:pt>
                <c:pt idx="389">
                  <c:v>5.3473658450556059</c:v>
                </c:pt>
                <c:pt idx="390">
                  <c:v>5.2688304905857848</c:v>
                </c:pt>
                <c:pt idx="391">
                  <c:v>5.452257091747029</c:v>
                </c:pt>
                <c:pt idx="392">
                  <c:v>5.452257091747029</c:v>
                </c:pt>
                <c:pt idx="393">
                  <c:v>5.3905079933505391</c:v>
                </c:pt>
                <c:pt idx="394">
                  <c:v>5.9030258842680183</c:v>
                </c:pt>
                <c:pt idx="395">
                  <c:v>5.6930434356736868</c:v>
                </c:pt>
                <c:pt idx="396">
                  <c:v>5.5835868995675639</c:v>
                </c:pt>
                <c:pt idx="397">
                  <c:v>5.4724781574112882</c:v>
                </c:pt>
                <c:pt idx="398">
                  <c:v>5.5156053041273907</c:v>
                </c:pt>
                <c:pt idx="399">
                  <c:v>5.7828281607253871</c:v>
                </c:pt>
                <c:pt idx="400">
                  <c:v>5.8065804271544721</c:v>
                </c:pt>
                <c:pt idx="401">
                  <c:v>6.2636858448757238</c:v>
                </c:pt>
                <c:pt idx="402">
                  <c:v>6.3889295572015072</c:v>
                </c:pt>
                <c:pt idx="403">
                  <c:v>5.8686076992482299</c:v>
                </c:pt>
                <c:pt idx="404">
                  <c:v>5.873089255636927</c:v>
                </c:pt>
                <c:pt idx="405">
                  <c:v>5.7479938492474218</c:v>
                </c:pt>
                <c:pt idx="406">
                  <c:v>5.5051850277135941</c:v>
                </c:pt>
                <c:pt idx="407">
                  <c:v>5.2270587887641113</c:v>
                </c:pt>
                <c:pt idx="408">
                  <c:v>5.0937327302860353</c:v>
                </c:pt>
                <c:pt idx="409">
                  <c:v>5.16097390308515</c:v>
                </c:pt>
                <c:pt idx="410">
                  <c:v>4.6658599890662771</c:v>
                </c:pt>
                <c:pt idx="411">
                  <c:v>4.6412951122354826</c:v>
                </c:pt>
                <c:pt idx="412">
                  <c:v>4.486077078831471</c:v>
                </c:pt>
                <c:pt idx="413">
                  <c:v>4.159840947072027</c:v>
                </c:pt>
                <c:pt idx="414">
                  <c:v>4.2829684130485219</c:v>
                </c:pt>
                <c:pt idx="415">
                  <c:v>4.3301875209220952</c:v>
                </c:pt>
                <c:pt idx="416">
                  <c:v>4.5112471851136604</c:v>
                </c:pt>
                <c:pt idx="417">
                  <c:v>4.6012699757771998</c:v>
                </c:pt>
                <c:pt idx="418">
                  <c:v>4.6194562217170727</c:v>
                </c:pt>
                <c:pt idx="419">
                  <c:v>4.3770489667911079</c:v>
                </c:pt>
                <c:pt idx="420">
                  <c:v>4.2693924724926404</c:v>
                </c:pt>
                <c:pt idx="421">
                  <c:v>4.2030595549463641</c:v>
                </c:pt>
                <c:pt idx="422">
                  <c:v>4.2523639635794126</c:v>
                </c:pt>
                <c:pt idx="423">
                  <c:v>4.2317258587093818</c:v>
                </c:pt>
                <c:pt idx="424">
                  <c:v>4.2852966583916867</c:v>
                </c:pt>
                <c:pt idx="425">
                  <c:v>3.9808902783520352</c:v>
                </c:pt>
                <c:pt idx="426">
                  <c:v>4.5019583798266893</c:v>
                </c:pt>
                <c:pt idx="427">
                  <c:v>4.5405730891959024</c:v>
                </c:pt>
                <c:pt idx="428">
                  <c:v>4.6473606494938196</c:v>
                </c:pt>
                <c:pt idx="429">
                  <c:v>4.7124104716396573</c:v>
                </c:pt>
                <c:pt idx="430">
                  <c:v>4.6804457231943246</c:v>
                </c:pt>
                <c:pt idx="431">
                  <c:v>4.3856722588429022</c:v>
                </c:pt>
                <c:pt idx="432">
                  <c:v>4.2776083250020065</c:v>
                </c:pt>
                <c:pt idx="433">
                  <c:v>4.269717118188467</c:v>
                </c:pt>
                <c:pt idx="434">
                  <c:v>4.4885275573371786</c:v>
                </c:pt>
                <c:pt idx="435">
                  <c:v>4.4179817774822823</c:v>
                </c:pt>
                <c:pt idx="436">
                  <c:v>4.4343720972349843</c:v>
                </c:pt>
                <c:pt idx="437">
                  <c:v>4.5131392205768179</c:v>
                </c:pt>
                <c:pt idx="438">
                  <c:v>4.4364269284652096</c:v>
                </c:pt>
                <c:pt idx="439">
                  <c:v>4.4408668619075939</c:v>
                </c:pt>
                <c:pt idx="440">
                  <c:v>4.0391591089094305</c:v>
                </c:pt>
                <c:pt idx="441">
                  <c:v>4.2720344695996744</c:v>
                </c:pt>
                <c:pt idx="442">
                  <c:v>4.4752519548084706</c:v>
                </c:pt>
                <c:pt idx="443">
                  <c:v>4.9184678925449532</c:v>
                </c:pt>
                <c:pt idx="444">
                  <c:v>4.9107215398490922</c:v>
                </c:pt>
                <c:pt idx="445">
                  <c:v>4.4246019840069124</c:v>
                </c:pt>
                <c:pt idx="446">
                  <c:v>4.6232499637224294</c:v>
                </c:pt>
                <c:pt idx="447">
                  <c:v>4.5124539078794186</c:v>
                </c:pt>
                <c:pt idx="448">
                  <c:v>4.4184266124025271</c:v>
                </c:pt>
                <c:pt idx="449">
                  <c:v>4.0000875404560361</c:v>
                </c:pt>
                <c:pt idx="450">
                  <c:v>3.8564972748586115</c:v>
                </c:pt>
                <c:pt idx="451">
                  <c:v>3.6419210036526266</c:v>
                </c:pt>
                <c:pt idx="452">
                  <c:v>3.8485472738747148</c:v>
                </c:pt>
                <c:pt idx="453">
                  <c:v>4.4701185930611302</c:v>
                </c:pt>
                <c:pt idx="454">
                  <c:v>4.5854397978453676</c:v>
                </c:pt>
                <c:pt idx="455">
                  <c:v>4.9277507653316519</c:v>
                </c:pt>
                <c:pt idx="456">
                  <c:v>5.1038657454065515</c:v>
                </c:pt>
                <c:pt idx="457">
                  <c:v>5.3637572012931969</c:v>
                </c:pt>
                <c:pt idx="458">
                  <c:v>5.3860239365291136</c:v>
                </c:pt>
                <c:pt idx="459">
                  <c:v>5.6611378465806297</c:v>
                </c:pt>
                <c:pt idx="460">
                  <c:v>5.9331212073065132</c:v>
                </c:pt>
                <c:pt idx="461">
                  <c:v>5.9706750348466926</c:v>
                </c:pt>
                <c:pt idx="462">
                  <c:v>5.9717729875291354</c:v>
                </c:pt>
                <c:pt idx="463">
                  <c:v>6.3985823605233207</c:v>
                </c:pt>
                <c:pt idx="464">
                  <c:v>6.237372884349071</c:v>
                </c:pt>
                <c:pt idx="465">
                  <c:v>6.164397818747176</c:v>
                </c:pt>
                <c:pt idx="466">
                  <c:v>6.164397818747176</c:v>
                </c:pt>
                <c:pt idx="467">
                  <c:v>6.1689230510232562</c:v>
                </c:pt>
                <c:pt idx="468">
                  <c:v>6.3051861319185321</c:v>
                </c:pt>
                <c:pt idx="469">
                  <c:v>6.1734112749878278</c:v>
                </c:pt>
                <c:pt idx="470">
                  <c:v>6.3222291070965753</c:v>
                </c:pt>
                <c:pt idx="471">
                  <c:v>6.6892078393346424</c:v>
                </c:pt>
                <c:pt idx="472">
                  <c:v>6.5981282205822112</c:v>
                </c:pt>
                <c:pt idx="473">
                  <c:v>6.2083145463476228</c:v>
                </c:pt>
                <c:pt idx="474">
                  <c:v>6.4007798914194751</c:v>
                </c:pt>
                <c:pt idx="475">
                  <c:v>6.7649917474199555</c:v>
                </c:pt>
                <c:pt idx="476">
                  <c:v>6.5026274765122309</c:v>
                </c:pt>
                <c:pt idx="477">
                  <c:v>6.6808515190356133</c:v>
                </c:pt>
                <c:pt idx="478">
                  <c:v>6.7649495079747339</c:v>
                </c:pt>
                <c:pt idx="479">
                  <c:v>6.7400971939695609</c:v>
                </c:pt>
                <c:pt idx="480">
                  <c:v>6.5843973827036564</c:v>
                </c:pt>
                <c:pt idx="481">
                  <c:v>6.51027539345489</c:v>
                </c:pt>
                <c:pt idx="482">
                  <c:v>6.9918401538313901</c:v>
                </c:pt>
                <c:pt idx="483">
                  <c:v>6.9795573584372761</c:v>
                </c:pt>
                <c:pt idx="484">
                  <c:v>7.0745884823147662</c:v>
                </c:pt>
                <c:pt idx="485">
                  <c:v>7.1819407735082308</c:v>
                </c:pt>
                <c:pt idx="486">
                  <c:v>7.1376507027071057</c:v>
                </c:pt>
                <c:pt idx="487">
                  <c:v>6.9001657199072923</c:v>
                </c:pt>
                <c:pt idx="488">
                  <c:v>7.4708957810387631</c:v>
                </c:pt>
                <c:pt idx="489">
                  <c:v>7.3920209188539019</c:v>
                </c:pt>
                <c:pt idx="490">
                  <c:v>7.4333414748268893</c:v>
                </c:pt>
                <c:pt idx="491">
                  <c:v>7.310320277262079</c:v>
                </c:pt>
                <c:pt idx="492">
                  <c:v>7.2510576600265892</c:v>
                </c:pt>
                <c:pt idx="493">
                  <c:v>7.2383610329542734</c:v>
                </c:pt>
                <c:pt idx="494">
                  <c:v>6.9858898515604153</c:v>
                </c:pt>
                <c:pt idx="495">
                  <c:v>8.0861691249473751</c:v>
                </c:pt>
                <c:pt idx="496">
                  <c:v>6.9864013256436976</c:v>
                </c:pt>
                <c:pt idx="497">
                  <c:v>7.133798563980406</c:v>
                </c:pt>
                <c:pt idx="498">
                  <c:v>7.0866798877620312</c:v>
                </c:pt>
                <c:pt idx="499">
                  <c:v>6.9603827874723834</c:v>
                </c:pt>
                <c:pt idx="500">
                  <c:v>6.8892466386170241</c:v>
                </c:pt>
                <c:pt idx="501">
                  <c:v>6.7935943164824835</c:v>
                </c:pt>
                <c:pt idx="502">
                  <c:v>7.1271689897613584</c:v>
                </c:pt>
                <c:pt idx="503">
                  <c:v>6.8256763111953802</c:v>
                </c:pt>
                <c:pt idx="504">
                  <c:v>6.9281526317802644</c:v>
                </c:pt>
                <c:pt idx="505">
                  <c:v>6.6571666531066001</c:v>
                </c:pt>
                <c:pt idx="506">
                  <c:v>6.7323277401791159</c:v>
                </c:pt>
                <c:pt idx="507">
                  <c:v>6.4973226170342855</c:v>
                </c:pt>
                <c:pt idx="508">
                  <c:v>6.4317368164329309</c:v>
                </c:pt>
                <c:pt idx="509">
                  <c:v>6.41970137131797</c:v>
                </c:pt>
                <c:pt idx="510">
                  <c:v>6.5821675326093327</c:v>
                </c:pt>
                <c:pt idx="511">
                  <c:v>6.8852468749676206</c:v>
                </c:pt>
                <c:pt idx="512">
                  <c:v>6.7100315702931397</c:v>
                </c:pt>
                <c:pt idx="513">
                  <c:v>6.6178871998964155</c:v>
                </c:pt>
                <c:pt idx="514">
                  <c:v>6.4389560946991935</c:v>
                </c:pt>
                <c:pt idx="515">
                  <c:v>6.5630701656350539</c:v>
                </c:pt>
                <c:pt idx="516">
                  <c:v>6.5928808424460641</c:v>
                </c:pt>
                <c:pt idx="517">
                  <c:v>6.947816532108547</c:v>
                </c:pt>
                <c:pt idx="518">
                  <c:v>7.0036728946767823</c:v>
                </c:pt>
                <c:pt idx="519">
                  <c:v>7.2456167421804736</c:v>
                </c:pt>
                <c:pt idx="520">
                  <c:v>7.1722615508553815</c:v>
                </c:pt>
                <c:pt idx="521">
                  <c:v>7.2470559522613769</c:v>
                </c:pt>
                <c:pt idx="522">
                  <c:v>7.4002495029855737</c:v>
                </c:pt>
                <c:pt idx="523">
                  <c:v>7.1840982537475782</c:v>
                </c:pt>
                <c:pt idx="524">
                  <c:v>7.3467557506501606</c:v>
                </c:pt>
                <c:pt idx="525">
                  <c:v>7.4244993092271869</c:v>
                </c:pt>
                <c:pt idx="526">
                  <c:v>7.0029015373891639</c:v>
                </c:pt>
                <c:pt idx="527">
                  <c:v>7.1284681605160216</c:v>
                </c:pt>
                <c:pt idx="528">
                  <c:v>7.1350524532541186</c:v>
                </c:pt>
                <c:pt idx="529">
                  <c:v>7.2815333600760255</c:v>
                </c:pt>
                <c:pt idx="530">
                  <c:v>7.3439748899508714</c:v>
                </c:pt>
                <c:pt idx="531">
                  <c:v>7.5608794400149719</c:v>
                </c:pt>
                <c:pt idx="532">
                  <c:v>7.5899912167056272</c:v>
                </c:pt>
                <c:pt idx="533">
                  <c:v>7.7582281653496921</c:v>
                </c:pt>
                <c:pt idx="534">
                  <c:v>7.6370480689420646</c:v>
                </c:pt>
                <c:pt idx="535">
                  <c:v>7.4548478088555044</c:v>
                </c:pt>
                <c:pt idx="536">
                  <c:v>7.5820737266202229</c:v>
                </c:pt>
                <c:pt idx="537">
                  <c:v>7.7598092299290613</c:v>
                </c:pt>
                <c:pt idx="538">
                  <c:v>7.76602227661391</c:v>
                </c:pt>
                <c:pt idx="539">
                  <c:v>7.6896747618158372</c:v>
                </c:pt>
                <c:pt idx="540">
                  <c:v>7.6844072905965533</c:v>
                </c:pt>
                <c:pt idx="541">
                  <c:v>7.8187737552685945</c:v>
                </c:pt>
                <c:pt idx="542">
                  <c:v>7.5052928517859101</c:v>
                </c:pt>
                <c:pt idx="543">
                  <c:v>7.5326581080815771</c:v>
                </c:pt>
                <c:pt idx="544">
                  <c:v>7.5272608379469261</c:v>
                </c:pt>
                <c:pt idx="545">
                  <c:v>7.4359165884255987</c:v>
                </c:pt>
                <c:pt idx="546">
                  <c:v>7.1152994338986559</c:v>
                </c:pt>
                <c:pt idx="547">
                  <c:v>6.9270185867376455</c:v>
                </c:pt>
                <c:pt idx="548">
                  <c:v>7.0082822161801772</c:v>
                </c:pt>
                <c:pt idx="549">
                  <c:v>6.7458526683588218</c:v>
                </c:pt>
                <c:pt idx="550">
                  <c:v>6.9201766215375358</c:v>
                </c:pt>
                <c:pt idx="551">
                  <c:v>6.1173916975480296</c:v>
                </c:pt>
                <c:pt idx="552">
                  <c:v>6.2121994057418846</c:v>
                </c:pt>
                <c:pt idx="553">
                  <c:v>5.7388607824622966</c:v>
                </c:pt>
                <c:pt idx="554">
                  <c:v>5.5845030585925173</c:v>
                </c:pt>
                <c:pt idx="555">
                  <c:v>5.6369245535702817</c:v>
                </c:pt>
                <c:pt idx="556">
                  <c:v>5.7625376061945701</c:v>
                </c:pt>
                <c:pt idx="557">
                  <c:v>5.7731409134955811</c:v>
                </c:pt>
                <c:pt idx="558">
                  <c:v>5.7792166137868861</c:v>
                </c:pt>
                <c:pt idx="559">
                  <c:v>5.876185998248971</c:v>
                </c:pt>
                <c:pt idx="560">
                  <c:v>6.0123665136716653</c:v>
                </c:pt>
                <c:pt idx="561">
                  <c:v>6.0704456345198849</c:v>
                </c:pt>
                <c:pt idx="562">
                  <c:v>5.8844999866192182</c:v>
                </c:pt>
                <c:pt idx="563">
                  <c:v>5.7002750787365812</c:v>
                </c:pt>
                <c:pt idx="564">
                  <c:v>5.7763076915584151</c:v>
                </c:pt>
                <c:pt idx="565">
                  <c:v>5.8449571794272117</c:v>
                </c:pt>
                <c:pt idx="566">
                  <c:v>5.8251941308971027</c:v>
                </c:pt>
                <c:pt idx="567">
                  <c:v>5.7444271787132521</c:v>
                </c:pt>
                <c:pt idx="568">
                  <c:v>5.728343818677871</c:v>
                </c:pt>
                <c:pt idx="569">
                  <c:v>5.8682475307640942</c:v>
                </c:pt>
                <c:pt idx="570">
                  <c:v>6.1707878204896929</c:v>
                </c:pt>
                <c:pt idx="571">
                  <c:v>5.8883861656692602</c:v>
                </c:pt>
                <c:pt idx="572">
                  <c:v>5.8933839954469249</c:v>
                </c:pt>
                <c:pt idx="573">
                  <c:v>6.1396106041711107</c:v>
                </c:pt>
                <c:pt idx="574">
                  <c:v>5.8379021967352571</c:v>
                </c:pt>
                <c:pt idx="575">
                  <c:v>5.4082616470700913</c:v>
                </c:pt>
                <c:pt idx="576">
                  <c:v>5.449798669641325</c:v>
                </c:pt>
                <c:pt idx="577">
                  <c:v>5.5483121320501851</c:v>
                </c:pt>
                <c:pt idx="578">
                  <c:v>5.2015904627908469</c:v>
                </c:pt>
                <c:pt idx="579">
                  <c:v>5.4841691422078327</c:v>
                </c:pt>
                <c:pt idx="580">
                  <c:v>5.7568712723595183</c:v>
                </c:pt>
                <c:pt idx="581">
                  <c:v>5.5482022780589375</c:v>
                </c:pt>
                <c:pt idx="582">
                  <c:v>5.4433021400657822</c:v>
                </c:pt>
                <c:pt idx="583">
                  <c:v>5.5490092332508141</c:v>
                </c:pt>
                <c:pt idx="584">
                  <c:v>5.4827960568520666</c:v>
                </c:pt>
                <c:pt idx="585">
                  <c:v>5.8380951497073426</c:v>
                </c:pt>
                <c:pt idx="586">
                  <c:v>5.8508255782629703</c:v>
                </c:pt>
                <c:pt idx="587">
                  <c:v>5.7755409251612235</c:v>
                </c:pt>
                <c:pt idx="588">
                  <c:v>5.7559276736570553</c:v>
                </c:pt>
                <c:pt idx="589">
                  <c:v>6.0942576265147466</c:v>
                </c:pt>
                <c:pt idx="590">
                  <c:v>6.1204869254309671</c:v>
                </c:pt>
                <c:pt idx="591">
                  <c:v>6.6126706042667251</c:v>
                </c:pt>
                <c:pt idx="592">
                  <c:v>6.3120110887610252</c:v>
                </c:pt>
                <c:pt idx="593">
                  <c:v>6.5095089708523801</c:v>
                </c:pt>
                <c:pt idx="594">
                  <c:v>6.5782725779585149</c:v>
                </c:pt>
                <c:pt idx="595">
                  <c:v>6.3940700902095386</c:v>
                </c:pt>
                <c:pt idx="596">
                  <c:v>6.1095293648919267</c:v>
                </c:pt>
                <c:pt idx="597">
                  <c:v>6.2368798630695892</c:v>
                </c:pt>
                <c:pt idx="598">
                  <c:v>6.4876153033180941</c:v>
                </c:pt>
                <c:pt idx="599">
                  <c:v>6.4670521309814291</c:v>
                </c:pt>
                <c:pt idx="600">
                  <c:v>6.1630911003470885</c:v>
                </c:pt>
                <c:pt idx="601">
                  <c:v>6.2438251728644047</c:v>
                </c:pt>
                <c:pt idx="602">
                  <c:v>6.1363892308972225</c:v>
                </c:pt>
                <c:pt idx="603">
                  <c:v>5.633514896810226</c:v>
                </c:pt>
                <c:pt idx="604">
                  <c:v>5.380899006469491</c:v>
                </c:pt>
                <c:pt idx="605">
                  <c:v>5.3179444820800512</c:v>
                </c:pt>
                <c:pt idx="606">
                  <c:v>5.5492862688000884</c:v>
                </c:pt>
                <c:pt idx="607">
                  <c:v>5.4717818615944651</c:v>
                </c:pt>
                <c:pt idx="608">
                  <c:v>5.6657543315604073</c:v>
                </c:pt>
                <c:pt idx="609">
                  <c:v>5.6676540248073053</c:v>
                </c:pt>
                <c:pt idx="610">
                  <c:v>5.6544749589014458</c:v>
                </c:pt>
                <c:pt idx="611">
                  <c:v>5.6092316954713652</c:v>
                </c:pt>
                <c:pt idx="612">
                  <c:v>5.6202280372021249</c:v>
                </c:pt>
                <c:pt idx="613">
                  <c:v>5.2786170296297712</c:v>
                </c:pt>
                <c:pt idx="614">
                  <c:v>5.2946854127005594</c:v>
                </c:pt>
                <c:pt idx="615">
                  <c:v>4.1381639005195296</c:v>
                </c:pt>
                <c:pt idx="616">
                  <c:v>5.093252341874404</c:v>
                </c:pt>
                <c:pt idx="617">
                  <c:v>5.2946380235191128</c:v>
                </c:pt>
                <c:pt idx="618">
                  <c:v>5.1504400776539541</c:v>
                </c:pt>
                <c:pt idx="619">
                  <c:v>5.4970892904642596</c:v>
                </c:pt>
                <c:pt idx="620">
                  <c:v>5.1355606209966425</c:v>
                </c:pt>
                <c:pt idx="621">
                  <c:v>5.3366253698691395</c:v>
                </c:pt>
                <c:pt idx="622">
                  <c:v>5.3783982342114598</c:v>
                </c:pt>
                <c:pt idx="623">
                  <c:v>5.013223132615849</c:v>
                </c:pt>
                <c:pt idx="624">
                  <c:v>5.2934238826911155</c:v>
                </c:pt>
                <c:pt idx="625">
                  <c:v>4.9226202859119752</c:v>
                </c:pt>
                <c:pt idx="626">
                  <c:v>4.9388320613505243</c:v>
                </c:pt>
                <c:pt idx="627">
                  <c:v>4.3239124330460612</c:v>
                </c:pt>
                <c:pt idx="628">
                  <c:v>4.1969032906412451</c:v>
                </c:pt>
                <c:pt idx="629">
                  <c:v>4.3294270123486314</c:v>
                </c:pt>
                <c:pt idx="630">
                  <c:v>4.5235817507968363</c:v>
                </c:pt>
                <c:pt idx="631">
                  <c:v>4.3648706860994935</c:v>
                </c:pt>
                <c:pt idx="632">
                  <c:v>4.3799761712777752</c:v>
                </c:pt>
                <c:pt idx="633">
                  <c:v>4.4391016426251753</c:v>
                </c:pt>
                <c:pt idx="634">
                  <c:v>4.3920828959124236</c:v>
                </c:pt>
                <c:pt idx="635">
                  <c:v>4.4183031096790586</c:v>
                </c:pt>
                <c:pt idx="636">
                  <c:v>4.2870682718853459</c:v>
                </c:pt>
                <c:pt idx="637">
                  <c:v>4.2282401330673167</c:v>
                </c:pt>
                <c:pt idx="638">
                  <c:v>4.0180510866409946</c:v>
                </c:pt>
                <c:pt idx="639">
                  <c:v>4.246051641295864</c:v>
                </c:pt>
                <c:pt idx="640">
                  <c:v>4.1298858687890316</c:v>
                </c:pt>
                <c:pt idx="641">
                  <c:v>4.1429746260744906</c:v>
                </c:pt>
                <c:pt idx="642">
                  <c:v>4.2353088316398129</c:v>
                </c:pt>
                <c:pt idx="643">
                  <c:v>4.3071895529088664</c:v>
                </c:pt>
                <c:pt idx="644">
                  <c:v>4.2406232514627504</c:v>
                </c:pt>
                <c:pt idx="645">
                  <c:v>4.2058183151853967</c:v>
                </c:pt>
                <c:pt idx="646">
                  <c:v>4.1257433147208076</c:v>
                </c:pt>
                <c:pt idx="647">
                  <c:v>3.9909383762978194</c:v>
                </c:pt>
                <c:pt idx="648">
                  <c:v>3.9611125743450373</c:v>
                </c:pt>
                <c:pt idx="649">
                  <c:v>4.1266303692616191</c:v>
                </c:pt>
                <c:pt idx="650">
                  <c:v>3.9888368134594572</c:v>
                </c:pt>
                <c:pt idx="651">
                  <c:v>3.9971871120060882</c:v>
                </c:pt>
                <c:pt idx="652">
                  <c:v>4.1032069941303604</c:v>
                </c:pt>
                <c:pt idx="653">
                  <c:v>4.1032069941303604</c:v>
                </c:pt>
                <c:pt idx="654">
                  <c:v>4.0999746853617296</c:v>
                </c:pt>
                <c:pt idx="655">
                  <c:v>3.7567926229652642</c:v>
                </c:pt>
                <c:pt idx="656">
                  <c:v>4.0495378642500981</c:v>
                </c:pt>
                <c:pt idx="657">
                  <c:v>3.9648388099814582</c:v>
                </c:pt>
                <c:pt idx="658">
                  <c:v>3.9648388099814582</c:v>
                </c:pt>
                <c:pt idx="659">
                  <c:v>3.6429290516220618</c:v>
                </c:pt>
                <c:pt idx="660">
                  <c:v>3.9628995192770162</c:v>
                </c:pt>
                <c:pt idx="661">
                  <c:v>3.8150069827759552</c:v>
                </c:pt>
                <c:pt idx="662">
                  <c:v>3.7222344658816127</c:v>
                </c:pt>
                <c:pt idx="663">
                  <c:v>3.8811626599216709</c:v>
                </c:pt>
                <c:pt idx="664">
                  <c:v>3.9973905215719867</c:v>
                </c:pt>
                <c:pt idx="665">
                  <c:v>3.6448033013792127</c:v>
                </c:pt>
                <c:pt idx="666">
                  <c:v>3.2425538985417148</c:v>
                </c:pt>
                <c:pt idx="667">
                  <c:v>3.0702627536343812</c:v>
                </c:pt>
                <c:pt idx="668">
                  <c:v>3.2016234158535326</c:v>
                </c:pt>
                <c:pt idx="669">
                  <c:v>3.4095264817862727</c:v>
                </c:pt>
                <c:pt idx="670">
                  <c:v>3.795410217901221</c:v>
                </c:pt>
                <c:pt idx="671">
                  <c:v>3.8044934843270966</c:v>
                </c:pt>
                <c:pt idx="672">
                  <c:v>3.7769378484622536</c:v>
                </c:pt>
                <c:pt idx="673">
                  <c:v>3.8346867904069626</c:v>
                </c:pt>
                <c:pt idx="674">
                  <c:v>4.140411154644454</c:v>
                </c:pt>
                <c:pt idx="675">
                  <c:v>3.8510057342371766</c:v>
                </c:pt>
                <c:pt idx="676">
                  <c:v>3.6483633403995128</c:v>
                </c:pt>
                <c:pt idx="677">
                  <c:v>3.4952090719462916</c:v>
                </c:pt>
                <c:pt idx="678">
                  <c:v>3.455792144606491</c:v>
                </c:pt>
                <c:pt idx="679">
                  <c:v>3.4620986382992811</c:v>
                </c:pt>
                <c:pt idx="680">
                  <c:v>3.7256765607840236</c:v>
                </c:pt>
                <c:pt idx="681">
                  <c:v>4.0367283475636668</c:v>
                </c:pt>
                <c:pt idx="682">
                  <c:v>4.8433823087414396</c:v>
                </c:pt>
                <c:pt idx="683">
                  <c:v>4.4218104600835204</c:v>
                </c:pt>
                <c:pt idx="684">
                  <c:v>4.7503855492454647</c:v>
                </c:pt>
                <c:pt idx="685">
                  <c:v>4.9911691558572926</c:v>
                </c:pt>
                <c:pt idx="686">
                  <c:v>4.6163235475806914</c:v>
                </c:pt>
                <c:pt idx="687">
                  <c:v>4.5784060220396583</c:v>
                </c:pt>
                <c:pt idx="688">
                  <c:v>4.4408640200904301</c:v>
                </c:pt>
                <c:pt idx="689">
                  <c:v>4.7405434902661199</c:v>
                </c:pt>
                <c:pt idx="690">
                  <c:v>4.9254794790847711</c:v>
                </c:pt>
                <c:pt idx="691">
                  <c:v>5.2259958718637876</c:v>
                </c:pt>
                <c:pt idx="692">
                  <c:v>5.0832584804098957</c:v>
                </c:pt>
                <c:pt idx="693">
                  <c:v>4.7862454289309824</c:v>
                </c:pt>
                <c:pt idx="694">
                  <c:v>5.1124280909786677</c:v>
                </c:pt>
                <c:pt idx="695">
                  <c:v>5.507768133697823</c:v>
                </c:pt>
                <c:pt idx="696">
                  <c:v>5.4542569903258169</c:v>
                </c:pt>
                <c:pt idx="697">
                  <c:v>5.1969343022440455</c:v>
                </c:pt>
                <c:pt idx="698">
                  <c:v>6.0716792123985073</c:v>
                </c:pt>
                <c:pt idx="699">
                  <c:v>5.7101463155213992</c:v>
                </c:pt>
                <c:pt idx="700">
                  <c:v>5.6875703244376723</c:v>
                </c:pt>
                <c:pt idx="701">
                  <c:v>5.7178148304002576</c:v>
                </c:pt>
                <c:pt idx="702">
                  <c:v>5.734820927727128</c:v>
                </c:pt>
                <c:pt idx="703">
                  <c:v>5.4104249579639969</c:v>
                </c:pt>
                <c:pt idx="704">
                  <c:v>5.3324032573044065</c:v>
                </c:pt>
                <c:pt idx="705">
                  <c:v>5.1739912987532648</c:v>
                </c:pt>
                <c:pt idx="706">
                  <c:v>5.010841150661733</c:v>
                </c:pt>
                <c:pt idx="707">
                  <c:v>5.0790811217355127</c:v>
                </c:pt>
                <c:pt idx="708">
                  <c:v>5.2505419317894138</c:v>
                </c:pt>
                <c:pt idx="709">
                  <c:v>5.3383417672637421</c:v>
                </c:pt>
                <c:pt idx="710">
                  <c:v>5.1662448257488762</c:v>
                </c:pt>
                <c:pt idx="711">
                  <c:v>5.3260747164069784</c:v>
                </c:pt>
                <c:pt idx="712">
                  <c:v>5.6566451095190473</c:v>
                </c:pt>
                <c:pt idx="713">
                  <c:v>6.2138303224123632</c:v>
                </c:pt>
                <c:pt idx="714">
                  <c:v>5.7595651714176199</c:v>
                </c:pt>
                <c:pt idx="715">
                  <c:v>6.0963819147583536</c:v>
                </c:pt>
                <c:pt idx="716">
                  <c:v>6.0969784575888752</c:v>
                </c:pt>
                <c:pt idx="717">
                  <c:v>6.428179664314257</c:v>
                </c:pt>
                <c:pt idx="718">
                  <c:v>6.4249345799559734</c:v>
                </c:pt>
                <c:pt idx="719">
                  <c:v>6.4535333740696359</c:v>
                </c:pt>
                <c:pt idx="720">
                  <c:v>6.7583062413042683</c:v>
                </c:pt>
                <c:pt idx="721">
                  <c:v>6.7583062413042683</c:v>
                </c:pt>
                <c:pt idx="722">
                  <c:v>6.7608921324658553</c:v>
                </c:pt>
                <c:pt idx="723">
                  <c:v>6.2580630661296937</c:v>
                </c:pt>
                <c:pt idx="724">
                  <c:v>6.7141449794902002</c:v>
                </c:pt>
                <c:pt idx="725">
                  <c:v>6.7957502849614428</c:v>
                </c:pt>
                <c:pt idx="726">
                  <c:v>6.7578338819353121</c:v>
                </c:pt>
                <c:pt idx="727">
                  <c:v>6.8391447356995485</c:v>
                </c:pt>
                <c:pt idx="728">
                  <c:v>6.967518829637001</c:v>
                </c:pt>
                <c:pt idx="729">
                  <c:v>6.6327080940902903</c:v>
                </c:pt>
                <c:pt idx="730">
                  <c:v>6.7248150739511061</c:v>
                </c:pt>
                <c:pt idx="731">
                  <c:v>7.2369406789446344</c:v>
                </c:pt>
                <c:pt idx="732">
                  <c:v>6.9363074785844816</c:v>
                </c:pt>
                <c:pt idx="733">
                  <c:v>6.6697071092779368</c:v>
                </c:pt>
                <c:pt idx="734">
                  <c:v>7.0431428124263533</c:v>
                </c:pt>
                <c:pt idx="735">
                  <c:v>7.0820631638212603</c:v>
                </c:pt>
                <c:pt idx="736">
                  <c:v>6.9034421561139823</c:v>
                </c:pt>
                <c:pt idx="737">
                  <c:v>6.9791375916452267</c:v>
                </c:pt>
                <c:pt idx="738">
                  <c:v>6.4227535226226991</c:v>
                </c:pt>
                <c:pt idx="739">
                  <c:v>6.0789627611824244</c:v>
                </c:pt>
                <c:pt idx="740">
                  <c:v>6.3173564168106111</c:v>
                </c:pt>
                <c:pt idx="741">
                  <c:v>6.3513441449940302</c:v>
                </c:pt>
                <c:pt idx="742">
                  <c:v>6.0831102815860305</c:v>
                </c:pt>
                <c:pt idx="743">
                  <c:v>6.0478329559913391</c:v>
                </c:pt>
                <c:pt idx="744">
                  <c:v>6.0562369367164308</c:v>
                </c:pt>
                <c:pt idx="745">
                  <c:v>5.9171666636492972</c:v>
                </c:pt>
                <c:pt idx="746">
                  <c:v>5.5131622390287731</c:v>
                </c:pt>
                <c:pt idx="747">
                  <c:v>5.856998231167907</c:v>
                </c:pt>
                <c:pt idx="748">
                  <c:v>5.4910384881068097</c:v>
                </c:pt>
                <c:pt idx="749">
                  <c:v>5.5379429010963719</c:v>
                </c:pt>
                <c:pt idx="750">
                  <c:v>5.6840434340249573</c:v>
                </c:pt>
                <c:pt idx="751">
                  <c:v>5.8350506130029629</c:v>
                </c:pt>
                <c:pt idx="752">
                  <c:v>5.9623991404538685</c:v>
                </c:pt>
                <c:pt idx="753">
                  <c:v>5.6746522714039571</c:v>
                </c:pt>
                <c:pt idx="754">
                  <c:v>5.4425477356159035</c:v>
                </c:pt>
                <c:pt idx="755">
                  <c:v>5.5160276388663618</c:v>
                </c:pt>
                <c:pt idx="756">
                  <c:v>5.0956962754682849</c:v>
                </c:pt>
                <c:pt idx="757">
                  <c:v>4.5416778682524637</c:v>
                </c:pt>
                <c:pt idx="758">
                  <c:v>5.247039375544631</c:v>
                </c:pt>
                <c:pt idx="759">
                  <c:v>5.2769820334508069</c:v>
                </c:pt>
                <c:pt idx="760">
                  <c:v>5.587981387720049</c:v>
                </c:pt>
                <c:pt idx="761">
                  <c:v>5.7219585852184025</c:v>
                </c:pt>
                <c:pt idx="762">
                  <c:v>5.4598185212209955</c:v>
                </c:pt>
                <c:pt idx="763">
                  <c:v>5.0839510366925396</c:v>
                </c:pt>
                <c:pt idx="764">
                  <c:v>5.0496207257334902</c:v>
                </c:pt>
                <c:pt idx="765">
                  <c:v>4.7509609951434157</c:v>
                </c:pt>
                <c:pt idx="766">
                  <c:v>4.6098617715901611</c:v>
                </c:pt>
                <c:pt idx="767">
                  <c:v>4.7284670729790435</c:v>
                </c:pt>
                <c:pt idx="768">
                  <c:v>4.5822635309325079</c:v>
                </c:pt>
                <c:pt idx="769">
                  <c:v>4.8558462860574849</c:v>
                </c:pt>
                <c:pt idx="770">
                  <c:v>5.3230540993198048</c:v>
                </c:pt>
                <c:pt idx="771">
                  <c:v>4.8454085183262094</c:v>
                </c:pt>
                <c:pt idx="772">
                  <c:v>4.998919285496072</c:v>
                </c:pt>
                <c:pt idx="773">
                  <c:v>5.3408849918678953</c:v>
                </c:pt>
                <c:pt idx="774">
                  <c:v>5.5938948074912389</c:v>
                </c:pt>
                <c:pt idx="775">
                  <c:v>5.6203850283831116</c:v>
                </c:pt>
                <c:pt idx="776">
                  <c:v>5.6116453526827428</c:v>
                </c:pt>
                <c:pt idx="777">
                  <c:v>5.3739838414328176</c:v>
                </c:pt>
                <c:pt idx="778">
                  <c:v>5.5229419931136761</c:v>
                </c:pt>
                <c:pt idx="779">
                  <c:v>5.8810882622827165</c:v>
                </c:pt>
                <c:pt idx="780">
                  <c:v>6.4840567254512962</c:v>
                </c:pt>
                <c:pt idx="781">
                  <c:v>6.6673458015310558</c:v>
                </c:pt>
                <c:pt idx="782">
                  <c:v>6.1857773353839889</c:v>
                </c:pt>
                <c:pt idx="783">
                  <c:v>6.0276829769431544</c:v>
                </c:pt>
                <c:pt idx="784">
                  <c:v>5.8838634165631589</c:v>
                </c:pt>
                <c:pt idx="785">
                  <c:v>6.2498753769697259</c:v>
                </c:pt>
                <c:pt idx="786">
                  <c:v>6.4294141371679245</c:v>
                </c:pt>
                <c:pt idx="787">
                  <c:v>6.4233005725460259</c:v>
                </c:pt>
                <c:pt idx="788">
                  <c:v>6.5281763973532634</c:v>
                </c:pt>
                <c:pt idx="789">
                  <c:v>6.6771261518090199</c:v>
                </c:pt>
                <c:pt idx="790">
                  <c:v>5.9926819592593432</c:v>
                </c:pt>
                <c:pt idx="791">
                  <c:v>6.463360910409051</c:v>
                </c:pt>
                <c:pt idx="792">
                  <c:v>5.9524219750967546</c:v>
                </c:pt>
                <c:pt idx="793">
                  <c:v>6.0639513552579132</c:v>
                </c:pt>
                <c:pt idx="794">
                  <c:v>6.2238301844157604</c:v>
                </c:pt>
                <c:pt idx="795">
                  <c:v>6.1781842366668229</c:v>
                </c:pt>
                <c:pt idx="796">
                  <c:v>6.1434545695235983</c:v>
                </c:pt>
                <c:pt idx="797">
                  <c:v>6.0789700798899702</c:v>
                </c:pt>
                <c:pt idx="798">
                  <c:v>6.3281727361462288</c:v>
                </c:pt>
                <c:pt idx="799">
                  <c:v>6.036841792619299</c:v>
                </c:pt>
                <c:pt idx="800">
                  <c:v>5.794991738861043</c:v>
                </c:pt>
                <c:pt idx="801">
                  <c:v>5.5907706743292636</c:v>
                </c:pt>
                <c:pt idx="802">
                  <c:v>5.5313131869727528</c:v>
                </c:pt>
                <c:pt idx="803">
                  <c:v>5.6893755827079673</c:v>
                </c:pt>
                <c:pt idx="804">
                  <c:v>5.3968772857561618</c:v>
                </c:pt>
                <c:pt idx="805">
                  <c:v>5.4890274819073852</c:v>
                </c:pt>
                <c:pt idx="806">
                  <c:v>5.4029010249999061</c:v>
                </c:pt>
                <c:pt idx="807">
                  <c:v>5.5003171728698419</c:v>
                </c:pt>
                <c:pt idx="808">
                  <c:v>5.4641261705180852</c:v>
                </c:pt>
                <c:pt idx="809">
                  <c:v>5.2664560505519233</c:v>
                </c:pt>
                <c:pt idx="810">
                  <c:v>5.3063550807419801</c:v>
                </c:pt>
                <c:pt idx="811">
                  <c:v>5.305730058478531</c:v>
                </c:pt>
                <c:pt idx="812">
                  <c:v>5.3460385110685991</c:v>
                </c:pt>
                <c:pt idx="813">
                  <c:v>5.3807584265226041</c:v>
                </c:pt>
                <c:pt idx="814">
                  <c:v>5.2701223482743274</c:v>
                </c:pt>
                <c:pt idx="815">
                  <c:v>5.301003484225248</c:v>
                </c:pt>
                <c:pt idx="816">
                  <c:v>5.4454200439897988</c:v>
                </c:pt>
                <c:pt idx="817">
                  <c:v>5.530546255274416</c:v>
                </c:pt>
                <c:pt idx="818">
                  <c:v>5.5559161049169603</c:v>
                </c:pt>
                <c:pt idx="819">
                  <c:v>5.4319961651850974</c:v>
                </c:pt>
                <c:pt idx="820">
                  <c:v>6.2051653717937825</c:v>
                </c:pt>
                <c:pt idx="821">
                  <c:v>5.1548513639231146</c:v>
                </c:pt>
                <c:pt idx="822">
                  <c:v>5.5306723443602692</c:v>
                </c:pt>
                <c:pt idx="823">
                  <c:v>5.604783003459417</c:v>
                </c:pt>
                <c:pt idx="824">
                  <c:v>5.7358844431437603</c:v>
                </c:pt>
                <c:pt idx="825">
                  <c:v>5.4377180318534499</c:v>
                </c:pt>
                <c:pt idx="826">
                  <c:v>5.3493183879791957</c:v>
                </c:pt>
                <c:pt idx="827">
                  <c:v>5.3690758116108981</c:v>
                </c:pt>
                <c:pt idx="828">
                  <c:v>5.7550008415595642</c:v>
                </c:pt>
                <c:pt idx="829">
                  <c:v>5.743875101657494</c:v>
                </c:pt>
                <c:pt idx="830">
                  <c:v>5.762249479056436</c:v>
                </c:pt>
                <c:pt idx="831">
                  <c:v>6.1627554291178228</c:v>
                </c:pt>
                <c:pt idx="832">
                  <c:v>5.8069724114369734</c:v>
                </c:pt>
                <c:pt idx="833">
                  <c:v>6.1909464511824126</c:v>
                </c:pt>
                <c:pt idx="834">
                  <c:v>6.0087406505115695</c:v>
                </c:pt>
                <c:pt idx="835">
                  <c:v>6.0800428836764411</c:v>
                </c:pt>
                <c:pt idx="836">
                  <c:v>5.765675836991548</c:v>
                </c:pt>
                <c:pt idx="837">
                  <c:v>5.6609410933799467</c:v>
                </c:pt>
                <c:pt idx="838">
                  <c:v>5.3203371487000055</c:v>
                </c:pt>
                <c:pt idx="839">
                  <c:v>5.2264013043837707</c:v>
                </c:pt>
                <c:pt idx="840">
                  <c:v>5.4966804200234805</c:v>
                </c:pt>
                <c:pt idx="841">
                  <c:v>5.5057817787346579</c:v>
                </c:pt>
                <c:pt idx="842">
                  <c:v>5.6327752185266746</c:v>
                </c:pt>
                <c:pt idx="843">
                  <c:v>5.5385706173718035</c:v>
                </c:pt>
                <c:pt idx="844">
                  <c:v>5.2250376487196348</c:v>
                </c:pt>
                <c:pt idx="845">
                  <c:v>4.7888143151456291</c:v>
                </c:pt>
                <c:pt idx="846">
                  <c:v>5.0128043802330069</c:v>
                </c:pt>
                <c:pt idx="847">
                  <c:v>5.0972693582931612</c:v>
                </c:pt>
                <c:pt idx="848">
                  <c:v>4.8751150826229832</c:v>
                </c:pt>
                <c:pt idx="849">
                  <c:v>4.8918263333526681</c:v>
                </c:pt>
                <c:pt idx="850">
                  <c:v>5.1895314999691493</c:v>
                </c:pt>
                <c:pt idx="851">
                  <c:v>5.171246856655074</c:v>
                </c:pt>
                <c:pt idx="852">
                  <c:v>5.4354270676247012</c:v>
                </c:pt>
                <c:pt idx="853">
                  <c:v>5.1508040875525438</c:v>
                </c:pt>
                <c:pt idx="854">
                  <c:v>5.0806937742413538</c:v>
                </c:pt>
                <c:pt idx="855">
                  <c:v>5.2743562257684431</c:v>
                </c:pt>
                <c:pt idx="856">
                  <c:v>4.7351168519801945</c:v>
                </c:pt>
                <c:pt idx="857">
                  <c:v>4.6235904081433716</c:v>
                </c:pt>
                <c:pt idx="858">
                  <c:v>5.0557829150021689</c:v>
                </c:pt>
                <c:pt idx="859">
                  <c:v>4.9516910961739597</c:v>
                </c:pt>
                <c:pt idx="860">
                  <c:v>4.3184213225846122</c:v>
                </c:pt>
                <c:pt idx="861">
                  <c:v>4.3554961429270236</c:v>
                </c:pt>
                <c:pt idx="862">
                  <c:v>4.1775972025180579</c:v>
                </c:pt>
                <c:pt idx="863">
                  <c:v>4.0327178235494614</c:v>
                </c:pt>
                <c:pt idx="864">
                  <c:v>4.1355783202530745</c:v>
                </c:pt>
                <c:pt idx="865">
                  <c:v>4.2187092550769023</c:v>
                </c:pt>
                <c:pt idx="866">
                  <c:v>4.3678683927903137</c:v>
                </c:pt>
                <c:pt idx="867">
                  <c:v>4.8130111869370467</c:v>
                </c:pt>
                <c:pt idx="868">
                  <c:v>4.5382602047081662</c:v>
                </c:pt>
                <c:pt idx="869">
                  <c:v>4.8727544385175747</c:v>
                </c:pt>
                <c:pt idx="870">
                  <c:v>4.3698526750313533</c:v>
                </c:pt>
                <c:pt idx="871">
                  <c:v>4.3497410861857873</c:v>
                </c:pt>
                <c:pt idx="872">
                  <c:v>5.0532948954476922</c:v>
                </c:pt>
                <c:pt idx="873">
                  <c:v>4.8296471830371388</c:v>
                </c:pt>
                <c:pt idx="874">
                  <c:v>4.902925828510746</c:v>
                </c:pt>
                <c:pt idx="875">
                  <c:v>4.4878861548915268</c:v>
                </c:pt>
                <c:pt idx="876">
                  <c:v>5.0949144479861275</c:v>
                </c:pt>
                <c:pt idx="877">
                  <c:v>4.7315995917792861</c:v>
                </c:pt>
                <c:pt idx="878">
                  <c:v>5.2661039131833718</c:v>
                </c:pt>
                <c:pt idx="879">
                  <c:v>5.1242007030648153</c:v>
                </c:pt>
                <c:pt idx="880">
                  <c:v>4.8095752671722494</c:v>
                </c:pt>
                <c:pt idx="881">
                  <c:v>4.8563398405168812</c:v>
                </c:pt>
                <c:pt idx="882">
                  <c:v>4.8431475361501839</c:v>
                </c:pt>
                <c:pt idx="883">
                  <c:v>4.874645068607947</c:v>
                </c:pt>
                <c:pt idx="884">
                  <c:v>4.985925630545097</c:v>
                </c:pt>
                <c:pt idx="885">
                  <c:v>4.6709421545495502</c:v>
                </c:pt>
                <c:pt idx="886">
                  <c:v>4.801350282960982</c:v>
                </c:pt>
                <c:pt idx="887">
                  <c:v>4.4416971400248713</c:v>
                </c:pt>
                <c:pt idx="888">
                  <c:v>4.8936053962258086</c:v>
                </c:pt>
                <c:pt idx="889">
                  <c:v>4.8052104339639072</c:v>
                </c:pt>
                <c:pt idx="890">
                  <c:v>4.7106163664550138</c:v>
                </c:pt>
                <c:pt idx="891">
                  <c:v>4.467850284191428</c:v>
                </c:pt>
                <c:pt idx="892">
                  <c:v>4.5487757742649819</c:v>
                </c:pt>
                <c:pt idx="893">
                  <c:v>4.348509992043688</c:v>
                </c:pt>
                <c:pt idx="894">
                  <c:v>4.2373119098155883</c:v>
                </c:pt>
                <c:pt idx="895">
                  <c:v>4.2092791249501147</c:v>
                </c:pt>
                <c:pt idx="896">
                  <c:v>4.4011757511472922</c:v>
                </c:pt>
                <c:pt idx="897">
                  <c:v>4.1622244594639994</c:v>
                </c:pt>
                <c:pt idx="898">
                  <c:v>4.5060191125052711</c:v>
                </c:pt>
                <c:pt idx="899">
                  <c:v>4.6193481136717196</c:v>
                </c:pt>
                <c:pt idx="900">
                  <c:v>5.2759390145978386</c:v>
                </c:pt>
                <c:pt idx="901">
                  <c:v>4.813639486205858</c:v>
                </c:pt>
                <c:pt idx="902">
                  <c:v>4.8275220460069761</c:v>
                </c:pt>
                <c:pt idx="903">
                  <c:v>5.1976206437701649</c:v>
                </c:pt>
                <c:pt idx="904">
                  <c:v>5.1791092540515535</c:v>
                </c:pt>
                <c:pt idx="905">
                  <c:v>5.3224682347070882</c:v>
                </c:pt>
                <c:pt idx="906">
                  <c:v>5.211066671166293</c:v>
                </c:pt>
                <c:pt idx="907">
                  <c:v>4.6253303944062054</c:v>
                </c:pt>
                <c:pt idx="908">
                  <c:v>4.9991947333195128</c:v>
                </c:pt>
                <c:pt idx="909">
                  <c:v>4.6425696459530457</c:v>
                </c:pt>
                <c:pt idx="910">
                  <c:v>4.44211167600821</c:v>
                </c:pt>
                <c:pt idx="911">
                  <c:v>4.2229295750866527</c:v>
                </c:pt>
                <c:pt idx="912">
                  <c:v>4.1708157594038084</c:v>
                </c:pt>
                <c:pt idx="913">
                  <c:v>4.2783467827384527</c:v>
                </c:pt>
                <c:pt idx="914">
                  <c:v>4.2783467827384527</c:v>
                </c:pt>
                <c:pt idx="915">
                  <c:v>4.2783417058714406</c:v>
                </c:pt>
                <c:pt idx="916">
                  <c:v>4.0376689638439132</c:v>
                </c:pt>
                <c:pt idx="917">
                  <c:v>4.3043912886220994</c:v>
                </c:pt>
                <c:pt idx="918">
                  <c:v>4.2354817420956294</c:v>
                </c:pt>
                <c:pt idx="919">
                  <c:v>4.2354817420956294</c:v>
                </c:pt>
                <c:pt idx="920">
                  <c:v>4.5634281145413524</c:v>
                </c:pt>
                <c:pt idx="921">
                  <c:v>4.9601071809260588</c:v>
                </c:pt>
                <c:pt idx="922">
                  <c:v>4.9323470736935917</c:v>
                </c:pt>
                <c:pt idx="923">
                  <c:v>4.1727135781866878</c:v>
                </c:pt>
                <c:pt idx="924">
                  <c:v>4.4804195190832274</c:v>
                </c:pt>
                <c:pt idx="925">
                  <c:v>4.9726970486693176</c:v>
                </c:pt>
                <c:pt idx="926">
                  <c:v>4.9046157802791583</c:v>
                </c:pt>
                <c:pt idx="927">
                  <c:v>4.7592610322186317</c:v>
                </c:pt>
                <c:pt idx="928">
                  <c:v>4.6305595660565473</c:v>
                </c:pt>
                <c:pt idx="929">
                  <c:v>4.0077761101853469</c:v>
                </c:pt>
                <c:pt idx="930">
                  <c:v>4.4106282800688064</c:v>
                </c:pt>
                <c:pt idx="931">
                  <c:v>4.3368444363475191</c:v>
                </c:pt>
                <c:pt idx="932">
                  <c:v>4.5372463469191473</c:v>
                </c:pt>
                <c:pt idx="933">
                  <c:v>4.5183630765866667</c:v>
                </c:pt>
                <c:pt idx="934">
                  <c:v>4.7486148140818614</c:v>
                </c:pt>
                <c:pt idx="935">
                  <c:v>5.2691753289524854</c:v>
                </c:pt>
                <c:pt idx="936">
                  <c:v>5.792541523955407</c:v>
                </c:pt>
                <c:pt idx="937">
                  <c:v>5.441415365220422</c:v>
                </c:pt>
                <c:pt idx="938">
                  <c:v>5.0292804967236293</c:v>
                </c:pt>
                <c:pt idx="939">
                  <c:v>5.3131730861789492</c:v>
                </c:pt>
                <c:pt idx="940">
                  <c:v>5.0612918447835114</c:v>
                </c:pt>
                <c:pt idx="941">
                  <c:v>4.9738072303063348</c:v>
                </c:pt>
                <c:pt idx="942">
                  <c:v>5.7326218145664996</c:v>
                </c:pt>
                <c:pt idx="943">
                  <c:v>5.5627500340759752</c:v>
                </c:pt>
                <c:pt idx="944">
                  <c:v>5.491356859967965</c:v>
                </c:pt>
                <c:pt idx="945">
                  <c:v>5.3964900581081849</c:v>
                </c:pt>
                <c:pt idx="946">
                  <c:v>5.2783906969744407</c:v>
                </c:pt>
                <c:pt idx="947">
                  <c:v>5.6232969106064843</c:v>
                </c:pt>
                <c:pt idx="948">
                  <c:v>5.2710838329962257</c:v>
                </c:pt>
                <c:pt idx="949">
                  <c:v>5.1269778011174196</c:v>
                </c:pt>
                <c:pt idx="950">
                  <c:v>5.1483209639159497</c:v>
                </c:pt>
                <c:pt idx="951">
                  <c:v>5.1181516318648335</c:v>
                </c:pt>
                <c:pt idx="952">
                  <c:v>5.3445933123829548</c:v>
                </c:pt>
                <c:pt idx="953">
                  <c:v>5.4128983751378428</c:v>
                </c:pt>
                <c:pt idx="954">
                  <c:v>5.4225051597667573</c:v>
                </c:pt>
                <c:pt idx="955">
                  <c:v>5.5695466590795206</c:v>
                </c:pt>
                <c:pt idx="956">
                  <c:v>5.5935007774581891</c:v>
                </c:pt>
                <c:pt idx="957">
                  <c:v>5.5967679780990238</c:v>
                </c:pt>
                <c:pt idx="958">
                  <c:v>5.4822747674536743</c:v>
                </c:pt>
                <c:pt idx="959">
                  <c:v>5.3474755044291271</c:v>
                </c:pt>
                <c:pt idx="960">
                  <c:v>5.3897748636828737</c:v>
                </c:pt>
                <c:pt idx="961">
                  <c:v>5.4513765236499978</c:v>
                </c:pt>
                <c:pt idx="962">
                  <c:v>5.8859146982166806</c:v>
                </c:pt>
                <c:pt idx="963">
                  <c:v>5.5073290080075878</c:v>
                </c:pt>
                <c:pt idx="964">
                  <c:v>5.5570740066166877</c:v>
                </c:pt>
                <c:pt idx="965">
                  <c:v>5.7442682749406799</c:v>
                </c:pt>
                <c:pt idx="966">
                  <c:v>6.3963552464460918</c:v>
                </c:pt>
                <c:pt idx="967">
                  <c:v>6.5040242844661122</c:v>
                </c:pt>
                <c:pt idx="968">
                  <c:v>6.4396496077463894</c:v>
                </c:pt>
                <c:pt idx="969">
                  <c:v>6.4808984991068144</c:v>
                </c:pt>
                <c:pt idx="970">
                  <c:v>6.590027147563859</c:v>
                </c:pt>
                <c:pt idx="971">
                  <c:v>6.5692571163184823</c:v>
                </c:pt>
                <c:pt idx="972">
                  <c:v>6.3559012487658038</c:v>
                </c:pt>
                <c:pt idx="973">
                  <c:v>6.3981616309895628</c:v>
                </c:pt>
                <c:pt idx="974">
                  <c:v>6.3252507280803911</c:v>
                </c:pt>
                <c:pt idx="975">
                  <c:v>6.1635658908125208</c:v>
                </c:pt>
                <c:pt idx="976">
                  <c:v>6.0574164677193778</c:v>
                </c:pt>
                <c:pt idx="977">
                  <c:v>6.2565540577000149</c:v>
                </c:pt>
                <c:pt idx="978">
                  <c:v>6.0353585484467658</c:v>
                </c:pt>
                <c:pt idx="979">
                  <c:v>5.9647719271606547</c:v>
                </c:pt>
                <c:pt idx="980">
                  <c:v>5.9863862778936721</c:v>
                </c:pt>
                <c:pt idx="981">
                  <c:v>5.7765544538551694</c:v>
                </c:pt>
                <c:pt idx="982">
                  <c:v>5.8911157253492661</c:v>
                </c:pt>
                <c:pt idx="983">
                  <c:v>5.3598803765548269</c:v>
                </c:pt>
                <c:pt idx="984">
                  <c:v>5.3948042340215068</c:v>
                </c:pt>
                <c:pt idx="985">
                  <c:v>5.0262697291613563</c:v>
                </c:pt>
                <c:pt idx="986">
                  <c:v>4.7759326586769362</c:v>
                </c:pt>
                <c:pt idx="987">
                  <c:v>5.3268219888227293</c:v>
                </c:pt>
                <c:pt idx="988">
                  <c:v>4.8684587919532021</c:v>
                </c:pt>
                <c:pt idx="989">
                  <c:v>5.1408679162696274</c:v>
                </c:pt>
                <c:pt idx="990">
                  <c:v>5.3693566400884833</c:v>
                </c:pt>
                <c:pt idx="991">
                  <c:v>5.2196582582796509</c:v>
                </c:pt>
                <c:pt idx="992">
                  <c:v>5.0639556092864666</c:v>
                </c:pt>
                <c:pt idx="993">
                  <c:v>5.464212010359546</c:v>
                </c:pt>
                <c:pt idx="994">
                  <c:v>5.1012445039118859</c:v>
                </c:pt>
                <c:pt idx="995">
                  <c:v>4.840090655990565</c:v>
                </c:pt>
                <c:pt idx="996">
                  <c:v>4.840090655990565</c:v>
                </c:pt>
                <c:pt idx="997">
                  <c:v>4.8400948499241565</c:v>
                </c:pt>
                <c:pt idx="998">
                  <c:v>4.9755775105332702</c:v>
                </c:pt>
                <c:pt idx="999">
                  <c:v>5.3129779263436774</c:v>
                </c:pt>
                <c:pt idx="1000">
                  <c:v>5.3507239196516139</c:v>
                </c:pt>
                <c:pt idx="1001">
                  <c:v>5.6797832239220725</c:v>
                </c:pt>
                <c:pt idx="1002">
                  <c:v>5.5280616476668456</c:v>
                </c:pt>
                <c:pt idx="1003">
                  <c:v>5.3049794288903342</c:v>
                </c:pt>
                <c:pt idx="1004">
                  <c:v>5.4845337971682113</c:v>
                </c:pt>
                <c:pt idx="1005">
                  <c:v>5.4861059704331296</c:v>
                </c:pt>
                <c:pt idx="1006">
                  <c:v>5.7787675447711138</c:v>
                </c:pt>
                <c:pt idx="1007">
                  <c:v>5.9089937875862404</c:v>
                </c:pt>
                <c:pt idx="1008">
                  <c:v>6.2551106797374985</c:v>
                </c:pt>
                <c:pt idx="1009">
                  <c:v>6.1252996862603197</c:v>
                </c:pt>
                <c:pt idx="1010">
                  <c:v>5.6135310471091486</c:v>
                </c:pt>
                <c:pt idx="1011">
                  <c:v>6.2347255622129865</c:v>
                </c:pt>
                <c:pt idx="1012">
                  <c:v>6.3267785604545281</c:v>
                </c:pt>
                <c:pt idx="1013">
                  <c:v>6.0949268558731262</c:v>
                </c:pt>
                <c:pt idx="1014">
                  <c:v>6.0977015314927598</c:v>
                </c:pt>
                <c:pt idx="1015">
                  <c:v>6.5700169153006129</c:v>
                </c:pt>
                <c:pt idx="1016">
                  <c:v>6.286359182912804</c:v>
                </c:pt>
                <c:pt idx="1017">
                  <c:v>6.6693359874059865</c:v>
                </c:pt>
                <c:pt idx="1018">
                  <c:v>6.4856606797365544</c:v>
                </c:pt>
                <c:pt idx="1019">
                  <c:v>6.3131235742757781</c:v>
                </c:pt>
                <c:pt idx="1020">
                  <c:v>6.3782782677186276</c:v>
                </c:pt>
                <c:pt idx="1021">
                  <c:v>6.2681948067481983</c:v>
                </c:pt>
                <c:pt idx="1022">
                  <c:v>6.2091499448908962</c:v>
                </c:pt>
                <c:pt idx="1023">
                  <c:v>6.0631539454997778</c:v>
                </c:pt>
                <c:pt idx="1024">
                  <c:v>6.0052828721156573</c:v>
                </c:pt>
                <c:pt idx="1025">
                  <c:v>6.005911079221562</c:v>
                </c:pt>
                <c:pt idx="1026">
                  <c:v>6.2879974650944916</c:v>
                </c:pt>
                <c:pt idx="1027">
                  <c:v>6.5586197704552376</c:v>
                </c:pt>
                <c:pt idx="1028">
                  <c:v>6.3302083029415144</c:v>
                </c:pt>
                <c:pt idx="1029">
                  <c:v>6.4572302192098334</c:v>
                </c:pt>
                <c:pt idx="1030">
                  <c:v>6.1366534076121582</c:v>
                </c:pt>
                <c:pt idx="1031">
                  <c:v>5.9211901783305905</c:v>
                </c:pt>
                <c:pt idx="1032">
                  <c:v>5.4359153092433132</c:v>
                </c:pt>
                <c:pt idx="1033">
                  <c:v>6.1267981488729788</c:v>
                </c:pt>
                <c:pt idx="1034">
                  <c:v>6.2979503078182688</c:v>
                </c:pt>
                <c:pt idx="1035">
                  <c:v>6.7458905208989961</c:v>
                </c:pt>
                <c:pt idx="1036">
                  <c:v>6.5371542245302692</c:v>
                </c:pt>
                <c:pt idx="1037">
                  <c:v>6.6301107249335587</c:v>
                </c:pt>
                <c:pt idx="1038">
                  <c:v>6.689743817067523</c:v>
                </c:pt>
                <c:pt idx="1039">
                  <c:v>6.7368077674264271</c:v>
                </c:pt>
                <c:pt idx="1040">
                  <c:v>6.3433099927752039</c:v>
                </c:pt>
                <c:pt idx="1041">
                  <c:v>6.5797699659988496</c:v>
                </c:pt>
                <c:pt idx="1042">
                  <c:v>7.4680537101000368</c:v>
                </c:pt>
                <c:pt idx="1043">
                  <c:v>6.8647986362803408</c:v>
                </c:pt>
                <c:pt idx="1044">
                  <c:v>6.5947284886012199</c:v>
                </c:pt>
                <c:pt idx="1045">
                  <c:v>7.2231618187979905</c:v>
                </c:pt>
                <c:pt idx="1046">
                  <c:v>7.2320881216529642</c:v>
                </c:pt>
                <c:pt idx="1047">
                  <c:v>7.1856324549843862</c:v>
                </c:pt>
                <c:pt idx="1048">
                  <c:v>6.9575177868923106</c:v>
                </c:pt>
                <c:pt idx="1049">
                  <c:v>7.2574145429487373</c:v>
                </c:pt>
                <c:pt idx="1050">
                  <c:v>7.0247976379169188</c:v>
                </c:pt>
                <c:pt idx="1051">
                  <c:v>7.2280747476662839</c:v>
                </c:pt>
                <c:pt idx="1052">
                  <c:v>7.3521307098518776</c:v>
                </c:pt>
                <c:pt idx="1053">
                  <c:v>7.5488180668479572</c:v>
                </c:pt>
                <c:pt idx="1054">
                  <c:v>7.1605956238696251</c:v>
                </c:pt>
                <c:pt idx="1055">
                  <c:v>7.0970934068048166</c:v>
                </c:pt>
                <c:pt idx="1056">
                  <c:v>7.0169514702128311</c:v>
                </c:pt>
                <c:pt idx="1057">
                  <c:v>6.9770152396125127</c:v>
                </c:pt>
                <c:pt idx="1058">
                  <c:v>7.1386395849037001</c:v>
                </c:pt>
                <c:pt idx="1059">
                  <c:v>7.0220652540232606</c:v>
                </c:pt>
                <c:pt idx="1060">
                  <c:v>7.3330489930311273</c:v>
                </c:pt>
                <c:pt idx="1061">
                  <c:v>7.2168710016624118</c:v>
                </c:pt>
                <c:pt idx="1062">
                  <c:v>7.5979187050854478</c:v>
                </c:pt>
                <c:pt idx="1063">
                  <c:v>7.2833467202206634</c:v>
                </c:pt>
                <c:pt idx="1064">
                  <c:v>7.1944105343116291</c:v>
                </c:pt>
                <c:pt idx="1065">
                  <c:v>6.7535548429304981</c:v>
                </c:pt>
                <c:pt idx="1066">
                  <c:v>7.0278142330751621</c:v>
                </c:pt>
                <c:pt idx="1067">
                  <c:v>7.1237143896940722</c:v>
                </c:pt>
                <c:pt idx="1068">
                  <c:v>7.0355579405899107</c:v>
                </c:pt>
                <c:pt idx="1069">
                  <c:v>7.4095378753175112</c:v>
                </c:pt>
                <c:pt idx="1070">
                  <c:v>7.6099016755003106</c:v>
                </c:pt>
                <c:pt idx="1071">
                  <c:v>7.5567770954116043</c:v>
                </c:pt>
                <c:pt idx="1072">
                  <c:v>7.3600271605522778</c:v>
                </c:pt>
                <c:pt idx="1073">
                  <c:v>7.4882438265805717</c:v>
                </c:pt>
                <c:pt idx="1074">
                  <c:v>7.4463670114872968</c:v>
                </c:pt>
                <c:pt idx="1075">
                  <c:v>7.6261714532339226</c:v>
                </c:pt>
                <c:pt idx="1076">
                  <c:v>7.3294132894512529</c:v>
                </c:pt>
                <c:pt idx="1077">
                  <c:v>7.4917637300688966</c:v>
                </c:pt>
                <c:pt idx="1078">
                  <c:v>7.5207880646687499</c:v>
                </c:pt>
                <c:pt idx="1079">
                  <c:v>7.2158014871460523</c:v>
                </c:pt>
                <c:pt idx="1080">
                  <c:v>7.5979987698709124</c:v>
                </c:pt>
                <c:pt idx="1081">
                  <c:v>8.5704727509990448</c:v>
                </c:pt>
                <c:pt idx="1082">
                  <c:v>7.7608958799891639</c:v>
                </c:pt>
                <c:pt idx="1083">
                  <c:v>7.7602510269225888</c:v>
                </c:pt>
                <c:pt idx="1084">
                  <c:v>8.1243124321558753</c:v>
                </c:pt>
                <c:pt idx="1085">
                  <c:v>7.7361217848850288</c:v>
                </c:pt>
                <c:pt idx="1086">
                  <c:v>8.0401067571211229</c:v>
                </c:pt>
                <c:pt idx="1087">
                  <c:v>7.4461078984363098</c:v>
                </c:pt>
                <c:pt idx="1088">
                  <c:v>7.1814869670108408</c:v>
                </c:pt>
                <c:pt idx="1089">
                  <c:v>7.3987077538706103</c:v>
                </c:pt>
                <c:pt idx="1090">
                  <c:v>7.6900468046461015</c:v>
                </c:pt>
                <c:pt idx="1091">
                  <c:v>7.6475371586736856</c:v>
                </c:pt>
                <c:pt idx="1092">
                  <c:v>7.6605788585322898</c:v>
                </c:pt>
                <c:pt idx="1093">
                  <c:v>7.5605476932828708</c:v>
                </c:pt>
                <c:pt idx="1094">
                  <c:v>7.122232921718421</c:v>
                </c:pt>
                <c:pt idx="1095">
                  <c:v>6.4354233010081145</c:v>
                </c:pt>
                <c:pt idx="1096">
                  <c:v>6.3601990656639487</c:v>
                </c:pt>
                <c:pt idx="1097">
                  <c:v>6.5085837667434703</c:v>
                </c:pt>
                <c:pt idx="1098">
                  <c:v>6.7791929851483133</c:v>
                </c:pt>
                <c:pt idx="1099">
                  <c:v>6.4828209386319031</c:v>
                </c:pt>
                <c:pt idx="1100">
                  <c:v>6.5705876918679564</c:v>
                </c:pt>
                <c:pt idx="1101">
                  <c:v>6.5520190855114038</c:v>
                </c:pt>
                <c:pt idx="1102">
                  <c:v>6.3535646968168749</c:v>
                </c:pt>
                <c:pt idx="1103">
                  <c:v>6.1189932802507769</c:v>
                </c:pt>
                <c:pt idx="1104">
                  <c:v>6.0512387602854005</c:v>
                </c:pt>
                <c:pt idx="1105">
                  <c:v>5.6776840089823111</c:v>
                </c:pt>
                <c:pt idx="1106">
                  <c:v>5.7098921422403635</c:v>
                </c:pt>
                <c:pt idx="1107">
                  <c:v>5.904135053822074</c:v>
                </c:pt>
                <c:pt idx="1108">
                  <c:v>6.1499289910540824</c:v>
                </c:pt>
                <c:pt idx="1109">
                  <c:v>5.8080905184004905</c:v>
                </c:pt>
                <c:pt idx="1110">
                  <c:v>6.0140146302190658</c:v>
                </c:pt>
                <c:pt idx="1111">
                  <c:v>6.0280952441568729</c:v>
                </c:pt>
                <c:pt idx="1112">
                  <c:v>6.5950569487691268</c:v>
                </c:pt>
                <c:pt idx="1113">
                  <c:v>6.2480993224974384</c:v>
                </c:pt>
                <c:pt idx="1114">
                  <c:v>6.2434760206979547</c:v>
                </c:pt>
                <c:pt idx="1115">
                  <c:v>6.698349216165326</c:v>
                </c:pt>
                <c:pt idx="1116">
                  <c:v>6.4936696479901457</c:v>
                </c:pt>
                <c:pt idx="1117">
                  <c:v>6.5228658561817667</c:v>
                </c:pt>
                <c:pt idx="1118">
                  <c:v>6.6940418220242464</c:v>
                </c:pt>
                <c:pt idx="1119">
                  <c:v>6.6959067807836732</c:v>
                </c:pt>
                <c:pt idx="1120">
                  <c:v>6.6915079423551447</c:v>
                </c:pt>
                <c:pt idx="1121">
                  <c:v>6.674627295119592</c:v>
                </c:pt>
                <c:pt idx="1122">
                  <c:v>6.0494584613506959</c:v>
                </c:pt>
                <c:pt idx="1123">
                  <c:v>6.0686829087139813</c:v>
                </c:pt>
                <c:pt idx="1124">
                  <c:v>6.5049079880833176</c:v>
                </c:pt>
                <c:pt idx="1125">
                  <c:v>6.415359512076634</c:v>
                </c:pt>
                <c:pt idx="1126">
                  <c:v>6.2721988572409373</c:v>
                </c:pt>
                <c:pt idx="1127">
                  <c:v>6.3745470828870054</c:v>
                </c:pt>
                <c:pt idx="1128">
                  <c:v>6.2271684015780409</c:v>
                </c:pt>
                <c:pt idx="1129">
                  <c:v>6.4283617623196676</c:v>
                </c:pt>
                <c:pt idx="1130">
                  <c:v>6.0738528074952001</c:v>
                </c:pt>
                <c:pt idx="1131">
                  <c:v>6.2758220690565452</c:v>
                </c:pt>
                <c:pt idx="1132">
                  <c:v>6.6341801394683273</c:v>
                </c:pt>
                <c:pt idx="1133">
                  <c:v>6.8853808023399097</c:v>
                </c:pt>
                <c:pt idx="1134">
                  <c:v>7.1663393300808593</c:v>
                </c:pt>
                <c:pt idx="1135">
                  <c:v>7.1602014324098775</c:v>
                </c:pt>
                <c:pt idx="1136">
                  <c:v>6.6177273927008571</c:v>
                </c:pt>
                <c:pt idx="1137">
                  <c:v>6.9897511598706501</c:v>
                </c:pt>
                <c:pt idx="1138">
                  <c:v>7.3730446785183403</c:v>
                </c:pt>
                <c:pt idx="1139">
                  <c:v>7.2967628415801187</c:v>
                </c:pt>
                <c:pt idx="1140">
                  <c:v>7.5550108098411783</c:v>
                </c:pt>
                <c:pt idx="1141">
                  <c:v>7.9866459190391481</c:v>
                </c:pt>
                <c:pt idx="1142">
                  <c:v>8.3701585232656726</c:v>
                </c:pt>
                <c:pt idx="1143">
                  <c:v>8.5119967991579415</c:v>
                </c:pt>
                <c:pt idx="1144">
                  <c:v>9.0408845037483445</c:v>
                </c:pt>
                <c:pt idx="1145">
                  <c:v>8.9225415853650247</c:v>
                </c:pt>
                <c:pt idx="1146">
                  <c:v>9.2521630417437564</c:v>
                </c:pt>
                <c:pt idx="1147">
                  <c:v>9.0468115392418724</c:v>
                </c:pt>
                <c:pt idx="1148">
                  <c:v>9.0291106865334996</c:v>
                </c:pt>
                <c:pt idx="1149">
                  <c:v>8.9589820112708196</c:v>
                </c:pt>
                <c:pt idx="1150">
                  <c:v>9.3204129219460867</c:v>
                </c:pt>
                <c:pt idx="1151">
                  <c:v>8.5799020652764568</c:v>
                </c:pt>
                <c:pt idx="1152">
                  <c:v>8.2567682399493947</c:v>
                </c:pt>
                <c:pt idx="1153">
                  <c:v>7.9075281919340057</c:v>
                </c:pt>
                <c:pt idx="1154">
                  <c:v>7.9140127759190477</c:v>
                </c:pt>
                <c:pt idx="1155">
                  <c:v>7.7230450714112351</c:v>
                </c:pt>
                <c:pt idx="1156">
                  <c:v>7.4711682218105295</c:v>
                </c:pt>
                <c:pt idx="1157">
                  <c:v>7.8233449705222142</c:v>
                </c:pt>
                <c:pt idx="1158">
                  <c:v>7.5627203006127388</c:v>
                </c:pt>
                <c:pt idx="1159">
                  <c:v>7.6100968702944556</c:v>
                </c:pt>
                <c:pt idx="1160">
                  <c:v>8.3575500789456214</c:v>
                </c:pt>
                <c:pt idx="1161">
                  <c:v>7.6431154473604579</c:v>
                </c:pt>
                <c:pt idx="1162">
                  <c:v>7.8867327377380434</c:v>
                </c:pt>
                <c:pt idx="1163">
                  <c:v>8.1108435907559624</c:v>
                </c:pt>
                <c:pt idx="1164">
                  <c:v>8.155029787303107</c:v>
                </c:pt>
                <c:pt idx="1165">
                  <c:v>8.0358009273262212</c:v>
                </c:pt>
                <c:pt idx="1166">
                  <c:v>8.2319775151044325</c:v>
                </c:pt>
                <c:pt idx="1167">
                  <c:v>8.4182830801111663</c:v>
                </c:pt>
                <c:pt idx="1168">
                  <c:v>8.2805809388244143</c:v>
                </c:pt>
                <c:pt idx="1169">
                  <c:v>8.279509624644561</c:v>
                </c:pt>
                <c:pt idx="1170">
                  <c:v>8.1435660036341346</c:v>
                </c:pt>
                <c:pt idx="1171">
                  <c:v>8.7562878141947351</c:v>
                </c:pt>
                <c:pt idx="1172">
                  <c:v>8.9119345883671315</c:v>
                </c:pt>
                <c:pt idx="1173">
                  <c:v>8.7045138334184742</c:v>
                </c:pt>
                <c:pt idx="1174">
                  <c:v>8.9693399910318306</c:v>
                </c:pt>
                <c:pt idx="1175">
                  <c:v>8.9693399910318306</c:v>
                </c:pt>
                <c:pt idx="1176">
                  <c:v>8.9693418672652854</c:v>
                </c:pt>
                <c:pt idx="1177">
                  <c:v>8.7236685687566364</c:v>
                </c:pt>
                <c:pt idx="1178">
                  <c:v>9.047361448289422</c:v>
                </c:pt>
                <c:pt idx="1179">
                  <c:v>8.9689178457386447</c:v>
                </c:pt>
                <c:pt idx="1180">
                  <c:v>8.9689178457386447</c:v>
                </c:pt>
                <c:pt idx="1181">
                  <c:v>8.8968755755216478</c:v>
                </c:pt>
                <c:pt idx="1182">
                  <c:v>9.5917100048353632</c:v>
                </c:pt>
                <c:pt idx="1183">
                  <c:v>9.5108906393396921</c:v>
                </c:pt>
                <c:pt idx="1184">
                  <c:v>9.383092739526802</c:v>
                </c:pt>
                <c:pt idx="1185">
                  <c:v>9.0709721572572164</c:v>
                </c:pt>
                <c:pt idx="1186">
                  <c:v>10.374615575147089</c:v>
                </c:pt>
                <c:pt idx="1187">
                  <c:v>9.9776299305744374</c:v>
                </c:pt>
                <c:pt idx="1188">
                  <c:v>9.8773193146198537</c:v>
                </c:pt>
                <c:pt idx="1189">
                  <c:v>10.041505269541233</c:v>
                </c:pt>
                <c:pt idx="1190">
                  <c:v>10.013461708119877</c:v>
                </c:pt>
                <c:pt idx="1191">
                  <c:v>10.052442496904888</c:v>
                </c:pt>
                <c:pt idx="1192">
                  <c:v>10.095284354868141</c:v>
                </c:pt>
                <c:pt idx="1193">
                  <c:v>9.8627471103612834</c:v>
                </c:pt>
                <c:pt idx="1194">
                  <c:v>9.904940968251509</c:v>
                </c:pt>
                <c:pt idx="1195">
                  <c:v>9.574398765903652</c:v>
                </c:pt>
                <c:pt idx="1196">
                  <c:v>9.7988028238442269</c:v>
                </c:pt>
                <c:pt idx="1197">
                  <c:v>10.114177928741469</c:v>
                </c:pt>
                <c:pt idx="1198">
                  <c:v>10.498441656499011</c:v>
                </c:pt>
                <c:pt idx="1199">
                  <c:v>11.009643530769324</c:v>
                </c:pt>
                <c:pt idx="1200">
                  <c:v>10.849081217748505</c:v>
                </c:pt>
                <c:pt idx="1201">
                  <c:v>10.878338678293261</c:v>
                </c:pt>
                <c:pt idx="1202">
                  <c:v>10.402803764719977</c:v>
                </c:pt>
                <c:pt idx="1203">
                  <c:v>10.018514017450343</c:v>
                </c:pt>
                <c:pt idx="1204">
                  <c:v>9.884442658366595</c:v>
                </c:pt>
                <c:pt idx="1205">
                  <c:v>10.265321879691044</c:v>
                </c:pt>
                <c:pt idx="1206">
                  <c:v>10.248947482570969</c:v>
                </c:pt>
                <c:pt idx="1207">
                  <c:v>10.524574252945712</c:v>
                </c:pt>
                <c:pt idx="1208">
                  <c:v>10.499860774133197</c:v>
                </c:pt>
                <c:pt idx="1209">
                  <c:v>10.52064730275751</c:v>
                </c:pt>
                <c:pt idx="1210">
                  <c:v>10.283401342757799</c:v>
                </c:pt>
                <c:pt idx="1211">
                  <c:v>9.7929030882825145</c:v>
                </c:pt>
                <c:pt idx="1212">
                  <c:v>9.9884715004279201</c:v>
                </c:pt>
                <c:pt idx="1213">
                  <c:v>9.9426346117623154</c:v>
                </c:pt>
                <c:pt idx="1214">
                  <c:v>9.753767991245951</c:v>
                </c:pt>
                <c:pt idx="1215">
                  <c:v>9.5862294060092665</c:v>
                </c:pt>
                <c:pt idx="1216">
                  <c:v>9.4239990263831999</c:v>
                </c:pt>
                <c:pt idx="1217">
                  <c:v>9.5341807753786156</c:v>
                </c:pt>
                <c:pt idx="1218">
                  <c:v>9.6116631216495705</c:v>
                </c:pt>
                <c:pt idx="1219">
                  <c:v>10.06271745387636</c:v>
                </c:pt>
                <c:pt idx="1220">
                  <c:v>9.8984745176717013</c:v>
                </c:pt>
                <c:pt idx="1221">
                  <c:v>9.5624624989127653</c:v>
                </c:pt>
                <c:pt idx="1222">
                  <c:v>9.6740904795174743</c:v>
                </c:pt>
                <c:pt idx="1223">
                  <c:v>10.023942047965619</c:v>
                </c:pt>
                <c:pt idx="1224">
                  <c:v>9.5182558170324114</c:v>
                </c:pt>
                <c:pt idx="1225">
                  <c:v>9.5928401241886263</c:v>
                </c:pt>
                <c:pt idx="1226">
                  <c:v>9.5800811188895239</c:v>
                </c:pt>
                <c:pt idx="1227">
                  <c:v>9.5169296370223435</c:v>
                </c:pt>
                <c:pt idx="1228">
                  <c:v>9.6389018854340236</c:v>
                </c:pt>
                <c:pt idx="1229">
                  <c:v>9.2513429569715697</c:v>
                </c:pt>
                <c:pt idx="1230">
                  <c:v>9.4042971436707603</c:v>
                </c:pt>
                <c:pt idx="1231">
                  <c:v>9.1819756848401539</c:v>
                </c:pt>
                <c:pt idx="1232">
                  <c:v>8.8484400996957504</c:v>
                </c:pt>
                <c:pt idx="1233">
                  <c:v>9.1654324710952437</c:v>
                </c:pt>
                <c:pt idx="1234">
                  <c:v>9.3796018711688021</c:v>
                </c:pt>
                <c:pt idx="1235">
                  <c:v>9.619607495299249</c:v>
                </c:pt>
                <c:pt idx="1236">
                  <c:v>9.230039847326168</c:v>
                </c:pt>
                <c:pt idx="1237">
                  <c:v>9.692309582386855</c:v>
                </c:pt>
                <c:pt idx="1238">
                  <c:v>9.2334887152265424</c:v>
                </c:pt>
                <c:pt idx="1239">
                  <c:v>9.402267690658249</c:v>
                </c:pt>
                <c:pt idx="1240">
                  <c:v>8.9979407189267135</c:v>
                </c:pt>
                <c:pt idx="1241">
                  <c:v>8.9926453994885094</c:v>
                </c:pt>
                <c:pt idx="1242">
                  <c:v>8.8230318323274162</c:v>
                </c:pt>
                <c:pt idx="1243">
                  <c:v>8.7661211793352436</c:v>
                </c:pt>
                <c:pt idx="1244">
                  <c:v>8.7179108083105064</c:v>
                </c:pt>
                <c:pt idx="1245">
                  <c:v>8.8795888289269556</c:v>
                </c:pt>
                <c:pt idx="1246">
                  <c:v>8.8795888289269556</c:v>
                </c:pt>
                <c:pt idx="1247">
                  <c:v>8.8795935746939278</c:v>
                </c:pt>
                <c:pt idx="1248">
                  <c:v>9.364683205931243</c:v>
                </c:pt>
                <c:pt idx="1249">
                  <c:v>9.6855821990188531</c:v>
                </c:pt>
                <c:pt idx="1250">
                  <c:v>9.9314997712961315</c:v>
                </c:pt>
                <c:pt idx="1251">
                  <c:v>10.233705647358903</c:v>
                </c:pt>
                <c:pt idx="1252">
                  <c:v>10.477926112839555</c:v>
                </c:pt>
                <c:pt idx="1253">
                  <c:v>11.298448367157562</c:v>
                </c:pt>
                <c:pt idx="1254">
                  <c:v>10.946655170559495</c:v>
                </c:pt>
                <c:pt idx="1255">
                  <c:v>11.398005515211906</c:v>
                </c:pt>
                <c:pt idx="1256">
                  <c:v>11.58222059871386</c:v>
                </c:pt>
                <c:pt idx="1257">
                  <c:v>11.423850812504867</c:v>
                </c:pt>
                <c:pt idx="1258">
                  <c:v>12.025391951967407</c:v>
                </c:pt>
                <c:pt idx="1259">
                  <c:v>11.60559847800684</c:v>
                </c:pt>
                <c:pt idx="1260">
                  <c:v>11.838061423222172</c:v>
                </c:pt>
                <c:pt idx="1261">
                  <c:v>12.023019627840284</c:v>
                </c:pt>
                <c:pt idx="1262">
                  <c:v>11.74626299994361</c:v>
                </c:pt>
                <c:pt idx="1263">
                  <c:v>11.582584288118852</c:v>
                </c:pt>
                <c:pt idx="1264">
                  <c:v>11.471990371905292</c:v>
                </c:pt>
                <c:pt idx="1265">
                  <c:v>11.443771660991501</c:v>
                </c:pt>
                <c:pt idx="1266">
                  <c:v>11.454468288626515</c:v>
                </c:pt>
                <c:pt idx="1267">
                  <c:v>12.014720210300453</c:v>
                </c:pt>
                <c:pt idx="1268">
                  <c:v>12.044402141819489</c:v>
                </c:pt>
                <c:pt idx="1269">
                  <c:v>11.450819461003192</c:v>
                </c:pt>
                <c:pt idx="1270">
                  <c:v>11.306198535785171</c:v>
                </c:pt>
                <c:pt idx="1271">
                  <c:v>11.127626772990425</c:v>
                </c:pt>
                <c:pt idx="1272">
                  <c:v>11.50960650182904</c:v>
                </c:pt>
                <c:pt idx="1273">
                  <c:v>11.991743470373564</c:v>
                </c:pt>
                <c:pt idx="1274">
                  <c:v>12.17632606753358</c:v>
                </c:pt>
                <c:pt idx="1275">
                  <c:v>10.074352706432762</c:v>
                </c:pt>
                <c:pt idx="1276">
                  <c:v>12.194101399444577</c:v>
                </c:pt>
                <c:pt idx="1277">
                  <c:v>12.206282871595221</c:v>
                </c:pt>
                <c:pt idx="1278">
                  <c:v>11.606147910390064</c:v>
                </c:pt>
                <c:pt idx="1279">
                  <c:v>11.390355767301173</c:v>
                </c:pt>
                <c:pt idx="1280">
                  <c:v>11.545531629417667</c:v>
                </c:pt>
                <c:pt idx="1281">
                  <c:v>11.556820057212747</c:v>
                </c:pt>
                <c:pt idx="1282">
                  <c:v>12.602108451223785</c:v>
                </c:pt>
                <c:pt idx="1283">
                  <c:v>11.526920144116957</c:v>
                </c:pt>
                <c:pt idx="1284">
                  <c:v>11.279641491671896</c:v>
                </c:pt>
                <c:pt idx="1285">
                  <c:v>11.8474609737506</c:v>
                </c:pt>
                <c:pt idx="1286">
                  <c:v>12.522882910661934</c:v>
                </c:pt>
                <c:pt idx="1287">
                  <c:v>12.658976127131268</c:v>
                </c:pt>
                <c:pt idx="1288">
                  <c:v>12.742079311730805</c:v>
                </c:pt>
                <c:pt idx="1289">
                  <c:v>12.568457039210301</c:v>
                </c:pt>
                <c:pt idx="1290">
                  <c:v>12.39752057587566</c:v>
                </c:pt>
                <c:pt idx="1291">
                  <c:v>12.338132811419939</c:v>
                </c:pt>
                <c:pt idx="1292">
                  <c:v>12.358146617998472</c:v>
                </c:pt>
                <c:pt idx="1293">
                  <c:v>12.033118392007566</c:v>
                </c:pt>
                <c:pt idx="1294">
                  <c:v>11.875569051158124</c:v>
                </c:pt>
                <c:pt idx="1295">
                  <c:v>11.710124506831619</c:v>
                </c:pt>
                <c:pt idx="1296">
                  <c:v>11.848579033584741</c:v>
                </c:pt>
                <c:pt idx="1297">
                  <c:v>11.878054886250055</c:v>
                </c:pt>
                <c:pt idx="1298">
                  <c:v>11.941811153439232</c:v>
                </c:pt>
                <c:pt idx="1299">
                  <c:v>11.990972768553888</c:v>
                </c:pt>
                <c:pt idx="1300">
                  <c:v>12.191904907942586</c:v>
                </c:pt>
                <c:pt idx="1301">
                  <c:v>12.009890808710395</c:v>
                </c:pt>
                <c:pt idx="1302">
                  <c:v>11.340009424373648</c:v>
                </c:pt>
                <c:pt idx="1303">
                  <c:v>9.8400213719523322</c:v>
                </c:pt>
                <c:pt idx="1304">
                  <c:v>11.643437794700702</c:v>
                </c:pt>
                <c:pt idx="1305">
                  <c:v>11.55767357041438</c:v>
                </c:pt>
                <c:pt idx="1306">
                  <c:v>11.58825017004952</c:v>
                </c:pt>
                <c:pt idx="1307">
                  <c:v>12.365753056907749</c:v>
                </c:pt>
                <c:pt idx="1308">
                  <c:v>12.309820804873823</c:v>
                </c:pt>
                <c:pt idx="1309">
                  <c:v>11.835339619403271</c:v>
                </c:pt>
                <c:pt idx="1310">
                  <c:v>12.189507958459302</c:v>
                </c:pt>
                <c:pt idx="1311">
                  <c:v>12.090885467205936</c:v>
                </c:pt>
                <c:pt idx="1312">
                  <c:v>12.39250043035193</c:v>
                </c:pt>
                <c:pt idx="1313">
                  <c:v>12.493658967172252</c:v>
                </c:pt>
                <c:pt idx="1314">
                  <c:v>12.685520580960315</c:v>
                </c:pt>
                <c:pt idx="1315">
                  <c:v>12.629543027154767</c:v>
                </c:pt>
                <c:pt idx="1316">
                  <c:v>12.357398874498188</c:v>
                </c:pt>
                <c:pt idx="1317">
                  <c:v>12.252122162637733</c:v>
                </c:pt>
                <c:pt idx="1318">
                  <c:v>12.303443244835904</c:v>
                </c:pt>
                <c:pt idx="1319">
                  <c:v>12.590746793938507</c:v>
                </c:pt>
                <c:pt idx="1320">
                  <c:v>12.426385115701692</c:v>
                </c:pt>
                <c:pt idx="1321">
                  <c:v>12.566919714169785</c:v>
                </c:pt>
                <c:pt idx="1322">
                  <c:v>12.845777587283635</c:v>
                </c:pt>
                <c:pt idx="1323">
                  <c:v>12.801326564328093</c:v>
                </c:pt>
                <c:pt idx="1324">
                  <c:v>12.619294465340062</c:v>
                </c:pt>
                <c:pt idx="1325">
                  <c:v>12.609252063568817</c:v>
                </c:pt>
                <c:pt idx="1326">
                  <c:v>12.946992957472133</c:v>
                </c:pt>
                <c:pt idx="1327">
                  <c:v>13.089343660228735</c:v>
                </c:pt>
                <c:pt idx="1328">
                  <c:v>12.839810050445806</c:v>
                </c:pt>
                <c:pt idx="1329">
                  <c:v>13.092097308869569</c:v>
                </c:pt>
                <c:pt idx="1330">
                  <c:v>13.023774244806788</c:v>
                </c:pt>
                <c:pt idx="1331">
                  <c:v>12.924810499804721</c:v>
                </c:pt>
                <c:pt idx="1332">
                  <c:v>12.984509169479423</c:v>
                </c:pt>
                <c:pt idx="1333">
                  <c:v>13.386993289607886</c:v>
                </c:pt>
                <c:pt idx="1334">
                  <c:v>12.886825507892496</c:v>
                </c:pt>
                <c:pt idx="1335">
                  <c:v>12.548195537536287</c:v>
                </c:pt>
                <c:pt idx="1336">
                  <c:v>12.481086509079404</c:v>
                </c:pt>
                <c:pt idx="1337">
                  <c:v>12.369956492006111</c:v>
                </c:pt>
                <c:pt idx="1338">
                  <c:v>12.677503791491375</c:v>
                </c:pt>
                <c:pt idx="1339">
                  <c:v>13.235131348813809</c:v>
                </c:pt>
                <c:pt idx="1340">
                  <c:v>13.413417261732093</c:v>
                </c:pt>
                <c:pt idx="1341">
                  <c:v>13.752237427635748</c:v>
                </c:pt>
                <c:pt idx="1342">
                  <c:v>13.652599319238988</c:v>
                </c:pt>
                <c:pt idx="1343">
                  <c:v>13.696628824114725</c:v>
                </c:pt>
                <c:pt idx="1344">
                  <c:v>13.572539805622938</c:v>
                </c:pt>
                <c:pt idx="1345">
                  <c:v>13.537258480622341</c:v>
                </c:pt>
                <c:pt idx="1346">
                  <c:v>13.266288847830936</c:v>
                </c:pt>
                <c:pt idx="1347">
                  <c:v>12.928208909008362</c:v>
                </c:pt>
                <c:pt idx="1348">
                  <c:v>12.842422566202799</c:v>
                </c:pt>
                <c:pt idx="1349">
                  <c:v>13.009179210611109</c:v>
                </c:pt>
                <c:pt idx="1350">
                  <c:v>12.963212872875232</c:v>
                </c:pt>
                <c:pt idx="1351">
                  <c:v>13.121367074923086</c:v>
                </c:pt>
                <c:pt idx="1352">
                  <c:v>13.09200509179297</c:v>
                </c:pt>
                <c:pt idx="1353">
                  <c:v>13.18677462678184</c:v>
                </c:pt>
                <c:pt idx="1354">
                  <c:v>12.9924748361056</c:v>
                </c:pt>
                <c:pt idx="1355">
                  <c:v>13.231508325492428</c:v>
                </c:pt>
                <c:pt idx="1356">
                  <c:v>13.40413769198571</c:v>
                </c:pt>
                <c:pt idx="1357">
                  <c:v>13.35609157396263</c:v>
                </c:pt>
                <c:pt idx="1358">
                  <c:v>13.51416994428908</c:v>
                </c:pt>
                <c:pt idx="1359">
                  <c:v>13.601789672294615</c:v>
                </c:pt>
                <c:pt idx="1360">
                  <c:v>13.599865497689422</c:v>
                </c:pt>
                <c:pt idx="1361">
                  <c:v>13.277679628370038</c:v>
                </c:pt>
                <c:pt idx="1362">
                  <c:v>13.228573052282286</c:v>
                </c:pt>
                <c:pt idx="1363">
                  <c:v>13.025494387885175</c:v>
                </c:pt>
                <c:pt idx="1364">
                  <c:v>13.171150028605751</c:v>
                </c:pt>
                <c:pt idx="1365">
                  <c:v>13.213806652124021</c:v>
                </c:pt>
                <c:pt idx="1366">
                  <c:v>14.160801235587343</c:v>
                </c:pt>
                <c:pt idx="1367">
                  <c:v>14.485518844571089</c:v>
                </c:pt>
                <c:pt idx="1368">
                  <c:v>14.444554926949991</c:v>
                </c:pt>
                <c:pt idx="1369">
                  <c:v>14.542024936416936</c:v>
                </c:pt>
                <c:pt idx="1370">
                  <c:v>14.17601900860322</c:v>
                </c:pt>
                <c:pt idx="1371">
                  <c:v>14.313243136616137</c:v>
                </c:pt>
                <c:pt idx="1372">
                  <c:v>14.316118384247943</c:v>
                </c:pt>
                <c:pt idx="1373">
                  <c:v>14.002171147568703</c:v>
                </c:pt>
                <c:pt idx="1374">
                  <c:v>14.227899115668976</c:v>
                </c:pt>
                <c:pt idx="1375">
                  <c:v>14.153786334401474</c:v>
                </c:pt>
                <c:pt idx="1376">
                  <c:v>14.401114219385022</c:v>
                </c:pt>
                <c:pt idx="1377">
                  <c:v>14.801105487201085</c:v>
                </c:pt>
                <c:pt idx="1378">
                  <c:v>14.803621121855599</c:v>
                </c:pt>
                <c:pt idx="1379">
                  <c:v>14.405816821139837</c:v>
                </c:pt>
                <c:pt idx="1380">
                  <c:v>14.69732698102203</c:v>
                </c:pt>
                <c:pt idx="1381">
                  <c:v>14.533456348308306</c:v>
                </c:pt>
                <c:pt idx="1382">
                  <c:v>14.20527967618267</c:v>
                </c:pt>
                <c:pt idx="1383">
                  <c:v>14.24051423983704</c:v>
                </c:pt>
                <c:pt idx="1384">
                  <c:v>14.196699418690912</c:v>
                </c:pt>
                <c:pt idx="1385">
                  <c:v>14.378069236233017</c:v>
                </c:pt>
                <c:pt idx="1386">
                  <c:v>14.32298044909993</c:v>
                </c:pt>
                <c:pt idx="1387">
                  <c:v>14.433013533091298</c:v>
                </c:pt>
                <c:pt idx="1388">
                  <c:v>14.601790463410566</c:v>
                </c:pt>
                <c:pt idx="1389">
                  <c:v>14.511786633569187</c:v>
                </c:pt>
                <c:pt idx="1390">
                  <c:v>14.435262904471529</c:v>
                </c:pt>
                <c:pt idx="1391">
                  <c:v>14.396228883846049</c:v>
                </c:pt>
                <c:pt idx="1392">
                  <c:v>14.61764319159829</c:v>
                </c:pt>
                <c:pt idx="1393">
                  <c:v>13.894338094512221</c:v>
                </c:pt>
                <c:pt idx="1394">
                  <c:v>14.164142447841328</c:v>
                </c:pt>
                <c:pt idx="1395">
                  <c:v>14.600453509477035</c:v>
                </c:pt>
                <c:pt idx="1396">
                  <c:v>14.620577696877405</c:v>
                </c:pt>
                <c:pt idx="1397">
                  <c:v>14.805776233059845</c:v>
                </c:pt>
                <c:pt idx="1398">
                  <c:v>15.077082544096498</c:v>
                </c:pt>
                <c:pt idx="1399">
                  <c:v>15.291910512643454</c:v>
                </c:pt>
                <c:pt idx="1400">
                  <c:v>15.007404800678131</c:v>
                </c:pt>
                <c:pt idx="1401">
                  <c:v>14.835589707510877</c:v>
                </c:pt>
                <c:pt idx="1402">
                  <c:v>14.786444082936185</c:v>
                </c:pt>
                <c:pt idx="1403">
                  <c:v>14.759261318923052</c:v>
                </c:pt>
                <c:pt idx="1404">
                  <c:v>14.838170977609138</c:v>
                </c:pt>
                <c:pt idx="1405">
                  <c:v>14.904521339198851</c:v>
                </c:pt>
                <c:pt idx="1406">
                  <c:v>15.056726830328046</c:v>
                </c:pt>
                <c:pt idx="1407">
                  <c:v>15.415131082275479</c:v>
                </c:pt>
                <c:pt idx="1408">
                  <c:v>15.637279773595566</c:v>
                </c:pt>
                <c:pt idx="1409">
                  <c:v>15.852493973761852</c:v>
                </c:pt>
                <c:pt idx="1410">
                  <c:v>15.849498662088877</c:v>
                </c:pt>
                <c:pt idx="1411">
                  <c:v>15.679748936032013</c:v>
                </c:pt>
                <c:pt idx="1412">
                  <c:v>15.651804348044294</c:v>
                </c:pt>
                <c:pt idx="1413">
                  <c:v>15.246527272473458</c:v>
                </c:pt>
                <c:pt idx="1414">
                  <c:v>15.360031791496141</c:v>
                </c:pt>
                <c:pt idx="1415">
                  <c:v>15.666872255341104</c:v>
                </c:pt>
                <c:pt idx="1416">
                  <c:v>15.8410963531216</c:v>
                </c:pt>
                <c:pt idx="1417">
                  <c:v>15.764863673972457</c:v>
                </c:pt>
                <c:pt idx="1418">
                  <c:v>15.911917358010527</c:v>
                </c:pt>
                <c:pt idx="1419">
                  <c:v>16.110859576232258</c:v>
                </c:pt>
                <c:pt idx="1420">
                  <c:v>16.562586809675309</c:v>
                </c:pt>
                <c:pt idx="1421">
                  <c:v>16.207691515243738</c:v>
                </c:pt>
                <c:pt idx="1422">
                  <c:v>16.094867070947259</c:v>
                </c:pt>
                <c:pt idx="1423">
                  <c:v>16.078742541565163</c:v>
                </c:pt>
                <c:pt idx="1424">
                  <c:v>16.066549544412169</c:v>
                </c:pt>
                <c:pt idx="1425">
                  <c:v>16.145609726929166</c:v>
                </c:pt>
                <c:pt idx="1426">
                  <c:v>16.071517355214041</c:v>
                </c:pt>
                <c:pt idx="1427">
                  <c:v>15.970008728169176</c:v>
                </c:pt>
                <c:pt idx="1428">
                  <c:v>16.155522300390487</c:v>
                </c:pt>
                <c:pt idx="1429">
                  <c:v>16.377216123833989</c:v>
                </c:pt>
                <c:pt idx="1430">
                  <c:v>16.060412243520858</c:v>
                </c:pt>
                <c:pt idx="1431">
                  <c:v>16.138199514951282</c:v>
                </c:pt>
                <c:pt idx="1432">
                  <c:v>16.023742501076356</c:v>
                </c:pt>
                <c:pt idx="1433">
                  <c:v>16.017537226164592</c:v>
                </c:pt>
                <c:pt idx="1434">
                  <c:v>16.583693002446495</c:v>
                </c:pt>
                <c:pt idx="1435">
                  <c:v>16.583693002446495</c:v>
                </c:pt>
                <c:pt idx="1436">
                  <c:v>16.583693002446495</c:v>
                </c:pt>
                <c:pt idx="1437">
                  <c:v>16.879523153454755</c:v>
                </c:pt>
                <c:pt idx="1438">
                  <c:v>16.967612971019491</c:v>
                </c:pt>
                <c:pt idx="1439">
                  <c:v>17.100603278090034</c:v>
                </c:pt>
                <c:pt idx="1440">
                  <c:v>17.151685681680561</c:v>
                </c:pt>
                <c:pt idx="1441">
                  <c:v>17.151685681680561</c:v>
                </c:pt>
                <c:pt idx="1442">
                  <c:v>17.141824705274558</c:v>
                </c:pt>
                <c:pt idx="1443">
                  <c:v>17.379207615666672</c:v>
                </c:pt>
                <c:pt idx="1444">
                  <c:v>17.362721479355201</c:v>
                </c:pt>
                <c:pt idx="1445">
                  <c:v>17.445891291300825</c:v>
                </c:pt>
                <c:pt idx="1446">
                  <c:v>17.506882804322572</c:v>
                </c:pt>
                <c:pt idx="1447">
                  <c:v>17.023589219458103</c:v>
                </c:pt>
                <c:pt idx="1448">
                  <c:v>17.110651378214612</c:v>
                </c:pt>
                <c:pt idx="1449">
                  <c:v>17.222307019330117</c:v>
                </c:pt>
                <c:pt idx="1450">
                  <c:v>16.949428721868429</c:v>
                </c:pt>
                <c:pt idx="1451">
                  <c:v>16.365370531296492</c:v>
                </c:pt>
                <c:pt idx="1452">
                  <c:v>16.015682185131311</c:v>
                </c:pt>
                <c:pt idx="1453">
                  <c:v>16.522091703148959</c:v>
                </c:pt>
                <c:pt idx="1454">
                  <c:v>16.188904880982108</c:v>
                </c:pt>
                <c:pt idx="1455">
                  <c:v>16.521073555334084</c:v>
                </c:pt>
                <c:pt idx="1456">
                  <c:v>17.03289102482421</c:v>
                </c:pt>
                <c:pt idx="1457">
                  <c:v>17.427256849143362</c:v>
                </c:pt>
                <c:pt idx="1458">
                  <c:v>17.204430847828007</c:v>
                </c:pt>
                <c:pt idx="1459">
                  <c:v>17.516924299480081</c:v>
                </c:pt>
                <c:pt idx="1460">
                  <c:v>17.803713460339736</c:v>
                </c:pt>
                <c:pt idx="1461">
                  <c:v>18.199237286014153</c:v>
                </c:pt>
                <c:pt idx="1462">
                  <c:v>18.651777902009286</c:v>
                </c:pt>
                <c:pt idx="1463">
                  <c:v>18.629781905941371</c:v>
                </c:pt>
                <c:pt idx="1464">
                  <c:v>18.519147548334189</c:v>
                </c:pt>
                <c:pt idx="1465">
                  <c:v>18.230594291245694</c:v>
                </c:pt>
                <c:pt idx="1466">
                  <c:v>17.7517878343495</c:v>
                </c:pt>
                <c:pt idx="1467">
                  <c:v>16.876552441729331</c:v>
                </c:pt>
                <c:pt idx="1468">
                  <c:v>16.936942700727087</c:v>
                </c:pt>
                <c:pt idx="1469">
                  <c:v>16.53901104835785</c:v>
                </c:pt>
                <c:pt idx="1470">
                  <c:v>16.309174780954038</c:v>
                </c:pt>
                <c:pt idx="1471">
                  <c:v>16.286264497661676</c:v>
                </c:pt>
                <c:pt idx="1472">
                  <c:v>16.770908940002812</c:v>
                </c:pt>
                <c:pt idx="1473">
                  <c:v>16.794375396375756</c:v>
                </c:pt>
                <c:pt idx="1474">
                  <c:v>16.922492039171715</c:v>
                </c:pt>
                <c:pt idx="1475">
                  <c:v>17.477956547222192</c:v>
                </c:pt>
                <c:pt idx="1476">
                  <c:v>17.229080326721885</c:v>
                </c:pt>
                <c:pt idx="1477">
                  <c:v>17.455504942369913</c:v>
                </c:pt>
                <c:pt idx="1478">
                  <c:v>17.429164634644536</c:v>
                </c:pt>
                <c:pt idx="1479">
                  <c:v>17.206934997422337</c:v>
                </c:pt>
                <c:pt idx="1480">
                  <c:v>17.468733791123412</c:v>
                </c:pt>
                <c:pt idx="1481">
                  <c:v>17.265699746510194</c:v>
                </c:pt>
                <c:pt idx="1482">
                  <c:v>17.299880664284956</c:v>
                </c:pt>
                <c:pt idx="1483">
                  <c:v>17.68409042915377</c:v>
                </c:pt>
                <c:pt idx="1484">
                  <c:v>16.907065752957038</c:v>
                </c:pt>
                <c:pt idx="1485">
                  <c:v>16.941605000703305</c:v>
                </c:pt>
                <c:pt idx="1486">
                  <c:v>17.050054751137765</c:v>
                </c:pt>
                <c:pt idx="1487">
                  <c:v>17.102083132957148</c:v>
                </c:pt>
                <c:pt idx="1488">
                  <c:v>16.786790532808539</c:v>
                </c:pt>
                <c:pt idx="1489">
                  <c:v>16.957569267921343</c:v>
                </c:pt>
                <c:pt idx="1490">
                  <c:v>16.975575704437688</c:v>
                </c:pt>
                <c:pt idx="1491">
                  <c:v>16.765426305373751</c:v>
                </c:pt>
                <c:pt idx="1492">
                  <c:v>17.060451035490928</c:v>
                </c:pt>
                <c:pt idx="1493">
                  <c:v>17.109876015230981</c:v>
                </c:pt>
                <c:pt idx="1494">
                  <c:v>17.289476893829118</c:v>
                </c:pt>
                <c:pt idx="1495">
                  <c:v>17.799963674357826</c:v>
                </c:pt>
                <c:pt idx="1496">
                  <c:v>17.662433869469737</c:v>
                </c:pt>
                <c:pt idx="1497">
                  <c:v>17.942483628065332</c:v>
                </c:pt>
                <c:pt idx="1498">
                  <c:v>18.019679064549109</c:v>
                </c:pt>
                <c:pt idx="1499">
                  <c:v>18.199807304787811</c:v>
                </c:pt>
                <c:pt idx="1500">
                  <c:v>18.103648417501461</c:v>
                </c:pt>
                <c:pt idx="1501">
                  <c:v>18.103648417501461</c:v>
                </c:pt>
                <c:pt idx="1502">
                  <c:v>18.106479322678325</c:v>
                </c:pt>
                <c:pt idx="1503">
                  <c:v>18.154110421695862</c:v>
                </c:pt>
                <c:pt idx="1504">
                  <c:v>18.613266757905762</c:v>
                </c:pt>
                <c:pt idx="1505">
                  <c:v>18.541614833665278</c:v>
                </c:pt>
                <c:pt idx="1506">
                  <c:v>18.792405608627689</c:v>
                </c:pt>
                <c:pt idx="1507">
                  <c:v>18.555577761810667</c:v>
                </c:pt>
                <c:pt idx="1508">
                  <c:v>18.584494876905012</c:v>
                </c:pt>
                <c:pt idx="1509">
                  <c:v>18.817693061324007</c:v>
                </c:pt>
                <c:pt idx="1510">
                  <c:v>19.034930088280362</c:v>
                </c:pt>
                <c:pt idx="1511">
                  <c:v>19.394818869991212</c:v>
                </c:pt>
                <c:pt idx="1512">
                  <c:v>19.416518849014494</c:v>
                </c:pt>
                <c:pt idx="1513">
                  <c:v>19.241666255925594</c:v>
                </c:pt>
                <c:pt idx="1514">
                  <c:v>18.402504799622704</c:v>
                </c:pt>
                <c:pt idx="1515">
                  <c:v>18.262286218717605</c:v>
                </c:pt>
                <c:pt idx="1516">
                  <c:v>18.320072878342216</c:v>
                </c:pt>
                <c:pt idx="1517">
                  <c:v>18.27557027069966</c:v>
                </c:pt>
                <c:pt idx="1518">
                  <c:v>18.568345820589201</c:v>
                </c:pt>
                <c:pt idx="1519">
                  <c:v>18.111226520397395</c:v>
                </c:pt>
                <c:pt idx="1520">
                  <c:v>17.523135609774585</c:v>
                </c:pt>
                <c:pt idx="1521">
                  <c:v>17.626632845646697</c:v>
                </c:pt>
                <c:pt idx="1522">
                  <c:v>17.494666499384323</c:v>
                </c:pt>
                <c:pt idx="1523">
                  <c:v>17.409623774474426</c:v>
                </c:pt>
                <c:pt idx="1524">
                  <c:v>17.798734863201958</c:v>
                </c:pt>
                <c:pt idx="1525">
                  <c:v>17.976708434061408</c:v>
                </c:pt>
                <c:pt idx="1526">
                  <c:v>18.75252142550363</c:v>
                </c:pt>
                <c:pt idx="1527">
                  <c:v>18.618383453336378</c:v>
                </c:pt>
                <c:pt idx="1528">
                  <c:v>18.954433734047456</c:v>
                </c:pt>
                <c:pt idx="1529">
                  <c:v>18.766404523466775</c:v>
                </c:pt>
                <c:pt idx="1530">
                  <c:v>18.389844690672163</c:v>
                </c:pt>
                <c:pt idx="1531">
                  <c:v>18.927786336494194</c:v>
                </c:pt>
                <c:pt idx="1532">
                  <c:v>18.973652023545839</c:v>
                </c:pt>
                <c:pt idx="1533">
                  <c:v>18.802279279024106</c:v>
                </c:pt>
                <c:pt idx="1534">
                  <c:v>18.796190549613954</c:v>
                </c:pt>
                <c:pt idx="1535">
                  <c:v>19.029953893183489</c:v>
                </c:pt>
                <c:pt idx="1536">
                  <c:v>18.915909366728783</c:v>
                </c:pt>
                <c:pt idx="1537">
                  <c:v>18.986518432740553</c:v>
                </c:pt>
                <c:pt idx="1538">
                  <c:v>19.393735750016617</c:v>
                </c:pt>
                <c:pt idx="1539">
                  <c:v>19.209253523952412</c:v>
                </c:pt>
                <c:pt idx="1540">
                  <c:v>18.9875266353786</c:v>
                </c:pt>
                <c:pt idx="1541">
                  <c:v>19.110931146001377</c:v>
                </c:pt>
                <c:pt idx="1542">
                  <c:v>19.247861952062522</c:v>
                </c:pt>
                <c:pt idx="1543">
                  <c:v>18.582347605943852</c:v>
                </c:pt>
                <c:pt idx="1544">
                  <c:v>18.235360241588751</c:v>
                </c:pt>
                <c:pt idx="1545">
                  <c:v>18.565857895626351</c:v>
                </c:pt>
                <c:pt idx="1546">
                  <c:v>18.494835509035539</c:v>
                </c:pt>
                <c:pt idx="1547">
                  <c:v>18.440457918127208</c:v>
                </c:pt>
                <c:pt idx="1548">
                  <c:v>18.729200184618605</c:v>
                </c:pt>
                <c:pt idx="1549">
                  <c:v>18.835729498830943</c:v>
                </c:pt>
                <c:pt idx="1550">
                  <c:v>18.952632348412692</c:v>
                </c:pt>
                <c:pt idx="1551">
                  <c:v>19.444265654100093</c:v>
                </c:pt>
                <c:pt idx="1552">
                  <c:v>19.772129511021461</c:v>
                </c:pt>
                <c:pt idx="1553">
                  <c:v>19.977813091964947</c:v>
                </c:pt>
                <c:pt idx="1554">
                  <c:v>20.259657427424344</c:v>
                </c:pt>
                <c:pt idx="1555">
                  <c:v>20.086806027977957</c:v>
                </c:pt>
                <c:pt idx="1556">
                  <c:v>19.86062102854936</c:v>
                </c:pt>
                <c:pt idx="1557">
                  <c:v>19.818627265259835</c:v>
                </c:pt>
                <c:pt idx="1558">
                  <c:v>19.512254191719592</c:v>
                </c:pt>
                <c:pt idx="1559">
                  <c:v>19.472425396904612</c:v>
                </c:pt>
                <c:pt idx="1560">
                  <c:v>19.037947843594338</c:v>
                </c:pt>
                <c:pt idx="1561">
                  <c:v>19.076863176039154</c:v>
                </c:pt>
                <c:pt idx="1562">
                  <c:v>19.335606395162785</c:v>
                </c:pt>
                <c:pt idx="1563">
                  <c:v>19.02330617510006</c:v>
                </c:pt>
                <c:pt idx="1564">
                  <c:v>18.788966216981663</c:v>
                </c:pt>
                <c:pt idx="1565">
                  <c:v>16.062760053877952</c:v>
                </c:pt>
                <c:pt idx="1566">
                  <c:v>20.300818627719764</c:v>
                </c:pt>
                <c:pt idx="1567">
                  <c:v>19.704168151125117</c:v>
                </c:pt>
                <c:pt idx="1568">
                  <c:v>20.287424461122725</c:v>
                </c:pt>
                <c:pt idx="1569">
                  <c:v>21.198886614552265</c:v>
                </c:pt>
                <c:pt idx="1570">
                  <c:v>21.669385702787508</c:v>
                </c:pt>
                <c:pt idx="1571">
                  <c:v>21.957385843195397</c:v>
                </c:pt>
                <c:pt idx="1572">
                  <c:v>22.023886389378873</c:v>
                </c:pt>
                <c:pt idx="1573">
                  <c:v>21.712144441768118</c:v>
                </c:pt>
                <c:pt idx="1574">
                  <c:v>21.263031185775645</c:v>
                </c:pt>
                <c:pt idx="1575">
                  <c:v>21.598032282066299</c:v>
                </c:pt>
                <c:pt idx="1576">
                  <c:v>21.660803160269865</c:v>
                </c:pt>
                <c:pt idx="1577">
                  <c:v>21.879410650295796</c:v>
                </c:pt>
                <c:pt idx="1578">
                  <c:v>21.282610719883991</c:v>
                </c:pt>
                <c:pt idx="1579">
                  <c:v>21.48538820655051</c:v>
                </c:pt>
                <c:pt idx="1580">
                  <c:v>21.168661268688396</c:v>
                </c:pt>
                <c:pt idx="1581">
                  <c:v>21.108193198518762</c:v>
                </c:pt>
                <c:pt idx="1582">
                  <c:v>21.441448609342814</c:v>
                </c:pt>
                <c:pt idx="1583">
                  <c:v>21.556931862626897</c:v>
                </c:pt>
                <c:pt idx="1584">
                  <c:v>21.289000049837256</c:v>
                </c:pt>
                <c:pt idx="1585">
                  <c:v>21.051911390484037</c:v>
                </c:pt>
                <c:pt idx="1586">
                  <c:v>21.340267011694294</c:v>
                </c:pt>
                <c:pt idx="1587">
                  <c:v>21.367426105245244</c:v>
                </c:pt>
                <c:pt idx="1588">
                  <c:v>21.308451892334375</c:v>
                </c:pt>
                <c:pt idx="1589">
                  <c:v>21.328957161200179</c:v>
                </c:pt>
                <c:pt idx="1590">
                  <c:v>21.577115538823335</c:v>
                </c:pt>
                <c:pt idx="1591">
                  <c:v>21.48958769169343</c:v>
                </c:pt>
                <c:pt idx="1592">
                  <c:v>21.683108519083618</c:v>
                </c:pt>
                <c:pt idx="1593">
                  <c:v>21.724334144046509</c:v>
                </c:pt>
                <c:pt idx="1594">
                  <c:v>21.4839477235723</c:v>
                </c:pt>
                <c:pt idx="1595">
                  <c:v>21.471567660446794</c:v>
                </c:pt>
                <c:pt idx="1596">
                  <c:v>21.461013504249678</c:v>
                </c:pt>
                <c:pt idx="1597">
                  <c:v>21.347183902468515</c:v>
                </c:pt>
                <c:pt idx="1598">
                  <c:v>21.421656237855359</c:v>
                </c:pt>
                <c:pt idx="1599">
                  <c:v>21.300384278256189</c:v>
                </c:pt>
                <c:pt idx="1600">
                  <c:v>21.589499108399309</c:v>
                </c:pt>
                <c:pt idx="1601">
                  <c:v>21.628943479589196</c:v>
                </c:pt>
                <c:pt idx="1602">
                  <c:v>21.420194518446294</c:v>
                </c:pt>
                <c:pt idx="1603">
                  <c:v>21.592252351246174</c:v>
                </c:pt>
                <c:pt idx="1604">
                  <c:v>21.342924081889066</c:v>
                </c:pt>
                <c:pt idx="1605">
                  <c:v>21.493180458807757</c:v>
                </c:pt>
                <c:pt idx="1606">
                  <c:v>21.397146781990642</c:v>
                </c:pt>
                <c:pt idx="1607">
                  <c:v>21.707338332434063</c:v>
                </c:pt>
                <c:pt idx="1608">
                  <c:v>21.5083150832684</c:v>
                </c:pt>
                <c:pt idx="1609">
                  <c:v>21.116133651424917</c:v>
                </c:pt>
                <c:pt idx="1610">
                  <c:v>21.062857907812713</c:v>
                </c:pt>
                <c:pt idx="1611">
                  <c:v>21.142301011360047</c:v>
                </c:pt>
                <c:pt idx="1612">
                  <c:v>21.085009143796071</c:v>
                </c:pt>
                <c:pt idx="1613">
                  <c:v>20.896032215861112</c:v>
                </c:pt>
                <c:pt idx="1614">
                  <c:v>20.554454183853863</c:v>
                </c:pt>
                <c:pt idx="1615">
                  <c:v>20.284708368672881</c:v>
                </c:pt>
                <c:pt idx="1616">
                  <c:v>20.688256968783833</c:v>
                </c:pt>
                <c:pt idx="1617">
                  <c:v>20.950969121078856</c:v>
                </c:pt>
                <c:pt idx="1618">
                  <c:v>20.94690680263227</c:v>
                </c:pt>
                <c:pt idx="1619">
                  <c:v>20.900037282025465</c:v>
                </c:pt>
                <c:pt idx="1620">
                  <c:v>20.962634152331816</c:v>
                </c:pt>
                <c:pt idx="1621">
                  <c:v>20.50368621258167</c:v>
                </c:pt>
                <c:pt idx="1622">
                  <c:v>20.50590315959181</c:v>
                </c:pt>
                <c:pt idx="1623">
                  <c:v>20.554275633068983</c:v>
                </c:pt>
                <c:pt idx="1624">
                  <c:v>20.693866603146603</c:v>
                </c:pt>
                <c:pt idx="1625">
                  <c:v>20.710345209378914</c:v>
                </c:pt>
                <c:pt idx="1626">
                  <c:v>21.155523991051098</c:v>
                </c:pt>
                <c:pt idx="1627">
                  <c:v>21.343463908154035</c:v>
                </c:pt>
                <c:pt idx="1628">
                  <c:v>21.489377459251216</c:v>
                </c:pt>
                <c:pt idx="1629">
                  <c:v>21.248505866172309</c:v>
                </c:pt>
                <c:pt idx="1630">
                  <c:v>21.21584754840211</c:v>
                </c:pt>
                <c:pt idx="1631">
                  <c:v>21.236014979462027</c:v>
                </c:pt>
                <c:pt idx="1632">
                  <c:v>21.48564822767915</c:v>
                </c:pt>
                <c:pt idx="1633">
                  <c:v>21.474605173916586</c:v>
                </c:pt>
                <c:pt idx="1634">
                  <c:v>21.510238909706828</c:v>
                </c:pt>
                <c:pt idx="1635">
                  <c:v>21.681173317760795</c:v>
                </c:pt>
                <c:pt idx="1636">
                  <c:v>21.588470427226468</c:v>
                </c:pt>
                <c:pt idx="1637">
                  <c:v>21.572549959778456</c:v>
                </c:pt>
                <c:pt idx="1638">
                  <c:v>21.357619309078331</c:v>
                </c:pt>
                <c:pt idx="1639">
                  <c:v>20.580509865663998</c:v>
                </c:pt>
                <c:pt idx="1640">
                  <c:v>20.185169352529641</c:v>
                </c:pt>
                <c:pt idx="1641">
                  <c:v>19.701123441280174</c:v>
                </c:pt>
                <c:pt idx="1642">
                  <c:v>20.030217291771066</c:v>
                </c:pt>
                <c:pt idx="1643">
                  <c:v>20.001813105966477</c:v>
                </c:pt>
                <c:pt idx="1644">
                  <c:v>19.698361323485415</c:v>
                </c:pt>
                <c:pt idx="1645">
                  <c:v>20.213042799973323</c:v>
                </c:pt>
                <c:pt idx="1646">
                  <c:v>20.215104133451177</c:v>
                </c:pt>
                <c:pt idx="1647">
                  <c:v>20.05493431342984</c:v>
                </c:pt>
                <c:pt idx="1648">
                  <c:v>20.436250979961784</c:v>
                </c:pt>
                <c:pt idx="1649">
                  <c:v>20.524873605171024</c:v>
                </c:pt>
                <c:pt idx="1650">
                  <c:v>20.248152325350588</c:v>
                </c:pt>
                <c:pt idx="1651">
                  <c:v>20.131575183237885</c:v>
                </c:pt>
                <c:pt idx="1652">
                  <c:v>19.647289882103308</c:v>
                </c:pt>
                <c:pt idx="1653">
                  <c:v>19.385921051480949</c:v>
                </c:pt>
                <c:pt idx="1654">
                  <c:v>19.296990409873899</c:v>
                </c:pt>
                <c:pt idx="1655">
                  <c:v>19.38804424471158</c:v>
                </c:pt>
                <c:pt idx="1656">
                  <c:v>19.278335456534847</c:v>
                </c:pt>
                <c:pt idx="1657">
                  <c:v>19.283710355812218</c:v>
                </c:pt>
                <c:pt idx="1658">
                  <c:v>20.903877713782094</c:v>
                </c:pt>
                <c:pt idx="1659">
                  <c:v>19.25126367561802</c:v>
                </c:pt>
                <c:pt idx="1660">
                  <c:v>19.150685481112617</c:v>
                </c:pt>
                <c:pt idx="1661">
                  <c:v>18.912830798473294</c:v>
                </c:pt>
                <c:pt idx="1662">
                  <c:v>18.550247134943731</c:v>
                </c:pt>
                <c:pt idx="1663">
                  <c:v>18.469779078162418</c:v>
                </c:pt>
                <c:pt idx="1664">
                  <c:v>18.306718330398667</c:v>
                </c:pt>
                <c:pt idx="1665">
                  <c:v>16.858232298342756</c:v>
                </c:pt>
                <c:pt idx="1666">
                  <c:v>16.693438652902813</c:v>
                </c:pt>
                <c:pt idx="1667">
                  <c:v>15.732208661808443</c:v>
                </c:pt>
                <c:pt idx="1668">
                  <c:v>16.199459266427453</c:v>
                </c:pt>
                <c:pt idx="1669">
                  <c:v>16.718573288533321</c:v>
                </c:pt>
                <c:pt idx="1670">
                  <c:v>16.965880232652921</c:v>
                </c:pt>
                <c:pt idx="1671">
                  <c:v>17.119215465468983</c:v>
                </c:pt>
                <c:pt idx="1672">
                  <c:v>17.200241606343837</c:v>
                </c:pt>
                <c:pt idx="1673">
                  <c:v>16.984180236531586</c:v>
                </c:pt>
                <c:pt idx="1674">
                  <c:v>17.132913605452501</c:v>
                </c:pt>
                <c:pt idx="1675">
                  <c:v>17.439369256709739</c:v>
                </c:pt>
                <c:pt idx="1676">
                  <c:v>17.67552674644358</c:v>
                </c:pt>
                <c:pt idx="1677">
                  <c:v>17.947859017344825</c:v>
                </c:pt>
                <c:pt idx="1678">
                  <c:v>17.648347073227825</c:v>
                </c:pt>
                <c:pt idx="1679">
                  <c:v>17.842446047518735</c:v>
                </c:pt>
                <c:pt idx="1680">
                  <c:v>17.200314783400387</c:v>
                </c:pt>
                <c:pt idx="1681">
                  <c:v>17.222326836859281</c:v>
                </c:pt>
                <c:pt idx="1682">
                  <c:v>16.528687794590155</c:v>
                </c:pt>
                <c:pt idx="1683">
                  <c:v>16.327041632905377</c:v>
                </c:pt>
                <c:pt idx="1684">
                  <c:v>15.858905914193429</c:v>
                </c:pt>
                <c:pt idx="1685">
                  <c:v>15.288360217809924</c:v>
                </c:pt>
                <c:pt idx="1686">
                  <c:v>16.1393570145448</c:v>
                </c:pt>
                <c:pt idx="1687">
                  <c:v>16.238477266845479</c:v>
                </c:pt>
                <c:pt idx="1688">
                  <c:v>16.29288388702426</c:v>
                </c:pt>
                <c:pt idx="1689">
                  <c:v>16.501783474766341</c:v>
                </c:pt>
                <c:pt idx="1690">
                  <c:v>15.999141524393565</c:v>
                </c:pt>
                <c:pt idx="1691">
                  <c:v>16.241990697204756</c:v>
                </c:pt>
                <c:pt idx="1692">
                  <c:v>16.876503729348741</c:v>
                </c:pt>
                <c:pt idx="1693">
                  <c:v>16.923935772168733</c:v>
                </c:pt>
                <c:pt idx="1694">
                  <c:v>16.968733693605145</c:v>
                </c:pt>
                <c:pt idx="1695">
                  <c:v>16.798915530573197</c:v>
                </c:pt>
                <c:pt idx="1696">
                  <c:v>17.238637322009083</c:v>
                </c:pt>
                <c:pt idx="1697">
                  <c:v>17.238637322009083</c:v>
                </c:pt>
                <c:pt idx="1698">
                  <c:v>17.559616355635598</c:v>
                </c:pt>
                <c:pt idx="1699">
                  <c:v>17.394041040507489</c:v>
                </c:pt>
                <c:pt idx="1700">
                  <c:v>17.904649035917203</c:v>
                </c:pt>
                <c:pt idx="1701">
                  <c:v>17.435907540417929</c:v>
                </c:pt>
                <c:pt idx="1702">
                  <c:v>17.958128401941451</c:v>
                </c:pt>
                <c:pt idx="1703">
                  <c:v>17.380724207526356</c:v>
                </c:pt>
                <c:pt idx="1704">
                  <c:v>17.216436527352869</c:v>
                </c:pt>
                <c:pt idx="1705">
                  <c:v>17.381134544914232</c:v>
                </c:pt>
                <c:pt idx="1706">
                  <c:v>17.148087924205925</c:v>
                </c:pt>
                <c:pt idx="1707">
                  <c:v>17.067138306534133</c:v>
                </c:pt>
                <c:pt idx="1708">
                  <c:v>16.777057498150725</c:v>
                </c:pt>
                <c:pt idx="1709">
                  <c:v>16.926387236313758</c:v>
                </c:pt>
                <c:pt idx="1710">
                  <c:v>17.048517109155938</c:v>
                </c:pt>
                <c:pt idx="1711">
                  <c:v>16.98340521802109</c:v>
                </c:pt>
                <c:pt idx="1712">
                  <c:v>17.536325142829185</c:v>
                </c:pt>
                <c:pt idx="1713">
                  <c:v>17.583428983960147</c:v>
                </c:pt>
                <c:pt idx="1714">
                  <c:v>17.645072051180421</c:v>
                </c:pt>
                <c:pt idx="1715">
                  <c:v>17.701029977352306</c:v>
                </c:pt>
                <c:pt idx="1716">
                  <c:v>17.680689994372017</c:v>
                </c:pt>
                <c:pt idx="1717">
                  <c:v>17.697051511428668</c:v>
                </c:pt>
                <c:pt idx="1718">
                  <c:v>17.323633825754371</c:v>
                </c:pt>
                <c:pt idx="1719">
                  <c:v>16.639333164699167</c:v>
                </c:pt>
                <c:pt idx="1720">
                  <c:v>17.031555962805129</c:v>
                </c:pt>
                <c:pt idx="1721">
                  <c:v>17.317625160857517</c:v>
                </c:pt>
                <c:pt idx="1722">
                  <c:v>17.08711261740541</c:v>
                </c:pt>
                <c:pt idx="1723">
                  <c:v>17.39041485567472</c:v>
                </c:pt>
                <c:pt idx="1724">
                  <c:v>16.774650981860844</c:v>
                </c:pt>
                <c:pt idx="1725">
                  <c:v>17.468357149079822</c:v>
                </c:pt>
                <c:pt idx="1726">
                  <c:v>17.363500009070378</c:v>
                </c:pt>
                <c:pt idx="1727">
                  <c:v>17.490880720433807</c:v>
                </c:pt>
                <c:pt idx="1728">
                  <c:v>17.727293815369023</c:v>
                </c:pt>
                <c:pt idx="1729">
                  <c:v>18.26361767989755</c:v>
                </c:pt>
                <c:pt idx="1730">
                  <c:v>18.340566618485582</c:v>
                </c:pt>
                <c:pt idx="1731">
                  <c:v>18.484128102324803</c:v>
                </c:pt>
                <c:pt idx="1732">
                  <c:v>18.12169327749973</c:v>
                </c:pt>
                <c:pt idx="1733">
                  <c:v>17.818076799731074</c:v>
                </c:pt>
                <c:pt idx="1734">
                  <c:v>17.584123250628693</c:v>
                </c:pt>
                <c:pt idx="1735">
                  <c:v>18.326686112004182</c:v>
                </c:pt>
                <c:pt idx="1736">
                  <c:v>18.281053840985578</c:v>
                </c:pt>
                <c:pt idx="1737">
                  <c:v>18.391160377146861</c:v>
                </c:pt>
                <c:pt idx="1738">
                  <c:v>18.278222574084197</c:v>
                </c:pt>
                <c:pt idx="1739">
                  <c:v>18.411362686685862</c:v>
                </c:pt>
                <c:pt idx="1740">
                  <c:v>18.512210289243967</c:v>
                </c:pt>
                <c:pt idx="1741">
                  <c:v>18.643956235411906</c:v>
                </c:pt>
                <c:pt idx="1742">
                  <c:v>18.738028169843005</c:v>
                </c:pt>
                <c:pt idx="1743">
                  <c:v>18.473329412597764</c:v>
                </c:pt>
                <c:pt idx="1744">
                  <c:v>17.833751523775078</c:v>
                </c:pt>
                <c:pt idx="1745">
                  <c:v>18.244871516552394</c:v>
                </c:pt>
                <c:pt idx="1746">
                  <c:v>17.801549884424105</c:v>
                </c:pt>
                <c:pt idx="1747">
                  <c:v>18.050072024646369</c:v>
                </c:pt>
                <c:pt idx="1748">
                  <c:v>17.889394981151554</c:v>
                </c:pt>
                <c:pt idx="1749">
                  <c:v>17.514231156670007</c:v>
                </c:pt>
                <c:pt idx="1750">
                  <c:v>17.450473904424229</c:v>
                </c:pt>
                <c:pt idx="1751">
                  <c:v>17.354882198207918</c:v>
                </c:pt>
                <c:pt idx="1752">
                  <c:v>17.470639420254571</c:v>
                </c:pt>
                <c:pt idx="1753">
                  <c:v>17.661624769610086</c:v>
                </c:pt>
                <c:pt idx="1754">
                  <c:v>17.579387086044534</c:v>
                </c:pt>
                <c:pt idx="1755">
                  <c:v>17.599497887164318</c:v>
                </c:pt>
                <c:pt idx="1756">
                  <c:v>17.976622858688529</c:v>
                </c:pt>
                <c:pt idx="1757">
                  <c:v>18.055622238300572</c:v>
                </c:pt>
                <c:pt idx="1758">
                  <c:v>17.544090907014521</c:v>
                </c:pt>
                <c:pt idx="1759">
                  <c:v>17.654321961798587</c:v>
                </c:pt>
                <c:pt idx="1760">
                  <c:v>17.604603032587903</c:v>
                </c:pt>
                <c:pt idx="1761">
                  <c:v>18.035982073698136</c:v>
                </c:pt>
                <c:pt idx="1762">
                  <c:v>18.216920022730221</c:v>
                </c:pt>
                <c:pt idx="1763">
                  <c:v>18.086336973278009</c:v>
                </c:pt>
                <c:pt idx="1764">
                  <c:v>18.140281558518296</c:v>
                </c:pt>
                <c:pt idx="1765">
                  <c:v>18.583492035349195</c:v>
                </c:pt>
                <c:pt idx="1766">
                  <c:v>18.742931209588903</c:v>
                </c:pt>
                <c:pt idx="1767">
                  <c:v>19.149729777930219</c:v>
                </c:pt>
                <c:pt idx="1768">
                  <c:v>19.026182361717446</c:v>
                </c:pt>
                <c:pt idx="1769">
                  <c:v>19.186488409942712</c:v>
                </c:pt>
                <c:pt idx="1770">
                  <c:v>19.115816852260451</c:v>
                </c:pt>
                <c:pt idx="1771">
                  <c:v>19.036817271068116</c:v>
                </c:pt>
                <c:pt idx="1772">
                  <c:v>19.448491302086921</c:v>
                </c:pt>
                <c:pt idx="1773">
                  <c:v>19.531988991678418</c:v>
                </c:pt>
                <c:pt idx="1774">
                  <c:v>20.073752015075314</c:v>
                </c:pt>
                <c:pt idx="1775">
                  <c:v>20.353007447636855</c:v>
                </c:pt>
                <c:pt idx="1776">
                  <c:v>20.353007447636855</c:v>
                </c:pt>
                <c:pt idx="1777">
                  <c:v>20.354925106689677</c:v>
                </c:pt>
                <c:pt idx="1778">
                  <c:v>20.003539509587114</c:v>
                </c:pt>
                <c:pt idx="1779">
                  <c:v>19.684026509077398</c:v>
                </c:pt>
                <c:pt idx="1780">
                  <c:v>19.358935046302292</c:v>
                </c:pt>
                <c:pt idx="1781">
                  <c:v>18.899466242988382</c:v>
                </c:pt>
                <c:pt idx="1782">
                  <c:v>17.968595363513032</c:v>
                </c:pt>
                <c:pt idx="1783">
                  <c:v>17.931006459295304</c:v>
                </c:pt>
                <c:pt idx="1784">
                  <c:v>18.147311815635021</c:v>
                </c:pt>
                <c:pt idx="1785">
                  <c:v>18.488475975930584</c:v>
                </c:pt>
                <c:pt idx="1786">
                  <c:v>18.290928878703937</c:v>
                </c:pt>
                <c:pt idx="1787">
                  <c:v>18.290844555382336</c:v>
                </c:pt>
                <c:pt idx="1788">
                  <c:v>18.981461832808122</c:v>
                </c:pt>
                <c:pt idx="1789">
                  <c:v>18.790299196014047</c:v>
                </c:pt>
                <c:pt idx="1790">
                  <c:v>19.12367050945096</c:v>
                </c:pt>
                <c:pt idx="1791">
                  <c:v>18.967273843947225</c:v>
                </c:pt>
                <c:pt idx="1792">
                  <c:v>19.423279819186575</c:v>
                </c:pt>
                <c:pt idx="1793">
                  <c:v>19.790077194260533</c:v>
                </c:pt>
                <c:pt idx="1794">
                  <c:v>19.804777424143282</c:v>
                </c:pt>
                <c:pt idx="1795">
                  <c:v>19.48939992602152</c:v>
                </c:pt>
                <c:pt idx="1796">
                  <c:v>20.308469089205005</c:v>
                </c:pt>
                <c:pt idx="1797">
                  <c:v>20.318911908509875</c:v>
                </c:pt>
                <c:pt idx="1798">
                  <c:v>20.78310201990098</c:v>
                </c:pt>
                <c:pt idx="1799">
                  <c:v>20.976128844554609</c:v>
                </c:pt>
                <c:pt idx="1800">
                  <c:v>20.76074588048786</c:v>
                </c:pt>
                <c:pt idx="1801">
                  <c:v>21.269241430745865</c:v>
                </c:pt>
                <c:pt idx="1802">
                  <c:v>21.682840183318916</c:v>
                </c:pt>
                <c:pt idx="1803">
                  <c:v>21.638772106390064</c:v>
                </c:pt>
                <c:pt idx="1804">
                  <c:v>21.856214892417228</c:v>
                </c:pt>
                <c:pt idx="1805">
                  <c:v>21.902972032402573</c:v>
                </c:pt>
                <c:pt idx="1806">
                  <c:v>22.253206281663665</c:v>
                </c:pt>
                <c:pt idx="1807">
                  <c:v>22.24252124075565</c:v>
                </c:pt>
                <c:pt idx="1808">
                  <c:v>22.612354895587089</c:v>
                </c:pt>
                <c:pt idx="1809">
                  <c:v>22.931615722628436</c:v>
                </c:pt>
                <c:pt idx="1810">
                  <c:v>23.237932157688789</c:v>
                </c:pt>
                <c:pt idx="1811">
                  <c:v>22.980441735235104</c:v>
                </c:pt>
                <c:pt idx="1812">
                  <c:v>23.597950363160038</c:v>
                </c:pt>
                <c:pt idx="1813">
                  <c:v>23.381379260279516</c:v>
                </c:pt>
                <c:pt idx="1814">
                  <c:v>23.327450085560031</c:v>
                </c:pt>
                <c:pt idx="1815">
                  <c:v>22.804978897333058</c:v>
                </c:pt>
                <c:pt idx="1816">
                  <c:v>22.576666384684756</c:v>
                </c:pt>
                <c:pt idx="1817">
                  <c:v>22.419126235925148</c:v>
                </c:pt>
                <c:pt idx="1818">
                  <c:v>22.656581487911893</c:v>
                </c:pt>
                <c:pt idx="1819">
                  <c:v>23.125608951148479</c:v>
                </c:pt>
                <c:pt idx="1820">
                  <c:v>22.705091015533412</c:v>
                </c:pt>
                <c:pt idx="1821">
                  <c:v>23.001638644176126</c:v>
                </c:pt>
                <c:pt idx="1822">
                  <c:v>22.905373608520875</c:v>
                </c:pt>
                <c:pt idx="1823">
                  <c:v>22.80478883327919</c:v>
                </c:pt>
                <c:pt idx="1824">
                  <c:v>22.761551545378467</c:v>
                </c:pt>
                <c:pt idx="1825">
                  <c:v>22.640572279805667</c:v>
                </c:pt>
                <c:pt idx="1826">
                  <c:v>23.372758845815042</c:v>
                </c:pt>
                <c:pt idx="1827">
                  <c:v>22.296411665938166</c:v>
                </c:pt>
                <c:pt idx="1828">
                  <c:v>21.40925223260686</c:v>
                </c:pt>
                <c:pt idx="1829">
                  <c:v>20.956178264369356</c:v>
                </c:pt>
                <c:pt idx="1830">
                  <c:v>20.653834092395869</c:v>
                </c:pt>
                <c:pt idx="1831">
                  <c:v>21.150114638460394</c:v>
                </c:pt>
                <c:pt idx="1832">
                  <c:v>20.522703829545065</c:v>
                </c:pt>
                <c:pt idx="1833">
                  <c:v>20.411986792627289</c:v>
                </c:pt>
                <c:pt idx="1834">
                  <c:v>20.48342467603041</c:v>
                </c:pt>
                <c:pt idx="1835">
                  <c:v>19.865620831527679</c:v>
                </c:pt>
                <c:pt idx="1836">
                  <c:v>19.907432240832748</c:v>
                </c:pt>
                <c:pt idx="1837">
                  <c:v>20.028570106487336</c:v>
                </c:pt>
                <c:pt idx="1838">
                  <c:v>19.885477969224269</c:v>
                </c:pt>
                <c:pt idx="1839">
                  <c:v>20.455987578545006</c:v>
                </c:pt>
                <c:pt idx="1840">
                  <c:v>20.528858669928212</c:v>
                </c:pt>
                <c:pt idx="1841">
                  <c:v>20.936241960087443</c:v>
                </c:pt>
                <c:pt idx="1842">
                  <c:v>21.36307583877965</c:v>
                </c:pt>
                <c:pt idx="1843">
                  <c:v>21.502358515592363</c:v>
                </c:pt>
                <c:pt idx="1844">
                  <c:v>21.58679407362439</c:v>
                </c:pt>
                <c:pt idx="1845">
                  <c:v>21.425866665134805</c:v>
                </c:pt>
                <c:pt idx="1846">
                  <c:v>21.542919962479743</c:v>
                </c:pt>
                <c:pt idx="1847">
                  <c:v>20.935997842311423</c:v>
                </c:pt>
                <c:pt idx="1848">
                  <c:v>20.536378662305907</c:v>
                </c:pt>
                <c:pt idx="1849">
                  <c:v>21.100679942061277</c:v>
                </c:pt>
                <c:pt idx="1850">
                  <c:v>21.130907781510672</c:v>
                </c:pt>
                <c:pt idx="1851">
                  <c:v>20.595505618559145</c:v>
                </c:pt>
                <c:pt idx="1852">
                  <c:v>20.880516721322692</c:v>
                </c:pt>
                <c:pt idx="1853">
                  <c:v>20.855337237537128</c:v>
                </c:pt>
                <c:pt idx="1854">
                  <c:v>20.9305036504405</c:v>
                </c:pt>
                <c:pt idx="1855">
                  <c:v>20.689946365008609</c:v>
                </c:pt>
                <c:pt idx="1856">
                  <c:v>20.611292273700201</c:v>
                </c:pt>
                <c:pt idx="1857">
                  <c:v>20.428545000012065</c:v>
                </c:pt>
                <c:pt idx="1858">
                  <c:v>20.404916528573125</c:v>
                </c:pt>
                <c:pt idx="1859">
                  <c:v>20.83185487017218</c:v>
                </c:pt>
                <c:pt idx="1860">
                  <c:v>20.928330142293333</c:v>
                </c:pt>
                <c:pt idx="1861">
                  <c:v>20.673585500745844</c:v>
                </c:pt>
                <c:pt idx="1862">
                  <c:v>20.861860042710617</c:v>
                </c:pt>
                <c:pt idx="1863">
                  <c:v>20.417814597081332</c:v>
                </c:pt>
                <c:pt idx="1864">
                  <c:v>20.71088622986781</c:v>
                </c:pt>
                <c:pt idx="1865">
                  <c:v>21.19527231156988</c:v>
                </c:pt>
                <c:pt idx="1866">
                  <c:v>20.610281047106554</c:v>
                </c:pt>
                <c:pt idx="1867">
                  <c:v>20.824890452996243</c:v>
                </c:pt>
                <c:pt idx="1868">
                  <c:v>20.843793522229618</c:v>
                </c:pt>
                <c:pt idx="1869">
                  <c:v>20.972772102738702</c:v>
                </c:pt>
                <c:pt idx="1870">
                  <c:v>20.741513786680656</c:v>
                </c:pt>
                <c:pt idx="1871">
                  <c:v>20.583527787299857</c:v>
                </c:pt>
                <c:pt idx="1872">
                  <c:v>20.58037569296522</c:v>
                </c:pt>
                <c:pt idx="1873">
                  <c:v>20.571499194845444</c:v>
                </c:pt>
                <c:pt idx="1874">
                  <c:v>20.850554020479933</c:v>
                </c:pt>
                <c:pt idx="1875">
                  <c:v>21.072316688116388</c:v>
                </c:pt>
                <c:pt idx="1876">
                  <c:v>20.818344702519681</c:v>
                </c:pt>
                <c:pt idx="1877">
                  <c:v>20.592327932257632</c:v>
                </c:pt>
                <c:pt idx="1878">
                  <c:v>21.1257909720604</c:v>
                </c:pt>
                <c:pt idx="1879">
                  <c:v>21.006199769540132</c:v>
                </c:pt>
                <c:pt idx="1880">
                  <c:v>21.277646715546439</c:v>
                </c:pt>
                <c:pt idx="1881">
                  <c:v>21.150830137389534</c:v>
                </c:pt>
                <c:pt idx="1882">
                  <c:v>21.042002195616192</c:v>
                </c:pt>
                <c:pt idx="1883">
                  <c:v>20.498027899826866</c:v>
                </c:pt>
                <c:pt idx="1884">
                  <c:v>20.110201532311834</c:v>
                </c:pt>
                <c:pt idx="1885">
                  <c:v>19.861701634523484</c:v>
                </c:pt>
                <c:pt idx="1886">
                  <c:v>19.771557035948319</c:v>
                </c:pt>
                <c:pt idx="1887">
                  <c:v>19.943564438353633</c:v>
                </c:pt>
                <c:pt idx="1888">
                  <c:v>20.177473876007298</c:v>
                </c:pt>
                <c:pt idx="1889">
                  <c:v>20.246383586098489</c:v>
                </c:pt>
                <c:pt idx="1890">
                  <c:v>19.341054032425149</c:v>
                </c:pt>
                <c:pt idx="1891">
                  <c:v>19.369278051033746</c:v>
                </c:pt>
                <c:pt idx="1892">
                  <c:v>19.887334095113005</c:v>
                </c:pt>
                <c:pt idx="1893">
                  <c:v>20.020985576807703</c:v>
                </c:pt>
                <c:pt idx="1894">
                  <c:v>19.501866265812765</c:v>
                </c:pt>
                <c:pt idx="1895">
                  <c:v>19.483438338202546</c:v>
                </c:pt>
                <c:pt idx="1896">
                  <c:v>19.070901679509063</c:v>
                </c:pt>
                <c:pt idx="1897">
                  <c:v>19.219814399834718</c:v>
                </c:pt>
                <c:pt idx="1898">
                  <c:v>19.284961452087032</c:v>
                </c:pt>
                <c:pt idx="1899">
                  <c:v>18.991690285283795</c:v>
                </c:pt>
                <c:pt idx="1900">
                  <c:v>19.056617655435076</c:v>
                </c:pt>
                <c:pt idx="1901">
                  <c:v>18.826862483584023</c:v>
                </c:pt>
                <c:pt idx="1902">
                  <c:v>19.08232222999618</c:v>
                </c:pt>
                <c:pt idx="1903">
                  <c:v>19.343059282517345</c:v>
                </c:pt>
                <c:pt idx="1904">
                  <c:v>19.60364035038981</c:v>
                </c:pt>
                <c:pt idx="1905">
                  <c:v>19.652379718245612</c:v>
                </c:pt>
                <c:pt idx="1906">
                  <c:v>19.93611823184574</c:v>
                </c:pt>
                <c:pt idx="1907">
                  <c:v>19.780418473188831</c:v>
                </c:pt>
                <c:pt idx="1908">
                  <c:v>19.65494576743896</c:v>
                </c:pt>
                <c:pt idx="1909">
                  <c:v>19.343458334229126</c:v>
                </c:pt>
                <c:pt idx="1910">
                  <c:v>19.514269934058348</c:v>
                </c:pt>
                <c:pt idx="1911">
                  <c:v>19.603813232452524</c:v>
                </c:pt>
                <c:pt idx="1912">
                  <c:v>19.758629665950053</c:v>
                </c:pt>
                <c:pt idx="1913">
                  <c:v>19.305197250298619</c:v>
                </c:pt>
                <c:pt idx="1914">
                  <c:v>18.746807869296788</c:v>
                </c:pt>
                <c:pt idx="1915">
                  <c:v>18.827146013132648</c:v>
                </c:pt>
                <c:pt idx="1916">
                  <c:v>19.173522735328049</c:v>
                </c:pt>
                <c:pt idx="1917">
                  <c:v>19.365388837397887</c:v>
                </c:pt>
                <c:pt idx="1918">
                  <c:v>19.399645136943462</c:v>
                </c:pt>
                <c:pt idx="1919">
                  <c:v>18.164804432453991</c:v>
                </c:pt>
                <c:pt idx="1920">
                  <c:v>19.452143085701181</c:v>
                </c:pt>
                <c:pt idx="1921">
                  <c:v>19.600294510998765</c:v>
                </c:pt>
                <c:pt idx="1922">
                  <c:v>19.831200841510224</c:v>
                </c:pt>
                <c:pt idx="1923">
                  <c:v>19.842632628006726</c:v>
                </c:pt>
                <c:pt idx="1924">
                  <c:v>20.21486297082194</c:v>
                </c:pt>
                <c:pt idx="1925">
                  <c:v>20.21370437080995</c:v>
                </c:pt>
                <c:pt idx="1926">
                  <c:v>19.95502103016932</c:v>
                </c:pt>
                <c:pt idx="1927">
                  <c:v>19.680463065406968</c:v>
                </c:pt>
                <c:pt idx="1928">
                  <c:v>19.736595964766394</c:v>
                </c:pt>
                <c:pt idx="1929">
                  <c:v>19.239341350313055</c:v>
                </c:pt>
                <c:pt idx="1930">
                  <c:v>19.466430968207163</c:v>
                </c:pt>
                <c:pt idx="1931">
                  <c:v>19.107112753320536</c:v>
                </c:pt>
                <c:pt idx="1932">
                  <c:v>19.137918178059607</c:v>
                </c:pt>
                <c:pt idx="1933">
                  <c:v>18.954553292937931</c:v>
                </c:pt>
                <c:pt idx="1934">
                  <c:v>19.261303562864441</c:v>
                </c:pt>
                <c:pt idx="1935">
                  <c:v>19.378963664891586</c:v>
                </c:pt>
                <c:pt idx="1936">
                  <c:v>18.858297916354928</c:v>
                </c:pt>
                <c:pt idx="1937">
                  <c:v>18.856285522285162</c:v>
                </c:pt>
                <c:pt idx="1938">
                  <c:v>19.121728082425648</c:v>
                </c:pt>
                <c:pt idx="1939">
                  <c:v>19.091122175207005</c:v>
                </c:pt>
                <c:pt idx="1940">
                  <c:v>19.701216333019602</c:v>
                </c:pt>
                <c:pt idx="1941">
                  <c:v>20.127446772428812</c:v>
                </c:pt>
                <c:pt idx="1942">
                  <c:v>19.902122028245572</c:v>
                </c:pt>
                <c:pt idx="1943">
                  <c:v>20.336191410626952</c:v>
                </c:pt>
                <c:pt idx="1944">
                  <c:v>20.746959034853234</c:v>
                </c:pt>
                <c:pt idx="1945">
                  <c:v>20.746248200264205</c:v>
                </c:pt>
                <c:pt idx="1946">
                  <c:v>20.368036694510295</c:v>
                </c:pt>
                <c:pt idx="1947">
                  <c:v>20.344204122052446</c:v>
                </c:pt>
                <c:pt idx="1948">
                  <c:v>20.493724120628599</c:v>
                </c:pt>
                <c:pt idx="1949">
                  <c:v>19.909231695201072</c:v>
                </c:pt>
                <c:pt idx="1950">
                  <c:v>19.895578988668262</c:v>
                </c:pt>
                <c:pt idx="1951">
                  <c:v>19.661403565165472</c:v>
                </c:pt>
                <c:pt idx="1952">
                  <c:v>19.591719211910146</c:v>
                </c:pt>
                <c:pt idx="1953">
                  <c:v>19.765384874433323</c:v>
                </c:pt>
                <c:pt idx="1954">
                  <c:v>19.806825103673049</c:v>
                </c:pt>
                <c:pt idx="1955">
                  <c:v>19.698056322695123</c:v>
                </c:pt>
                <c:pt idx="1956">
                  <c:v>20.249075021031786</c:v>
                </c:pt>
                <c:pt idx="1957">
                  <c:v>20.249075021031786</c:v>
                </c:pt>
                <c:pt idx="1958">
                  <c:v>20.258410498886605</c:v>
                </c:pt>
                <c:pt idx="1959">
                  <c:v>20.465049098317564</c:v>
                </c:pt>
                <c:pt idx="1960">
                  <c:v>20.732544481867137</c:v>
                </c:pt>
                <c:pt idx="1961">
                  <c:v>20.861579414961</c:v>
                </c:pt>
                <c:pt idx="1962">
                  <c:v>20.861579414961</c:v>
                </c:pt>
                <c:pt idx="1963">
                  <c:v>21.218945749940076</c:v>
                </c:pt>
                <c:pt idx="1964">
                  <c:v>21.320560629380452</c:v>
                </c:pt>
                <c:pt idx="1965">
                  <c:v>20.925803836013415</c:v>
                </c:pt>
                <c:pt idx="1966">
                  <c:v>21.10124283586569</c:v>
                </c:pt>
                <c:pt idx="1967">
                  <c:v>21.054023367421706</c:v>
                </c:pt>
                <c:pt idx="1968">
                  <c:v>21.004305662882359</c:v>
                </c:pt>
                <c:pt idx="1969">
                  <c:v>20.158002234957223</c:v>
                </c:pt>
                <c:pt idx="1970">
                  <c:v>20.003561415793001</c:v>
                </c:pt>
                <c:pt idx="1971">
                  <c:v>19.941455587613461</c:v>
                </c:pt>
                <c:pt idx="1972">
                  <c:v>19.969004731566685</c:v>
                </c:pt>
                <c:pt idx="1973">
                  <c:v>20.196355143284848</c:v>
                </c:pt>
                <c:pt idx="1974">
                  <c:v>20.28539590077304</c:v>
                </c:pt>
                <c:pt idx="1975">
                  <c:v>20.048563047646581</c:v>
                </c:pt>
                <c:pt idx="1976">
                  <c:v>19.783163707749026</c:v>
                </c:pt>
                <c:pt idx="1977">
                  <c:v>20.019929881619987</c:v>
                </c:pt>
                <c:pt idx="1978">
                  <c:v>20.204309144937895</c:v>
                </c:pt>
                <c:pt idx="1979">
                  <c:v>19.691263369868636</c:v>
                </c:pt>
                <c:pt idx="1980">
                  <c:v>19.298684624266031</c:v>
                </c:pt>
                <c:pt idx="1981">
                  <c:v>19.354520792892089</c:v>
                </c:pt>
                <c:pt idx="1982">
                  <c:v>18.84152883807127</c:v>
                </c:pt>
                <c:pt idx="1983">
                  <c:v>18.725389694475155</c:v>
                </c:pt>
                <c:pt idx="1984">
                  <c:v>18.857200358195144</c:v>
                </c:pt>
              </c:numCache>
            </c:numRef>
          </c:val>
          <c:extLst xmlns:c16r2="http://schemas.microsoft.com/office/drawing/2015/06/chart">
            <c:ext xmlns:c16="http://schemas.microsoft.com/office/drawing/2014/chart" uri="{C3380CC4-5D6E-409C-BE32-E72D297353CC}">
              <c16:uniqueId val="{00000000-7127-4EE7-81B7-88A877082DDF}"/>
            </c:ext>
          </c:extLst>
        </c:ser>
        <c:dLbls>
          <c:showLegendKey val="0"/>
          <c:showVal val="0"/>
          <c:showCatName val="0"/>
          <c:showSerName val="0"/>
          <c:showPercent val="0"/>
          <c:showBubbleSize val="0"/>
        </c:dLbls>
        <c:axId val="472552576"/>
        <c:axId val="235449728"/>
      </c:areaChart>
      <c:lineChart>
        <c:grouping val="standard"/>
        <c:varyColors val="0"/>
        <c:ser>
          <c:idx val="0"/>
          <c:order val="0"/>
          <c:tx>
            <c:v>Gross performance</c:v>
          </c:tx>
          <c:spPr>
            <a:ln w="28575">
              <a:solidFill>
                <a:srgbClr val="001C4B"/>
              </a:solidFill>
              <a:prstDash val="solid"/>
            </a:ln>
          </c:spPr>
          <c:marker>
            <c:symbol val="none"/>
          </c:marker>
          <c:cat>
            <c:numRef>
              <c:f>'AFE Euro RP Brut'!$C$5:$C$1989</c:f>
              <c:numCache>
                <c:formatCode>m/d/yyyy</c:formatCode>
                <c:ptCount val="1985"/>
                <c:pt idx="0">
                  <c:v>40353</c:v>
                </c:pt>
                <c:pt idx="1">
                  <c:v>40354</c:v>
                </c:pt>
                <c:pt idx="2">
                  <c:v>40357</c:v>
                </c:pt>
                <c:pt idx="3">
                  <c:v>40358</c:v>
                </c:pt>
                <c:pt idx="4">
                  <c:v>40359</c:v>
                </c:pt>
                <c:pt idx="5">
                  <c:v>40360</c:v>
                </c:pt>
                <c:pt idx="6">
                  <c:v>40361</c:v>
                </c:pt>
                <c:pt idx="7">
                  <c:v>40364</c:v>
                </c:pt>
                <c:pt idx="8">
                  <c:v>40365</c:v>
                </c:pt>
                <c:pt idx="9">
                  <c:v>40366</c:v>
                </c:pt>
                <c:pt idx="10">
                  <c:v>40367</c:v>
                </c:pt>
                <c:pt idx="11">
                  <c:v>40368</c:v>
                </c:pt>
                <c:pt idx="12">
                  <c:v>40371</c:v>
                </c:pt>
                <c:pt idx="13">
                  <c:v>40372</c:v>
                </c:pt>
                <c:pt idx="14">
                  <c:v>40373</c:v>
                </c:pt>
                <c:pt idx="15">
                  <c:v>40374</c:v>
                </c:pt>
                <c:pt idx="16">
                  <c:v>40375</c:v>
                </c:pt>
                <c:pt idx="17">
                  <c:v>40378</c:v>
                </c:pt>
                <c:pt idx="18">
                  <c:v>40379</c:v>
                </c:pt>
                <c:pt idx="19">
                  <c:v>40380</c:v>
                </c:pt>
                <c:pt idx="20">
                  <c:v>40381</c:v>
                </c:pt>
                <c:pt idx="21">
                  <c:v>40382</c:v>
                </c:pt>
                <c:pt idx="22">
                  <c:v>40385</c:v>
                </c:pt>
                <c:pt idx="23">
                  <c:v>40386</c:v>
                </c:pt>
                <c:pt idx="24">
                  <c:v>40387</c:v>
                </c:pt>
                <c:pt idx="25">
                  <c:v>40388</c:v>
                </c:pt>
                <c:pt idx="26">
                  <c:v>40389</c:v>
                </c:pt>
                <c:pt idx="27">
                  <c:v>40392</c:v>
                </c:pt>
                <c:pt idx="28">
                  <c:v>40393</c:v>
                </c:pt>
                <c:pt idx="29">
                  <c:v>40394</c:v>
                </c:pt>
                <c:pt idx="30">
                  <c:v>40395</c:v>
                </c:pt>
                <c:pt idx="31">
                  <c:v>40396</c:v>
                </c:pt>
                <c:pt idx="32">
                  <c:v>40399</c:v>
                </c:pt>
                <c:pt idx="33">
                  <c:v>40400</c:v>
                </c:pt>
                <c:pt idx="34">
                  <c:v>40401</c:v>
                </c:pt>
                <c:pt idx="35">
                  <c:v>40402</c:v>
                </c:pt>
                <c:pt idx="36">
                  <c:v>40403</c:v>
                </c:pt>
                <c:pt idx="37">
                  <c:v>40406</c:v>
                </c:pt>
                <c:pt idx="38">
                  <c:v>40407</c:v>
                </c:pt>
                <c:pt idx="39">
                  <c:v>40408</c:v>
                </c:pt>
                <c:pt idx="40">
                  <c:v>40409</c:v>
                </c:pt>
                <c:pt idx="41">
                  <c:v>40410</c:v>
                </c:pt>
                <c:pt idx="42">
                  <c:v>40413</c:v>
                </c:pt>
                <c:pt idx="43">
                  <c:v>40414</c:v>
                </c:pt>
                <c:pt idx="44">
                  <c:v>40415</c:v>
                </c:pt>
                <c:pt idx="45">
                  <c:v>40416</c:v>
                </c:pt>
                <c:pt idx="46">
                  <c:v>40417</c:v>
                </c:pt>
                <c:pt idx="47">
                  <c:v>40420</c:v>
                </c:pt>
                <c:pt idx="48">
                  <c:v>40421</c:v>
                </c:pt>
                <c:pt idx="49">
                  <c:v>40422</c:v>
                </c:pt>
                <c:pt idx="50">
                  <c:v>40423</c:v>
                </c:pt>
                <c:pt idx="51">
                  <c:v>40424</c:v>
                </c:pt>
                <c:pt idx="52">
                  <c:v>40427</c:v>
                </c:pt>
                <c:pt idx="53">
                  <c:v>40428</c:v>
                </c:pt>
                <c:pt idx="54">
                  <c:v>40429</c:v>
                </c:pt>
                <c:pt idx="55">
                  <c:v>40430</c:v>
                </c:pt>
                <c:pt idx="56">
                  <c:v>40431</c:v>
                </c:pt>
                <c:pt idx="57">
                  <c:v>40434</c:v>
                </c:pt>
                <c:pt idx="58">
                  <c:v>40435</c:v>
                </c:pt>
                <c:pt idx="59">
                  <c:v>40436</c:v>
                </c:pt>
                <c:pt idx="60">
                  <c:v>40437</c:v>
                </c:pt>
                <c:pt idx="61">
                  <c:v>40438</c:v>
                </c:pt>
                <c:pt idx="62">
                  <c:v>40441</c:v>
                </c:pt>
                <c:pt idx="63">
                  <c:v>40442</c:v>
                </c:pt>
                <c:pt idx="64">
                  <c:v>40443</c:v>
                </c:pt>
                <c:pt idx="65">
                  <c:v>40444</c:v>
                </c:pt>
                <c:pt idx="66">
                  <c:v>40445</c:v>
                </c:pt>
                <c:pt idx="67">
                  <c:v>40448</c:v>
                </c:pt>
                <c:pt idx="68">
                  <c:v>40449</c:v>
                </c:pt>
                <c:pt idx="69">
                  <c:v>40450</c:v>
                </c:pt>
                <c:pt idx="70">
                  <c:v>40451</c:v>
                </c:pt>
                <c:pt idx="71">
                  <c:v>40452</c:v>
                </c:pt>
                <c:pt idx="72">
                  <c:v>40455</c:v>
                </c:pt>
                <c:pt idx="73">
                  <c:v>40456</c:v>
                </c:pt>
                <c:pt idx="74">
                  <c:v>40457</c:v>
                </c:pt>
                <c:pt idx="75">
                  <c:v>40458</c:v>
                </c:pt>
                <c:pt idx="76">
                  <c:v>40459</c:v>
                </c:pt>
                <c:pt idx="77">
                  <c:v>40462</c:v>
                </c:pt>
                <c:pt idx="78">
                  <c:v>40463</c:v>
                </c:pt>
                <c:pt idx="79">
                  <c:v>40464</c:v>
                </c:pt>
                <c:pt idx="80">
                  <c:v>40465</c:v>
                </c:pt>
                <c:pt idx="81">
                  <c:v>40466</c:v>
                </c:pt>
                <c:pt idx="82">
                  <c:v>40469</c:v>
                </c:pt>
                <c:pt idx="83">
                  <c:v>40470</c:v>
                </c:pt>
                <c:pt idx="84">
                  <c:v>40471</c:v>
                </c:pt>
                <c:pt idx="85">
                  <c:v>40472</c:v>
                </c:pt>
                <c:pt idx="86">
                  <c:v>40473</c:v>
                </c:pt>
                <c:pt idx="87">
                  <c:v>40476</c:v>
                </c:pt>
                <c:pt idx="88">
                  <c:v>40477</c:v>
                </c:pt>
                <c:pt idx="89">
                  <c:v>40478</c:v>
                </c:pt>
                <c:pt idx="90">
                  <c:v>40479</c:v>
                </c:pt>
                <c:pt idx="91">
                  <c:v>40480</c:v>
                </c:pt>
                <c:pt idx="92">
                  <c:v>40483</c:v>
                </c:pt>
                <c:pt idx="93">
                  <c:v>40484</c:v>
                </c:pt>
                <c:pt idx="94">
                  <c:v>40485</c:v>
                </c:pt>
                <c:pt idx="95">
                  <c:v>40486</c:v>
                </c:pt>
                <c:pt idx="96">
                  <c:v>40487</c:v>
                </c:pt>
                <c:pt idx="97">
                  <c:v>40490</c:v>
                </c:pt>
                <c:pt idx="98">
                  <c:v>40491</c:v>
                </c:pt>
                <c:pt idx="99">
                  <c:v>40492</c:v>
                </c:pt>
                <c:pt idx="100">
                  <c:v>40493</c:v>
                </c:pt>
                <c:pt idx="101">
                  <c:v>40494</c:v>
                </c:pt>
                <c:pt idx="102">
                  <c:v>40497</c:v>
                </c:pt>
                <c:pt idx="103">
                  <c:v>40498</c:v>
                </c:pt>
                <c:pt idx="104">
                  <c:v>40499</c:v>
                </c:pt>
                <c:pt idx="105">
                  <c:v>40500</c:v>
                </c:pt>
                <c:pt idx="106">
                  <c:v>40501</c:v>
                </c:pt>
                <c:pt idx="107">
                  <c:v>40504</c:v>
                </c:pt>
                <c:pt idx="108">
                  <c:v>40505</c:v>
                </c:pt>
                <c:pt idx="109">
                  <c:v>40506</c:v>
                </c:pt>
                <c:pt idx="110">
                  <c:v>40507</c:v>
                </c:pt>
                <c:pt idx="111">
                  <c:v>40508</c:v>
                </c:pt>
                <c:pt idx="112">
                  <c:v>40511</c:v>
                </c:pt>
                <c:pt idx="113">
                  <c:v>40512</c:v>
                </c:pt>
                <c:pt idx="114">
                  <c:v>40513</c:v>
                </c:pt>
                <c:pt idx="115">
                  <c:v>40514</c:v>
                </c:pt>
                <c:pt idx="116">
                  <c:v>40515</c:v>
                </c:pt>
                <c:pt idx="117">
                  <c:v>40518</c:v>
                </c:pt>
                <c:pt idx="118">
                  <c:v>40519</c:v>
                </c:pt>
                <c:pt idx="119">
                  <c:v>40520</c:v>
                </c:pt>
                <c:pt idx="120">
                  <c:v>40521</c:v>
                </c:pt>
                <c:pt idx="121">
                  <c:v>40522</c:v>
                </c:pt>
                <c:pt idx="122">
                  <c:v>40525</c:v>
                </c:pt>
                <c:pt idx="123">
                  <c:v>40526</c:v>
                </c:pt>
                <c:pt idx="124">
                  <c:v>40527</c:v>
                </c:pt>
                <c:pt idx="125">
                  <c:v>40528</c:v>
                </c:pt>
                <c:pt idx="126">
                  <c:v>40529</c:v>
                </c:pt>
                <c:pt idx="127">
                  <c:v>40532</c:v>
                </c:pt>
                <c:pt idx="128">
                  <c:v>40533</c:v>
                </c:pt>
                <c:pt idx="129">
                  <c:v>40534</c:v>
                </c:pt>
                <c:pt idx="130">
                  <c:v>40535</c:v>
                </c:pt>
                <c:pt idx="131">
                  <c:v>40536</c:v>
                </c:pt>
                <c:pt idx="132">
                  <c:v>40539</c:v>
                </c:pt>
                <c:pt idx="133">
                  <c:v>40540</c:v>
                </c:pt>
                <c:pt idx="134">
                  <c:v>40541</c:v>
                </c:pt>
                <c:pt idx="135">
                  <c:v>40542</c:v>
                </c:pt>
                <c:pt idx="136">
                  <c:v>40543</c:v>
                </c:pt>
                <c:pt idx="137">
                  <c:v>40546</c:v>
                </c:pt>
                <c:pt idx="138">
                  <c:v>40547</c:v>
                </c:pt>
                <c:pt idx="139">
                  <c:v>40548</c:v>
                </c:pt>
                <c:pt idx="140">
                  <c:v>40549</c:v>
                </c:pt>
                <c:pt idx="141">
                  <c:v>40550</c:v>
                </c:pt>
                <c:pt idx="142">
                  <c:v>40553</c:v>
                </c:pt>
                <c:pt idx="143">
                  <c:v>40554</c:v>
                </c:pt>
                <c:pt idx="144">
                  <c:v>40555</c:v>
                </c:pt>
                <c:pt idx="145">
                  <c:v>40556</c:v>
                </c:pt>
                <c:pt idx="146">
                  <c:v>40557</c:v>
                </c:pt>
                <c:pt idx="147">
                  <c:v>40560</c:v>
                </c:pt>
                <c:pt idx="148">
                  <c:v>40561</c:v>
                </c:pt>
                <c:pt idx="149">
                  <c:v>40562</c:v>
                </c:pt>
                <c:pt idx="150">
                  <c:v>40563</c:v>
                </c:pt>
                <c:pt idx="151">
                  <c:v>40564</c:v>
                </c:pt>
                <c:pt idx="152">
                  <c:v>40567</c:v>
                </c:pt>
                <c:pt idx="153">
                  <c:v>40568</c:v>
                </c:pt>
                <c:pt idx="154">
                  <c:v>40569</c:v>
                </c:pt>
                <c:pt idx="155">
                  <c:v>40570</c:v>
                </c:pt>
                <c:pt idx="156">
                  <c:v>40571</c:v>
                </c:pt>
                <c:pt idx="157">
                  <c:v>40574</c:v>
                </c:pt>
                <c:pt idx="158">
                  <c:v>40575</c:v>
                </c:pt>
                <c:pt idx="159">
                  <c:v>40576</c:v>
                </c:pt>
                <c:pt idx="160">
                  <c:v>40577</c:v>
                </c:pt>
                <c:pt idx="161">
                  <c:v>40578</c:v>
                </c:pt>
                <c:pt idx="162">
                  <c:v>40581</c:v>
                </c:pt>
                <c:pt idx="163">
                  <c:v>40582</c:v>
                </c:pt>
                <c:pt idx="164">
                  <c:v>40583</c:v>
                </c:pt>
                <c:pt idx="165">
                  <c:v>40584</c:v>
                </c:pt>
                <c:pt idx="166">
                  <c:v>40585</c:v>
                </c:pt>
                <c:pt idx="167">
                  <c:v>40588</c:v>
                </c:pt>
                <c:pt idx="168">
                  <c:v>40589</c:v>
                </c:pt>
                <c:pt idx="169">
                  <c:v>40590</c:v>
                </c:pt>
                <c:pt idx="170">
                  <c:v>40591</c:v>
                </c:pt>
                <c:pt idx="171">
                  <c:v>40592</c:v>
                </c:pt>
                <c:pt idx="172">
                  <c:v>40595</c:v>
                </c:pt>
                <c:pt idx="173">
                  <c:v>40596</c:v>
                </c:pt>
                <c:pt idx="174">
                  <c:v>40597</c:v>
                </c:pt>
                <c:pt idx="175">
                  <c:v>40598</c:v>
                </c:pt>
                <c:pt idx="176">
                  <c:v>40599</c:v>
                </c:pt>
                <c:pt idx="177">
                  <c:v>40602</c:v>
                </c:pt>
                <c:pt idx="178">
                  <c:v>40603</c:v>
                </c:pt>
                <c:pt idx="179">
                  <c:v>40604</c:v>
                </c:pt>
                <c:pt idx="180">
                  <c:v>40605</c:v>
                </c:pt>
                <c:pt idx="181">
                  <c:v>40606</c:v>
                </c:pt>
                <c:pt idx="182">
                  <c:v>40609</c:v>
                </c:pt>
                <c:pt idx="183">
                  <c:v>40610</c:v>
                </c:pt>
                <c:pt idx="184">
                  <c:v>40611</c:v>
                </c:pt>
                <c:pt idx="185">
                  <c:v>40612</c:v>
                </c:pt>
                <c:pt idx="186">
                  <c:v>40613</c:v>
                </c:pt>
                <c:pt idx="187">
                  <c:v>40616</c:v>
                </c:pt>
                <c:pt idx="188">
                  <c:v>40617</c:v>
                </c:pt>
                <c:pt idx="189">
                  <c:v>40618</c:v>
                </c:pt>
                <c:pt idx="190">
                  <c:v>40619</c:v>
                </c:pt>
                <c:pt idx="191">
                  <c:v>40620</c:v>
                </c:pt>
                <c:pt idx="192">
                  <c:v>40623</c:v>
                </c:pt>
                <c:pt idx="193">
                  <c:v>40624</c:v>
                </c:pt>
                <c:pt idx="194">
                  <c:v>40625</c:v>
                </c:pt>
                <c:pt idx="195">
                  <c:v>40626</c:v>
                </c:pt>
                <c:pt idx="196">
                  <c:v>40627</c:v>
                </c:pt>
                <c:pt idx="197">
                  <c:v>40630</c:v>
                </c:pt>
                <c:pt idx="198">
                  <c:v>40631</c:v>
                </c:pt>
                <c:pt idx="199">
                  <c:v>40632</c:v>
                </c:pt>
                <c:pt idx="200">
                  <c:v>40633</c:v>
                </c:pt>
                <c:pt idx="201">
                  <c:v>40634</c:v>
                </c:pt>
                <c:pt idx="202">
                  <c:v>40637</c:v>
                </c:pt>
                <c:pt idx="203">
                  <c:v>40638</c:v>
                </c:pt>
                <c:pt idx="204">
                  <c:v>40639</c:v>
                </c:pt>
                <c:pt idx="205">
                  <c:v>40640</c:v>
                </c:pt>
                <c:pt idx="206">
                  <c:v>40641</c:v>
                </c:pt>
                <c:pt idx="207">
                  <c:v>40644</c:v>
                </c:pt>
                <c:pt idx="208">
                  <c:v>40645</c:v>
                </c:pt>
                <c:pt idx="209">
                  <c:v>40646</c:v>
                </c:pt>
                <c:pt idx="210">
                  <c:v>40647</c:v>
                </c:pt>
                <c:pt idx="211">
                  <c:v>40648</c:v>
                </c:pt>
                <c:pt idx="212">
                  <c:v>40651</c:v>
                </c:pt>
                <c:pt idx="213">
                  <c:v>40652</c:v>
                </c:pt>
                <c:pt idx="214">
                  <c:v>40653</c:v>
                </c:pt>
                <c:pt idx="215">
                  <c:v>40654</c:v>
                </c:pt>
                <c:pt idx="216">
                  <c:v>40655</c:v>
                </c:pt>
                <c:pt idx="217">
                  <c:v>40658</c:v>
                </c:pt>
                <c:pt idx="218">
                  <c:v>40659</c:v>
                </c:pt>
                <c:pt idx="219">
                  <c:v>40660</c:v>
                </c:pt>
                <c:pt idx="220">
                  <c:v>40661</c:v>
                </c:pt>
                <c:pt idx="221">
                  <c:v>40662</c:v>
                </c:pt>
                <c:pt idx="222">
                  <c:v>40665</c:v>
                </c:pt>
                <c:pt idx="223">
                  <c:v>40666</c:v>
                </c:pt>
                <c:pt idx="224">
                  <c:v>40667</c:v>
                </c:pt>
                <c:pt idx="225">
                  <c:v>40668</c:v>
                </c:pt>
                <c:pt idx="226">
                  <c:v>40669</c:v>
                </c:pt>
                <c:pt idx="227">
                  <c:v>40672</c:v>
                </c:pt>
                <c:pt idx="228">
                  <c:v>40673</c:v>
                </c:pt>
                <c:pt idx="229">
                  <c:v>40674</c:v>
                </c:pt>
                <c:pt idx="230">
                  <c:v>40675</c:v>
                </c:pt>
                <c:pt idx="231">
                  <c:v>40676</c:v>
                </c:pt>
                <c:pt idx="232">
                  <c:v>40679</c:v>
                </c:pt>
                <c:pt idx="233">
                  <c:v>40680</c:v>
                </c:pt>
                <c:pt idx="234">
                  <c:v>40681</c:v>
                </c:pt>
                <c:pt idx="235">
                  <c:v>40682</c:v>
                </c:pt>
                <c:pt idx="236">
                  <c:v>40683</c:v>
                </c:pt>
                <c:pt idx="237">
                  <c:v>40686</c:v>
                </c:pt>
                <c:pt idx="238">
                  <c:v>40687</c:v>
                </c:pt>
                <c:pt idx="239">
                  <c:v>40688</c:v>
                </c:pt>
                <c:pt idx="240">
                  <c:v>40689</c:v>
                </c:pt>
                <c:pt idx="241">
                  <c:v>40690</c:v>
                </c:pt>
                <c:pt idx="242">
                  <c:v>40693</c:v>
                </c:pt>
                <c:pt idx="243">
                  <c:v>40694</c:v>
                </c:pt>
                <c:pt idx="244">
                  <c:v>40695</c:v>
                </c:pt>
                <c:pt idx="245">
                  <c:v>40696</c:v>
                </c:pt>
                <c:pt idx="246">
                  <c:v>40697</c:v>
                </c:pt>
                <c:pt idx="247">
                  <c:v>40700</c:v>
                </c:pt>
                <c:pt idx="248">
                  <c:v>40701</c:v>
                </c:pt>
                <c:pt idx="249">
                  <c:v>40702</c:v>
                </c:pt>
                <c:pt idx="250">
                  <c:v>40703</c:v>
                </c:pt>
                <c:pt idx="251">
                  <c:v>40704</c:v>
                </c:pt>
                <c:pt idx="252">
                  <c:v>40707</c:v>
                </c:pt>
                <c:pt idx="253">
                  <c:v>40708</c:v>
                </c:pt>
                <c:pt idx="254">
                  <c:v>40709</c:v>
                </c:pt>
                <c:pt idx="255">
                  <c:v>40710</c:v>
                </c:pt>
                <c:pt idx="256">
                  <c:v>40711</c:v>
                </c:pt>
                <c:pt idx="257">
                  <c:v>40714</c:v>
                </c:pt>
                <c:pt idx="258">
                  <c:v>40715</c:v>
                </c:pt>
                <c:pt idx="259">
                  <c:v>40716</c:v>
                </c:pt>
                <c:pt idx="260">
                  <c:v>40717</c:v>
                </c:pt>
                <c:pt idx="261">
                  <c:v>40718</c:v>
                </c:pt>
                <c:pt idx="262">
                  <c:v>40721</c:v>
                </c:pt>
                <c:pt idx="263">
                  <c:v>40722</c:v>
                </c:pt>
                <c:pt idx="264">
                  <c:v>40723</c:v>
                </c:pt>
                <c:pt idx="265">
                  <c:v>40724</c:v>
                </c:pt>
                <c:pt idx="266">
                  <c:v>40725</c:v>
                </c:pt>
                <c:pt idx="267">
                  <c:v>40728</c:v>
                </c:pt>
                <c:pt idx="268">
                  <c:v>40729</c:v>
                </c:pt>
                <c:pt idx="269">
                  <c:v>40730</c:v>
                </c:pt>
                <c:pt idx="270">
                  <c:v>40731</c:v>
                </c:pt>
                <c:pt idx="271">
                  <c:v>40732</c:v>
                </c:pt>
                <c:pt idx="272">
                  <c:v>40735</c:v>
                </c:pt>
                <c:pt idx="273">
                  <c:v>40736</c:v>
                </c:pt>
                <c:pt idx="274">
                  <c:v>40737</c:v>
                </c:pt>
                <c:pt idx="275">
                  <c:v>40738</c:v>
                </c:pt>
                <c:pt idx="276">
                  <c:v>40739</c:v>
                </c:pt>
                <c:pt idx="277">
                  <c:v>40742</c:v>
                </c:pt>
                <c:pt idx="278">
                  <c:v>40743</c:v>
                </c:pt>
                <c:pt idx="279">
                  <c:v>40744</c:v>
                </c:pt>
                <c:pt idx="280">
                  <c:v>40745</c:v>
                </c:pt>
                <c:pt idx="281">
                  <c:v>40746</c:v>
                </c:pt>
                <c:pt idx="282">
                  <c:v>40749</c:v>
                </c:pt>
                <c:pt idx="283">
                  <c:v>40750</c:v>
                </c:pt>
                <c:pt idx="284">
                  <c:v>40751</c:v>
                </c:pt>
                <c:pt idx="285">
                  <c:v>40752</c:v>
                </c:pt>
                <c:pt idx="286">
                  <c:v>40753</c:v>
                </c:pt>
                <c:pt idx="287">
                  <c:v>40756</c:v>
                </c:pt>
                <c:pt idx="288">
                  <c:v>40757</c:v>
                </c:pt>
                <c:pt idx="289">
                  <c:v>40758</c:v>
                </c:pt>
                <c:pt idx="290">
                  <c:v>40759</c:v>
                </c:pt>
                <c:pt idx="291">
                  <c:v>40760</c:v>
                </c:pt>
                <c:pt idx="292">
                  <c:v>40763</c:v>
                </c:pt>
                <c:pt idx="293">
                  <c:v>40764</c:v>
                </c:pt>
                <c:pt idx="294">
                  <c:v>40765</c:v>
                </c:pt>
                <c:pt idx="295">
                  <c:v>40766</c:v>
                </c:pt>
                <c:pt idx="296">
                  <c:v>40767</c:v>
                </c:pt>
                <c:pt idx="297">
                  <c:v>40770</c:v>
                </c:pt>
                <c:pt idx="298">
                  <c:v>40771</c:v>
                </c:pt>
                <c:pt idx="299">
                  <c:v>40772</c:v>
                </c:pt>
                <c:pt idx="300">
                  <c:v>40773</c:v>
                </c:pt>
                <c:pt idx="301">
                  <c:v>40774</c:v>
                </c:pt>
                <c:pt idx="302">
                  <c:v>40777</c:v>
                </c:pt>
                <c:pt idx="303">
                  <c:v>40778</c:v>
                </c:pt>
                <c:pt idx="304">
                  <c:v>40779</c:v>
                </c:pt>
                <c:pt idx="305">
                  <c:v>40780</c:v>
                </c:pt>
                <c:pt idx="306">
                  <c:v>40781</c:v>
                </c:pt>
                <c:pt idx="307">
                  <c:v>40784</c:v>
                </c:pt>
                <c:pt idx="308">
                  <c:v>40785</c:v>
                </c:pt>
                <c:pt idx="309">
                  <c:v>40786</c:v>
                </c:pt>
                <c:pt idx="310">
                  <c:v>40787</c:v>
                </c:pt>
                <c:pt idx="311">
                  <c:v>40788</c:v>
                </c:pt>
                <c:pt idx="312">
                  <c:v>40791</c:v>
                </c:pt>
                <c:pt idx="313">
                  <c:v>40792</c:v>
                </c:pt>
                <c:pt idx="314">
                  <c:v>40793</c:v>
                </c:pt>
                <c:pt idx="315">
                  <c:v>40794</c:v>
                </c:pt>
                <c:pt idx="316">
                  <c:v>40795</c:v>
                </c:pt>
                <c:pt idx="317">
                  <c:v>40798</c:v>
                </c:pt>
                <c:pt idx="318">
                  <c:v>40799</c:v>
                </c:pt>
                <c:pt idx="319">
                  <c:v>40800</c:v>
                </c:pt>
                <c:pt idx="320">
                  <c:v>40801</c:v>
                </c:pt>
                <c:pt idx="321">
                  <c:v>40802</c:v>
                </c:pt>
                <c:pt idx="322">
                  <c:v>40805</c:v>
                </c:pt>
                <c:pt idx="323">
                  <c:v>40806</c:v>
                </c:pt>
                <c:pt idx="324">
                  <c:v>40807</c:v>
                </c:pt>
                <c:pt idx="325">
                  <c:v>40808</c:v>
                </c:pt>
                <c:pt idx="326">
                  <c:v>40809</c:v>
                </c:pt>
                <c:pt idx="327">
                  <c:v>40812</c:v>
                </c:pt>
                <c:pt idx="328">
                  <c:v>40813</c:v>
                </c:pt>
                <c:pt idx="329">
                  <c:v>40814</c:v>
                </c:pt>
                <c:pt idx="330">
                  <c:v>40815</c:v>
                </c:pt>
                <c:pt idx="331">
                  <c:v>40816</c:v>
                </c:pt>
                <c:pt idx="332">
                  <c:v>40819</c:v>
                </c:pt>
                <c:pt idx="333">
                  <c:v>40820</c:v>
                </c:pt>
                <c:pt idx="334">
                  <c:v>40821</c:v>
                </c:pt>
                <c:pt idx="335">
                  <c:v>40822</c:v>
                </c:pt>
                <c:pt idx="336">
                  <c:v>40823</c:v>
                </c:pt>
                <c:pt idx="337">
                  <c:v>40826</c:v>
                </c:pt>
                <c:pt idx="338">
                  <c:v>40827</c:v>
                </c:pt>
                <c:pt idx="339">
                  <c:v>40828</c:v>
                </c:pt>
                <c:pt idx="340">
                  <c:v>40829</c:v>
                </c:pt>
                <c:pt idx="341">
                  <c:v>40830</c:v>
                </c:pt>
                <c:pt idx="342">
                  <c:v>40833</c:v>
                </c:pt>
                <c:pt idx="343">
                  <c:v>40834</c:v>
                </c:pt>
                <c:pt idx="344">
                  <c:v>40835</c:v>
                </c:pt>
                <c:pt idx="345">
                  <c:v>40836</c:v>
                </c:pt>
                <c:pt idx="346">
                  <c:v>40837</c:v>
                </c:pt>
                <c:pt idx="347">
                  <c:v>40840</c:v>
                </c:pt>
                <c:pt idx="348">
                  <c:v>40841</c:v>
                </c:pt>
                <c:pt idx="349">
                  <c:v>40842</c:v>
                </c:pt>
                <c:pt idx="350">
                  <c:v>40843</c:v>
                </c:pt>
                <c:pt idx="351">
                  <c:v>40844</c:v>
                </c:pt>
                <c:pt idx="352">
                  <c:v>40847</c:v>
                </c:pt>
                <c:pt idx="353">
                  <c:v>40848</c:v>
                </c:pt>
                <c:pt idx="354">
                  <c:v>40849</c:v>
                </c:pt>
                <c:pt idx="355">
                  <c:v>40850</c:v>
                </c:pt>
                <c:pt idx="356">
                  <c:v>40851</c:v>
                </c:pt>
                <c:pt idx="357">
                  <c:v>40854</c:v>
                </c:pt>
                <c:pt idx="358">
                  <c:v>40855</c:v>
                </c:pt>
                <c:pt idx="359">
                  <c:v>40856</c:v>
                </c:pt>
                <c:pt idx="360">
                  <c:v>40857</c:v>
                </c:pt>
                <c:pt idx="361">
                  <c:v>40858</c:v>
                </c:pt>
                <c:pt idx="362">
                  <c:v>40861</c:v>
                </c:pt>
                <c:pt idx="363">
                  <c:v>40862</c:v>
                </c:pt>
                <c:pt idx="364">
                  <c:v>40863</c:v>
                </c:pt>
                <c:pt idx="365">
                  <c:v>40864</c:v>
                </c:pt>
                <c:pt idx="366">
                  <c:v>40865</c:v>
                </c:pt>
                <c:pt idx="367">
                  <c:v>40868</c:v>
                </c:pt>
                <c:pt idx="368">
                  <c:v>40869</c:v>
                </c:pt>
                <c:pt idx="369">
                  <c:v>40870</c:v>
                </c:pt>
                <c:pt idx="370">
                  <c:v>40871</c:v>
                </c:pt>
                <c:pt idx="371">
                  <c:v>40872</c:v>
                </c:pt>
                <c:pt idx="372">
                  <c:v>40875</c:v>
                </c:pt>
                <c:pt idx="373">
                  <c:v>40876</c:v>
                </c:pt>
                <c:pt idx="374">
                  <c:v>40877</c:v>
                </c:pt>
                <c:pt idx="375">
                  <c:v>40878</c:v>
                </c:pt>
                <c:pt idx="376">
                  <c:v>40879</c:v>
                </c:pt>
                <c:pt idx="377">
                  <c:v>40882</c:v>
                </c:pt>
                <c:pt idx="378">
                  <c:v>40883</c:v>
                </c:pt>
                <c:pt idx="379">
                  <c:v>40884</c:v>
                </c:pt>
                <c:pt idx="380">
                  <c:v>40885</c:v>
                </c:pt>
                <c:pt idx="381">
                  <c:v>40886</c:v>
                </c:pt>
                <c:pt idx="382">
                  <c:v>40889</c:v>
                </c:pt>
                <c:pt idx="383">
                  <c:v>40890</c:v>
                </c:pt>
                <c:pt idx="384">
                  <c:v>40891</c:v>
                </c:pt>
                <c:pt idx="385">
                  <c:v>40892</c:v>
                </c:pt>
                <c:pt idx="386">
                  <c:v>40893</c:v>
                </c:pt>
                <c:pt idx="387">
                  <c:v>40896</c:v>
                </c:pt>
                <c:pt idx="388">
                  <c:v>40897</c:v>
                </c:pt>
                <c:pt idx="389">
                  <c:v>40898</c:v>
                </c:pt>
                <c:pt idx="390">
                  <c:v>40899</c:v>
                </c:pt>
                <c:pt idx="391">
                  <c:v>40900</c:v>
                </c:pt>
                <c:pt idx="392">
                  <c:v>40903</c:v>
                </c:pt>
                <c:pt idx="393">
                  <c:v>40904</c:v>
                </c:pt>
                <c:pt idx="394">
                  <c:v>40905</c:v>
                </c:pt>
                <c:pt idx="395">
                  <c:v>40906</c:v>
                </c:pt>
                <c:pt idx="396">
                  <c:v>40907</c:v>
                </c:pt>
                <c:pt idx="397">
                  <c:v>40910</c:v>
                </c:pt>
                <c:pt idx="398">
                  <c:v>40911</c:v>
                </c:pt>
                <c:pt idx="399">
                  <c:v>40912</c:v>
                </c:pt>
                <c:pt idx="400">
                  <c:v>40913</c:v>
                </c:pt>
                <c:pt idx="401">
                  <c:v>40914</c:v>
                </c:pt>
                <c:pt idx="402">
                  <c:v>40917</c:v>
                </c:pt>
                <c:pt idx="403">
                  <c:v>40918</c:v>
                </c:pt>
                <c:pt idx="404">
                  <c:v>40919</c:v>
                </c:pt>
                <c:pt idx="405">
                  <c:v>40920</c:v>
                </c:pt>
                <c:pt idx="406">
                  <c:v>40921</c:v>
                </c:pt>
                <c:pt idx="407">
                  <c:v>40924</c:v>
                </c:pt>
                <c:pt idx="408">
                  <c:v>40925</c:v>
                </c:pt>
                <c:pt idx="409">
                  <c:v>40926</c:v>
                </c:pt>
                <c:pt idx="410">
                  <c:v>40927</c:v>
                </c:pt>
                <c:pt idx="411">
                  <c:v>40928</c:v>
                </c:pt>
                <c:pt idx="412">
                  <c:v>40931</c:v>
                </c:pt>
                <c:pt idx="413">
                  <c:v>40932</c:v>
                </c:pt>
                <c:pt idx="414">
                  <c:v>40933</c:v>
                </c:pt>
                <c:pt idx="415">
                  <c:v>40934</c:v>
                </c:pt>
                <c:pt idx="416">
                  <c:v>40935</c:v>
                </c:pt>
                <c:pt idx="417">
                  <c:v>40938</c:v>
                </c:pt>
                <c:pt idx="418">
                  <c:v>40939</c:v>
                </c:pt>
                <c:pt idx="419">
                  <c:v>40940</c:v>
                </c:pt>
                <c:pt idx="420">
                  <c:v>40941</c:v>
                </c:pt>
                <c:pt idx="421">
                  <c:v>40942</c:v>
                </c:pt>
                <c:pt idx="422">
                  <c:v>40945</c:v>
                </c:pt>
                <c:pt idx="423">
                  <c:v>40946</c:v>
                </c:pt>
                <c:pt idx="424">
                  <c:v>40947</c:v>
                </c:pt>
                <c:pt idx="425">
                  <c:v>40948</c:v>
                </c:pt>
                <c:pt idx="426">
                  <c:v>40949</c:v>
                </c:pt>
                <c:pt idx="427">
                  <c:v>40952</c:v>
                </c:pt>
                <c:pt idx="428">
                  <c:v>40953</c:v>
                </c:pt>
                <c:pt idx="429">
                  <c:v>40954</c:v>
                </c:pt>
                <c:pt idx="430">
                  <c:v>40955</c:v>
                </c:pt>
                <c:pt idx="431">
                  <c:v>40956</c:v>
                </c:pt>
                <c:pt idx="432">
                  <c:v>40959</c:v>
                </c:pt>
                <c:pt idx="433">
                  <c:v>40960</c:v>
                </c:pt>
                <c:pt idx="434">
                  <c:v>40961</c:v>
                </c:pt>
                <c:pt idx="435">
                  <c:v>40962</c:v>
                </c:pt>
                <c:pt idx="436">
                  <c:v>40963</c:v>
                </c:pt>
                <c:pt idx="437">
                  <c:v>40966</c:v>
                </c:pt>
                <c:pt idx="438">
                  <c:v>40967</c:v>
                </c:pt>
                <c:pt idx="439">
                  <c:v>40968</c:v>
                </c:pt>
                <c:pt idx="440">
                  <c:v>40969</c:v>
                </c:pt>
                <c:pt idx="441">
                  <c:v>40970</c:v>
                </c:pt>
                <c:pt idx="442">
                  <c:v>40973</c:v>
                </c:pt>
                <c:pt idx="443">
                  <c:v>40974</c:v>
                </c:pt>
                <c:pt idx="444">
                  <c:v>40975</c:v>
                </c:pt>
                <c:pt idx="445">
                  <c:v>40976</c:v>
                </c:pt>
                <c:pt idx="446">
                  <c:v>40977</c:v>
                </c:pt>
                <c:pt idx="447">
                  <c:v>40980</c:v>
                </c:pt>
                <c:pt idx="448">
                  <c:v>40981</c:v>
                </c:pt>
                <c:pt idx="449">
                  <c:v>40982</c:v>
                </c:pt>
                <c:pt idx="450">
                  <c:v>40983</c:v>
                </c:pt>
                <c:pt idx="451">
                  <c:v>40984</c:v>
                </c:pt>
                <c:pt idx="452">
                  <c:v>40987</c:v>
                </c:pt>
                <c:pt idx="453">
                  <c:v>40988</c:v>
                </c:pt>
                <c:pt idx="454">
                  <c:v>40989</c:v>
                </c:pt>
                <c:pt idx="455">
                  <c:v>40990</c:v>
                </c:pt>
                <c:pt idx="456">
                  <c:v>40991</c:v>
                </c:pt>
                <c:pt idx="457">
                  <c:v>40994</c:v>
                </c:pt>
                <c:pt idx="458">
                  <c:v>40995</c:v>
                </c:pt>
                <c:pt idx="459">
                  <c:v>40996</c:v>
                </c:pt>
                <c:pt idx="460">
                  <c:v>40997</c:v>
                </c:pt>
                <c:pt idx="461">
                  <c:v>40998</c:v>
                </c:pt>
                <c:pt idx="462">
                  <c:v>41001</c:v>
                </c:pt>
                <c:pt idx="463">
                  <c:v>41002</c:v>
                </c:pt>
                <c:pt idx="464">
                  <c:v>41003</c:v>
                </c:pt>
                <c:pt idx="465">
                  <c:v>41004</c:v>
                </c:pt>
                <c:pt idx="466">
                  <c:v>41005</c:v>
                </c:pt>
                <c:pt idx="467">
                  <c:v>41008</c:v>
                </c:pt>
                <c:pt idx="468">
                  <c:v>41009</c:v>
                </c:pt>
                <c:pt idx="469">
                  <c:v>41010</c:v>
                </c:pt>
                <c:pt idx="470">
                  <c:v>41011</c:v>
                </c:pt>
                <c:pt idx="471">
                  <c:v>41012</c:v>
                </c:pt>
                <c:pt idx="472">
                  <c:v>41015</c:v>
                </c:pt>
                <c:pt idx="473">
                  <c:v>41016</c:v>
                </c:pt>
                <c:pt idx="474">
                  <c:v>41017</c:v>
                </c:pt>
                <c:pt idx="475">
                  <c:v>41018</c:v>
                </c:pt>
                <c:pt idx="476">
                  <c:v>41019</c:v>
                </c:pt>
                <c:pt idx="477">
                  <c:v>41022</c:v>
                </c:pt>
                <c:pt idx="478">
                  <c:v>41023</c:v>
                </c:pt>
                <c:pt idx="479">
                  <c:v>41024</c:v>
                </c:pt>
                <c:pt idx="480">
                  <c:v>41025</c:v>
                </c:pt>
                <c:pt idx="481">
                  <c:v>41026</c:v>
                </c:pt>
                <c:pt idx="482">
                  <c:v>41029</c:v>
                </c:pt>
                <c:pt idx="483">
                  <c:v>41030</c:v>
                </c:pt>
                <c:pt idx="484">
                  <c:v>41031</c:v>
                </c:pt>
                <c:pt idx="485">
                  <c:v>41032</c:v>
                </c:pt>
                <c:pt idx="486">
                  <c:v>41033</c:v>
                </c:pt>
                <c:pt idx="487">
                  <c:v>41036</c:v>
                </c:pt>
                <c:pt idx="488">
                  <c:v>41037</c:v>
                </c:pt>
                <c:pt idx="489">
                  <c:v>41038</c:v>
                </c:pt>
                <c:pt idx="490">
                  <c:v>41039</c:v>
                </c:pt>
                <c:pt idx="491">
                  <c:v>41040</c:v>
                </c:pt>
                <c:pt idx="492">
                  <c:v>41043</c:v>
                </c:pt>
                <c:pt idx="493">
                  <c:v>41044</c:v>
                </c:pt>
                <c:pt idx="494">
                  <c:v>41045</c:v>
                </c:pt>
                <c:pt idx="495">
                  <c:v>41046</c:v>
                </c:pt>
                <c:pt idx="496">
                  <c:v>41047</c:v>
                </c:pt>
                <c:pt idx="497">
                  <c:v>41050</c:v>
                </c:pt>
                <c:pt idx="498">
                  <c:v>41051</c:v>
                </c:pt>
                <c:pt idx="499">
                  <c:v>41052</c:v>
                </c:pt>
                <c:pt idx="500">
                  <c:v>41053</c:v>
                </c:pt>
                <c:pt idx="501">
                  <c:v>41054</c:v>
                </c:pt>
                <c:pt idx="502">
                  <c:v>41057</c:v>
                </c:pt>
                <c:pt idx="503">
                  <c:v>41058</c:v>
                </c:pt>
                <c:pt idx="504">
                  <c:v>41059</c:v>
                </c:pt>
                <c:pt idx="505">
                  <c:v>41060</c:v>
                </c:pt>
                <c:pt idx="506">
                  <c:v>41061</c:v>
                </c:pt>
                <c:pt idx="507">
                  <c:v>41064</c:v>
                </c:pt>
                <c:pt idx="508">
                  <c:v>41065</c:v>
                </c:pt>
                <c:pt idx="509">
                  <c:v>41066</c:v>
                </c:pt>
                <c:pt idx="510">
                  <c:v>41067</c:v>
                </c:pt>
                <c:pt idx="511">
                  <c:v>41068</c:v>
                </c:pt>
                <c:pt idx="512">
                  <c:v>41071</c:v>
                </c:pt>
                <c:pt idx="513">
                  <c:v>41072</c:v>
                </c:pt>
                <c:pt idx="514">
                  <c:v>41073</c:v>
                </c:pt>
                <c:pt idx="515">
                  <c:v>41074</c:v>
                </c:pt>
                <c:pt idx="516">
                  <c:v>41075</c:v>
                </c:pt>
                <c:pt idx="517">
                  <c:v>41078</c:v>
                </c:pt>
                <c:pt idx="518">
                  <c:v>41079</c:v>
                </c:pt>
                <c:pt idx="519">
                  <c:v>41080</c:v>
                </c:pt>
                <c:pt idx="520">
                  <c:v>41081</c:v>
                </c:pt>
                <c:pt idx="521">
                  <c:v>41082</c:v>
                </c:pt>
                <c:pt idx="522">
                  <c:v>41085</c:v>
                </c:pt>
                <c:pt idx="523">
                  <c:v>41086</c:v>
                </c:pt>
                <c:pt idx="524">
                  <c:v>41087</c:v>
                </c:pt>
                <c:pt idx="525">
                  <c:v>41088</c:v>
                </c:pt>
                <c:pt idx="526">
                  <c:v>41089</c:v>
                </c:pt>
                <c:pt idx="527">
                  <c:v>41092</c:v>
                </c:pt>
                <c:pt idx="528">
                  <c:v>41093</c:v>
                </c:pt>
                <c:pt idx="529">
                  <c:v>41094</c:v>
                </c:pt>
                <c:pt idx="530">
                  <c:v>41095</c:v>
                </c:pt>
                <c:pt idx="531">
                  <c:v>41096</c:v>
                </c:pt>
                <c:pt idx="532">
                  <c:v>41099</c:v>
                </c:pt>
                <c:pt idx="533">
                  <c:v>41100</c:v>
                </c:pt>
                <c:pt idx="534">
                  <c:v>41101</c:v>
                </c:pt>
                <c:pt idx="535">
                  <c:v>41102</c:v>
                </c:pt>
                <c:pt idx="536">
                  <c:v>41103</c:v>
                </c:pt>
                <c:pt idx="537">
                  <c:v>41106</c:v>
                </c:pt>
                <c:pt idx="538">
                  <c:v>41107</c:v>
                </c:pt>
                <c:pt idx="539">
                  <c:v>41108</c:v>
                </c:pt>
                <c:pt idx="540">
                  <c:v>41109</c:v>
                </c:pt>
                <c:pt idx="541">
                  <c:v>41110</c:v>
                </c:pt>
                <c:pt idx="542">
                  <c:v>41113</c:v>
                </c:pt>
                <c:pt idx="543">
                  <c:v>41114</c:v>
                </c:pt>
                <c:pt idx="544">
                  <c:v>41115</c:v>
                </c:pt>
                <c:pt idx="545">
                  <c:v>41116</c:v>
                </c:pt>
                <c:pt idx="546">
                  <c:v>41117</c:v>
                </c:pt>
                <c:pt idx="547">
                  <c:v>41120</c:v>
                </c:pt>
                <c:pt idx="548">
                  <c:v>41121</c:v>
                </c:pt>
                <c:pt idx="549">
                  <c:v>41122</c:v>
                </c:pt>
                <c:pt idx="550">
                  <c:v>41123</c:v>
                </c:pt>
                <c:pt idx="551">
                  <c:v>41124</c:v>
                </c:pt>
                <c:pt idx="552">
                  <c:v>41127</c:v>
                </c:pt>
                <c:pt idx="553">
                  <c:v>41128</c:v>
                </c:pt>
                <c:pt idx="554">
                  <c:v>41129</c:v>
                </c:pt>
                <c:pt idx="555">
                  <c:v>41130</c:v>
                </c:pt>
                <c:pt idx="556">
                  <c:v>41131</c:v>
                </c:pt>
                <c:pt idx="557">
                  <c:v>41134</c:v>
                </c:pt>
                <c:pt idx="558">
                  <c:v>41135</c:v>
                </c:pt>
                <c:pt idx="559">
                  <c:v>41136</c:v>
                </c:pt>
                <c:pt idx="560">
                  <c:v>41137</c:v>
                </c:pt>
                <c:pt idx="561">
                  <c:v>41138</c:v>
                </c:pt>
                <c:pt idx="562">
                  <c:v>41141</c:v>
                </c:pt>
                <c:pt idx="563">
                  <c:v>41142</c:v>
                </c:pt>
                <c:pt idx="564">
                  <c:v>41143</c:v>
                </c:pt>
                <c:pt idx="565">
                  <c:v>41144</c:v>
                </c:pt>
                <c:pt idx="566">
                  <c:v>41145</c:v>
                </c:pt>
                <c:pt idx="567">
                  <c:v>41148</c:v>
                </c:pt>
                <c:pt idx="568">
                  <c:v>41149</c:v>
                </c:pt>
                <c:pt idx="569">
                  <c:v>41150</c:v>
                </c:pt>
                <c:pt idx="570">
                  <c:v>41151</c:v>
                </c:pt>
                <c:pt idx="571">
                  <c:v>41152</c:v>
                </c:pt>
                <c:pt idx="572">
                  <c:v>41155</c:v>
                </c:pt>
                <c:pt idx="573">
                  <c:v>41156</c:v>
                </c:pt>
                <c:pt idx="574">
                  <c:v>41157</c:v>
                </c:pt>
                <c:pt idx="575">
                  <c:v>41158</c:v>
                </c:pt>
                <c:pt idx="576">
                  <c:v>41159</c:v>
                </c:pt>
                <c:pt idx="577">
                  <c:v>41162</c:v>
                </c:pt>
                <c:pt idx="578">
                  <c:v>41163</c:v>
                </c:pt>
                <c:pt idx="579">
                  <c:v>41164</c:v>
                </c:pt>
                <c:pt idx="580">
                  <c:v>41165</c:v>
                </c:pt>
                <c:pt idx="581">
                  <c:v>41166</c:v>
                </c:pt>
                <c:pt idx="582">
                  <c:v>41169</c:v>
                </c:pt>
                <c:pt idx="583">
                  <c:v>41170</c:v>
                </c:pt>
                <c:pt idx="584">
                  <c:v>41171</c:v>
                </c:pt>
                <c:pt idx="585">
                  <c:v>41172</c:v>
                </c:pt>
                <c:pt idx="586">
                  <c:v>41173</c:v>
                </c:pt>
                <c:pt idx="587">
                  <c:v>41176</c:v>
                </c:pt>
                <c:pt idx="588">
                  <c:v>41177</c:v>
                </c:pt>
                <c:pt idx="589">
                  <c:v>41178</c:v>
                </c:pt>
                <c:pt idx="590">
                  <c:v>41179</c:v>
                </c:pt>
                <c:pt idx="591">
                  <c:v>41180</c:v>
                </c:pt>
                <c:pt idx="592">
                  <c:v>41183</c:v>
                </c:pt>
                <c:pt idx="593">
                  <c:v>41184</c:v>
                </c:pt>
                <c:pt idx="594">
                  <c:v>41185</c:v>
                </c:pt>
                <c:pt idx="595">
                  <c:v>41186</c:v>
                </c:pt>
                <c:pt idx="596">
                  <c:v>41187</c:v>
                </c:pt>
                <c:pt idx="597">
                  <c:v>41190</c:v>
                </c:pt>
                <c:pt idx="598">
                  <c:v>41191</c:v>
                </c:pt>
                <c:pt idx="599">
                  <c:v>41192</c:v>
                </c:pt>
                <c:pt idx="600">
                  <c:v>41193</c:v>
                </c:pt>
                <c:pt idx="601">
                  <c:v>41194</c:v>
                </c:pt>
                <c:pt idx="602">
                  <c:v>41197</c:v>
                </c:pt>
                <c:pt idx="603">
                  <c:v>41198</c:v>
                </c:pt>
                <c:pt idx="604">
                  <c:v>41199</c:v>
                </c:pt>
                <c:pt idx="605">
                  <c:v>41200</c:v>
                </c:pt>
                <c:pt idx="606">
                  <c:v>41201</c:v>
                </c:pt>
                <c:pt idx="607">
                  <c:v>41204</c:v>
                </c:pt>
                <c:pt idx="608">
                  <c:v>41205</c:v>
                </c:pt>
                <c:pt idx="609">
                  <c:v>41206</c:v>
                </c:pt>
                <c:pt idx="610">
                  <c:v>41207</c:v>
                </c:pt>
                <c:pt idx="611">
                  <c:v>41208</c:v>
                </c:pt>
                <c:pt idx="612">
                  <c:v>41211</c:v>
                </c:pt>
                <c:pt idx="613">
                  <c:v>41212</c:v>
                </c:pt>
                <c:pt idx="614">
                  <c:v>41213</c:v>
                </c:pt>
                <c:pt idx="615">
                  <c:v>41214</c:v>
                </c:pt>
                <c:pt idx="616">
                  <c:v>41215</c:v>
                </c:pt>
                <c:pt idx="617">
                  <c:v>41218</c:v>
                </c:pt>
                <c:pt idx="618">
                  <c:v>41219</c:v>
                </c:pt>
                <c:pt idx="619">
                  <c:v>41220</c:v>
                </c:pt>
                <c:pt idx="620">
                  <c:v>41221</c:v>
                </c:pt>
                <c:pt idx="621">
                  <c:v>41222</c:v>
                </c:pt>
                <c:pt idx="622">
                  <c:v>41225</c:v>
                </c:pt>
                <c:pt idx="623">
                  <c:v>41226</c:v>
                </c:pt>
                <c:pt idx="624">
                  <c:v>41227</c:v>
                </c:pt>
                <c:pt idx="625">
                  <c:v>41228</c:v>
                </c:pt>
                <c:pt idx="626">
                  <c:v>41229</c:v>
                </c:pt>
                <c:pt idx="627">
                  <c:v>41232</c:v>
                </c:pt>
                <c:pt idx="628">
                  <c:v>41233</c:v>
                </c:pt>
                <c:pt idx="629">
                  <c:v>41234</c:v>
                </c:pt>
                <c:pt idx="630">
                  <c:v>41235</c:v>
                </c:pt>
                <c:pt idx="631">
                  <c:v>41236</c:v>
                </c:pt>
                <c:pt idx="632">
                  <c:v>41239</c:v>
                </c:pt>
                <c:pt idx="633">
                  <c:v>41240</c:v>
                </c:pt>
                <c:pt idx="634">
                  <c:v>41241</c:v>
                </c:pt>
                <c:pt idx="635">
                  <c:v>41242</c:v>
                </c:pt>
                <c:pt idx="636">
                  <c:v>41243</c:v>
                </c:pt>
                <c:pt idx="637">
                  <c:v>41246</c:v>
                </c:pt>
                <c:pt idx="638">
                  <c:v>41247</c:v>
                </c:pt>
                <c:pt idx="639">
                  <c:v>41248</c:v>
                </c:pt>
                <c:pt idx="640">
                  <c:v>41249</c:v>
                </c:pt>
                <c:pt idx="641">
                  <c:v>41250</c:v>
                </c:pt>
                <c:pt idx="642">
                  <c:v>41253</c:v>
                </c:pt>
                <c:pt idx="643">
                  <c:v>41254</c:v>
                </c:pt>
                <c:pt idx="644">
                  <c:v>41255</c:v>
                </c:pt>
                <c:pt idx="645">
                  <c:v>41256</c:v>
                </c:pt>
                <c:pt idx="646">
                  <c:v>41257</c:v>
                </c:pt>
                <c:pt idx="647">
                  <c:v>41260</c:v>
                </c:pt>
                <c:pt idx="648">
                  <c:v>41261</c:v>
                </c:pt>
                <c:pt idx="649">
                  <c:v>41262</c:v>
                </c:pt>
                <c:pt idx="650">
                  <c:v>41263</c:v>
                </c:pt>
                <c:pt idx="651">
                  <c:v>41264</c:v>
                </c:pt>
                <c:pt idx="652">
                  <c:v>41267</c:v>
                </c:pt>
                <c:pt idx="653">
                  <c:v>41268</c:v>
                </c:pt>
                <c:pt idx="654">
                  <c:v>41269</c:v>
                </c:pt>
                <c:pt idx="655">
                  <c:v>41270</c:v>
                </c:pt>
                <c:pt idx="656">
                  <c:v>41271</c:v>
                </c:pt>
                <c:pt idx="657">
                  <c:v>41274</c:v>
                </c:pt>
                <c:pt idx="658">
                  <c:v>41275</c:v>
                </c:pt>
                <c:pt idx="659">
                  <c:v>41276</c:v>
                </c:pt>
                <c:pt idx="660">
                  <c:v>41277</c:v>
                </c:pt>
                <c:pt idx="661">
                  <c:v>41278</c:v>
                </c:pt>
                <c:pt idx="662">
                  <c:v>41281</c:v>
                </c:pt>
                <c:pt idx="663">
                  <c:v>41282</c:v>
                </c:pt>
                <c:pt idx="664">
                  <c:v>41283</c:v>
                </c:pt>
                <c:pt idx="665">
                  <c:v>41284</c:v>
                </c:pt>
                <c:pt idx="666">
                  <c:v>41285</c:v>
                </c:pt>
                <c:pt idx="667">
                  <c:v>41288</c:v>
                </c:pt>
                <c:pt idx="668">
                  <c:v>41289</c:v>
                </c:pt>
                <c:pt idx="669">
                  <c:v>41290</c:v>
                </c:pt>
                <c:pt idx="670">
                  <c:v>41291</c:v>
                </c:pt>
                <c:pt idx="671">
                  <c:v>41292</c:v>
                </c:pt>
                <c:pt idx="672">
                  <c:v>41295</c:v>
                </c:pt>
                <c:pt idx="673">
                  <c:v>41296</c:v>
                </c:pt>
                <c:pt idx="674">
                  <c:v>41297</c:v>
                </c:pt>
                <c:pt idx="675">
                  <c:v>41298</c:v>
                </c:pt>
                <c:pt idx="676">
                  <c:v>41299</c:v>
                </c:pt>
                <c:pt idx="677">
                  <c:v>41302</c:v>
                </c:pt>
                <c:pt idx="678">
                  <c:v>41303</c:v>
                </c:pt>
                <c:pt idx="679">
                  <c:v>41304</c:v>
                </c:pt>
                <c:pt idx="680">
                  <c:v>41305</c:v>
                </c:pt>
                <c:pt idx="681">
                  <c:v>41306</c:v>
                </c:pt>
                <c:pt idx="682">
                  <c:v>41309</c:v>
                </c:pt>
                <c:pt idx="683">
                  <c:v>41310</c:v>
                </c:pt>
                <c:pt idx="684">
                  <c:v>41311</c:v>
                </c:pt>
                <c:pt idx="685">
                  <c:v>41312</c:v>
                </c:pt>
                <c:pt idx="686">
                  <c:v>41313</c:v>
                </c:pt>
                <c:pt idx="687">
                  <c:v>41316</c:v>
                </c:pt>
                <c:pt idx="688">
                  <c:v>41317</c:v>
                </c:pt>
                <c:pt idx="689">
                  <c:v>41318</c:v>
                </c:pt>
                <c:pt idx="690">
                  <c:v>41319</c:v>
                </c:pt>
                <c:pt idx="691">
                  <c:v>41320</c:v>
                </c:pt>
                <c:pt idx="692">
                  <c:v>41323</c:v>
                </c:pt>
                <c:pt idx="693">
                  <c:v>41324</c:v>
                </c:pt>
                <c:pt idx="694">
                  <c:v>41325</c:v>
                </c:pt>
                <c:pt idx="695">
                  <c:v>41326</c:v>
                </c:pt>
                <c:pt idx="696">
                  <c:v>41327</c:v>
                </c:pt>
                <c:pt idx="697">
                  <c:v>41330</c:v>
                </c:pt>
                <c:pt idx="698">
                  <c:v>41331</c:v>
                </c:pt>
                <c:pt idx="699">
                  <c:v>41332</c:v>
                </c:pt>
                <c:pt idx="700">
                  <c:v>41333</c:v>
                </c:pt>
                <c:pt idx="701">
                  <c:v>41334</c:v>
                </c:pt>
                <c:pt idx="702">
                  <c:v>41337</c:v>
                </c:pt>
                <c:pt idx="703">
                  <c:v>41338</c:v>
                </c:pt>
                <c:pt idx="704">
                  <c:v>41339</c:v>
                </c:pt>
                <c:pt idx="705">
                  <c:v>41340</c:v>
                </c:pt>
                <c:pt idx="706">
                  <c:v>41341</c:v>
                </c:pt>
                <c:pt idx="707">
                  <c:v>41344</c:v>
                </c:pt>
                <c:pt idx="708">
                  <c:v>41345</c:v>
                </c:pt>
                <c:pt idx="709">
                  <c:v>41346</c:v>
                </c:pt>
                <c:pt idx="710">
                  <c:v>41347</c:v>
                </c:pt>
                <c:pt idx="711">
                  <c:v>41348</c:v>
                </c:pt>
                <c:pt idx="712">
                  <c:v>41351</c:v>
                </c:pt>
                <c:pt idx="713">
                  <c:v>41352</c:v>
                </c:pt>
                <c:pt idx="714">
                  <c:v>41353</c:v>
                </c:pt>
                <c:pt idx="715">
                  <c:v>41354</c:v>
                </c:pt>
                <c:pt idx="716">
                  <c:v>41355</c:v>
                </c:pt>
                <c:pt idx="717">
                  <c:v>41358</c:v>
                </c:pt>
                <c:pt idx="718">
                  <c:v>41359</c:v>
                </c:pt>
                <c:pt idx="719">
                  <c:v>41360</c:v>
                </c:pt>
                <c:pt idx="720">
                  <c:v>41361</c:v>
                </c:pt>
                <c:pt idx="721">
                  <c:v>41362</c:v>
                </c:pt>
                <c:pt idx="722">
                  <c:v>41365</c:v>
                </c:pt>
                <c:pt idx="723">
                  <c:v>41366</c:v>
                </c:pt>
                <c:pt idx="724">
                  <c:v>41367</c:v>
                </c:pt>
                <c:pt idx="725">
                  <c:v>41368</c:v>
                </c:pt>
                <c:pt idx="726">
                  <c:v>41369</c:v>
                </c:pt>
                <c:pt idx="727">
                  <c:v>41372</c:v>
                </c:pt>
                <c:pt idx="728">
                  <c:v>41373</c:v>
                </c:pt>
                <c:pt idx="729">
                  <c:v>41374</c:v>
                </c:pt>
                <c:pt idx="730">
                  <c:v>41375</c:v>
                </c:pt>
                <c:pt idx="731">
                  <c:v>41376</c:v>
                </c:pt>
                <c:pt idx="732">
                  <c:v>41379</c:v>
                </c:pt>
                <c:pt idx="733">
                  <c:v>41380</c:v>
                </c:pt>
                <c:pt idx="734">
                  <c:v>41381</c:v>
                </c:pt>
                <c:pt idx="735">
                  <c:v>41382</c:v>
                </c:pt>
                <c:pt idx="736">
                  <c:v>41383</c:v>
                </c:pt>
                <c:pt idx="737">
                  <c:v>41386</c:v>
                </c:pt>
                <c:pt idx="738">
                  <c:v>41387</c:v>
                </c:pt>
                <c:pt idx="739">
                  <c:v>41388</c:v>
                </c:pt>
                <c:pt idx="740">
                  <c:v>41389</c:v>
                </c:pt>
                <c:pt idx="741">
                  <c:v>41390</c:v>
                </c:pt>
                <c:pt idx="742">
                  <c:v>41393</c:v>
                </c:pt>
                <c:pt idx="743">
                  <c:v>41394</c:v>
                </c:pt>
                <c:pt idx="744">
                  <c:v>41395</c:v>
                </c:pt>
                <c:pt idx="745">
                  <c:v>41396</c:v>
                </c:pt>
                <c:pt idx="746">
                  <c:v>41397</c:v>
                </c:pt>
                <c:pt idx="747">
                  <c:v>41400</c:v>
                </c:pt>
                <c:pt idx="748">
                  <c:v>41401</c:v>
                </c:pt>
                <c:pt idx="749">
                  <c:v>41402</c:v>
                </c:pt>
                <c:pt idx="750">
                  <c:v>41403</c:v>
                </c:pt>
                <c:pt idx="751">
                  <c:v>41404</c:v>
                </c:pt>
                <c:pt idx="752">
                  <c:v>41407</c:v>
                </c:pt>
                <c:pt idx="753">
                  <c:v>41408</c:v>
                </c:pt>
                <c:pt idx="754">
                  <c:v>41409</c:v>
                </c:pt>
                <c:pt idx="755">
                  <c:v>41410</c:v>
                </c:pt>
                <c:pt idx="756">
                  <c:v>41411</c:v>
                </c:pt>
                <c:pt idx="757">
                  <c:v>41414</c:v>
                </c:pt>
                <c:pt idx="758">
                  <c:v>41415</c:v>
                </c:pt>
                <c:pt idx="759">
                  <c:v>41416</c:v>
                </c:pt>
                <c:pt idx="760">
                  <c:v>41417</c:v>
                </c:pt>
                <c:pt idx="761">
                  <c:v>41418</c:v>
                </c:pt>
                <c:pt idx="762">
                  <c:v>41421</c:v>
                </c:pt>
                <c:pt idx="763">
                  <c:v>41422</c:v>
                </c:pt>
                <c:pt idx="764">
                  <c:v>41423</c:v>
                </c:pt>
                <c:pt idx="765">
                  <c:v>41424</c:v>
                </c:pt>
                <c:pt idx="766">
                  <c:v>41425</c:v>
                </c:pt>
                <c:pt idx="767">
                  <c:v>41428</c:v>
                </c:pt>
                <c:pt idx="768">
                  <c:v>41429</c:v>
                </c:pt>
                <c:pt idx="769">
                  <c:v>41430</c:v>
                </c:pt>
                <c:pt idx="770">
                  <c:v>41431</c:v>
                </c:pt>
                <c:pt idx="771">
                  <c:v>41432</c:v>
                </c:pt>
                <c:pt idx="772">
                  <c:v>41435</c:v>
                </c:pt>
                <c:pt idx="773">
                  <c:v>41436</c:v>
                </c:pt>
                <c:pt idx="774">
                  <c:v>41437</c:v>
                </c:pt>
                <c:pt idx="775">
                  <c:v>41438</c:v>
                </c:pt>
                <c:pt idx="776">
                  <c:v>41439</c:v>
                </c:pt>
                <c:pt idx="777">
                  <c:v>41442</c:v>
                </c:pt>
                <c:pt idx="778">
                  <c:v>41443</c:v>
                </c:pt>
                <c:pt idx="779">
                  <c:v>41444</c:v>
                </c:pt>
                <c:pt idx="780">
                  <c:v>41445</c:v>
                </c:pt>
                <c:pt idx="781">
                  <c:v>41446</c:v>
                </c:pt>
                <c:pt idx="782">
                  <c:v>41449</c:v>
                </c:pt>
                <c:pt idx="783">
                  <c:v>41450</c:v>
                </c:pt>
                <c:pt idx="784">
                  <c:v>41451</c:v>
                </c:pt>
                <c:pt idx="785">
                  <c:v>41452</c:v>
                </c:pt>
                <c:pt idx="786">
                  <c:v>41453</c:v>
                </c:pt>
                <c:pt idx="787">
                  <c:v>41456</c:v>
                </c:pt>
                <c:pt idx="788">
                  <c:v>41457</c:v>
                </c:pt>
                <c:pt idx="789">
                  <c:v>41458</c:v>
                </c:pt>
                <c:pt idx="790">
                  <c:v>41459</c:v>
                </c:pt>
                <c:pt idx="791">
                  <c:v>41460</c:v>
                </c:pt>
                <c:pt idx="792">
                  <c:v>41463</c:v>
                </c:pt>
                <c:pt idx="793">
                  <c:v>41464</c:v>
                </c:pt>
                <c:pt idx="794">
                  <c:v>41465</c:v>
                </c:pt>
                <c:pt idx="795">
                  <c:v>41466</c:v>
                </c:pt>
                <c:pt idx="796">
                  <c:v>41467</c:v>
                </c:pt>
                <c:pt idx="797">
                  <c:v>41470</c:v>
                </c:pt>
                <c:pt idx="798">
                  <c:v>41471</c:v>
                </c:pt>
                <c:pt idx="799">
                  <c:v>41472</c:v>
                </c:pt>
                <c:pt idx="800">
                  <c:v>41473</c:v>
                </c:pt>
                <c:pt idx="801">
                  <c:v>41474</c:v>
                </c:pt>
                <c:pt idx="802">
                  <c:v>41477</c:v>
                </c:pt>
                <c:pt idx="803">
                  <c:v>41478</c:v>
                </c:pt>
                <c:pt idx="804">
                  <c:v>41479</c:v>
                </c:pt>
                <c:pt idx="805">
                  <c:v>41480</c:v>
                </c:pt>
                <c:pt idx="806">
                  <c:v>41481</c:v>
                </c:pt>
                <c:pt idx="807">
                  <c:v>41484</c:v>
                </c:pt>
                <c:pt idx="808">
                  <c:v>41485</c:v>
                </c:pt>
                <c:pt idx="809">
                  <c:v>41486</c:v>
                </c:pt>
                <c:pt idx="810">
                  <c:v>41487</c:v>
                </c:pt>
                <c:pt idx="811">
                  <c:v>41488</c:v>
                </c:pt>
                <c:pt idx="812">
                  <c:v>41491</c:v>
                </c:pt>
                <c:pt idx="813">
                  <c:v>41492</c:v>
                </c:pt>
                <c:pt idx="814">
                  <c:v>41493</c:v>
                </c:pt>
                <c:pt idx="815">
                  <c:v>41494</c:v>
                </c:pt>
                <c:pt idx="816">
                  <c:v>41495</c:v>
                </c:pt>
                <c:pt idx="817">
                  <c:v>41498</c:v>
                </c:pt>
                <c:pt idx="818">
                  <c:v>41499</c:v>
                </c:pt>
                <c:pt idx="819">
                  <c:v>41500</c:v>
                </c:pt>
                <c:pt idx="820">
                  <c:v>41501</c:v>
                </c:pt>
                <c:pt idx="821">
                  <c:v>41502</c:v>
                </c:pt>
                <c:pt idx="822">
                  <c:v>41505</c:v>
                </c:pt>
                <c:pt idx="823">
                  <c:v>41506</c:v>
                </c:pt>
                <c:pt idx="824">
                  <c:v>41507</c:v>
                </c:pt>
                <c:pt idx="825">
                  <c:v>41508</c:v>
                </c:pt>
                <c:pt idx="826">
                  <c:v>41509</c:v>
                </c:pt>
                <c:pt idx="827">
                  <c:v>41512</c:v>
                </c:pt>
                <c:pt idx="828">
                  <c:v>41513</c:v>
                </c:pt>
                <c:pt idx="829">
                  <c:v>41514</c:v>
                </c:pt>
                <c:pt idx="830">
                  <c:v>41515</c:v>
                </c:pt>
                <c:pt idx="831">
                  <c:v>41516</c:v>
                </c:pt>
                <c:pt idx="832">
                  <c:v>41519</c:v>
                </c:pt>
                <c:pt idx="833">
                  <c:v>41520</c:v>
                </c:pt>
                <c:pt idx="834">
                  <c:v>41521</c:v>
                </c:pt>
                <c:pt idx="835">
                  <c:v>41522</c:v>
                </c:pt>
                <c:pt idx="836">
                  <c:v>41523</c:v>
                </c:pt>
                <c:pt idx="837">
                  <c:v>41526</c:v>
                </c:pt>
                <c:pt idx="838">
                  <c:v>41527</c:v>
                </c:pt>
                <c:pt idx="839">
                  <c:v>41528</c:v>
                </c:pt>
                <c:pt idx="840">
                  <c:v>41529</c:v>
                </c:pt>
                <c:pt idx="841">
                  <c:v>41530</c:v>
                </c:pt>
                <c:pt idx="842">
                  <c:v>41533</c:v>
                </c:pt>
                <c:pt idx="843">
                  <c:v>41534</c:v>
                </c:pt>
                <c:pt idx="844">
                  <c:v>41535</c:v>
                </c:pt>
                <c:pt idx="845">
                  <c:v>41536</c:v>
                </c:pt>
                <c:pt idx="846">
                  <c:v>41537</c:v>
                </c:pt>
                <c:pt idx="847">
                  <c:v>41540</c:v>
                </c:pt>
                <c:pt idx="848">
                  <c:v>41541</c:v>
                </c:pt>
                <c:pt idx="849">
                  <c:v>41542</c:v>
                </c:pt>
                <c:pt idx="850">
                  <c:v>41543</c:v>
                </c:pt>
                <c:pt idx="851">
                  <c:v>41544</c:v>
                </c:pt>
                <c:pt idx="852">
                  <c:v>41547</c:v>
                </c:pt>
                <c:pt idx="853">
                  <c:v>41548</c:v>
                </c:pt>
                <c:pt idx="854">
                  <c:v>41549</c:v>
                </c:pt>
                <c:pt idx="855">
                  <c:v>41550</c:v>
                </c:pt>
                <c:pt idx="856">
                  <c:v>41551</c:v>
                </c:pt>
                <c:pt idx="857">
                  <c:v>41554</c:v>
                </c:pt>
                <c:pt idx="858">
                  <c:v>41555</c:v>
                </c:pt>
                <c:pt idx="859">
                  <c:v>41556</c:v>
                </c:pt>
                <c:pt idx="860">
                  <c:v>41557</c:v>
                </c:pt>
                <c:pt idx="861">
                  <c:v>41558</c:v>
                </c:pt>
                <c:pt idx="862">
                  <c:v>41561</c:v>
                </c:pt>
                <c:pt idx="863">
                  <c:v>41562</c:v>
                </c:pt>
                <c:pt idx="864">
                  <c:v>41563</c:v>
                </c:pt>
                <c:pt idx="865">
                  <c:v>41564</c:v>
                </c:pt>
                <c:pt idx="866">
                  <c:v>41565</c:v>
                </c:pt>
                <c:pt idx="867">
                  <c:v>41568</c:v>
                </c:pt>
                <c:pt idx="868">
                  <c:v>41569</c:v>
                </c:pt>
                <c:pt idx="869">
                  <c:v>41570</c:v>
                </c:pt>
                <c:pt idx="870">
                  <c:v>41571</c:v>
                </c:pt>
                <c:pt idx="871">
                  <c:v>41572</c:v>
                </c:pt>
                <c:pt idx="872">
                  <c:v>41575</c:v>
                </c:pt>
                <c:pt idx="873">
                  <c:v>41576</c:v>
                </c:pt>
                <c:pt idx="874">
                  <c:v>41577</c:v>
                </c:pt>
                <c:pt idx="875">
                  <c:v>41578</c:v>
                </c:pt>
                <c:pt idx="876">
                  <c:v>41579</c:v>
                </c:pt>
                <c:pt idx="877">
                  <c:v>41582</c:v>
                </c:pt>
                <c:pt idx="878">
                  <c:v>41583</c:v>
                </c:pt>
                <c:pt idx="879">
                  <c:v>41584</c:v>
                </c:pt>
                <c:pt idx="880">
                  <c:v>41585</c:v>
                </c:pt>
                <c:pt idx="881">
                  <c:v>41586</c:v>
                </c:pt>
                <c:pt idx="882">
                  <c:v>41589</c:v>
                </c:pt>
                <c:pt idx="883">
                  <c:v>41590</c:v>
                </c:pt>
                <c:pt idx="884">
                  <c:v>41591</c:v>
                </c:pt>
                <c:pt idx="885">
                  <c:v>41592</c:v>
                </c:pt>
                <c:pt idx="886">
                  <c:v>41593</c:v>
                </c:pt>
                <c:pt idx="887">
                  <c:v>41596</c:v>
                </c:pt>
                <c:pt idx="888">
                  <c:v>41597</c:v>
                </c:pt>
                <c:pt idx="889">
                  <c:v>41598</c:v>
                </c:pt>
                <c:pt idx="890">
                  <c:v>41599</c:v>
                </c:pt>
                <c:pt idx="891">
                  <c:v>41600</c:v>
                </c:pt>
                <c:pt idx="892">
                  <c:v>41603</c:v>
                </c:pt>
                <c:pt idx="893">
                  <c:v>41604</c:v>
                </c:pt>
                <c:pt idx="894">
                  <c:v>41605</c:v>
                </c:pt>
                <c:pt idx="895">
                  <c:v>41606</c:v>
                </c:pt>
                <c:pt idx="896">
                  <c:v>41607</c:v>
                </c:pt>
                <c:pt idx="897">
                  <c:v>41610</c:v>
                </c:pt>
                <c:pt idx="898">
                  <c:v>41611</c:v>
                </c:pt>
                <c:pt idx="899">
                  <c:v>41612</c:v>
                </c:pt>
                <c:pt idx="900">
                  <c:v>41613</c:v>
                </c:pt>
                <c:pt idx="901">
                  <c:v>41614</c:v>
                </c:pt>
                <c:pt idx="902">
                  <c:v>41617</c:v>
                </c:pt>
                <c:pt idx="903">
                  <c:v>41618</c:v>
                </c:pt>
                <c:pt idx="904">
                  <c:v>41619</c:v>
                </c:pt>
                <c:pt idx="905">
                  <c:v>41620</c:v>
                </c:pt>
                <c:pt idx="906">
                  <c:v>41621</c:v>
                </c:pt>
                <c:pt idx="907">
                  <c:v>41624</c:v>
                </c:pt>
                <c:pt idx="908">
                  <c:v>41625</c:v>
                </c:pt>
                <c:pt idx="909">
                  <c:v>41626</c:v>
                </c:pt>
                <c:pt idx="910">
                  <c:v>41627</c:v>
                </c:pt>
                <c:pt idx="911">
                  <c:v>41628</c:v>
                </c:pt>
                <c:pt idx="912">
                  <c:v>41631</c:v>
                </c:pt>
                <c:pt idx="913">
                  <c:v>41632</c:v>
                </c:pt>
                <c:pt idx="914">
                  <c:v>41633</c:v>
                </c:pt>
                <c:pt idx="915">
                  <c:v>41634</c:v>
                </c:pt>
                <c:pt idx="916">
                  <c:v>41635</c:v>
                </c:pt>
                <c:pt idx="917">
                  <c:v>41638</c:v>
                </c:pt>
                <c:pt idx="918">
                  <c:v>41639</c:v>
                </c:pt>
                <c:pt idx="919">
                  <c:v>41640</c:v>
                </c:pt>
                <c:pt idx="920">
                  <c:v>41641</c:v>
                </c:pt>
                <c:pt idx="921">
                  <c:v>41642</c:v>
                </c:pt>
                <c:pt idx="922">
                  <c:v>41645</c:v>
                </c:pt>
                <c:pt idx="923">
                  <c:v>41646</c:v>
                </c:pt>
                <c:pt idx="924">
                  <c:v>41647</c:v>
                </c:pt>
                <c:pt idx="925">
                  <c:v>41648</c:v>
                </c:pt>
                <c:pt idx="926">
                  <c:v>41649</c:v>
                </c:pt>
                <c:pt idx="927">
                  <c:v>41652</c:v>
                </c:pt>
                <c:pt idx="928">
                  <c:v>41653</c:v>
                </c:pt>
                <c:pt idx="929">
                  <c:v>41654</c:v>
                </c:pt>
                <c:pt idx="930">
                  <c:v>41655</c:v>
                </c:pt>
                <c:pt idx="931">
                  <c:v>41656</c:v>
                </c:pt>
                <c:pt idx="932">
                  <c:v>41659</c:v>
                </c:pt>
                <c:pt idx="933">
                  <c:v>41660</c:v>
                </c:pt>
                <c:pt idx="934">
                  <c:v>41661</c:v>
                </c:pt>
                <c:pt idx="935">
                  <c:v>41662</c:v>
                </c:pt>
                <c:pt idx="936">
                  <c:v>41663</c:v>
                </c:pt>
                <c:pt idx="937">
                  <c:v>41666</c:v>
                </c:pt>
                <c:pt idx="938">
                  <c:v>41667</c:v>
                </c:pt>
                <c:pt idx="939">
                  <c:v>41668</c:v>
                </c:pt>
                <c:pt idx="940">
                  <c:v>41669</c:v>
                </c:pt>
                <c:pt idx="941">
                  <c:v>41670</c:v>
                </c:pt>
                <c:pt idx="942">
                  <c:v>41673</c:v>
                </c:pt>
                <c:pt idx="943">
                  <c:v>41674</c:v>
                </c:pt>
                <c:pt idx="944">
                  <c:v>41675</c:v>
                </c:pt>
                <c:pt idx="945">
                  <c:v>41676</c:v>
                </c:pt>
                <c:pt idx="946">
                  <c:v>41677</c:v>
                </c:pt>
                <c:pt idx="947">
                  <c:v>41680</c:v>
                </c:pt>
                <c:pt idx="948">
                  <c:v>41681</c:v>
                </c:pt>
                <c:pt idx="949">
                  <c:v>41682</c:v>
                </c:pt>
                <c:pt idx="950">
                  <c:v>41683</c:v>
                </c:pt>
                <c:pt idx="951">
                  <c:v>41684</c:v>
                </c:pt>
                <c:pt idx="952">
                  <c:v>41687</c:v>
                </c:pt>
                <c:pt idx="953">
                  <c:v>41688</c:v>
                </c:pt>
                <c:pt idx="954">
                  <c:v>41689</c:v>
                </c:pt>
                <c:pt idx="955">
                  <c:v>41690</c:v>
                </c:pt>
                <c:pt idx="956">
                  <c:v>41691</c:v>
                </c:pt>
                <c:pt idx="957">
                  <c:v>41694</c:v>
                </c:pt>
                <c:pt idx="958">
                  <c:v>41695</c:v>
                </c:pt>
                <c:pt idx="959">
                  <c:v>41696</c:v>
                </c:pt>
                <c:pt idx="960">
                  <c:v>41697</c:v>
                </c:pt>
                <c:pt idx="961">
                  <c:v>41698</c:v>
                </c:pt>
                <c:pt idx="962">
                  <c:v>41701</c:v>
                </c:pt>
                <c:pt idx="963">
                  <c:v>41702</c:v>
                </c:pt>
                <c:pt idx="964">
                  <c:v>41703</c:v>
                </c:pt>
                <c:pt idx="965">
                  <c:v>41704</c:v>
                </c:pt>
                <c:pt idx="966">
                  <c:v>41705</c:v>
                </c:pt>
                <c:pt idx="967">
                  <c:v>41708</c:v>
                </c:pt>
                <c:pt idx="968">
                  <c:v>41709</c:v>
                </c:pt>
                <c:pt idx="969">
                  <c:v>41710</c:v>
                </c:pt>
                <c:pt idx="970">
                  <c:v>41711</c:v>
                </c:pt>
                <c:pt idx="971">
                  <c:v>41712</c:v>
                </c:pt>
                <c:pt idx="972">
                  <c:v>41715</c:v>
                </c:pt>
                <c:pt idx="973">
                  <c:v>41716</c:v>
                </c:pt>
                <c:pt idx="974">
                  <c:v>41717</c:v>
                </c:pt>
                <c:pt idx="975">
                  <c:v>41718</c:v>
                </c:pt>
                <c:pt idx="976">
                  <c:v>41719</c:v>
                </c:pt>
                <c:pt idx="977">
                  <c:v>41722</c:v>
                </c:pt>
                <c:pt idx="978">
                  <c:v>41723</c:v>
                </c:pt>
                <c:pt idx="979">
                  <c:v>41724</c:v>
                </c:pt>
                <c:pt idx="980">
                  <c:v>41725</c:v>
                </c:pt>
                <c:pt idx="981">
                  <c:v>41726</c:v>
                </c:pt>
                <c:pt idx="982">
                  <c:v>41729</c:v>
                </c:pt>
                <c:pt idx="983">
                  <c:v>41730</c:v>
                </c:pt>
                <c:pt idx="984">
                  <c:v>41731</c:v>
                </c:pt>
                <c:pt idx="985">
                  <c:v>41732</c:v>
                </c:pt>
                <c:pt idx="986">
                  <c:v>41733</c:v>
                </c:pt>
                <c:pt idx="987">
                  <c:v>41736</c:v>
                </c:pt>
                <c:pt idx="988">
                  <c:v>41737</c:v>
                </c:pt>
                <c:pt idx="989">
                  <c:v>41738</c:v>
                </c:pt>
                <c:pt idx="990">
                  <c:v>41739</c:v>
                </c:pt>
                <c:pt idx="991">
                  <c:v>41740</c:v>
                </c:pt>
                <c:pt idx="992">
                  <c:v>41743</c:v>
                </c:pt>
                <c:pt idx="993">
                  <c:v>41744</c:v>
                </c:pt>
                <c:pt idx="994">
                  <c:v>41745</c:v>
                </c:pt>
                <c:pt idx="995">
                  <c:v>41746</c:v>
                </c:pt>
                <c:pt idx="996">
                  <c:v>41747</c:v>
                </c:pt>
                <c:pt idx="997">
                  <c:v>41750</c:v>
                </c:pt>
                <c:pt idx="998">
                  <c:v>41751</c:v>
                </c:pt>
                <c:pt idx="999">
                  <c:v>41752</c:v>
                </c:pt>
                <c:pt idx="1000">
                  <c:v>41753</c:v>
                </c:pt>
                <c:pt idx="1001">
                  <c:v>41754</c:v>
                </c:pt>
                <c:pt idx="1002">
                  <c:v>41757</c:v>
                </c:pt>
                <c:pt idx="1003">
                  <c:v>41758</c:v>
                </c:pt>
                <c:pt idx="1004">
                  <c:v>41759</c:v>
                </c:pt>
                <c:pt idx="1005">
                  <c:v>41760</c:v>
                </c:pt>
                <c:pt idx="1006">
                  <c:v>41761</c:v>
                </c:pt>
                <c:pt idx="1007">
                  <c:v>41764</c:v>
                </c:pt>
                <c:pt idx="1008">
                  <c:v>41765</c:v>
                </c:pt>
                <c:pt idx="1009">
                  <c:v>41766</c:v>
                </c:pt>
                <c:pt idx="1010">
                  <c:v>41767</c:v>
                </c:pt>
                <c:pt idx="1011">
                  <c:v>41768</c:v>
                </c:pt>
                <c:pt idx="1012">
                  <c:v>41771</c:v>
                </c:pt>
                <c:pt idx="1013">
                  <c:v>41772</c:v>
                </c:pt>
                <c:pt idx="1014">
                  <c:v>41773</c:v>
                </c:pt>
                <c:pt idx="1015">
                  <c:v>41774</c:v>
                </c:pt>
                <c:pt idx="1016">
                  <c:v>41775</c:v>
                </c:pt>
                <c:pt idx="1017">
                  <c:v>41778</c:v>
                </c:pt>
                <c:pt idx="1018">
                  <c:v>41779</c:v>
                </c:pt>
                <c:pt idx="1019">
                  <c:v>41780</c:v>
                </c:pt>
                <c:pt idx="1020">
                  <c:v>41781</c:v>
                </c:pt>
                <c:pt idx="1021">
                  <c:v>41782</c:v>
                </c:pt>
                <c:pt idx="1022">
                  <c:v>41785</c:v>
                </c:pt>
                <c:pt idx="1023">
                  <c:v>41786</c:v>
                </c:pt>
                <c:pt idx="1024">
                  <c:v>41787</c:v>
                </c:pt>
                <c:pt idx="1025">
                  <c:v>41788</c:v>
                </c:pt>
                <c:pt idx="1026">
                  <c:v>41789</c:v>
                </c:pt>
                <c:pt idx="1027">
                  <c:v>41792</c:v>
                </c:pt>
                <c:pt idx="1028">
                  <c:v>41793</c:v>
                </c:pt>
                <c:pt idx="1029">
                  <c:v>41794</c:v>
                </c:pt>
                <c:pt idx="1030">
                  <c:v>41795</c:v>
                </c:pt>
                <c:pt idx="1031">
                  <c:v>41796</c:v>
                </c:pt>
                <c:pt idx="1032">
                  <c:v>41799</c:v>
                </c:pt>
                <c:pt idx="1033">
                  <c:v>41800</c:v>
                </c:pt>
                <c:pt idx="1034">
                  <c:v>41801</c:v>
                </c:pt>
                <c:pt idx="1035">
                  <c:v>41802</c:v>
                </c:pt>
                <c:pt idx="1036">
                  <c:v>41803</c:v>
                </c:pt>
                <c:pt idx="1037">
                  <c:v>41806</c:v>
                </c:pt>
                <c:pt idx="1038">
                  <c:v>41807</c:v>
                </c:pt>
                <c:pt idx="1039">
                  <c:v>41808</c:v>
                </c:pt>
                <c:pt idx="1040">
                  <c:v>41809</c:v>
                </c:pt>
                <c:pt idx="1041">
                  <c:v>41810</c:v>
                </c:pt>
                <c:pt idx="1042">
                  <c:v>41813</c:v>
                </c:pt>
                <c:pt idx="1043">
                  <c:v>41814</c:v>
                </c:pt>
                <c:pt idx="1044">
                  <c:v>41815</c:v>
                </c:pt>
                <c:pt idx="1045">
                  <c:v>41816</c:v>
                </c:pt>
                <c:pt idx="1046">
                  <c:v>41817</c:v>
                </c:pt>
                <c:pt idx="1047">
                  <c:v>41820</c:v>
                </c:pt>
                <c:pt idx="1048">
                  <c:v>41821</c:v>
                </c:pt>
                <c:pt idx="1049">
                  <c:v>41822</c:v>
                </c:pt>
                <c:pt idx="1050">
                  <c:v>41823</c:v>
                </c:pt>
                <c:pt idx="1051">
                  <c:v>41824</c:v>
                </c:pt>
                <c:pt idx="1052">
                  <c:v>41827</c:v>
                </c:pt>
                <c:pt idx="1053">
                  <c:v>41828</c:v>
                </c:pt>
                <c:pt idx="1054">
                  <c:v>41829</c:v>
                </c:pt>
                <c:pt idx="1055">
                  <c:v>41830</c:v>
                </c:pt>
                <c:pt idx="1056">
                  <c:v>41831</c:v>
                </c:pt>
                <c:pt idx="1057">
                  <c:v>41834</c:v>
                </c:pt>
                <c:pt idx="1058">
                  <c:v>41835</c:v>
                </c:pt>
                <c:pt idx="1059">
                  <c:v>41836</c:v>
                </c:pt>
                <c:pt idx="1060">
                  <c:v>41837</c:v>
                </c:pt>
                <c:pt idx="1061">
                  <c:v>41838</c:v>
                </c:pt>
                <c:pt idx="1062">
                  <c:v>41841</c:v>
                </c:pt>
                <c:pt idx="1063">
                  <c:v>41842</c:v>
                </c:pt>
                <c:pt idx="1064">
                  <c:v>41843</c:v>
                </c:pt>
                <c:pt idx="1065">
                  <c:v>41844</c:v>
                </c:pt>
                <c:pt idx="1066">
                  <c:v>41845</c:v>
                </c:pt>
                <c:pt idx="1067">
                  <c:v>41848</c:v>
                </c:pt>
                <c:pt idx="1068">
                  <c:v>41849</c:v>
                </c:pt>
                <c:pt idx="1069">
                  <c:v>41850</c:v>
                </c:pt>
                <c:pt idx="1070">
                  <c:v>41851</c:v>
                </c:pt>
                <c:pt idx="1071">
                  <c:v>41852</c:v>
                </c:pt>
                <c:pt idx="1072">
                  <c:v>41855</c:v>
                </c:pt>
                <c:pt idx="1073">
                  <c:v>41856</c:v>
                </c:pt>
                <c:pt idx="1074">
                  <c:v>41857</c:v>
                </c:pt>
                <c:pt idx="1075">
                  <c:v>41858</c:v>
                </c:pt>
                <c:pt idx="1076">
                  <c:v>41859</c:v>
                </c:pt>
                <c:pt idx="1077">
                  <c:v>41862</c:v>
                </c:pt>
                <c:pt idx="1078">
                  <c:v>41863</c:v>
                </c:pt>
                <c:pt idx="1079">
                  <c:v>41864</c:v>
                </c:pt>
                <c:pt idx="1080">
                  <c:v>41865</c:v>
                </c:pt>
                <c:pt idx="1081">
                  <c:v>41866</c:v>
                </c:pt>
                <c:pt idx="1082">
                  <c:v>41869</c:v>
                </c:pt>
                <c:pt idx="1083">
                  <c:v>41870</c:v>
                </c:pt>
                <c:pt idx="1084">
                  <c:v>41871</c:v>
                </c:pt>
                <c:pt idx="1085">
                  <c:v>41872</c:v>
                </c:pt>
                <c:pt idx="1086">
                  <c:v>41873</c:v>
                </c:pt>
                <c:pt idx="1087">
                  <c:v>41876</c:v>
                </c:pt>
                <c:pt idx="1088">
                  <c:v>41877</c:v>
                </c:pt>
                <c:pt idx="1089">
                  <c:v>41878</c:v>
                </c:pt>
                <c:pt idx="1090">
                  <c:v>41879</c:v>
                </c:pt>
                <c:pt idx="1091">
                  <c:v>41880</c:v>
                </c:pt>
                <c:pt idx="1092">
                  <c:v>41883</c:v>
                </c:pt>
                <c:pt idx="1093">
                  <c:v>41884</c:v>
                </c:pt>
                <c:pt idx="1094">
                  <c:v>41885</c:v>
                </c:pt>
                <c:pt idx="1095">
                  <c:v>41886</c:v>
                </c:pt>
                <c:pt idx="1096">
                  <c:v>41887</c:v>
                </c:pt>
                <c:pt idx="1097">
                  <c:v>41890</c:v>
                </c:pt>
                <c:pt idx="1098">
                  <c:v>41891</c:v>
                </c:pt>
                <c:pt idx="1099">
                  <c:v>41892</c:v>
                </c:pt>
                <c:pt idx="1100">
                  <c:v>41893</c:v>
                </c:pt>
                <c:pt idx="1101">
                  <c:v>41894</c:v>
                </c:pt>
                <c:pt idx="1102">
                  <c:v>41897</c:v>
                </c:pt>
                <c:pt idx="1103">
                  <c:v>41898</c:v>
                </c:pt>
                <c:pt idx="1104">
                  <c:v>41899</c:v>
                </c:pt>
                <c:pt idx="1105">
                  <c:v>41900</c:v>
                </c:pt>
                <c:pt idx="1106">
                  <c:v>41901</c:v>
                </c:pt>
                <c:pt idx="1107">
                  <c:v>41904</c:v>
                </c:pt>
                <c:pt idx="1108">
                  <c:v>41905</c:v>
                </c:pt>
                <c:pt idx="1109">
                  <c:v>41906</c:v>
                </c:pt>
                <c:pt idx="1110">
                  <c:v>41907</c:v>
                </c:pt>
                <c:pt idx="1111">
                  <c:v>41908</c:v>
                </c:pt>
                <c:pt idx="1112">
                  <c:v>41911</c:v>
                </c:pt>
                <c:pt idx="1113">
                  <c:v>41912</c:v>
                </c:pt>
                <c:pt idx="1114">
                  <c:v>41913</c:v>
                </c:pt>
                <c:pt idx="1115">
                  <c:v>41914</c:v>
                </c:pt>
                <c:pt idx="1116">
                  <c:v>41915</c:v>
                </c:pt>
                <c:pt idx="1117">
                  <c:v>41918</c:v>
                </c:pt>
                <c:pt idx="1118">
                  <c:v>41919</c:v>
                </c:pt>
                <c:pt idx="1119">
                  <c:v>41920</c:v>
                </c:pt>
                <c:pt idx="1120">
                  <c:v>41921</c:v>
                </c:pt>
                <c:pt idx="1121">
                  <c:v>41922</c:v>
                </c:pt>
                <c:pt idx="1122">
                  <c:v>41925</c:v>
                </c:pt>
                <c:pt idx="1123">
                  <c:v>41926</c:v>
                </c:pt>
                <c:pt idx="1124">
                  <c:v>41927</c:v>
                </c:pt>
                <c:pt idx="1125">
                  <c:v>41928</c:v>
                </c:pt>
                <c:pt idx="1126">
                  <c:v>41929</c:v>
                </c:pt>
                <c:pt idx="1127">
                  <c:v>41932</c:v>
                </c:pt>
                <c:pt idx="1128">
                  <c:v>41933</c:v>
                </c:pt>
                <c:pt idx="1129">
                  <c:v>41934</c:v>
                </c:pt>
                <c:pt idx="1130">
                  <c:v>41935</c:v>
                </c:pt>
                <c:pt idx="1131">
                  <c:v>41936</c:v>
                </c:pt>
                <c:pt idx="1132">
                  <c:v>41939</c:v>
                </c:pt>
                <c:pt idx="1133">
                  <c:v>41940</c:v>
                </c:pt>
                <c:pt idx="1134">
                  <c:v>41941</c:v>
                </c:pt>
                <c:pt idx="1135">
                  <c:v>41942</c:v>
                </c:pt>
                <c:pt idx="1136">
                  <c:v>41943</c:v>
                </c:pt>
                <c:pt idx="1137">
                  <c:v>41946</c:v>
                </c:pt>
                <c:pt idx="1138">
                  <c:v>41947</c:v>
                </c:pt>
                <c:pt idx="1139">
                  <c:v>41948</c:v>
                </c:pt>
                <c:pt idx="1140">
                  <c:v>41949</c:v>
                </c:pt>
                <c:pt idx="1141">
                  <c:v>41950</c:v>
                </c:pt>
                <c:pt idx="1142">
                  <c:v>41953</c:v>
                </c:pt>
                <c:pt idx="1143">
                  <c:v>41954</c:v>
                </c:pt>
                <c:pt idx="1144">
                  <c:v>41955</c:v>
                </c:pt>
                <c:pt idx="1145">
                  <c:v>41956</c:v>
                </c:pt>
                <c:pt idx="1146">
                  <c:v>41957</c:v>
                </c:pt>
                <c:pt idx="1147">
                  <c:v>41960</c:v>
                </c:pt>
                <c:pt idx="1148">
                  <c:v>41961</c:v>
                </c:pt>
                <c:pt idx="1149">
                  <c:v>41962</c:v>
                </c:pt>
                <c:pt idx="1150">
                  <c:v>41963</c:v>
                </c:pt>
                <c:pt idx="1151">
                  <c:v>41964</c:v>
                </c:pt>
                <c:pt idx="1152">
                  <c:v>41967</c:v>
                </c:pt>
                <c:pt idx="1153">
                  <c:v>41968</c:v>
                </c:pt>
                <c:pt idx="1154">
                  <c:v>41969</c:v>
                </c:pt>
                <c:pt idx="1155">
                  <c:v>41970</c:v>
                </c:pt>
                <c:pt idx="1156">
                  <c:v>41971</c:v>
                </c:pt>
                <c:pt idx="1157">
                  <c:v>41974</c:v>
                </c:pt>
                <c:pt idx="1158">
                  <c:v>41975</c:v>
                </c:pt>
                <c:pt idx="1159">
                  <c:v>41976</c:v>
                </c:pt>
                <c:pt idx="1160">
                  <c:v>41977</c:v>
                </c:pt>
                <c:pt idx="1161">
                  <c:v>41978</c:v>
                </c:pt>
                <c:pt idx="1162">
                  <c:v>41981</c:v>
                </c:pt>
                <c:pt idx="1163">
                  <c:v>41982</c:v>
                </c:pt>
                <c:pt idx="1164">
                  <c:v>41983</c:v>
                </c:pt>
                <c:pt idx="1165">
                  <c:v>41984</c:v>
                </c:pt>
                <c:pt idx="1166">
                  <c:v>41985</c:v>
                </c:pt>
                <c:pt idx="1167">
                  <c:v>41988</c:v>
                </c:pt>
                <c:pt idx="1168">
                  <c:v>41989</c:v>
                </c:pt>
                <c:pt idx="1169">
                  <c:v>41990</c:v>
                </c:pt>
                <c:pt idx="1170">
                  <c:v>41991</c:v>
                </c:pt>
                <c:pt idx="1171">
                  <c:v>41992</c:v>
                </c:pt>
                <c:pt idx="1172">
                  <c:v>41995</c:v>
                </c:pt>
                <c:pt idx="1173">
                  <c:v>41996</c:v>
                </c:pt>
                <c:pt idx="1174">
                  <c:v>41997</c:v>
                </c:pt>
                <c:pt idx="1175">
                  <c:v>41998</c:v>
                </c:pt>
                <c:pt idx="1176">
                  <c:v>41999</c:v>
                </c:pt>
                <c:pt idx="1177">
                  <c:v>42002</c:v>
                </c:pt>
                <c:pt idx="1178">
                  <c:v>42003</c:v>
                </c:pt>
                <c:pt idx="1179">
                  <c:v>42004</c:v>
                </c:pt>
                <c:pt idx="1180">
                  <c:v>42005</c:v>
                </c:pt>
                <c:pt idx="1181">
                  <c:v>42006</c:v>
                </c:pt>
                <c:pt idx="1182">
                  <c:v>42009</c:v>
                </c:pt>
                <c:pt idx="1183">
                  <c:v>42010</c:v>
                </c:pt>
                <c:pt idx="1184">
                  <c:v>42011</c:v>
                </c:pt>
                <c:pt idx="1185">
                  <c:v>42012</c:v>
                </c:pt>
                <c:pt idx="1186">
                  <c:v>42013</c:v>
                </c:pt>
                <c:pt idx="1187">
                  <c:v>42016</c:v>
                </c:pt>
                <c:pt idx="1188">
                  <c:v>42017</c:v>
                </c:pt>
                <c:pt idx="1189">
                  <c:v>42018</c:v>
                </c:pt>
                <c:pt idx="1190">
                  <c:v>42019</c:v>
                </c:pt>
                <c:pt idx="1191">
                  <c:v>42020</c:v>
                </c:pt>
                <c:pt idx="1192">
                  <c:v>42023</c:v>
                </c:pt>
                <c:pt idx="1193">
                  <c:v>42024</c:v>
                </c:pt>
                <c:pt idx="1194">
                  <c:v>42025</c:v>
                </c:pt>
                <c:pt idx="1195">
                  <c:v>42026</c:v>
                </c:pt>
                <c:pt idx="1196">
                  <c:v>42027</c:v>
                </c:pt>
                <c:pt idx="1197">
                  <c:v>42030</c:v>
                </c:pt>
                <c:pt idx="1198">
                  <c:v>42031</c:v>
                </c:pt>
                <c:pt idx="1199">
                  <c:v>42032</c:v>
                </c:pt>
                <c:pt idx="1200">
                  <c:v>42033</c:v>
                </c:pt>
                <c:pt idx="1201">
                  <c:v>42034</c:v>
                </c:pt>
                <c:pt idx="1202">
                  <c:v>42037</c:v>
                </c:pt>
                <c:pt idx="1203">
                  <c:v>42038</c:v>
                </c:pt>
                <c:pt idx="1204">
                  <c:v>42039</c:v>
                </c:pt>
                <c:pt idx="1205">
                  <c:v>42040</c:v>
                </c:pt>
                <c:pt idx="1206">
                  <c:v>42041</c:v>
                </c:pt>
                <c:pt idx="1207">
                  <c:v>42044</c:v>
                </c:pt>
                <c:pt idx="1208">
                  <c:v>42045</c:v>
                </c:pt>
                <c:pt idx="1209">
                  <c:v>42046</c:v>
                </c:pt>
                <c:pt idx="1210">
                  <c:v>42047</c:v>
                </c:pt>
                <c:pt idx="1211">
                  <c:v>42048</c:v>
                </c:pt>
                <c:pt idx="1212">
                  <c:v>42051</c:v>
                </c:pt>
                <c:pt idx="1213">
                  <c:v>42052</c:v>
                </c:pt>
                <c:pt idx="1214">
                  <c:v>42053</c:v>
                </c:pt>
                <c:pt idx="1215">
                  <c:v>42054</c:v>
                </c:pt>
                <c:pt idx="1216">
                  <c:v>42055</c:v>
                </c:pt>
                <c:pt idx="1217">
                  <c:v>42058</c:v>
                </c:pt>
                <c:pt idx="1218">
                  <c:v>42059</c:v>
                </c:pt>
                <c:pt idx="1219">
                  <c:v>42060</c:v>
                </c:pt>
                <c:pt idx="1220">
                  <c:v>42061</c:v>
                </c:pt>
                <c:pt idx="1221">
                  <c:v>42062</c:v>
                </c:pt>
                <c:pt idx="1222">
                  <c:v>42065</c:v>
                </c:pt>
                <c:pt idx="1223">
                  <c:v>42066</c:v>
                </c:pt>
                <c:pt idx="1224">
                  <c:v>42067</c:v>
                </c:pt>
                <c:pt idx="1225">
                  <c:v>42068</c:v>
                </c:pt>
                <c:pt idx="1226">
                  <c:v>42069</c:v>
                </c:pt>
                <c:pt idx="1227">
                  <c:v>42072</c:v>
                </c:pt>
                <c:pt idx="1228">
                  <c:v>42073</c:v>
                </c:pt>
                <c:pt idx="1229">
                  <c:v>42074</c:v>
                </c:pt>
                <c:pt idx="1230">
                  <c:v>42075</c:v>
                </c:pt>
                <c:pt idx="1231">
                  <c:v>42076</c:v>
                </c:pt>
                <c:pt idx="1232">
                  <c:v>42079</c:v>
                </c:pt>
                <c:pt idx="1233">
                  <c:v>42080</c:v>
                </c:pt>
                <c:pt idx="1234">
                  <c:v>42081</c:v>
                </c:pt>
                <c:pt idx="1235">
                  <c:v>42082</c:v>
                </c:pt>
                <c:pt idx="1236">
                  <c:v>42083</c:v>
                </c:pt>
                <c:pt idx="1237">
                  <c:v>42086</c:v>
                </c:pt>
                <c:pt idx="1238">
                  <c:v>42087</c:v>
                </c:pt>
                <c:pt idx="1239">
                  <c:v>42088</c:v>
                </c:pt>
                <c:pt idx="1240">
                  <c:v>42089</c:v>
                </c:pt>
                <c:pt idx="1241">
                  <c:v>42090</c:v>
                </c:pt>
                <c:pt idx="1242">
                  <c:v>42093</c:v>
                </c:pt>
                <c:pt idx="1243">
                  <c:v>42094</c:v>
                </c:pt>
                <c:pt idx="1244">
                  <c:v>42095</c:v>
                </c:pt>
                <c:pt idx="1245">
                  <c:v>42096</c:v>
                </c:pt>
                <c:pt idx="1246">
                  <c:v>42097</c:v>
                </c:pt>
                <c:pt idx="1247">
                  <c:v>42100</c:v>
                </c:pt>
                <c:pt idx="1248">
                  <c:v>42101</c:v>
                </c:pt>
                <c:pt idx="1249">
                  <c:v>42102</c:v>
                </c:pt>
                <c:pt idx="1250">
                  <c:v>42103</c:v>
                </c:pt>
                <c:pt idx="1251">
                  <c:v>42104</c:v>
                </c:pt>
                <c:pt idx="1252">
                  <c:v>42107</c:v>
                </c:pt>
                <c:pt idx="1253">
                  <c:v>42108</c:v>
                </c:pt>
                <c:pt idx="1254">
                  <c:v>42109</c:v>
                </c:pt>
                <c:pt idx="1255">
                  <c:v>42110</c:v>
                </c:pt>
                <c:pt idx="1256">
                  <c:v>42111</c:v>
                </c:pt>
                <c:pt idx="1257">
                  <c:v>42114</c:v>
                </c:pt>
                <c:pt idx="1258">
                  <c:v>42115</c:v>
                </c:pt>
                <c:pt idx="1259">
                  <c:v>42116</c:v>
                </c:pt>
                <c:pt idx="1260">
                  <c:v>42117</c:v>
                </c:pt>
                <c:pt idx="1261">
                  <c:v>42118</c:v>
                </c:pt>
                <c:pt idx="1262">
                  <c:v>42121</c:v>
                </c:pt>
                <c:pt idx="1263">
                  <c:v>42122</c:v>
                </c:pt>
                <c:pt idx="1264">
                  <c:v>42123</c:v>
                </c:pt>
                <c:pt idx="1265">
                  <c:v>42124</c:v>
                </c:pt>
                <c:pt idx="1266">
                  <c:v>42125</c:v>
                </c:pt>
                <c:pt idx="1267">
                  <c:v>42128</c:v>
                </c:pt>
                <c:pt idx="1268">
                  <c:v>42129</c:v>
                </c:pt>
                <c:pt idx="1269">
                  <c:v>42130</c:v>
                </c:pt>
                <c:pt idx="1270">
                  <c:v>42131</c:v>
                </c:pt>
                <c:pt idx="1271">
                  <c:v>42132</c:v>
                </c:pt>
                <c:pt idx="1272">
                  <c:v>42135</c:v>
                </c:pt>
                <c:pt idx="1273">
                  <c:v>42136</c:v>
                </c:pt>
                <c:pt idx="1274">
                  <c:v>42137</c:v>
                </c:pt>
                <c:pt idx="1275">
                  <c:v>42138</c:v>
                </c:pt>
                <c:pt idx="1276">
                  <c:v>42139</c:v>
                </c:pt>
                <c:pt idx="1277">
                  <c:v>42142</c:v>
                </c:pt>
                <c:pt idx="1278">
                  <c:v>42143</c:v>
                </c:pt>
                <c:pt idx="1279">
                  <c:v>42144</c:v>
                </c:pt>
                <c:pt idx="1280">
                  <c:v>42145</c:v>
                </c:pt>
                <c:pt idx="1281">
                  <c:v>42146</c:v>
                </c:pt>
                <c:pt idx="1282">
                  <c:v>42149</c:v>
                </c:pt>
                <c:pt idx="1283">
                  <c:v>42150</c:v>
                </c:pt>
                <c:pt idx="1284">
                  <c:v>42151</c:v>
                </c:pt>
                <c:pt idx="1285">
                  <c:v>42152</c:v>
                </c:pt>
                <c:pt idx="1286">
                  <c:v>42153</c:v>
                </c:pt>
                <c:pt idx="1287">
                  <c:v>42156</c:v>
                </c:pt>
                <c:pt idx="1288">
                  <c:v>42157</c:v>
                </c:pt>
                <c:pt idx="1289">
                  <c:v>42158</c:v>
                </c:pt>
                <c:pt idx="1290">
                  <c:v>42159</c:v>
                </c:pt>
                <c:pt idx="1291">
                  <c:v>42160</c:v>
                </c:pt>
                <c:pt idx="1292">
                  <c:v>42163</c:v>
                </c:pt>
                <c:pt idx="1293">
                  <c:v>42164</c:v>
                </c:pt>
                <c:pt idx="1294">
                  <c:v>42165</c:v>
                </c:pt>
                <c:pt idx="1295">
                  <c:v>42166</c:v>
                </c:pt>
                <c:pt idx="1296">
                  <c:v>42167</c:v>
                </c:pt>
                <c:pt idx="1297">
                  <c:v>42170</c:v>
                </c:pt>
                <c:pt idx="1298">
                  <c:v>42171</c:v>
                </c:pt>
                <c:pt idx="1299">
                  <c:v>42172</c:v>
                </c:pt>
                <c:pt idx="1300">
                  <c:v>42173</c:v>
                </c:pt>
                <c:pt idx="1301">
                  <c:v>42174</c:v>
                </c:pt>
                <c:pt idx="1302">
                  <c:v>42177</c:v>
                </c:pt>
                <c:pt idx="1303">
                  <c:v>42178</c:v>
                </c:pt>
                <c:pt idx="1304">
                  <c:v>42179</c:v>
                </c:pt>
                <c:pt idx="1305">
                  <c:v>42180</c:v>
                </c:pt>
                <c:pt idx="1306">
                  <c:v>42181</c:v>
                </c:pt>
                <c:pt idx="1307">
                  <c:v>42184</c:v>
                </c:pt>
                <c:pt idx="1308">
                  <c:v>42185</c:v>
                </c:pt>
                <c:pt idx="1309">
                  <c:v>42186</c:v>
                </c:pt>
                <c:pt idx="1310">
                  <c:v>42187</c:v>
                </c:pt>
                <c:pt idx="1311">
                  <c:v>42188</c:v>
                </c:pt>
                <c:pt idx="1312">
                  <c:v>42191</c:v>
                </c:pt>
                <c:pt idx="1313">
                  <c:v>42192</c:v>
                </c:pt>
                <c:pt idx="1314">
                  <c:v>42193</c:v>
                </c:pt>
                <c:pt idx="1315">
                  <c:v>42194</c:v>
                </c:pt>
                <c:pt idx="1316">
                  <c:v>42195</c:v>
                </c:pt>
                <c:pt idx="1317">
                  <c:v>42198</c:v>
                </c:pt>
                <c:pt idx="1318">
                  <c:v>42199</c:v>
                </c:pt>
                <c:pt idx="1319">
                  <c:v>42200</c:v>
                </c:pt>
                <c:pt idx="1320">
                  <c:v>42201</c:v>
                </c:pt>
                <c:pt idx="1321">
                  <c:v>42202</c:v>
                </c:pt>
                <c:pt idx="1322">
                  <c:v>42205</c:v>
                </c:pt>
                <c:pt idx="1323">
                  <c:v>42206</c:v>
                </c:pt>
                <c:pt idx="1324">
                  <c:v>42207</c:v>
                </c:pt>
                <c:pt idx="1325">
                  <c:v>42208</c:v>
                </c:pt>
                <c:pt idx="1326">
                  <c:v>42209</c:v>
                </c:pt>
                <c:pt idx="1327">
                  <c:v>42212</c:v>
                </c:pt>
                <c:pt idx="1328">
                  <c:v>42213</c:v>
                </c:pt>
                <c:pt idx="1329">
                  <c:v>42214</c:v>
                </c:pt>
                <c:pt idx="1330">
                  <c:v>42215</c:v>
                </c:pt>
                <c:pt idx="1331">
                  <c:v>42216</c:v>
                </c:pt>
                <c:pt idx="1332">
                  <c:v>42219</c:v>
                </c:pt>
                <c:pt idx="1333">
                  <c:v>42220</c:v>
                </c:pt>
                <c:pt idx="1334">
                  <c:v>42221</c:v>
                </c:pt>
                <c:pt idx="1335">
                  <c:v>42222</c:v>
                </c:pt>
                <c:pt idx="1336">
                  <c:v>42223</c:v>
                </c:pt>
                <c:pt idx="1337">
                  <c:v>42226</c:v>
                </c:pt>
                <c:pt idx="1338">
                  <c:v>42227</c:v>
                </c:pt>
                <c:pt idx="1339">
                  <c:v>42228</c:v>
                </c:pt>
                <c:pt idx="1340">
                  <c:v>42229</c:v>
                </c:pt>
                <c:pt idx="1341">
                  <c:v>42230</c:v>
                </c:pt>
                <c:pt idx="1342">
                  <c:v>42233</c:v>
                </c:pt>
                <c:pt idx="1343">
                  <c:v>42234</c:v>
                </c:pt>
                <c:pt idx="1344">
                  <c:v>42235</c:v>
                </c:pt>
                <c:pt idx="1345">
                  <c:v>42236</c:v>
                </c:pt>
                <c:pt idx="1346">
                  <c:v>42237</c:v>
                </c:pt>
                <c:pt idx="1347">
                  <c:v>42240</c:v>
                </c:pt>
                <c:pt idx="1348">
                  <c:v>42241</c:v>
                </c:pt>
                <c:pt idx="1349">
                  <c:v>42242</c:v>
                </c:pt>
                <c:pt idx="1350">
                  <c:v>42243</c:v>
                </c:pt>
                <c:pt idx="1351">
                  <c:v>42244</c:v>
                </c:pt>
                <c:pt idx="1352">
                  <c:v>42247</c:v>
                </c:pt>
                <c:pt idx="1353">
                  <c:v>42248</c:v>
                </c:pt>
                <c:pt idx="1354">
                  <c:v>42249</c:v>
                </c:pt>
                <c:pt idx="1355">
                  <c:v>42250</c:v>
                </c:pt>
                <c:pt idx="1356">
                  <c:v>42251</c:v>
                </c:pt>
                <c:pt idx="1357">
                  <c:v>42254</c:v>
                </c:pt>
                <c:pt idx="1358">
                  <c:v>42255</c:v>
                </c:pt>
                <c:pt idx="1359">
                  <c:v>42256</c:v>
                </c:pt>
                <c:pt idx="1360">
                  <c:v>42257</c:v>
                </c:pt>
                <c:pt idx="1361">
                  <c:v>42258</c:v>
                </c:pt>
                <c:pt idx="1362">
                  <c:v>42261</c:v>
                </c:pt>
                <c:pt idx="1363">
                  <c:v>42262</c:v>
                </c:pt>
                <c:pt idx="1364">
                  <c:v>42263</c:v>
                </c:pt>
                <c:pt idx="1365">
                  <c:v>42264</c:v>
                </c:pt>
                <c:pt idx="1366">
                  <c:v>42265</c:v>
                </c:pt>
                <c:pt idx="1367">
                  <c:v>42268</c:v>
                </c:pt>
                <c:pt idx="1368">
                  <c:v>42269</c:v>
                </c:pt>
                <c:pt idx="1369">
                  <c:v>42270</c:v>
                </c:pt>
                <c:pt idx="1370">
                  <c:v>42271</c:v>
                </c:pt>
                <c:pt idx="1371">
                  <c:v>42272</c:v>
                </c:pt>
                <c:pt idx="1372">
                  <c:v>42275</c:v>
                </c:pt>
                <c:pt idx="1373">
                  <c:v>42276</c:v>
                </c:pt>
                <c:pt idx="1374">
                  <c:v>42277</c:v>
                </c:pt>
                <c:pt idx="1375">
                  <c:v>42278</c:v>
                </c:pt>
                <c:pt idx="1376">
                  <c:v>42279</c:v>
                </c:pt>
                <c:pt idx="1377">
                  <c:v>42282</c:v>
                </c:pt>
                <c:pt idx="1378">
                  <c:v>42283</c:v>
                </c:pt>
                <c:pt idx="1379">
                  <c:v>42284</c:v>
                </c:pt>
                <c:pt idx="1380">
                  <c:v>42285</c:v>
                </c:pt>
                <c:pt idx="1381">
                  <c:v>42286</c:v>
                </c:pt>
                <c:pt idx="1382">
                  <c:v>42289</c:v>
                </c:pt>
                <c:pt idx="1383">
                  <c:v>42290</c:v>
                </c:pt>
                <c:pt idx="1384">
                  <c:v>42291</c:v>
                </c:pt>
                <c:pt idx="1385">
                  <c:v>42292</c:v>
                </c:pt>
                <c:pt idx="1386">
                  <c:v>42293</c:v>
                </c:pt>
                <c:pt idx="1387">
                  <c:v>42296</c:v>
                </c:pt>
                <c:pt idx="1388">
                  <c:v>42297</c:v>
                </c:pt>
                <c:pt idx="1389">
                  <c:v>42298</c:v>
                </c:pt>
                <c:pt idx="1390">
                  <c:v>42299</c:v>
                </c:pt>
                <c:pt idx="1391">
                  <c:v>42300</c:v>
                </c:pt>
                <c:pt idx="1392">
                  <c:v>42303</c:v>
                </c:pt>
                <c:pt idx="1393">
                  <c:v>42304</c:v>
                </c:pt>
                <c:pt idx="1394">
                  <c:v>42305</c:v>
                </c:pt>
                <c:pt idx="1395">
                  <c:v>42306</c:v>
                </c:pt>
                <c:pt idx="1396">
                  <c:v>42307</c:v>
                </c:pt>
                <c:pt idx="1397">
                  <c:v>42310</c:v>
                </c:pt>
                <c:pt idx="1398">
                  <c:v>42311</c:v>
                </c:pt>
                <c:pt idx="1399">
                  <c:v>42312</c:v>
                </c:pt>
                <c:pt idx="1400">
                  <c:v>42313</c:v>
                </c:pt>
                <c:pt idx="1401">
                  <c:v>42314</c:v>
                </c:pt>
                <c:pt idx="1402">
                  <c:v>42317</c:v>
                </c:pt>
                <c:pt idx="1403">
                  <c:v>42318</c:v>
                </c:pt>
                <c:pt idx="1404">
                  <c:v>42319</c:v>
                </c:pt>
                <c:pt idx="1405">
                  <c:v>42320</c:v>
                </c:pt>
                <c:pt idx="1406">
                  <c:v>42321</c:v>
                </c:pt>
                <c:pt idx="1407">
                  <c:v>42324</c:v>
                </c:pt>
                <c:pt idx="1408">
                  <c:v>42325</c:v>
                </c:pt>
                <c:pt idx="1409">
                  <c:v>42326</c:v>
                </c:pt>
                <c:pt idx="1410">
                  <c:v>42327</c:v>
                </c:pt>
                <c:pt idx="1411">
                  <c:v>42328</c:v>
                </c:pt>
                <c:pt idx="1412">
                  <c:v>42331</c:v>
                </c:pt>
                <c:pt idx="1413">
                  <c:v>42332</c:v>
                </c:pt>
                <c:pt idx="1414">
                  <c:v>42333</c:v>
                </c:pt>
                <c:pt idx="1415">
                  <c:v>42334</c:v>
                </c:pt>
                <c:pt idx="1416">
                  <c:v>42335</c:v>
                </c:pt>
                <c:pt idx="1417">
                  <c:v>42338</c:v>
                </c:pt>
                <c:pt idx="1418">
                  <c:v>42339</c:v>
                </c:pt>
                <c:pt idx="1419">
                  <c:v>42340</c:v>
                </c:pt>
                <c:pt idx="1420">
                  <c:v>42341</c:v>
                </c:pt>
                <c:pt idx="1421">
                  <c:v>42342</c:v>
                </c:pt>
                <c:pt idx="1422">
                  <c:v>42345</c:v>
                </c:pt>
                <c:pt idx="1423">
                  <c:v>42346</c:v>
                </c:pt>
                <c:pt idx="1424">
                  <c:v>42347</c:v>
                </c:pt>
                <c:pt idx="1425">
                  <c:v>42348</c:v>
                </c:pt>
                <c:pt idx="1426">
                  <c:v>42349</c:v>
                </c:pt>
                <c:pt idx="1427">
                  <c:v>42352</c:v>
                </c:pt>
                <c:pt idx="1428">
                  <c:v>42353</c:v>
                </c:pt>
                <c:pt idx="1429">
                  <c:v>42354</c:v>
                </c:pt>
                <c:pt idx="1430">
                  <c:v>42355</c:v>
                </c:pt>
                <c:pt idx="1431">
                  <c:v>42356</c:v>
                </c:pt>
                <c:pt idx="1432">
                  <c:v>42359</c:v>
                </c:pt>
                <c:pt idx="1433">
                  <c:v>42360</c:v>
                </c:pt>
                <c:pt idx="1434">
                  <c:v>42361</c:v>
                </c:pt>
                <c:pt idx="1435">
                  <c:v>42362</c:v>
                </c:pt>
                <c:pt idx="1436">
                  <c:v>42363</c:v>
                </c:pt>
                <c:pt idx="1437">
                  <c:v>42366</c:v>
                </c:pt>
                <c:pt idx="1438">
                  <c:v>42367</c:v>
                </c:pt>
                <c:pt idx="1439">
                  <c:v>42368</c:v>
                </c:pt>
                <c:pt idx="1440">
                  <c:v>42369</c:v>
                </c:pt>
                <c:pt idx="1441">
                  <c:v>42370</c:v>
                </c:pt>
                <c:pt idx="1442">
                  <c:v>42373</c:v>
                </c:pt>
                <c:pt idx="1443">
                  <c:v>42374</c:v>
                </c:pt>
                <c:pt idx="1444">
                  <c:v>42375</c:v>
                </c:pt>
                <c:pt idx="1445">
                  <c:v>42376</c:v>
                </c:pt>
                <c:pt idx="1446">
                  <c:v>42377</c:v>
                </c:pt>
                <c:pt idx="1447">
                  <c:v>42380</c:v>
                </c:pt>
                <c:pt idx="1448">
                  <c:v>42381</c:v>
                </c:pt>
                <c:pt idx="1449">
                  <c:v>42382</c:v>
                </c:pt>
                <c:pt idx="1450">
                  <c:v>42383</c:v>
                </c:pt>
                <c:pt idx="1451">
                  <c:v>42384</c:v>
                </c:pt>
                <c:pt idx="1452">
                  <c:v>42387</c:v>
                </c:pt>
                <c:pt idx="1453">
                  <c:v>42388</c:v>
                </c:pt>
                <c:pt idx="1454">
                  <c:v>42389</c:v>
                </c:pt>
                <c:pt idx="1455">
                  <c:v>42390</c:v>
                </c:pt>
                <c:pt idx="1456">
                  <c:v>42391</c:v>
                </c:pt>
                <c:pt idx="1457">
                  <c:v>42394</c:v>
                </c:pt>
                <c:pt idx="1458">
                  <c:v>42395</c:v>
                </c:pt>
                <c:pt idx="1459">
                  <c:v>42396</c:v>
                </c:pt>
                <c:pt idx="1460">
                  <c:v>42397</c:v>
                </c:pt>
                <c:pt idx="1461">
                  <c:v>42398</c:v>
                </c:pt>
                <c:pt idx="1462">
                  <c:v>42401</c:v>
                </c:pt>
                <c:pt idx="1463">
                  <c:v>42402</c:v>
                </c:pt>
                <c:pt idx="1464">
                  <c:v>42403</c:v>
                </c:pt>
                <c:pt idx="1465">
                  <c:v>42404</c:v>
                </c:pt>
                <c:pt idx="1466">
                  <c:v>42405</c:v>
                </c:pt>
                <c:pt idx="1467">
                  <c:v>42408</c:v>
                </c:pt>
                <c:pt idx="1468">
                  <c:v>42409</c:v>
                </c:pt>
                <c:pt idx="1469">
                  <c:v>42410</c:v>
                </c:pt>
                <c:pt idx="1470">
                  <c:v>42411</c:v>
                </c:pt>
                <c:pt idx="1471">
                  <c:v>42412</c:v>
                </c:pt>
                <c:pt idx="1472">
                  <c:v>42415</c:v>
                </c:pt>
                <c:pt idx="1473">
                  <c:v>42416</c:v>
                </c:pt>
                <c:pt idx="1474">
                  <c:v>42417</c:v>
                </c:pt>
                <c:pt idx="1475">
                  <c:v>42418</c:v>
                </c:pt>
                <c:pt idx="1476">
                  <c:v>42419</c:v>
                </c:pt>
                <c:pt idx="1477">
                  <c:v>42422</c:v>
                </c:pt>
                <c:pt idx="1478">
                  <c:v>42423</c:v>
                </c:pt>
                <c:pt idx="1479">
                  <c:v>42424</c:v>
                </c:pt>
                <c:pt idx="1480">
                  <c:v>42425</c:v>
                </c:pt>
                <c:pt idx="1481">
                  <c:v>42426</c:v>
                </c:pt>
                <c:pt idx="1482">
                  <c:v>42429</c:v>
                </c:pt>
                <c:pt idx="1483">
                  <c:v>42430</c:v>
                </c:pt>
                <c:pt idx="1484">
                  <c:v>42431</c:v>
                </c:pt>
                <c:pt idx="1485">
                  <c:v>42432</c:v>
                </c:pt>
                <c:pt idx="1486">
                  <c:v>42433</c:v>
                </c:pt>
                <c:pt idx="1487">
                  <c:v>42436</c:v>
                </c:pt>
                <c:pt idx="1488">
                  <c:v>42437</c:v>
                </c:pt>
                <c:pt idx="1489">
                  <c:v>42438</c:v>
                </c:pt>
                <c:pt idx="1490">
                  <c:v>42439</c:v>
                </c:pt>
                <c:pt idx="1491">
                  <c:v>42440</c:v>
                </c:pt>
                <c:pt idx="1492">
                  <c:v>42443</c:v>
                </c:pt>
                <c:pt idx="1493">
                  <c:v>42444</c:v>
                </c:pt>
                <c:pt idx="1494">
                  <c:v>42445</c:v>
                </c:pt>
                <c:pt idx="1495">
                  <c:v>42446</c:v>
                </c:pt>
                <c:pt idx="1496">
                  <c:v>42447</c:v>
                </c:pt>
                <c:pt idx="1497">
                  <c:v>42450</c:v>
                </c:pt>
                <c:pt idx="1498">
                  <c:v>42451</c:v>
                </c:pt>
                <c:pt idx="1499">
                  <c:v>42452</c:v>
                </c:pt>
                <c:pt idx="1500">
                  <c:v>42453</c:v>
                </c:pt>
                <c:pt idx="1501">
                  <c:v>42454</c:v>
                </c:pt>
                <c:pt idx="1502">
                  <c:v>42457</c:v>
                </c:pt>
                <c:pt idx="1503">
                  <c:v>42458</c:v>
                </c:pt>
                <c:pt idx="1504">
                  <c:v>42459</c:v>
                </c:pt>
                <c:pt idx="1505">
                  <c:v>42460</c:v>
                </c:pt>
                <c:pt idx="1506">
                  <c:v>42461</c:v>
                </c:pt>
                <c:pt idx="1507">
                  <c:v>42464</c:v>
                </c:pt>
                <c:pt idx="1508">
                  <c:v>42465</c:v>
                </c:pt>
                <c:pt idx="1509">
                  <c:v>42466</c:v>
                </c:pt>
                <c:pt idx="1510">
                  <c:v>42467</c:v>
                </c:pt>
                <c:pt idx="1511">
                  <c:v>42468</c:v>
                </c:pt>
                <c:pt idx="1512">
                  <c:v>42471</c:v>
                </c:pt>
                <c:pt idx="1513">
                  <c:v>42472</c:v>
                </c:pt>
                <c:pt idx="1514">
                  <c:v>42473</c:v>
                </c:pt>
                <c:pt idx="1515">
                  <c:v>42474</c:v>
                </c:pt>
                <c:pt idx="1516">
                  <c:v>42475</c:v>
                </c:pt>
                <c:pt idx="1517">
                  <c:v>42478</c:v>
                </c:pt>
                <c:pt idx="1518">
                  <c:v>42479</c:v>
                </c:pt>
                <c:pt idx="1519">
                  <c:v>42480</c:v>
                </c:pt>
                <c:pt idx="1520">
                  <c:v>42481</c:v>
                </c:pt>
                <c:pt idx="1521">
                  <c:v>42482</c:v>
                </c:pt>
                <c:pt idx="1522">
                  <c:v>42485</c:v>
                </c:pt>
                <c:pt idx="1523">
                  <c:v>42486</c:v>
                </c:pt>
                <c:pt idx="1524">
                  <c:v>42487</c:v>
                </c:pt>
                <c:pt idx="1525">
                  <c:v>42488</c:v>
                </c:pt>
                <c:pt idx="1526">
                  <c:v>42489</c:v>
                </c:pt>
                <c:pt idx="1527">
                  <c:v>42492</c:v>
                </c:pt>
                <c:pt idx="1528">
                  <c:v>42493</c:v>
                </c:pt>
                <c:pt idx="1529">
                  <c:v>42494</c:v>
                </c:pt>
                <c:pt idx="1530">
                  <c:v>42495</c:v>
                </c:pt>
                <c:pt idx="1531">
                  <c:v>42496</c:v>
                </c:pt>
                <c:pt idx="1532">
                  <c:v>42499</c:v>
                </c:pt>
                <c:pt idx="1533">
                  <c:v>42500</c:v>
                </c:pt>
                <c:pt idx="1534">
                  <c:v>42501</c:v>
                </c:pt>
                <c:pt idx="1535">
                  <c:v>42502</c:v>
                </c:pt>
                <c:pt idx="1536">
                  <c:v>42503</c:v>
                </c:pt>
                <c:pt idx="1537">
                  <c:v>42506</c:v>
                </c:pt>
                <c:pt idx="1538">
                  <c:v>42507</c:v>
                </c:pt>
                <c:pt idx="1539">
                  <c:v>42508</c:v>
                </c:pt>
                <c:pt idx="1540">
                  <c:v>42509</c:v>
                </c:pt>
                <c:pt idx="1541">
                  <c:v>42510</c:v>
                </c:pt>
                <c:pt idx="1542">
                  <c:v>42513</c:v>
                </c:pt>
                <c:pt idx="1543">
                  <c:v>42514</c:v>
                </c:pt>
                <c:pt idx="1544">
                  <c:v>42515</c:v>
                </c:pt>
                <c:pt idx="1545">
                  <c:v>42516</c:v>
                </c:pt>
                <c:pt idx="1546">
                  <c:v>42517</c:v>
                </c:pt>
                <c:pt idx="1547">
                  <c:v>42520</c:v>
                </c:pt>
                <c:pt idx="1548">
                  <c:v>42521</c:v>
                </c:pt>
                <c:pt idx="1549">
                  <c:v>42522</c:v>
                </c:pt>
                <c:pt idx="1550">
                  <c:v>42523</c:v>
                </c:pt>
                <c:pt idx="1551">
                  <c:v>42524</c:v>
                </c:pt>
                <c:pt idx="1552">
                  <c:v>42527</c:v>
                </c:pt>
                <c:pt idx="1553">
                  <c:v>42528</c:v>
                </c:pt>
                <c:pt idx="1554">
                  <c:v>42529</c:v>
                </c:pt>
                <c:pt idx="1555">
                  <c:v>42530</c:v>
                </c:pt>
                <c:pt idx="1556">
                  <c:v>42531</c:v>
                </c:pt>
                <c:pt idx="1557">
                  <c:v>42534</c:v>
                </c:pt>
                <c:pt idx="1558">
                  <c:v>42535</c:v>
                </c:pt>
                <c:pt idx="1559">
                  <c:v>42536</c:v>
                </c:pt>
                <c:pt idx="1560">
                  <c:v>42537</c:v>
                </c:pt>
                <c:pt idx="1561">
                  <c:v>42538</c:v>
                </c:pt>
                <c:pt idx="1562">
                  <c:v>42541</c:v>
                </c:pt>
                <c:pt idx="1563">
                  <c:v>42542</c:v>
                </c:pt>
                <c:pt idx="1564">
                  <c:v>42543</c:v>
                </c:pt>
                <c:pt idx="1565">
                  <c:v>42544</c:v>
                </c:pt>
                <c:pt idx="1566">
                  <c:v>42545</c:v>
                </c:pt>
                <c:pt idx="1567">
                  <c:v>42548</c:v>
                </c:pt>
                <c:pt idx="1568">
                  <c:v>42549</c:v>
                </c:pt>
                <c:pt idx="1569">
                  <c:v>42550</c:v>
                </c:pt>
                <c:pt idx="1570">
                  <c:v>42551</c:v>
                </c:pt>
                <c:pt idx="1571">
                  <c:v>42552</c:v>
                </c:pt>
                <c:pt idx="1572">
                  <c:v>42555</c:v>
                </c:pt>
                <c:pt idx="1573">
                  <c:v>42556</c:v>
                </c:pt>
                <c:pt idx="1574">
                  <c:v>42557</c:v>
                </c:pt>
                <c:pt idx="1575">
                  <c:v>42558</c:v>
                </c:pt>
                <c:pt idx="1576">
                  <c:v>42559</c:v>
                </c:pt>
                <c:pt idx="1577">
                  <c:v>42562</c:v>
                </c:pt>
                <c:pt idx="1578">
                  <c:v>42563</c:v>
                </c:pt>
                <c:pt idx="1579">
                  <c:v>42564</c:v>
                </c:pt>
                <c:pt idx="1580">
                  <c:v>42565</c:v>
                </c:pt>
                <c:pt idx="1581">
                  <c:v>42566</c:v>
                </c:pt>
                <c:pt idx="1582">
                  <c:v>42569</c:v>
                </c:pt>
                <c:pt idx="1583">
                  <c:v>42570</c:v>
                </c:pt>
                <c:pt idx="1584">
                  <c:v>42571</c:v>
                </c:pt>
                <c:pt idx="1585">
                  <c:v>42572</c:v>
                </c:pt>
                <c:pt idx="1586">
                  <c:v>42573</c:v>
                </c:pt>
                <c:pt idx="1587">
                  <c:v>42576</c:v>
                </c:pt>
                <c:pt idx="1588">
                  <c:v>42577</c:v>
                </c:pt>
                <c:pt idx="1589">
                  <c:v>42578</c:v>
                </c:pt>
                <c:pt idx="1590">
                  <c:v>42579</c:v>
                </c:pt>
                <c:pt idx="1591">
                  <c:v>42580</c:v>
                </c:pt>
                <c:pt idx="1592">
                  <c:v>42583</c:v>
                </c:pt>
                <c:pt idx="1593">
                  <c:v>42584</c:v>
                </c:pt>
                <c:pt idx="1594">
                  <c:v>42585</c:v>
                </c:pt>
                <c:pt idx="1595">
                  <c:v>42586</c:v>
                </c:pt>
                <c:pt idx="1596">
                  <c:v>42587</c:v>
                </c:pt>
                <c:pt idx="1597">
                  <c:v>42590</c:v>
                </c:pt>
                <c:pt idx="1598">
                  <c:v>42591</c:v>
                </c:pt>
                <c:pt idx="1599">
                  <c:v>42592</c:v>
                </c:pt>
                <c:pt idx="1600">
                  <c:v>42593</c:v>
                </c:pt>
                <c:pt idx="1601">
                  <c:v>42594</c:v>
                </c:pt>
                <c:pt idx="1602">
                  <c:v>42597</c:v>
                </c:pt>
                <c:pt idx="1603">
                  <c:v>42598</c:v>
                </c:pt>
                <c:pt idx="1604">
                  <c:v>42599</c:v>
                </c:pt>
                <c:pt idx="1605">
                  <c:v>42600</c:v>
                </c:pt>
                <c:pt idx="1606">
                  <c:v>42601</c:v>
                </c:pt>
                <c:pt idx="1607">
                  <c:v>42604</c:v>
                </c:pt>
                <c:pt idx="1608">
                  <c:v>42605</c:v>
                </c:pt>
                <c:pt idx="1609">
                  <c:v>42606</c:v>
                </c:pt>
                <c:pt idx="1610">
                  <c:v>42607</c:v>
                </c:pt>
                <c:pt idx="1611">
                  <c:v>42608</c:v>
                </c:pt>
                <c:pt idx="1612">
                  <c:v>42611</c:v>
                </c:pt>
                <c:pt idx="1613">
                  <c:v>42612</c:v>
                </c:pt>
                <c:pt idx="1614">
                  <c:v>42613</c:v>
                </c:pt>
                <c:pt idx="1615">
                  <c:v>42614</c:v>
                </c:pt>
                <c:pt idx="1616">
                  <c:v>42615</c:v>
                </c:pt>
                <c:pt idx="1617">
                  <c:v>42618</c:v>
                </c:pt>
                <c:pt idx="1618">
                  <c:v>42619</c:v>
                </c:pt>
                <c:pt idx="1619">
                  <c:v>42620</c:v>
                </c:pt>
                <c:pt idx="1620">
                  <c:v>42621</c:v>
                </c:pt>
                <c:pt idx="1621">
                  <c:v>42622</c:v>
                </c:pt>
                <c:pt idx="1622">
                  <c:v>42625</c:v>
                </c:pt>
                <c:pt idx="1623">
                  <c:v>42626</c:v>
                </c:pt>
                <c:pt idx="1624">
                  <c:v>42627</c:v>
                </c:pt>
                <c:pt idx="1625">
                  <c:v>42628</c:v>
                </c:pt>
                <c:pt idx="1626">
                  <c:v>42629</c:v>
                </c:pt>
                <c:pt idx="1627">
                  <c:v>42632</c:v>
                </c:pt>
                <c:pt idx="1628">
                  <c:v>42633</c:v>
                </c:pt>
                <c:pt idx="1629">
                  <c:v>42634</c:v>
                </c:pt>
                <c:pt idx="1630">
                  <c:v>42635</c:v>
                </c:pt>
                <c:pt idx="1631">
                  <c:v>42636</c:v>
                </c:pt>
                <c:pt idx="1632">
                  <c:v>42639</c:v>
                </c:pt>
                <c:pt idx="1633">
                  <c:v>42640</c:v>
                </c:pt>
                <c:pt idx="1634">
                  <c:v>42641</c:v>
                </c:pt>
                <c:pt idx="1635">
                  <c:v>42642</c:v>
                </c:pt>
                <c:pt idx="1636">
                  <c:v>42643</c:v>
                </c:pt>
                <c:pt idx="1637">
                  <c:v>42646</c:v>
                </c:pt>
                <c:pt idx="1638">
                  <c:v>42647</c:v>
                </c:pt>
                <c:pt idx="1639">
                  <c:v>42648</c:v>
                </c:pt>
                <c:pt idx="1640">
                  <c:v>42649</c:v>
                </c:pt>
                <c:pt idx="1641">
                  <c:v>42650</c:v>
                </c:pt>
                <c:pt idx="1642">
                  <c:v>42653</c:v>
                </c:pt>
                <c:pt idx="1643">
                  <c:v>42654</c:v>
                </c:pt>
                <c:pt idx="1644">
                  <c:v>42655</c:v>
                </c:pt>
                <c:pt idx="1645">
                  <c:v>42656</c:v>
                </c:pt>
                <c:pt idx="1646">
                  <c:v>42657</c:v>
                </c:pt>
                <c:pt idx="1647">
                  <c:v>42660</c:v>
                </c:pt>
                <c:pt idx="1648">
                  <c:v>42661</c:v>
                </c:pt>
                <c:pt idx="1649">
                  <c:v>42662</c:v>
                </c:pt>
                <c:pt idx="1650">
                  <c:v>42663</c:v>
                </c:pt>
                <c:pt idx="1651">
                  <c:v>42664</c:v>
                </c:pt>
                <c:pt idx="1652">
                  <c:v>42667</c:v>
                </c:pt>
                <c:pt idx="1653">
                  <c:v>42668</c:v>
                </c:pt>
                <c:pt idx="1654">
                  <c:v>42669</c:v>
                </c:pt>
                <c:pt idx="1655">
                  <c:v>42670</c:v>
                </c:pt>
                <c:pt idx="1656">
                  <c:v>42671</c:v>
                </c:pt>
                <c:pt idx="1657">
                  <c:v>42674</c:v>
                </c:pt>
                <c:pt idx="1658">
                  <c:v>42675</c:v>
                </c:pt>
                <c:pt idx="1659">
                  <c:v>42676</c:v>
                </c:pt>
                <c:pt idx="1660">
                  <c:v>42677</c:v>
                </c:pt>
                <c:pt idx="1661">
                  <c:v>42678</c:v>
                </c:pt>
                <c:pt idx="1662">
                  <c:v>42681</c:v>
                </c:pt>
                <c:pt idx="1663">
                  <c:v>42682</c:v>
                </c:pt>
                <c:pt idx="1664">
                  <c:v>42683</c:v>
                </c:pt>
                <c:pt idx="1665">
                  <c:v>42684</c:v>
                </c:pt>
                <c:pt idx="1666">
                  <c:v>42685</c:v>
                </c:pt>
                <c:pt idx="1667">
                  <c:v>42688</c:v>
                </c:pt>
                <c:pt idx="1668">
                  <c:v>42689</c:v>
                </c:pt>
                <c:pt idx="1669">
                  <c:v>42690</c:v>
                </c:pt>
                <c:pt idx="1670">
                  <c:v>42691</c:v>
                </c:pt>
                <c:pt idx="1671">
                  <c:v>42692</c:v>
                </c:pt>
                <c:pt idx="1672">
                  <c:v>42695</c:v>
                </c:pt>
                <c:pt idx="1673">
                  <c:v>42696</c:v>
                </c:pt>
                <c:pt idx="1674">
                  <c:v>42697</c:v>
                </c:pt>
                <c:pt idx="1675">
                  <c:v>42698</c:v>
                </c:pt>
                <c:pt idx="1676">
                  <c:v>42699</c:v>
                </c:pt>
                <c:pt idx="1677">
                  <c:v>42702</c:v>
                </c:pt>
                <c:pt idx="1678">
                  <c:v>42703</c:v>
                </c:pt>
                <c:pt idx="1679">
                  <c:v>42704</c:v>
                </c:pt>
                <c:pt idx="1680">
                  <c:v>42705</c:v>
                </c:pt>
                <c:pt idx="1681">
                  <c:v>42706</c:v>
                </c:pt>
                <c:pt idx="1682">
                  <c:v>42709</c:v>
                </c:pt>
                <c:pt idx="1683">
                  <c:v>42710</c:v>
                </c:pt>
                <c:pt idx="1684">
                  <c:v>42711</c:v>
                </c:pt>
                <c:pt idx="1685">
                  <c:v>42712</c:v>
                </c:pt>
                <c:pt idx="1686">
                  <c:v>42713</c:v>
                </c:pt>
                <c:pt idx="1687">
                  <c:v>42716</c:v>
                </c:pt>
                <c:pt idx="1688">
                  <c:v>42717</c:v>
                </c:pt>
                <c:pt idx="1689">
                  <c:v>42718</c:v>
                </c:pt>
                <c:pt idx="1690">
                  <c:v>42719</c:v>
                </c:pt>
                <c:pt idx="1691">
                  <c:v>42720</c:v>
                </c:pt>
                <c:pt idx="1692">
                  <c:v>42723</c:v>
                </c:pt>
                <c:pt idx="1693">
                  <c:v>42724</c:v>
                </c:pt>
                <c:pt idx="1694">
                  <c:v>42725</c:v>
                </c:pt>
                <c:pt idx="1695">
                  <c:v>42726</c:v>
                </c:pt>
                <c:pt idx="1696">
                  <c:v>42727</c:v>
                </c:pt>
                <c:pt idx="1697">
                  <c:v>42730</c:v>
                </c:pt>
                <c:pt idx="1698">
                  <c:v>42731</c:v>
                </c:pt>
                <c:pt idx="1699">
                  <c:v>42732</c:v>
                </c:pt>
                <c:pt idx="1700">
                  <c:v>42733</c:v>
                </c:pt>
                <c:pt idx="1701">
                  <c:v>42734</c:v>
                </c:pt>
                <c:pt idx="1702">
                  <c:v>42737</c:v>
                </c:pt>
                <c:pt idx="1703">
                  <c:v>42738</c:v>
                </c:pt>
                <c:pt idx="1704">
                  <c:v>42739</c:v>
                </c:pt>
                <c:pt idx="1705">
                  <c:v>42740</c:v>
                </c:pt>
                <c:pt idx="1706">
                  <c:v>42741</c:v>
                </c:pt>
                <c:pt idx="1707">
                  <c:v>42744</c:v>
                </c:pt>
                <c:pt idx="1708">
                  <c:v>42745</c:v>
                </c:pt>
                <c:pt idx="1709">
                  <c:v>42746</c:v>
                </c:pt>
                <c:pt idx="1710">
                  <c:v>42747</c:v>
                </c:pt>
                <c:pt idx="1711">
                  <c:v>42748</c:v>
                </c:pt>
                <c:pt idx="1712">
                  <c:v>42751</c:v>
                </c:pt>
                <c:pt idx="1713">
                  <c:v>42752</c:v>
                </c:pt>
                <c:pt idx="1714">
                  <c:v>42753</c:v>
                </c:pt>
                <c:pt idx="1715">
                  <c:v>42754</c:v>
                </c:pt>
                <c:pt idx="1716">
                  <c:v>42755</c:v>
                </c:pt>
                <c:pt idx="1717">
                  <c:v>42758</c:v>
                </c:pt>
                <c:pt idx="1718">
                  <c:v>42759</c:v>
                </c:pt>
                <c:pt idx="1719">
                  <c:v>42760</c:v>
                </c:pt>
                <c:pt idx="1720">
                  <c:v>42761</c:v>
                </c:pt>
                <c:pt idx="1721">
                  <c:v>42762</c:v>
                </c:pt>
                <c:pt idx="1722">
                  <c:v>42765</c:v>
                </c:pt>
                <c:pt idx="1723">
                  <c:v>42766</c:v>
                </c:pt>
                <c:pt idx="1724">
                  <c:v>42767</c:v>
                </c:pt>
                <c:pt idx="1725">
                  <c:v>42768</c:v>
                </c:pt>
                <c:pt idx="1726">
                  <c:v>42769</c:v>
                </c:pt>
                <c:pt idx="1727">
                  <c:v>42772</c:v>
                </c:pt>
                <c:pt idx="1728">
                  <c:v>42773</c:v>
                </c:pt>
                <c:pt idx="1729">
                  <c:v>42774</c:v>
                </c:pt>
                <c:pt idx="1730">
                  <c:v>42775</c:v>
                </c:pt>
                <c:pt idx="1731">
                  <c:v>42776</c:v>
                </c:pt>
                <c:pt idx="1732">
                  <c:v>42779</c:v>
                </c:pt>
                <c:pt idx="1733">
                  <c:v>42780</c:v>
                </c:pt>
                <c:pt idx="1734">
                  <c:v>42781</c:v>
                </c:pt>
                <c:pt idx="1735">
                  <c:v>42782</c:v>
                </c:pt>
                <c:pt idx="1736">
                  <c:v>42783</c:v>
                </c:pt>
                <c:pt idx="1737">
                  <c:v>42786</c:v>
                </c:pt>
                <c:pt idx="1738">
                  <c:v>42787</c:v>
                </c:pt>
                <c:pt idx="1739">
                  <c:v>42788</c:v>
                </c:pt>
                <c:pt idx="1740">
                  <c:v>42789</c:v>
                </c:pt>
                <c:pt idx="1741">
                  <c:v>42790</c:v>
                </c:pt>
                <c:pt idx="1742">
                  <c:v>42793</c:v>
                </c:pt>
                <c:pt idx="1743">
                  <c:v>42794</c:v>
                </c:pt>
                <c:pt idx="1744">
                  <c:v>42795</c:v>
                </c:pt>
                <c:pt idx="1745">
                  <c:v>42796</c:v>
                </c:pt>
                <c:pt idx="1746">
                  <c:v>42797</c:v>
                </c:pt>
                <c:pt idx="1747">
                  <c:v>42800</c:v>
                </c:pt>
                <c:pt idx="1748">
                  <c:v>42801</c:v>
                </c:pt>
                <c:pt idx="1749">
                  <c:v>42802</c:v>
                </c:pt>
                <c:pt idx="1750">
                  <c:v>42803</c:v>
                </c:pt>
                <c:pt idx="1751">
                  <c:v>42804</c:v>
                </c:pt>
                <c:pt idx="1752">
                  <c:v>42807</c:v>
                </c:pt>
                <c:pt idx="1753">
                  <c:v>42808</c:v>
                </c:pt>
                <c:pt idx="1754">
                  <c:v>42809</c:v>
                </c:pt>
                <c:pt idx="1755">
                  <c:v>42810</c:v>
                </c:pt>
                <c:pt idx="1756">
                  <c:v>42811</c:v>
                </c:pt>
                <c:pt idx="1757">
                  <c:v>42814</c:v>
                </c:pt>
                <c:pt idx="1758">
                  <c:v>42815</c:v>
                </c:pt>
                <c:pt idx="1759">
                  <c:v>42816</c:v>
                </c:pt>
                <c:pt idx="1760">
                  <c:v>42817</c:v>
                </c:pt>
                <c:pt idx="1761">
                  <c:v>42818</c:v>
                </c:pt>
                <c:pt idx="1762">
                  <c:v>42821</c:v>
                </c:pt>
                <c:pt idx="1763">
                  <c:v>42822</c:v>
                </c:pt>
                <c:pt idx="1764">
                  <c:v>42823</c:v>
                </c:pt>
                <c:pt idx="1765">
                  <c:v>42824</c:v>
                </c:pt>
                <c:pt idx="1766">
                  <c:v>42825</c:v>
                </c:pt>
                <c:pt idx="1767">
                  <c:v>42828</c:v>
                </c:pt>
                <c:pt idx="1768">
                  <c:v>42829</c:v>
                </c:pt>
                <c:pt idx="1769">
                  <c:v>42830</c:v>
                </c:pt>
                <c:pt idx="1770">
                  <c:v>42831</c:v>
                </c:pt>
                <c:pt idx="1771">
                  <c:v>42832</c:v>
                </c:pt>
                <c:pt idx="1772">
                  <c:v>42835</c:v>
                </c:pt>
                <c:pt idx="1773">
                  <c:v>42836</c:v>
                </c:pt>
                <c:pt idx="1774">
                  <c:v>42837</c:v>
                </c:pt>
                <c:pt idx="1775">
                  <c:v>42838</c:v>
                </c:pt>
                <c:pt idx="1776">
                  <c:v>42839</c:v>
                </c:pt>
                <c:pt idx="1777">
                  <c:v>42842</c:v>
                </c:pt>
                <c:pt idx="1778">
                  <c:v>42843</c:v>
                </c:pt>
                <c:pt idx="1779">
                  <c:v>42844</c:v>
                </c:pt>
                <c:pt idx="1780">
                  <c:v>42845</c:v>
                </c:pt>
                <c:pt idx="1781">
                  <c:v>42846</c:v>
                </c:pt>
                <c:pt idx="1782">
                  <c:v>42849</c:v>
                </c:pt>
                <c:pt idx="1783">
                  <c:v>42850</c:v>
                </c:pt>
                <c:pt idx="1784">
                  <c:v>42851</c:v>
                </c:pt>
                <c:pt idx="1785">
                  <c:v>42852</c:v>
                </c:pt>
                <c:pt idx="1786">
                  <c:v>42853</c:v>
                </c:pt>
                <c:pt idx="1787">
                  <c:v>42856</c:v>
                </c:pt>
                <c:pt idx="1788">
                  <c:v>42857</c:v>
                </c:pt>
                <c:pt idx="1789">
                  <c:v>42858</c:v>
                </c:pt>
                <c:pt idx="1790">
                  <c:v>42859</c:v>
                </c:pt>
                <c:pt idx="1791">
                  <c:v>42860</c:v>
                </c:pt>
                <c:pt idx="1792">
                  <c:v>42863</c:v>
                </c:pt>
                <c:pt idx="1793">
                  <c:v>42864</c:v>
                </c:pt>
                <c:pt idx="1794">
                  <c:v>42865</c:v>
                </c:pt>
                <c:pt idx="1795">
                  <c:v>42866</c:v>
                </c:pt>
                <c:pt idx="1796">
                  <c:v>42867</c:v>
                </c:pt>
                <c:pt idx="1797">
                  <c:v>42870</c:v>
                </c:pt>
                <c:pt idx="1798">
                  <c:v>42871</c:v>
                </c:pt>
                <c:pt idx="1799">
                  <c:v>42872</c:v>
                </c:pt>
                <c:pt idx="1800">
                  <c:v>42873</c:v>
                </c:pt>
                <c:pt idx="1801">
                  <c:v>42874</c:v>
                </c:pt>
                <c:pt idx="1802">
                  <c:v>42877</c:v>
                </c:pt>
                <c:pt idx="1803">
                  <c:v>42878</c:v>
                </c:pt>
                <c:pt idx="1804">
                  <c:v>42879</c:v>
                </c:pt>
                <c:pt idx="1805">
                  <c:v>42880</c:v>
                </c:pt>
                <c:pt idx="1806">
                  <c:v>42881</c:v>
                </c:pt>
                <c:pt idx="1807">
                  <c:v>42884</c:v>
                </c:pt>
                <c:pt idx="1808">
                  <c:v>42885</c:v>
                </c:pt>
                <c:pt idx="1809">
                  <c:v>42886</c:v>
                </c:pt>
                <c:pt idx="1810">
                  <c:v>42887</c:v>
                </c:pt>
                <c:pt idx="1811">
                  <c:v>42888</c:v>
                </c:pt>
                <c:pt idx="1812">
                  <c:v>42891</c:v>
                </c:pt>
                <c:pt idx="1813">
                  <c:v>42892</c:v>
                </c:pt>
                <c:pt idx="1814">
                  <c:v>42893</c:v>
                </c:pt>
                <c:pt idx="1815">
                  <c:v>42894</c:v>
                </c:pt>
                <c:pt idx="1816">
                  <c:v>42895</c:v>
                </c:pt>
                <c:pt idx="1817">
                  <c:v>42898</c:v>
                </c:pt>
                <c:pt idx="1818">
                  <c:v>42899</c:v>
                </c:pt>
                <c:pt idx="1819">
                  <c:v>42900</c:v>
                </c:pt>
                <c:pt idx="1820">
                  <c:v>42901</c:v>
                </c:pt>
                <c:pt idx="1821">
                  <c:v>42902</c:v>
                </c:pt>
                <c:pt idx="1822">
                  <c:v>42905</c:v>
                </c:pt>
                <c:pt idx="1823">
                  <c:v>42906</c:v>
                </c:pt>
                <c:pt idx="1824">
                  <c:v>42907</c:v>
                </c:pt>
                <c:pt idx="1825">
                  <c:v>42908</c:v>
                </c:pt>
                <c:pt idx="1826">
                  <c:v>42909</c:v>
                </c:pt>
                <c:pt idx="1827">
                  <c:v>42912</c:v>
                </c:pt>
                <c:pt idx="1828">
                  <c:v>42913</c:v>
                </c:pt>
                <c:pt idx="1829">
                  <c:v>42914</c:v>
                </c:pt>
                <c:pt idx="1830">
                  <c:v>42915</c:v>
                </c:pt>
                <c:pt idx="1831">
                  <c:v>42916</c:v>
                </c:pt>
                <c:pt idx="1832">
                  <c:v>42919</c:v>
                </c:pt>
                <c:pt idx="1833">
                  <c:v>42920</c:v>
                </c:pt>
                <c:pt idx="1834">
                  <c:v>42921</c:v>
                </c:pt>
                <c:pt idx="1835">
                  <c:v>42922</c:v>
                </c:pt>
                <c:pt idx="1836">
                  <c:v>42923</c:v>
                </c:pt>
                <c:pt idx="1837">
                  <c:v>42926</c:v>
                </c:pt>
                <c:pt idx="1838">
                  <c:v>42927</c:v>
                </c:pt>
                <c:pt idx="1839">
                  <c:v>42928</c:v>
                </c:pt>
                <c:pt idx="1840">
                  <c:v>42929</c:v>
                </c:pt>
                <c:pt idx="1841">
                  <c:v>42930</c:v>
                </c:pt>
                <c:pt idx="1842">
                  <c:v>42933</c:v>
                </c:pt>
                <c:pt idx="1843">
                  <c:v>42934</c:v>
                </c:pt>
                <c:pt idx="1844">
                  <c:v>42935</c:v>
                </c:pt>
                <c:pt idx="1845">
                  <c:v>42936</c:v>
                </c:pt>
                <c:pt idx="1846">
                  <c:v>42937</c:v>
                </c:pt>
                <c:pt idx="1847">
                  <c:v>42940</c:v>
                </c:pt>
                <c:pt idx="1848">
                  <c:v>42941</c:v>
                </c:pt>
                <c:pt idx="1849">
                  <c:v>42942</c:v>
                </c:pt>
                <c:pt idx="1850">
                  <c:v>42943</c:v>
                </c:pt>
                <c:pt idx="1851">
                  <c:v>42944</c:v>
                </c:pt>
                <c:pt idx="1852">
                  <c:v>42947</c:v>
                </c:pt>
                <c:pt idx="1853">
                  <c:v>42948</c:v>
                </c:pt>
                <c:pt idx="1854">
                  <c:v>42949</c:v>
                </c:pt>
                <c:pt idx="1855">
                  <c:v>42950</c:v>
                </c:pt>
                <c:pt idx="1856">
                  <c:v>42951</c:v>
                </c:pt>
                <c:pt idx="1857">
                  <c:v>42954</c:v>
                </c:pt>
                <c:pt idx="1858">
                  <c:v>42955</c:v>
                </c:pt>
                <c:pt idx="1859">
                  <c:v>42956</c:v>
                </c:pt>
                <c:pt idx="1860">
                  <c:v>42957</c:v>
                </c:pt>
                <c:pt idx="1861">
                  <c:v>42958</c:v>
                </c:pt>
                <c:pt idx="1862">
                  <c:v>42961</c:v>
                </c:pt>
                <c:pt idx="1863">
                  <c:v>42962</c:v>
                </c:pt>
                <c:pt idx="1864">
                  <c:v>42963</c:v>
                </c:pt>
                <c:pt idx="1865">
                  <c:v>42964</c:v>
                </c:pt>
                <c:pt idx="1866">
                  <c:v>42965</c:v>
                </c:pt>
                <c:pt idx="1867">
                  <c:v>42968</c:v>
                </c:pt>
                <c:pt idx="1868">
                  <c:v>42969</c:v>
                </c:pt>
                <c:pt idx="1869">
                  <c:v>42970</c:v>
                </c:pt>
                <c:pt idx="1870">
                  <c:v>42971</c:v>
                </c:pt>
                <c:pt idx="1871">
                  <c:v>42972</c:v>
                </c:pt>
                <c:pt idx="1872">
                  <c:v>42975</c:v>
                </c:pt>
                <c:pt idx="1873">
                  <c:v>42976</c:v>
                </c:pt>
                <c:pt idx="1874">
                  <c:v>42977</c:v>
                </c:pt>
                <c:pt idx="1875">
                  <c:v>42978</c:v>
                </c:pt>
                <c:pt idx="1876">
                  <c:v>42979</c:v>
                </c:pt>
                <c:pt idx="1877">
                  <c:v>42982</c:v>
                </c:pt>
                <c:pt idx="1878">
                  <c:v>42983</c:v>
                </c:pt>
                <c:pt idx="1879">
                  <c:v>42984</c:v>
                </c:pt>
                <c:pt idx="1880">
                  <c:v>42985</c:v>
                </c:pt>
                <c:pt idx="1881">
                  <c:v>42986</c:v>
                </c:pt>
                <c:pt idx="1882">
                  <c:v>42989</c:v>
                </c:pt>
                <c:pt idx="1883">
                  <c:v>42990</c:v>
                </c:pt>
                <c:pt idx="1884">
                  <c:v>42991</c:v>
                </c:pt>
                <c:pt idx="1885">
                  <c:v>42992</c:v>
                </c:pt>
                <c:pt idx="1886">
                  <c:v>42993</c:v>
                </c:pt>
                <c:pt idx="1887">
                  <c:v>42996</c:v>
                </c:pt>
                <c:pt idx="1888">
                  <c:v>42997</c:v>
                </c:pt>
                <c:pt idx="1889">
                  <c:v>42998</c:v>
                </c:pt>
                <c:pt idx="1890">
                  <c:v>42999</c:v>
                </c:pt>
                <c:pt idx="1891">
                  <c:v>43000</c:v>
                </c:pt>
                <c:pt idx="1892">
                  <c:v>43003</c:v>
                </c:pt>
                <c:pt idx="1893">
                  <c:v>43004</c:v>
                </c:pt>
                <c:pt idx="1894">
                  <c:v>43005</c:v>
                </c:pt>
                <c:pt idx="1895">
                  <c:v>43006</c:v>
                </c:pt>
                <c:pt idx="1896">
                  <c:v>43007</c:v>
                </c:pt>
                <c:pt idx="1897">
                  <c:v>43010</c:v>
                </c:pt>
                <c:pt idx="1898">
                  <c:v>43011</c:v>
                </c:pt>
                <c:pt idx="1899">
                  <c:v>43012</c:v>
                </c:pt>
                <c:pt idx="1900">
                  <c:v>43013</c:v>
                </c:pt>
                <c:pt idx="1901">
                  <c:v>43014</c:v>
                </c:pt>
                <c:pt idx="1902">
                  <c:v>43017</c:v>
                </c:pt>
                <c:pt idx="1903">
                  <c:v>43018</c:v>
                </c:pt>
                <c:pt idx="1904">
                  <c:v>43019</c:v>
                </c:pt>
                <c:pt idx="1905">
                  <c:v>43020</c:v>
                </c:pt>
                <c:pt idx="1906">
                  <c:v>43021</c:v>
                </c:pt>
                <c:pt idx="1907">
                  <c:v>43024</c:v>
                </c:pt>
                <c:pt idx="1908">
                  <c:v>43025</c:v>
                </c:pt>
                <c:pt idx="1909">
                  <c:v>43026</c:v>
                </c:pt>
                <c:pt idx="1910">
                  <c:v>43027</c:v>
                </c:pt>
                <c:pt idx="1911">
                  <c:v>43028</c:v>
                </c:pt>
                <c:pt idx="1912">
                  <c:v>43031</c:v>
                </c:pt>
                <c:pt idx="1913">
                  <c:v>43032</c:v>
                </c:pt>
                <c:pt idx="1914">
                  <c:v>43033</c:v>
                </c:pt>
                <c:pt idx="1915">
                  <c:v>43034</c:v>
                </c:pt>
                <c:pt idx="1916">
                  <c:v>43035</c:v>
                </c:pt>
                <c:pt idx="1917">
                  <c:v>43038</c:v>
                </c:pt>
                <c:pt idx="1918">
                  <c:v>43039</c:v>
                </c:pt>
                <c:pt idx="1919">
                  <c:v>43040</c:v>
                </c:pt>
                <c:pt idx="1920">
                  <c:v>43041</c:v>
                </c:pt>
                <c:pt idx="1921">
                  <c:v>43042</c:v>
                </c:pt>
                <c:pt idx="1922">
                  <c:v>43045</c:v>
                </c:pt>
                <c:pt idx="1923">
                  <c:v>43046</c:v>
                </c:pt>
                <c:pt idx="1924">
                  <c:v>43047</c:v>
                </c:pt>
                <c:pt idx="1925">
                  <c:v>43048</c:v>
                </c:pt>
                <c:pt idx="1926">
                  <c:v>43049</c:v>
                </c:pt>
                <c:pt idx="1927">
                  <c:v>43052</c:v>
                </c:pt>
                <c:pt idx="1928">
                  <c:v>43053</c:v>
                </c:pt>
                <c:pt idx="1929">
                  <c:v>43054</c:v>
                </c:pt>
                <c:pt idx="1930">
                  <c:v>43055</c:v>
                </c:pt>
                <c:pt idx="1931">
                  <c:v>43056</c:v>
                </c:pt>
                <c:pt idx="1932">
                  <c:v>43059</c:v>
                </c:pt>
                <c:pt idx="1933">
                  <c:v>43060</c:v>
                </c:pt>
                <c:pt idx="1934">
                  <c:v>43061</c:v>
                </c:pt>
                <c:pt idx="1935">
                  <c:v>43062</c:v>
                </c:pt>
                <c:pt idx="1936">
                  <c:v>43063</c:v>
                </c:pt>
                <c:pt idx="1937">
                  <c:v>43066</c:v>
                </c:pt>
                <c:pt idx="1938">
                  <c:v>43067</c:v>
                </c:pt>
                <c:pt idx="1939">
                  <c:v>43068</c:v>
                </c:pt>
                <c:pt idx="1940">
                  <c:v>43069</c:v>
                </c:pt>
                <c:pt idx="1941">
                  <c:v>43070</c:v>
                </c:pt>
                <c:pt idx="1942">
                  <c:v>43073</c:v>
                </c:pt>
                <c:pt idx="1943">
                  <c:v>43074</c:v>
                </c:pt>
                <c:pt idx="1944">
                  <c:v>43075</c:v>
                </c:pt>
                <c:pt idx="1945">
                  <c:v>43076</c:v>
                </c:pt>
                <c:pt idx="1946">
                  <c:v>43077</c:v>
                </c:pt>
                <c:pt idx="1947">
                  <c:v>43080</c:v>
                </c:pt>
                <c:pt idx="1948">
                  <c:v>43081</c:v>
                </c:pt>
                <c:pt idx="1949">
                  <c:v>43082</c:v>
                </c:pt>
                <c:pt idx="1950">
                  <c:v>43083</c:v>
                </c:pt>
                <c:pt idx="1951">
                  <c:v>43084</c:v>
                </c:pt>
                <c:pt idx="1952">
                  <c:v>43087</c:v>
                </c:pt>
                <c:pt idx="1953">
                  <c:v>43088</c:v>
                </c:pt>
                <c:pt idx="1954">
                  <c:v>43089</c:v>
                </c:pt>
                <c:pt idx="1955">
                  <c:v>43090</c:v>
                </c:pt>
                <c:pt idx="1956">
                  <c:v>43091</c:v>
                </c:pt>
                <c:pt idx="1957">
                  <c:v>43094</c:v>
                </c:pt>
                <c:pt idx="1958">
                  <c:v>43095</c:v>
                </c:pt>
                <c:pt idx="1959">
                  <c:v>43096</c:v>
                </c:pt>
                <c:pt idx="1960">
                  <c:v>43097</c:v>
                </c:pt>
                <c:pt idx="1961">
                  <c:v>43098</c:v>
                </c:pt>
                <c:pt idx="1962">
                  <c:v>43101</c:v>
                </c:pt>
                <c:pt idx="1963">
                  <c:v>43102</c:v>
                </c:pt>
                <c:pt idx="1964">
                  <c:v>43103</c:v>
                </c:pt>
                <c:pt idx="1965">
                  <c:v>43104</c:v>
                </c:pt>
                <c:pt idx="1966">
                  <c:v>43105</c:v>
                </c:pt>
                <c:pt idx="1967">
                  <c:v>43108</c:v>
                </c:pt>
                <c:pt idx="1968">
                  <c:v>43109</c:v>
                </c:pt>
                <c:pt idx="1969">
                  <c:v>43110</c:v>
                </c:pt>
                <c:pt idx="1970">
                  <c:v>43111</c:v>
                </c:pt>
                <c:pt idx="1971">
                  <c:v>43112</c:v>
                </c:pt>
                <c:pt idx="1972">
                  <c:v>43115</c:v>
                </c:pt>
                <c:pt idx="1973">
                  <c:v>43116</c:v>
                </c:pt>
                <c:pt idx="1974">
                  <c:v>43117</c:v>
                </c:pt>
                <c:pt idx="1975">
                  <c:v>43118</c:v>
                </c:pt>
                <c:pt idx="1976">
                  <c:v>43119</c:v>
                </c:pt>
                <c:pt idx="1977">
                  <c:v>43122</c:v>
                </c:pt>
                <c:pt idx="1978">
                  <c:v>43123</c:v>
                </c:pt>
                <c:pt idx="1979">
                  <c:v>43124</c:v>
                </c:pt>
                <c:pt idx="1980">
                  <c:v>43125</c:v>
                </c:pt>
                <c:pt idx="1981">
                  <c:v>43126</c:v>
                </c:pt>
                <c:pt idx="1982">
                  <c:v>43129</c:v>
                </c:pt>
                <c:pt idx="1983">
                  <c:v>43130</c:v>
                </c:pt>
                <c:pt idx="1984">
                  <c:v>43131</c:v>
                </c:pt>
              </c:numCache>
            </c:numRef>
          </c:cat>
          <c:val>
            <c:numRef>
              <c:f>'AFE Euro RP Brut'!$D$5:$D$1989</c:f>
              <c:numCache>
                <c:formatCode>#,##0.00_);[Red]\(#,##0.00\)</c:formatCode>
                <c:ptCount val="1985"/>
                <c:pt idx="0">
                  <c:v>100</c:v>
                </c:pt>
                <c:pt idx="1">
                  <c:v>99.352580000000003</c:v>
                </c:pt>
                <c:pt idx="2">
                  <c:v>100.275919999999</c:v>
                </c:pt>
                <c:pt idx="3">
                  <c:v>97.321019999999905</c:v>
                </c:pt>
                <c:pt idx="4">
                  <c:v>97.175519999999906</c:v>
                </c:pt>
                <c:pt idx="5">
                  <c:v>95.630496289143593</c:v>
                </c:pt>
                <c:pt idx="6">
                  <c:v>95.786795720565394</c:v>
                </c:pt>
                <c:pt idx="7">
                  <c:v>95.681843969363101</c:v>
                </c:pt>
                <c:pt idx="8">
                  <c:v>97.850113789179503</c:v>
                </c:pt>
                <c:pt idx="9">
                  <c:v>98.738475928075204</c:v>
                </c:pt>
                <c:pt idx="10">
                  <c:v>99.491445030910597</c:v>
                </c:pt>
                <c:pt idx="11">
                  <c:v>99.853133261232202</c:v>
                </c:pt>
                <c:pt idx="12">
                  <c:v>100.14544441987501</c:v>
                </c:pt>
                <c:pt idx="13">
                  <c:v>101.69183207037401</c:v>
                </c:pt>
                <c:pt idx="14">
                  <c:v>101.844070746653</c:v>
                </c:pt>
                <c:pt idx="15">
                  <c:v>101.17212558815901</c:v>
                </c:pt>
                <c:pt idx="16">
                  <c:v>99.592777740197306</c:v>
                </c:pt>
                <c:pt idx="17">
                  <c:v>99.259260180608194</c:v>
                </c:pt>
                <c:pt idx="18">
                  <c:v>98.765111151562905</c:v>
                </c:pt>
                <c:pt idx="19">
                  <c:v>99.575353248706705</c:v>
                </c:pt>
                <c:pt idx="20">
                  <c:v>101.460074516981</c:v>
                </c:pt>
                <c:pt idx="21">
                  <c:v>101.568014430731</c:v>
                </c:pt>
                <c:pt idx="22">
                  <c:v>101.94268061204301</c:v>
                </c:pt>
                <c:pt idx="23">
                  <c:v>102.174363996498</c:v>
                </c:pt>
                <c:pt idx="24">
                  <c:v>101.879700738848</c:v>
                </c:pt>
                <c:pt idx="25">
                  <c:v>101.778929204246</c:v>
                </c:pt>
                <c:pt idx="26">
                  <c:v>101.301279472015</c:v>
                </c:pt>
                <c:pt idx="27">
                  <c:v>103.42740310542399</c:v>
                </c:pt>
                <c:pt idx="28">
                  <c:v>103.611779576304</c:v>
                </c:pt>
                <c:pt idx="29">
                  <c:v>104.03752412356502</c:v>
                </c:pt>
                <c:pt idx="30">
                  <c:v>103.63203822966301</c:v>
                </c:pt>
                <c:pt idx="31">
                  <c:v>102.54753299311901</c:v>
                </c:pt>
                <c:pt idx="32">
                  <c:v>103.60735234206399</c:v>
                </c:pt>
                <c:pt idx="33">
                  <c:v>102.83929221714099</c:v>
                </c:pt>
                <c:pt idx="34">
                  <c:v>100.64909754260401</c:v>
                </c:pt>
                <c:pt idx="35">
                  <c:v>100.641620414634</c:v>
                </c:pt>
                <c:pt idx="36">
                  <c:v>100.639525422654</c:v>
                </c:pt>
                <c:pt idx="37">
                  <c:v>100.632439990227</c:v>
                </c:pt>
                <c:pt idx="38">
                  <c:v>102.04368692744401</c:v>
                </c:pt>
                <c:pt idx="39">
                  <c:v>101.812012698301</c:v>
                </c:pt>
                <c:pt idx="40">
                  <c:v>100.57322675857398</c:v>
                </c:pt>
                <c:pt idx="41">
                  <c:v>99.431925981491105</c:v>
                </c:pt>
                <c:pt idx="42">
                  <c:v>99.891717362015299</c:v>
                </c:pt>
                <c:pt idx="43">
                  <c:v>98.6478860365835</c:v>
                </c:pt>
                <c:pt idx="44">
                  <c:v>97.908974844788602</c:v>
                </c:pt>
                <c:pt idx="45">
                  <c:v>98.587223171649597</c:v>
                </c:pt>
                <c:pt idx="46">
                  <c:v>99.511129078473999</c:v>
                </c:pt>
                <c:pt idx="47">
                  <c:v>99.335944895588398</c:v>
                </c:pt>
                <c:pt idx="48">
                  <c:v>99.550957327647595</c:v>
                </c:pt>
                <c:pt idx="49">
                  <c:v>101.79864003116099</c:v>
                </c:pt>
                <c:pt idx="50">
                  <c:v>102.023340462859</c:v>
                </c:pt>
                <c:pt idx="51">
                  <c:v>102.573135929381</c:v>
                </c:pt>
                <c:pt idx="52">
                  <c:v>103.04813295788</c:v>
                </c:pt>
                <c:pt idx="53">
                  <c:v>102.23624372010001</c:v>
                </c:pt>
                <c:pt idx="54">
                  <c:v>102.92878923268501</c:v>
                </c:pt>
                <c:pt idx="55">
                  <c:v>103.877910728518</c:v>
                </c:pt>
                <c:pt idx="56">
                  <c:v>103.862137460436</c:v>
                </c:pt>
                <c:pt idx="57">
                  <c:v>104.42603390835301</c:v>
                </c:pt>
                <c:pt idx="58">
                  <c:v>104.570287059694</c:v>
                </c:pt>
                <c:pt idx="59">
                  <c:v>104.228273207795</c:v>
                </c:pt>
                <c:pt idx="60">
                  <c:v>103.76953424301398</c:v>
                </c:pt>
                <c:pt idx="61">
                  <c:v>103.63978848319</c:v>
                </c:pt>
                <c:pt idx="62">
                  <c:v>104.853411881713</c:v>
                </c:pt>
                <c:pt idx="63">
                  <c:v>104.88202335026099</c:v>
                </c:pt>
                <c:pt idx="64">
                  <c:v>103.852183616792</c:v>
                </c:pt>
                <c:pt idx="65">
                  <c:v>103.577467028149</c:v>
                </c:pt>
                <c:pt idx="66">
                  <c:v>104.679572867123</c:v>
                </c:pt>
                <c:pt idx="67">
                  <c:v>104.48761914256399</c:v>
                </c:pt>
                <c:pt idx="68">
                  <c:v>104.701816676508</c:v>
                </c:pt>
                <c:pt idx="69">
                  <c:v>104.45353571351002</c:v>
                </c:pt>
                <c:pt idx="70">
                  <c:v>104.37028230492101</c:v>
                </c:pt>
                <c:pt idx="71">
                  <c:v>104.39078370486898</c:v>
                </c:pt>
                <c:pt idx="72">
                  <c:v>103.49609144479402</c:v>
                </c:pt>
                <c:pt idx="73">
                  <c:v>104.911831749062</c:v>
                </c:pt>
                <c:pt idx="74">
                  <c:v>105.457764611565</c:v>
                </c:pt>
                <c:pt idx="75">
                  <c:v>105.48914864279899</c:v>
                </c:pt>
                <c:pt idx="76">
                  <c:v>105.49596921407</c:v>
                </c:pt>
                <c:pt idx="77">
                  <c:v>105.76386206391399</c:v>
                </c:pt>
                <c:pt idx="78">
                  <c:v>105.589280069933</c:v>
                </c:pt>
                <c:pt idx="79">
                  <c:v>107.227767610237</c:v>
                </c:pt>
                <c:pt idx="80">
                  <c:v>107.18675601200501</c:v>
                </c:pt>
                <c:pt idx="81">
                  <c:v>107.38589658391</c:v>
                </c:pt>
                <c:pt idx="82">
                  <c:v>107.678672144923</c:v>
                </c:pt>
                <c:pt idx="83">
                  <c:v>107.15507453553698</c:v>
                </c:pt>
                <c:pt idx="84">
                  <c:v>107.406002229251</c:v>
                </c:pt>
                <c:pt idx="85">
                  <c:v>108.42232860827798</c:v>
                </c:pt>
                <c:pt idx="86">
                  <c:v>108.29130414719501</c:v>
                </c:pt>
                <c:pt idx="87">
                  <c:v>108.66201772075399</c:v>
                </c:pt>
                <c:pt idx="88">
                  <c:v>108.402360122519</c:v>
                </c:pt>
                <c:pt idx="89">
                  <c:v>107.662171681206</c:v>
                </c:pt>
                <c:pt idx="90">
                  <c:v>108.324873811808</c:v>
                </c:pt>
                <c:pt idx="91">
                  <c:v>108.291095308983</c:v>
                </c:pt>
                <c:pt idx="92">
                  <c:v>108.291095308983</c:v>
                </c:pt>
                <c:pt idx="93">
                  <c:v>108.984149151849</c:v>
                </c:pt>
                <c:pt idx="94">
                  <c:v>108.39594911617701</c:v>
                </c:pt>
                <c:pt idx="95">
                  <c:v>109.18709968594999</c:v>
                </c:pt>
                <c:pt idx="96">
                  <c:v>108.86300210975</c:v>
                </c:pt>
                <c:pt idx="97">
                  <c:v>108.680148155574</c:v>
                </c:pt>
                <c:pt idx="98">
                  <c:v>109.58653197202</c:v>
                </c:pt>
                <c:pt idx="99">
                  <c:v>108.90601463007199</c:v>
                </c:pt>
                <c:pt idx="100">
                  <c:v>108.06681394816799</c:v>
                </c:pt>
                <c:pt idx="101">
                  <c:v>107.70865651446199</c:v>
                </c:pt>
                <c:pt idx="102">
                  <c:v>108.48475978610298</c:v>
                </c:pt>
                <c:pt idx="103">
                  <c:v>106.77507750104</c:v>
                </c:pt>
                <c:pt idx="104">
                  <c:v>107.341646853309</c:v>
                </c:pt>
                <c:pt idx="105">
                  <c:v>108.888452453955</c:v>
                </c:pt>
                <c:pt idx="106">
                  <c:v>108.80275963331701</c:v>
                </c:pt>
                <c:pt idx="107">
                  <c:v>107.905733680027</c:v>
                </c:pt>
                <c:pt idx="108">
                  <c:v>106.27918283907201</c:v>
                </c:pt>
                <c:pt idx="109">
                  <c:v>107.066769078015</c:v>
                </c:pt>
                <c:pt idx="110">
                  <c:v>107.503397481772</c:v>
                </c:pt>
                <c:pt idx="111">
                  <c:v>107.28062250236698</c:v>
                </c:pt>
                <c:pt idx="112">
                  <c:v>105.13813242686601</c:v>
                </c:pt>
                <c:pt idx="113">
                  <c:v>104.67734401384598</c:v>
                </c:pt>
                <c:pt idx="114">
                  <c:v>106.67000872299499</c:v>
                </c:pt>
                <c:pt idx="115">
                  <c:v>108.27612069396699</c:v>
                </c:pt>
                <c:pt idx="116">
                  <c:v>108.52584800746502</c:v>
                </c:pt>
                <c:pt idx="117">
                  <c:v>108.52633951056301</c:v>
                </c:pt>
                <c:pt idx="118">
                  <c:v>109.434905420758</c:v>
                </c:pt>
                <c:pt idx="119">
                  <c:v>109.629408846842</c:v>
                </c:pt>
                <c:pt idx="120">
                  <c:v>109.80480547520499</c:v>
                </c:pt>
                <c:pt idx="121">
                  <c:v>109.86073229495901</c:v>
                </c:pt>
                <c:pt idx="122">
                  <c:v>110.394983713672</c:v>
                </c:pt>
                <c:pt idx="123">
                  <c:v>110.53994639040501</c:v>
                </c:pt>
                <c:pt idx="124">
                  <c:v>110.142906872254</c:v>
                </c:pt>
                <c:pt idx="125">
                  <c:v>110.29832761295299</c:v>
                </c:pt>
                <c:pt idx="126">
                  <c:v>110.062950913725</c:v>
                </c:pt>
                <c:pt idx="127">
                  <c:v>110.659373487484</c:v>
                </c:pt>
                <c:pt idx="128">
                  <c:v>111.79314131316799</c:v>
                </c:pt>
                <c:pt idx="129">
                  <c:v>111.95101228364102</c:v>
                </c:pt>
                <c:pt idx="130">
                  <c:v>111.97266783382101</c:v>
                </c:pt>
                <c:pt idx="131">
                  <c:v>111.835664149465</c:v>
                </c:pt>
                <c:pt idx="132">
                  <c:v>111.001698261966</c:v>
                </c:pt>
                <c:pt idx="133">
                  <c:v>111.12909600966002</c:v>
                </c:pt>
                <c:pt idx="134">
                  <c:v>111.640833460675</c:v>
                </c:pt>
                <c:pt idx="135">
                  <c:v>110.66811355130601</c:v>
                </c:pt>
                <c:pt idx="136">
                  <c:v>110.162110469528</c:v>
                </c:pt>
                <c:pt idx="137">
                  <c:v>111.541853012312</c:v>
                </c:pt>
                <c:pt idx="138">
                  <c:v>111.580257074267</c:v>
                </c:pt>
                <c:pt idx="139">
                  <c:v>111.23423060041399</c:v>
                </c:pt>
                <c:pt idx="140">
                  <c:v>111.37929070976899</c:v>
                </c:pt>
                <c:pt idx="141">
                  <c:v>111.09935881486402</c:v>
                </c:pt>
                <c:pt idx="142">
                  <c:v>109.75919814007899</c:v>
                </c:pt>
                <c:pt idx="143">
                  <c:v>110.976260186286</c:v>
                </c:pt>
                <c:pt idx="144">
                  <c:v>112.706493195379</c:v>
                </c:pt>
                <c:pt idx="145">
                  <c:v>112.56380243388099</c:v>
                </c:pt>
                <c:pt idx="146">
                  <c:v>112.380850467624</c:v>
                </c:pt>
                <c:pt idx="147">
                  <c:v>112.33348190022801</c:v>
                </c:pt>
                <c:pt idx="148">
                  <c:v>113.228037350579</c:v>
                </c:pt>
                <c:pt idx="149">
                  <c:v>112.490196301517</c:v>
                </c:pt>
                <c:pt idx="150">
                  <c:v>111.71983514420198</c:v>
                </c:pt>
                <c:pt idx="151">
                  <c:v>112.458117207209</c:v>
                </c:pt>
                <c:pt idx="152">
                  <c:v>112.65113881818401</c:v>
                </c:pt>
                <c:pt idx="153">
                  <c:v>112.458426917743</c:v>
                </c:pt>
                <c:pt idx="154">
                  <c:v>113.33658305815599</c:v>
                </c:pt>
                <c:pt idx="155">
                  <c:v>113.759912904106</c:v>
                </c:pt>
                <c:pt idx="156">
                  <c:v>113.021267190703</c:v>
                </c:pt>
                <c:pt idx="157">
                  <c:v>113.03881989073199</c:v>
                </c:pt>
                <c:pt idx="158">
                  <c:v>114.689903041024</c:v>
                </c:pt>
                <c:pt idx="159">
                  <c:v>114.914405054341</c:v>
                </c:pt>
                <c:pt idx="160">
                  <c:v>114.620543621473</c:v>
                </c:pt>
                <c:pt idx="161">
                  <c:v>114.90355520150798</c:v>
                </c:pt>
                <c:pt idx="162">
                  <c:v>115.72480363498401</c:v>
                </c:pt>
                <c:pt idx="163">
                  <c:v>115.88230308327398</c:v>
                </c:pt>
                <c:pt idx="164">
                  <c:v>115.69029709026202</c:v>
                </c:pt>
                <c:pt idx="165">
                  <c:v>115.499790591189</c:v>
                </c:pt>
                <c:pt idx="166">
                  <c:v>115.60886512817299</c:v>
                </c:pt>
                <c:pt idx="167">
                  <c:v>116.00403485047302</c:v>
                </c:pt>
                <c:pt idx="168">
                  <c:v>115.892179342744</c:v>
                </c:pt>
                <c:pt idx="169">
                  <c:v>116.39988862073101</c:v>
                </c:pt>
                <c:pt idx="170">
                  <c:v>116.536441430235</c:v>
                </c:pt>
                <c:pt idx="171">
                  <c:v>116.55955708893599</c:v>
                </c:pt>
                <c:pt idx="172">
                  <c:v>115.115894144983</c:v>
                </c:pt>
                <c:pt idx="173">
                  <c:v>114.6003078052</c:v>
                </c:pt>
                <c:pt idx="174">
                  <c:v>113.61717818565499</c:v>
                </c:pt>
                <c:pt idx="175">
                  <c:v>113.36860942099301</c:v>
                </c:pt>
                <c:pt idx="176">
                  <c:v>114.71877692832999</c:v>
                </c:pt>
                <c:pt idx="177">
                  <c:v>115.482634963357</c:v>
                </c:pt>
                <c:pt idx="178">
                  <c:v>115.401150198054</c:v>
                </c:pt>
                <c:pt idx="179">
                  <c:v>114.67978597660201</c:v>
                </c:pt>
                <c:pt idx="180">
                  <c:v>115.064058773551</c:v>
                </c:pt>
                <c:pt idx="181">
                  <c:v>114.760845955623</c:v>
                </c:pt>
                <c:pt idx="182">
                  <c:v>114.626488138688</c:v>
                </c:pt>
                <c:pt idx="183">
                  <c:v>115.08705545747399</c:v>
                </c:pt>
                <c:pt idx="184">
                  <c:v>115.160675484499</c:v>
                </c:pt>
                <c:pt idx="185">
                  <c:v>114.173711799554</c:v>
                </c:pt>
                <c:pt idx="186">
                  <c:v>113.210387728054</c:v>
                </c:pt>
                <c:pt idx="187">
                  <c:v>112.12933384893799</c:v>
                </c:pt>
                <c:pt idx="188">
                  <c:v>109.716703409958</c:v>
                </c:pt>
                <c:pt idx="189">
                  <c:v>108.357089119153</c:v>
                </c:pt>
                <c:pt idx="190">
                  <c:v>109.84900633013402</c:v>
                </c:pt>
                <c:pt idx="191">
                  <c:v>110.28260736903199</c:v>
                </c:pt>
                <c:pt idx="192">
                  <c:v>112.42120265329601</c:v>
                </c:pt>
                <c:pt idx="193">
                  <c:v>111.97867692844801</c:v>
                </c:pt>
                <c:pt idx="194">
                  <c:v>112.56315886933299</c:v>
                </c:pt>
                <c:pt idx="195">
                  <c:v>113.97058241423102</c:v>
                </c:pt>
                <c:pt idx="196">
                  <c:v>114.220044813922</c:v>
                </c:pt>
                <c:pt idx="197">
                  <c:v>114.41250170010599</c:v>
                </c:pt>
                <c:pt idx="198">
                  <c:v>114.56445107695301</c:v>
                </c:pt>
                <c:pt idx="199">
                  <c:v>115.612736195484</c:v>
                </c:pt>
                <c:pt idx="200">
                  <c:v>114.89932129043601</c:v>
                </c:pt>
                <c:pt idx="201">
                  <c:v>116.13660420216002</c:v>
                </c:pt>
                <c:pt idx="202">
                  <c:v>116.53338102226101</c:v>
                </c:pt>
                <c:pt idx="203">
                  <c:v>116.46387284489801</c:v>
                </c:pt>
                <c:pt idx="204">
                  <c:v>116.73150985026402</c:v>
                </c:pt>
                <c:pt idx="205">
                  <c:v>116.19956658015499</c:v>
                </c:pt>
                <c:pt idx="206">
                  <c:v>116.72483973006</c:v>
                </c:pt>
                <c:pt idx="207">
                  <c:v>116.55036342365402</c:v>
                </c:pt>
                <c:pt idx="208">
                  <c:v>115.030916325747</c:v>
                </c:pt>
                <c:pt idx="209">
                  <c:v>116.03180590608999</c:v>
                </c:pt>
                <c:pt idx="210">
                  <c:v>115.24273020271301</c:v>
                </c:pt>
                <c:pt idx="211">
                  <c:v>115.560727427594</c:v>
                </c:pt>
                <c:pt idx="212">
                  <c:v>113.685138807611</c:v>
                </c:pt>
                <c:pt idx="213">
                  <c:v>114.175766474125</c:v>
                </c:pt>
                <c:pt idx="214">
                  <c:v>116.135713955992</c:v>
                </c:pt>
                <c:pt idx="215">
                  <c:v>116.164938752095</c:v>
                </c:pt>
                <c:pt idx="216">
                  <c:v>116.164938752095</c:v>
                </c:pt>
                <c:pt idx="217">
                  <c:v>116.164938752095</c:v>
                </c:pt>
                <c:pt idx="218">
                  <c:v>116.958413232062</c:v>
                </c:pt>
                <c:pt idx="219">
                  <c:v>117.33485521376601</c:v>
                </c:pt>
                <c:pt idx="220">
                  <c:v>117.92808971726301</c:v>
                </c:pt>
                <c:pt idx="221">
                  <c:v>118.28842102416202</c:v>
                </c:pt>
                <c:pt idx="222">
                  <c:v>118.71791286950099</c:v>
                </c:pt>
                <c:pt idx="223">
                  <c:v>118.17352796703101</c:v>
                </c:pt>
                <c:pt idx="224">
                  <c:v>117.098841631076</c:v>
                </c:pt>
                <c:pt idx="225">
                  <c:v>116.70527918100998</c:v>
                </c:pt>
                <c:pt idx="226">
                  <c:v>117.86507739550301</c:v>
                </c:pt>
                <c:pt idx="227">
                  <c:v>117.36309230016499</c:v>
                </c:pt>
                <c:pt idx="228">
                  <c:v>118.26309139289999</c:v>
                </c:pt>
                <c:pt idx="229">
                  <c:v>118.71495535346801</c:v>
                </c:pt>
                <c:pt idx="230">
                  <c:v>118.11629118832001</c:v>
                </c:pt>
                <c:pt idx="231">
                  <c:v>118.045527179175</c:v>
                </c:pt>
                <c:pt idx="232">
                  <c:v>117.67635090490201</c:v>
                </c:pt>
                <c:pt idx="233">
                  <c:v>116.351422896353</c:v>
                </c:pt>
                <c:pt idx="234">
                  <c:v>116.88110634433799</c:v>
                </c:pt>
                <c:pt idx="235">
                  <c:v>117.70054723419901</c:v>
                </c:pt>
                <c:pt idx="236">
                  <c:v>117.11944025542</c:v>
                </c:pt>
                <c:pt idx="237">
                  <c:v>115.315209911439</c:v>
                </c:pt>
                <c:pt idx="238">
                  <c:v>115.58116186851299</c:v>
                </c:pt>
                <c:pt idx="239">
                  <c:v>115.71500781468301</c:v>
                </c:pt>
                <c:pt idx="240">
                  <c:v>115.478867174939</c:v>
                </c:pt>
                <c:pt idx="241">
                  <c:v>115.97659311955699</c:v>
                </c:pt>
                <c:pt idx="242">
                  <c:v>116.08387623937702</c:v>
                </c:pt>
                <c:pt idx="243">
                  <c:v>117.34435195480599</c:v>
                </c:pt>
                <c:pt idx="244">
                  <c:v>116.710455760949</c:v>
                </c:pt>
                <c:pt idx="245">
                  <c:v>116.710455760949</c:v>
                </c:pt>
                <c:pt idx="246">
                  <c:v>115.295473286907</c:v>
                </c:pt>
                <c:pt idx="247">
                  <c:v>115.00642866584198</c:v>
                </c:pt>
                <c:pt idx="248">
                  <c:v>114.90251888795</c:v>
                </c:pt>
                <c:pt idx="249">
                  <c:v>113.658232876867</c:v>
                </c:pt>
                <c:pt idx="250">
                  <c:v>114.61472075235399</c:v>
                </c:pt>
                <c:pt idx="251">
                  <c:v>113.08267315606599</c:v>
                </c:pt>
                <c:pt idx="252">
                  <c:v>113.08267315606599</c:v>
                </c:pt>
                <c:pt idx="253">
                  <c:v>114.40492751309299</c:v>
                </c:pt>
                <c:pt idx="254">
                  <c:v>113.00963310575001</c:v>
                </c:pt>
                <c:pt idx="255">
                  <c:v>112.14669521182998</c:v>
                </c:pt>
                <c:pt idx="256">
                  <c:v>112.611211632709</c:v>
                </c:pt>
                <c:pt idx="257">
                  <c:v>111.731325216253</c:v>
                </c:pt>
                <c:pt idx="258">
                  <c:v>113.43859820706901</c:v>
                </c:pt>
                <c:pt idx="259">
                  <c:v>113.06249853247301</c:v>
                </c:pt>
                <c:pt idx="260">
                  <c:v>113.06249853247301</c:v>
                </c:pt>
                <c:pt idx="261">
                  <c:v>111.02608912000301</c:v>
                </c:pt>
                <c:pt idx="262">
                  <c:v>111.16928165067598</c:v>
                </c:pt>
                <c:pt idx="263">
                  <c:v>111.48843744868799</c:v>
                </c:pt>
                <c:pt idx="264">
                  <c:v>113.57007838999399</c:v>
                </c:pt>
                <c:pt idx="265">
                  <c:v>115.20180289585301</c:v>
                </c:pt>
                <c:pt idx="266">
                  <c:v>115.73643762846399</c:v>
                </c:pt>
                <c:pt idx="267">
                  <c:v>116.156503800251</c:v>
                </c:pt>
                <c:pt idx="268">
                  <c:v>115.582609302932</c:v>
                </c:pt>
                <c:pt idx="269">
                  <c:v>114.86612197828102</c:v>
                </c:pt>
                <c:pt idx="270">
                  <c:v>115.75747366488001</c:v>
                </c:pt>
                <c:pt idx="271">
                  <c:v>114.30805936882599</c:v>
                </c:pt>
                <c:pt idx="272">
                  <c:v>111.87955633526701</c:v>
                </c:pt>
                <c:pt idx="273">
                  <c:v>111.118321762702</c:v>
                </c:pt>
                <c:pt idx="274">
                  <c:v>111.96544651888701</c:v>
                </c:pt>
                <c:pt idx="275">
                  <c:v>110.84545651263599</c:v>
                </c:pt>
                <c:pt idx="276">
                  <c:v>110.761686910298</c:v>
                </c:pt>
                <c:pt idx="277">
                  <c:v>109.11417391846598</c:v>
                </c:pt>
                <c:pt idx="278">
                  <c:v>110.21386677107002</c:v>
                </c:pt>
                <c:pt idx="279">
                  <c:v>111.586819858326</c:v>
                </c:pt>
                <c:pt idx="280">
                  <c:v>113.067149734919</c:v>
                </c:pt>
                <c:pt idx="281">
                  <c:v>113.85104987590999</c:v>
                </c:pt>
                <c:pt idx="282">
                  <c:v>113.40531661946301</c:v>
                </c:pt>
                <c:pt idx="283">
                  <c:v>113.13546464380899</c:v>
                </c:pt>
                <c:pt idx="284">
                  <c:v>111.69989557841899</c:v>
                </c:pt>
                <c:pt idx="285">
                  <c:v>111.071570063899</c:v>
                </c:pt>
                <c:pt idx="286">
                  <c:v>110.480055106512</c:v>
                </c:pt>
                <c:pt idx="287">
                  <c:v>108.167317919985</c:v>
                </c:pt>
                <c:pt idx="288">
                  <c:v>106.00252682995898</c:v>
                </c:pt>
                <c:pt idx="289">
                  <c:v>104.000588748501</c:v>
                </c:pt>
                <c:pt idx="290">
                  <c:v>100.196531864967</c:v>
                </c:pt>
                <c:pt idx="291">
                  <c:v>98.7973984376641</c:v>
                </c:pt>
                <c:pt idx="292">
                  <c:v>94.724551427890702</c:v>
                </c:pt>
                <c:pt idx="293">
                  <c:v>95.573549682378797</c:v>
                </c:pt>
                <c:pt idx="294">
                  <c:v>92.716067796125202</c:v>
                </c:pt>
                <c:pt idx="295">
                  <c:v>95.514345774486401</c:v>
                </c:pt>
                <c:pt idx="296">
                  <c:v>98.766022530189701</c:v>
                </c:pt>
                <c:pt idx="297">
                  <c:v>98.766022530189701</c:v>
                </c:pt>
                <c:pt idx="298">
                  <c:v>98.488389574689805</c:v>
                </c:pt>
                <c:pt idx="299">
                  <c:v>98.869844087784401</c:v>
                </c:pt>
                <c:pt idx="300">
                  <c:v>94.254261985881001</c:v>
                </c:pt>
                <c:pt idx="301">
                  <c:v>93.036360755128499</c:v>
                </c:pt>
                <c:pt idx="302">
                  <c:v>94.008481385700193</c:v>
                </c:pt>
                <c:pt idx="303">
                  <c:v>94.420142278812605</c:v>
                </c:pt>
                <c:pt idx="304">
                  <c:v>95.836753767528293</c:v>
                </c:pt>
                <c:pt idx="305">
                  <c:v>94.904414320117098</c:v>
                </c:pt>
                <c:pt idx="306">
                  <c:v>94.317153451559903</c:v>
                </c:pt>
                <c:pt idx="307">
                  <c:v>96.369521136273903</c:v>
                </c:pt>
                <c:pt idx="308">
                  <c:v>96.518105740255706</c:v>
                </c:pt>
                <c:pt idx="309">
                  <c:v>99.002053766332807</c:v>
                </c:pt>
                <c:pt idx="310">
                  <c:v>99.284570982863499</c:v>
                </c:pt>
                <c:pt idx="311">
                  <c:v>97.018339845236596</c:v>
                </c:pt>
                <c:pt idx="312">
                  <c:v>93.123695617625302</c:v>
                </c:pt>
                <c:pt idx="313">
                  <c:v>92.441912666836501</c:v>
                </c:pt>
                <c:pt idx="314">
                  <c:v>95.497023930304294</c:v>
                </c:pt>
                <c:pt idx="315">
                  <c:v>96.099398629168107</c:v>
                </c:pt>
                <c:pt idx="316">
                  <c:v>93.113858435894301</c:v>
                </c:pt>
                <c:pt idx="317">
                  <c:v>90.465434077349499</c:v>
                </c:pt>
                <c:pt idx="318">
                  <c:v>91.072509203233594</c:v>
                </c:pt>
                <c:pt idx="319">
                  <c:v>93.038507841415793</c:v>
                </c:pt>
                <c:pt idx="320">
                  <c:v>94.914092751180803</c:v>
                </c:pt>
                <c:pt idx="321">
                  <c:v>95.689105467449494</c:v>
                </c:pt>
                <c:pt idx="322">
                  <c:v>93.539763319531204</c:v>
                </c:pt>
                <c:pt idx="323">
                  <c:v>95.142887216117202</c:v>
                </c:pt>
                <c:pt idx="324">
                  <c:v>93.996665391601297</c:v>
                </c:pt>
                <c:pt idx="325">
                  <c:v>89.5553155583803</c:v>
                </c:pt>
                <c:pt idx="326">
                  <c:v>89.636849266222598</c:v>
                </c:pt>
                <c:pt idx="327">
                  <c:v>91.027533178901706</c:v>
                </c:pt>
                <c:pt idx="328">
                  <c:v>94.723186457393695</c:v>
                </c:pt>
                <c:pt idx="329">
                  <c:v>94.088477028247297</c:v>
                </c:pt>
                <c:pt idx="330">
                  <c:v>94.867562758490294</c:v>
                </c:pt>
                <c:pt idx="331">
                  <c:v>93.582003466701494</c:v>
                </c:pt>
                <c:pt idx="332">
                  <c:v>92.018813576477498</c:v>
                </c:pt>
                <c:pt idx="333">
                  <c:v>89.623638929871007</c:v>
                </c:pt>
                <c:pt idx="334">
                  <c:v>92.333615570688295</c:v>
                </c:pt>
                <c:pt idx="335">
                  <c:v>94.866541286657494</c:v>
                </c:pt>
                <c:pt idx="336">
                  <c:v>95.221625159167303</c:v>
                </c:pt>
                <c:pt idx="337">
                  <c:v>97.028202989354298</c:v>
                </c:pt>
                <c:pt idx="338">
                  <c:v>96.583623864957602</c:v>
                </c:pt>
                <c:pt idx="339">
                  <c:v>98.811259459177407</c:v>
                </c:pt>
                <c:pt idx="340">
                  <c:v>97.951448579927302</c:v>
                </c:pt>
                <c:pt idx="341">
                  <c:v>99.334108955587794</c:v>
                </c:pt>
                <c:pt idx="342">
                  <c:v>97.902914785704198</c:v>
                </c:pt>
                <c:pt idx="343">
                  <c:v>97.890666202908506</c:v>
                </c:pt>
                <c:pt idx="344">
                  <c:v>97.871511493452601</c:v>
                </c:pt>
                <c:pt idx="345">
                  <c:v>96.323248141756395</c:v>
                </c:pt>
                <c:pt idx="346">
                  <c:v>98.837789726782603</c:v>
                </c:pt>
                <c:pt idx="347">
                  <c:v>99.969726332637805</c:v>
                </c:pt>
                <c:pt idx="348">
                  <c:v>99.340250701015606</c:v>
                </c:pt>
                <c:pt idx="349">
                  <c:v>99.483461222247101</c:v>
                </c:pt>
                <c:pt idx="350">
                  <c:v>103.22793737235301</c:v>
                </c:pt>
                <c:pt idx="351">
                  <c:v>102.72520074579099</c:v>
                </c:pt>
                <c:pt idx="352">
                  <c:v>100.24109690736501</c:v>
                </c:pt>
                <c:pt idx="353">
                  <c:v>100.24109690736501</c:v>
                </c:pt>
                <c:pt idx="354">
                  <c:v>97.056113451450599</c:v>
                </c:pt>
                <c:pt idx="355">
                  <c:v>99.584155928839394</c:v>
                </c:pt>
                <c:pt idx="356">
                  <c:v>98.222972065763003</c:v>
                </c:pt>
                <c:pt idx="357">
                  <c:v>98.022487446406998</c:v>
                </c:pt>
                <c:pt idx="358">
                  <c:v>98.643837707603197</c:v>
                </c:pt>
                <c:pt idx="359">
                  <c:v>96.627168662301997</c:v>
                </c:pt>
                <c:pt idx="360">
                  <c:v>96.416557249686207</c:v>
                </c:pt>
                <c:pt idx="361">
                  <c:v>98.693828896214896</c:v>
                </c:pt>
                <c:pt idx="362">
                  <c:v>97.549154620045499</c:v>
                </c:pt>
                <c:pt idx="363">
                  <c:v>96.511364374786197</c:v>
                </c:pt>
                <c:pt idx="364">
                  <c:v>96.490882994781501</c:v>
                </c:pt>
                <c:pt idx="365">
                  <c:v>95.225868255416401</c:v>
                </c:pt>
                <c:pt idx="366">
                  <c:v>94.644758258370103</c:v>
                </c:pt>
                <c:pt idx="367">
                  <c:v>91.618945328774799</c:v>
                </c:pt>
                <c:pt idx="368">
                  <c:v>90.855076072637502</c:v>
                </c:pt>
                <c:pt idx="369">
                  <c:v>89.678956350714699</c:v>
                </c:pt>
                <c:pt idx="370">
                  <c:v>89.575586949529907</c:v>
                </c:pt>
                <c:pt idx="371">
                  <c:v>90.108010598204601</c:v>
                </c:pt>
                <c:pt idx="372">
                  <c:v>93.782069299486594</c:v>
                </c:pt>
                <c:pt idx="373">
                  <c:v>94.261828359408895</c:v>
                </c:pt>
                <c:pt idx="374">
                  <c:v>97.989751317038497</c:v>
                </c:pt>
                <c:pt idx="375">
                  <c:v>97.181508301036899</c:v>
                </c:pt>
                <c:pt idx="376">
                  <c:v>97.8083305600789</c:v>
                </c:pt>
                <c:pt idx="377">
                  <c:v>98.872239506144098</c:v>
                </c:pt>
                <c:pt idx="378">
                  <c:v>98.131540959889705</c:v>
                </c:pt>
                <c:pt idx="379">
                  <c:v>97.7133705394468</c:v>
                </c:pt>
                <c:pt idx="380">
                  <c:v>95.816093041324095</c:v>
                </c:pt>
                <c:pt idx="381">
                  <c:v>97.161886068911997</c:v>
                </c:pt>
                <c:pt idx="382">
                  <c:v>95.003252556893997</c:v>
                </c:pt>
                <c:pt idx="383">
                  <c:v>94.998110622507099</c:v>
                </c:pt>
                <c:pt idx="384">
                  <c:v>93.023223060859493</c:v>
                </c:pt>
                <c:pt idx="385">
                  <c:v>93.6882880023376</c:v>
                </c:pt>
                <c:pt idx="386">
                  <c:v>93.539854187257106</c:v>
                </c:pt>
                <c:pt idx="387">
                  <c:v>93.499350845341198</c:v>
                </c:pt>
                <c:pt idx="388">
                  <c:v>95.783317006246506</c:v>
                </c:pt>
                <c:pt idx="389">
                  <c:v>95.005257862279905</c:v>
                </c:pt>
                <c:pt idx="390">
                  <c:v>95.997264496379003</c:v>
                </c:pt>
                <c:pt idx="391">
                  <c:v>96.875638354691503</c:v>
                </c:pt>
                <c:pt idx="392">
                  <c:v>96.875638354691503</c:v>
                </c:pt>
                <c:pt idx="393">
                  <c:v>96.824879117145002</c:v>
                </c:pt>
                <c:pt idx="394">
                  <c:v>96.195744127253803</c:v>
                </c:pt>
                <c:pt idx="395">
                  <c:v>97.225030405683995</c:v>
                </c:pt>
                <c:pt idx="396">
                  <c:v>97.987651856946499</c:v>
                </c:pt>
                <c:pt idx="397">
                  <c:v>99.902556767324995</c:v>
                </c:pt>
                <c:pt idx="398">
                  <c:v>100.769277214697</c:v>
                </c:pt>
                <c:pt idx="399">
                  <c:v>99.719009372739706</c:v>
                </c:pt>
                <c:pt idx="400">
                  <c:v>98.497028294607006</c:v>
                </c:pt>
                <c:pt idx="401">
                  <c:v>98.563670327464905</c:v>
                </c:pt>
                <c:pt idx="402">
                  <c:v>98.260955829064599</c:v>
                </c:pt>
                <c:pt idx="403">
                  <c:v>99.951535916981499</c:v>
                </c:pt>
                <c:pt idx="404">
                  <c:v>99.760139319184802</c:v>
                </c:pt>
                <c:pt idx="405">
                  <c:v>99.924012669883794</c:v>
                </c:pt>
                <c:pt idx="406">
                  <c:v>99.322417133565807</c:v>
                </c:pt>
                <c:pt idx="407">
                  <c:v>99.975196978830596</c:v>
                </c:pt>
                <c:pt idx="408">
                  <c:v>101.14643236175999</c:v>
                </c:pt>
                <c:pt idx="409">
                  <c:v>101.12769401094698</c:v>
                </c:pt>
                <c:pt idx="410">
                  <c:v>102.273302069666</c:v>
                </c:pt>
                <c:pt idx="411">
                  <c:v>102.05479842391098</c:v>
                </c:pt>
                <c:pt idx="412">
                  <c:v>102.55897219601999</c:v>
                </c:pt>
                <c:pt idx="413">
                  <c:v>101.689061056141</c:v>
                </c:pt>
                <c:pt idx="414">
                  <c:v>101.65574457905599</c:v>
                </c:pt>
                <c:pt idx="415">
                  <c:v>103.34239273615999</c:v>
                </c:pt>
                <c:pt idx="416">
                  <c:v>102.58220291704102</c:v>
                </c:pt>
                <c:pt idx="417">
                  <c:v>101.348270391612</c:v>
                </c:pt>
                <c:pt idx="418">
                  <c:v>101.982535450382</c:v>
                </c:pt>
                <c:pt idx="419">
                  <c:v>103.93422211365602</c:v>
                </c:pt>
                <c:pt idx="420">
                  <c:v>104.151736289838</c:v>
                </c:pt>
                <c:pt idx="421">
                  <c:v>105.53541888487401</c:v>
                </c:pt>
                <c:pt idx="422">
                  <c:v>105.271188956667</c:v>
                </c:pt>
                <c:pt idx="423">
                  <c:v>105.31325771916499</c:v>
                </c:pt>
                <c:pt idx="424">
                  <c:v>105.41531320556</c:v>
                </c:pt>
                <c:pt idx="425">
                  <c:v>105.47486524537099</c:v>
                </c:pt>
                <c:pt idx="426">
                  <c:v>104.52717042133199</c:v>
                </c:pt>
                <c:pt idx="427">
                  <c:v>105.04222802814</c:v>
                </c:pt>
                <c:pt idx="428">
                  <c:v>104.94731927846898</c:v>
                </c:pt>
                <c:pt idx="429">
                  <c:v>105.433862682767</c:v>
                </c:pt>
                <c:pt idx="430">
                  <c:v>105.210545023449</c:v>
                </c:pt>
                <c:pt idx="431">
                  <c:v>106.19447449724602</c:v>
                </c:pt>
                <c:pt idx="432">
                  <c:v>107.399376007611</c:v>
                </c:pt>
                <c:pt idx="433">
                  <c:v>106.882072309772</c:v>
                </c:pt>
                <c:pt idx="434">
                  <c:v>106.246259250976</c:v>
                </c:pt>
                <c:pt idx="435">
                  <c:v>105.692159472318</c:v>
                </c:pt>
                <c:pt idx="436">
                  <c:v>106.30846705002099</c:v>
                </c:pt>
                <c:pt idx="437">
                  <c:v>105.90691249436502</c:v>
                </c:pt>
                <c:pt idx="438">
                  <c:v>106.11658311232701</c:v>
                </c:pt>
                <c:pt idx="439">
                  <c:v>105.92902367314301</c:v>
                </c:pt>
                <c:pt idx="440">
                  <c:v>106.81765518089701</c:v>
                </c:pt>
                <c:pt idx="441">
                  <c:v>107.11388387070899</c:v>
                </c:pt>
                <c:pt idx="442">
                  <c:v>106.64219444624202</c:v>
                </c:pt>
                <c:pt idx="443">
                  <c:v>103.70376474527198</c:v>
                </c:pt>
                <c:pt idx="444">
                  <c:v>104.47177346827301</c:v>
                </c:pt>
                <c:pt idx="445">
                  <c:v>106.203666937592</c:v>
                </c:pt>
                <c:pt idx="446">
                  <c:v>106.643445449437</c:v>
                </c:pt>
                <c:pt idx="447">
                  <c:v>106.51066967189399</c:v>
                </c:pt>
                <c:pt idx="448">
                  <c:v>108.120071216523</c:v>
                </c:pt>
                <c:pt idx="449">
                  <c:v>108.28484136381999</c:v>
                </c:pt>
                <c:pt idx="450">
                  <c:v>108.827147879785</c:v>
                </c:pt>
                <c:pt idx="451">
                  <c:v>109.07996403042898</c:v>
                </c:pt>
                <c:pt idx="452">
                  <c:v>109.340893154184</c:v>
                </c:pt>
                <c:pt idx="453">
                  <c:v>108.76521582655801</c:v>
                </c:pt>
                <c:pt idx="454">
                  <c:v>108.609022752641</c:v>
                </c:pt>
                <c:pt idx="455">
                  <c:v>107.55303521406302</c:v>
                </c:pt>
                <c:pt idx="456">
                  <c:v>107.781513651373</c:v>
                </c:pt>
                <c:pt idx="457">
                  <c:v>108.892149834682</c:v>
                </c:pt>
                <c:pt idx="458">
                  <c:v>108.37785265212601</c:v>
                </c:pt>
                <c:pt idx="459">
                  <c:v>107.564970073148</c:v>
                </c:pt>
                <c:pt idx="460">
                  <c:v>106.18524160028599</c:v>
                </c:pt>
                <c:pt idx="461">
                  <c:v>107.36186246162001</c:v>
                </c:pt>
                <c:pt idx="462">
                  <c:v>108.39277526824</c:v>
                </c:pt>
                <c:pt idx="463">
                  <c:v>107.35922571851899</c:v>
                </c:pt>
                <c:pt idx="464">
                  <c:v>104.469297791614</c:v>
                </c:pt>
                <c:pt idx="465">
                  <c:v>104.398908573027</c:v>
                </c:pt>
                <c:pt idx="466">
                  <c:v>104.398908573027</c:v>
                </c:pt>
                <c:pt idx="467">
                  <c:v>104.398908573027</c:v>
                </c:pt>
                <c:pt idx="468">
                  <c:v>101.756029120181</c:v>
                </c:pt>
                <c:pt idx="469">
                  <c:v>102.47887776119499</c:v>
                </c:pt>
                <c:pt idx="470">
                  <c:v>103.42930916122299</c:v>
                </c:pt>
                <c:pt idx="471">
                  <c:v>101.60865860383498</c:v>
                </c:pt>
                <c:pt idx="472">
                  <c:v>101.868608158822</c:v>
                </c:pt>
                <c:pt idx="473">
                  <c:v>103.922422948752</c:v>
                </c:pt>
                <c:pt idx="474">
                  <c:v>102.603458837381</c:v>
                </c:pt>
                <c:pt idx="475">
                  <c:v>101.61139224545602</c:v>
                </c:pt>
                <c:pt idx="476">
                  <c:v>102.11896488342501</c:v>
                </c:pt>
                <c:pt idx="477">
                  <c:v>99.523218086236895</c:v>
                </c:pt>
                <c:pt idx="478">
                  <c:v>101.16787669112199</c:v>
                </c:pt>
                <c:pt idx="479">
                  <c:v>102.95635184779599</c:v>
                </c:pt>
                <c:pt idx="480">
                  <c:v>102.81810652595399</c:v>
                </c:pt>
                <c:pt idx="481">
                  <c:v>103.80547606072199</c:v>
                </c:pt>
                <c:pt idx="482">
                  <c:v>103.18417568965998</c:v>
                </c:pt>
                <c:pt idx="483">
                  <c:v>103.18417568965998</c:v>
                </c:pt>
                <c:pt idx="484">
                  <c:v>102.77690540180299</c:v>
                </c:pt>
                <c:pt idx="485">
                  <c:v>102.78340953801199</c:v>
                </c:pt>
                <c:pt idx="486">
                  <c:v>101.24966973246801</c:v>
                </c:pt>
                <c:pt idx="487">
                  <c:v>102.199090008421</c:v>
                </c:pt>
                <c:pt idx="488">
                  <c:v>100.990108643177</c:v>
                </c:pt>
                <c:pt idx="489">
                  <c:v>100.64101243683501</c:v>
                </c:pt>
                <c:pt idx="490">
                  <c:v>101.61000675721698</c:v>
                </c:pt>
                <c:pt idx="491">
                  <c:v>101.87163078873201</c:v>
                </c:pt>
                <c:pt idx="492">
                  <c:v>99.617627791542802</c:v>
                </c:pt>
                <c:pt idx="493">
                  <c:v>98.739317794639106</c:v>
                </c:pt>
                <c:pt idx="494">
                  <c:v>98.226968668184398</c:v>
                </c:pt>
                <c:pt idx="495">
                  <c:v>98.226968668184398</c:v>
                </c:pt>
                <c:pt idx="496">
                  <c:v>96.860211833492201</c:v>
                </c:pt>
                <c:pt idx="497">
                  <c:v>97.585546597042594</c:v>
                </c:pt>
                <c:pt idx="498">
                  <c:v>99.315553489148101</c:v>
                </c:pt>
                <c:pt idx="499">
                  <c:v>96.749506706252902</c:v>
                </c:pt>
                <c:pt idx="500">
                  <c:v>97.483216434085406</c:v>
                </c:pt>
                <c:pt idx="501">
                  <c:v>97.655199609093103</c:v>
                </c:pt>
                <c:pt idx="502">
                  <c:v>97.655199609093103</c:v>
                </c:pt>
                <c:pt idx="503">
                  <c:v>98.076452065161902</c:v>
                </c:pt>
                <c:pt idx="504">
                  <c:v>96.467095531805796</c:v>
                </c:pt>
                <c:pt idx="505">
                  <c:v>96.076513985216295</c:v>
                </c:pt>
                <c:pt idx="506">
                  <c:v>94.039035434388197</c:v>
                </c:pt>
                <c:pt idx="507">
                  <c:v>93.782697051297106</c:v>
                </c:pt>
                <c:pt idx="508">
                  <c:v>94.152827013503199</c:v>
                </c:pt>
                <c:pt idx="509">
                  <c:v>96.209471751852206</c:v>
                </c:pt>
                <c:pt idx="510">
                  <c:v>96.931774487179595</c:v>
                </c:pt>
                <c:pt idx="511">
                  <c:v>97.169561104118301</c:v>
                </c:pt>
                <c:pt idx="512">
                  <c:v>96.729296149316497</c:v>
                </c:pt>
                <c:pt idx="513">
                  <c:v>96.7237777642856</c:v>
                </c:pt>
                <c:pt idx="514">
                  <c:v>96.337978644052995</c:v>
                </c:pt>
                <c:pt idx="515">
                  <c:v>96.611425567722705</c:v>
                </c:pt>
                <c:pt idx="516">
                  <c:v>97.966484484133701</c:v>
                </c:pt>
                <c:pt idx="517">
                  <c:v>97.810714748226602</c:v>
                </c:pt>
                <c:pt idx="518">
                  <c:v>99.591979683637405</c:v>
                </c:pt>
                <c:pt idx="519">
                  <c:v>100.359497588083</c:v>
                </c:pt>
                <c:pt idx="520">
                  <c:v>99.890507306828098</c:v>
                </c:pt>
                <c:pt idx="521">
                  <c:v>99.3214250068838</c:v>
                </c:pt>
                <c:pt idx="522">
                  <c:v>97.376847562116396</c:v>
                </c:pt>
                <c:pt idx="523">
                  <c:v>96.856212440590497</c:v>
                </c:pt>
                <c:pt idx="524">
                  <c:v>98.552925588426305</c:v>
                </c:pt>
                <c:pt idx="525">
                  <c:v>98.291922768657997</c:v>
                </c:pt>
                <c:pt idx="526">
                  <c:v>102.041947880842</c:v>
                </c:pt>
                <c:pt idx="527">
                  <c:v>103.295591665876</c:v>
                </c:pt>
                <c:pt idx="528">
                  <c:v>104.42055617214201</c:v>
                </c:pt>
                <c:pt idx="529">
                  <c:v>104.450027358063</c:v>
                </c:pt>
                <c:pt idx="530">
                  <c:v>103.47231063490401</c:v>
                </c:pt>
                <c:pt idx="531">
                  <c:v>101.83645350316502</c:v>
                </c:pt>
                <c:pt idx="532">
                  <c:v>101.54491985268798</c:v>
                </c:pt>
                <c:pt idx="533">
                  <c:v>102.45270996363701</c:v>
                </c:pt>
                <c:pt idx="534">
                  <c:v>102.22421708367099</c:v>
                </c:pt>
                <c:pt idx="535">
                  <c:v>101.23070630728598</c:v>
                </c:pt>
                <c:pt idx="536">
                  <c:v>102.727139930124</c:v>
                </c:pt>
                <c:pt idx="537">
                  <c:v>102.81824944806699</c:v>
                </c:pt>
                <c:pt idx="538">
                  <c:v>102.78567473434499</c:v>
                </c:pt>
                <c:pt idx="539">
                  <c:v>103.969282744764</c:v>
                </c:pt>
                <c:pt idx="540">
                  <c:v>104.894921357759</c:v>
                </c:pt>
                <c:pt idx="541">
                  <c:v>102.70590138793601</c:v>
                </c:pt>
                <c:pt idx="542">
                  <c:v>99.808509654180398</c:v>
                </c:pt>
                <c:pt idx="543">
                  <c:v>98.914019301850601</c:v>
                </c:pt>
                <c:pt idx="544">
                  <c:v>99.233792691159707</c:v>
                </c:pt>
                <c:pt idx="545">
                  <c:v>102.573225239848</c:v>
                </c:pt>
                <c:pt idx="546">
                  <c:v>104.15514738838098</c:v>
                </c:pt>
                <c:pt idx="547">
                  <c:v>105.39554879385599</c:v>
                </c:pt>
                <c:pt idx="548">
                  <c:v>104.823238773569</c:v>
                </c:pt>
                <c:pt idx="549">
                  <c:v>104.82585887587499</c:v>
                </c:pt>
                <c:pt idx="550">
                  <c:v>102.396878113059</c:v>
                </c:pt>
                <c:pt idx="551">
                  <c:v>105.516827977844</c:v>
                </c:pt>
                <c:pt idx="552">
                  <c:v>106.73971284794499</c:v>
                </c:pt>
                <c:pt idx="553">
                  <c:v>107.47719860141601</c:v>
                </c:pt>
                <c:pt idx="554">
                  <c:v>106.99960959232699</c:v>
                </c:pt>
                <c:pt idx="555">
                  <c:v>107.338414008415</c:v>
                </c:pt>
                <c:pt idx="556">
                  <c:v>106.99340231938402</c:v>
                </c:pt>
                <c:pt idx="557">
                  <c:v>106.66525923730302</c:v>
                </c:pt>
                <c:pt idx="558">
                  <c:v>107.31585811173501</c:v>
                </c:pt>
                <c:pt idx="559">
                  <c:v>107.31585811173501</c:v>
                </c:pt>
                <c:pt idx="560">
                  <c:v>108.571065313476</c:v>
                </c:pt>
                <c:pt idx="561">
                  <c:v>109.35576835051802</c:v>
                </c:pt>
                <c:pt idx="562">
                  <c:v>108.768369456904</c:v>
                </c:pt>
                <c:pt idx="563">
                  <c:v>109.53379804616701</c:v>
                </c:pt>
                <c:pt idx="564">
                  <c:v>108.24579465898201</c:v>
                </c:pt>
                <c:pt idx="565">
                  <c:v>107.42555813181201</c:v>
                </c:pt>
                <c:pt idx="566">
                  <c:v>107.502764467744</c:v>
                </c:pt>
                <c:pt idx="567">
                  <c:v>108.38845904037599</c:v>
                </c:pt>
                <c:pt idx="568">
                  <c:v>107.625711427708</c:v>
                </c:pt>
                <c:pt idx="569">
                  <c:v>107.608524734979</c:v>
                </c:pt>
                <c:pt idx="570">
                  <c:v>106.67826092625398</c:v>
                </c:pt>
                <c:pt idx="571">
                  <c:v>107.65969356717299</c:v>
                </c:pt>
                <c:pt idx="572">
                  <c:v>108.541294627632</c:v>
                </c:pt>
                <c:pt idx="573">
                  <c:v>107.79132243775899</c:v>
                </c:pt>
                <c:pt idx="574">
                  <c:v>107.638946883057</c:v>
                </c:pt>
                <c:pt idx="575">
                  <c:v>110.36275068608002</c:v>
                </c:pt>
                <c:pt idx="576">
                  <c:v>111.049457333509</c:v>
                </c:pt>
                <c:pt idx="577">
                  <c:v>110.814396122639</c:v>
                </c:pt>
                <c:pt idx="578">
                  <c:v>111.366257405761</c:v>
                </c:pt>
                <c:pt idx="579">
                  <c:v>112.13109714943698</c:v>
                </c:pt>
                <c:pt idx="580">
                  <c:v>111.615761430571</c:v>
                </c:pt>
                <c:pt idx="581">
                  <c:v>113.427287921985</c:v>
                </c:pt>
                <c:pt idx="582">
                  <c:v>112.842066104994</c:v>
                </c:pt>
                <c:pt idx="583">
                  <c:v>111.83908991095699</c:v>
                </c:pt>
                <c:pt idx="584">
                  <c:v>112.29651140623899</c:v>
                </c:pt>
                <c:pt idx="585">
                  <c:v>112.218034121548</c:v>
                </c:pt>
                <c:pt idx="586">
                  <c:v>113.170074648153</c:v>
                </c:pt>
                <c:pt idx="587">
                  <c:v>112.319034930391</c:v>
                </c:pt>
                <c:pt idx="588">
                  <c:v>112.78750090996601</c:v>
                </c:pt>
                <c:pt idx="589">
                  <c:v>110.48179900116099</c:v>
                </c:pt>
                <c:pt idx="590">
                  <c:v>110.83707774108001</c:v>
                </c:pt>
                <c:pt idx="591">
                  <c:v>109.649105236054</c:v>
                </c:pt>
                <c:pt idx="592">
                  <c:v>111.16048026772</c:v>
                </c:pt>
                <c:pt idx="593">
                  <c:v>111.21381700214398</c:v>
                </c:pt>
                <c:pt idx="594">
                  <c:v>111.24831809215601</c:v>
                </c:pt>
                <c:pt idx="595">
                  <c:v>110.92383322726201</c:v>
                </c:pt>
                <c:pt idx="596">
                  <c:v>112.291650797286</c:v>
                </c:pt>
                <c:pt idx="597">
                  <c:v>111.045914819868</c:v>
                </c:pt>
                <c:pt idx="598">
                  <c:v>110.458834789842</c:v>
                </c:pt>
                <c:pt idx="599">
                  <c:v>109.87908150522301</c:v>
                </c:pt>
                <c:pt idx="600">
                  <c:v>110.66828865764799</c:v>
                </c:pt>
                <c:pt idx="601">
                  <c:v>110.00171201577899</c:v>
                </c:pt>
                <c:pt idx="602">
                  <c:v>110.53362754288601</c:v>
                </c:pt>
                <c:pt idx="603">
                  <c:v>112.08844353141301</c:v>
                </c:pt>
                <c:pt idx="604">
                  <c:v>112.69045113901699</c:v>
                </c:pt>
                <c:pt idx="605">
                  <c:v>112.739334630462</c:v>
                </c:pt>
                <c:pt idx="606">
                  <c:v>111.854882050669</c:v>
                </c:pt>
                <c:pt idx="607">
                  <c:v>111.320328609673</c:v>
                </c:pt>
                <c:pt idx="608">
                  <c:v>109.43850981688399</c:v>
                </c:pt>
                <c:pt idx="609">
                  <c:v>109.94206444907499</c:v>
                </c:pt>
                <c:pt idx="610">
                  <c:v>109.780198992189</c:v>
                </c:pt>
                <c:pt idx="611">
                  <c:v>110.11507571452599</c:v>
                </c:pt>
                <c:pt idx="612">
                  <c:v>109.513872013949</c:v>
                </c:pt>
                <c:pt idx="613">
                  <c:v>110.45742857309899</c:v>
                </c:pt>
                <c:pt idx="614">
                  <c:v>110.04489228369</c:v>
                </c:pt>
                <c:pt idx="615">
                  <c:v>110.04489228369</c:v>
                </c:pt>
                <c:pt idx="616">
                  <c:v>111.56822131291599</c:v>
                </c:pt>
                <c:pt idx="617">
                  <c:v>110.71651948437902</c:v>
                </c:pt>
                <c:pt idx="618">
                  <c:v>111.295713145939</c:v>
                </c:pt>
                <c:pt idx="619">
                  <c:v>109.65448999383101</c:v>
                </c:pt>
                <c:pt idx="620">
                  <c:v>108.99752793870098</c:v>
                </c:pt>
                <c:pt idx="621">
                  <c:v>109.204410843357</c:v>
                </c:pt>
                <c:pt idx="622">
                  <c:v>109.04771970649901</c:v>
                </c:pt>
                <c:pt idx="623">
                  <c:v>109.27793661954099</c:v>
                </c:pt>
                <c:pt idx="624">
                  <c:v>108.80436202665599</c:v>
                </c:pt>
                <c:pt idx="625">
                  <c:v>107.743136427075</c:v>
                </c:pt>
                <c:pt idx="626">
                  <c:v>106.41664546245299</c:v>
                </c:pt>
                <c:pt idx="627">
                  <c:v>108.361717568497</c:v>
                </c:pt>
                <c:pt idx="628">
                  <c:v>108.810706555008</c:v>
                </c:pt>
                <c:pt idx="629">
                  <c:v>109.28133019330699</c:v>
                </c:pt>
                <c:pt idx="630">
                  <c:v>110.26869449687599</c:v>
                </c:pt>
                <c:pt idx="631">
                  <c:v>110.967839238892</c:v>
                </c:pt>
                <c:pt idx="632">
                  <c:v>110.45349189660601</c:v>
                </c:pt>
                <c:pt idx="633">
                  <c:v>110.747283271509</c:v>
                </c:pt>
                <c:pt idx="634">
                  <c:v>110.83020350284501</c:v>
                </c:pt>
                <c:pt idx="635">
                  <c:v>112.274116097361</c:v>
                </c:pt>
                <c:pt idx="636">
                  <c:v>111.970275761626</c:v>
                </c:pt>
                <c:pt idx="637">
                  <c:v>112.14029537058001</c:v>
                </c:pt>
                <c:pt idx="638">
                  <c:v>112.143438967763</c:v>
                </c:pt>
                <c:pt idx="639">
                  <c:v>112.53111577424799</c:v>
                </c:pt>
                <c:pt idx="640">
                  <c:v>112.979958269807</c:v>
                </c:pt>
                <c:pt idx="641">
                  <c:v>112.943915878626</c:v>
                </c:pt>
                <c:pt idx="642">
                  <c:v>112.85976580469099</c:v>
                </c:pt>
                <c:pt idx="643">
                  <c:v>113.92849178631099</c:v>
                </c:pt>
                <c:pt idx="644">
                  <c:v>114.095298464913</c:v>
                </c:pt>
                <c:pt idx="645">
                  <c:v>113.942837345981</c:v>
                </c:pt>
                <c:pt idx="646">
                  <c:v>113.99076193830399</c:v>
                </c:pt>
                <c:pt idx="647">
                  <c:v>113.830098496622</c:v>
                </c:pt>
                <c:pt idx="648">
                  <c:v>114.43833127334599</c:v>
                </c:pt>
                <c:pt idx="649">
                  <c:v>115.179200691278</c:v>
                </c:pt>
                <c:pt idx="650">
                  <c:v>115.139023036875</c:v>
                </c:pt>
                <c:pt idx="651">
                  <c:v>114.80151585571198</c:v>
                </c:pt>
                <c:pt idx="652">
                  <c:v>114.80151585571198</c:v>
                </c:pt>
                <c:pt idx="653">
                  <c:v>114.80151585571198</c:v>
                </c:pt>
                <c:pt idx="654">
                  <c:v>114.80151585571198</c:v>
                </c:pt>
                <c:pt idx="655">
                  <c:v>114.765403457435</c:v>
                </c:pt>
                <c:pt idx="656">
                  <c:v>113.96304117454601</c:v>
                </c:pt>
                <c:pt idx="657">
                  <c:v>114.20545217601898</c:v>
                </c:pt>
                <c:pt idx="658">
                  <c:v>114.20545217601898</c:v>
                </c:pt>
                <c:pt idx="659">
                  <c:v>116.748664508123</c:v>
                </c:pt>
                <c:pt idx="660">
                  <c:v>116.859181102691</c:v>
                </c:pt>
                <c:pt idx="661">
                  <c:v>117.02159053907802</c:v>
                </c:pt>
                <c:pt idx="662">
                  <c:v>116.36574910626901</c:v>
                </c:pt>
                <c:pt idx="663">
                  <c:v>116.31393059200801</c:v>
                </c:pt>
                <c:pt idx="664">
                  <c:v>117.11152995879802</c:v>
                </c:pt>
                <c:pt idx="665">
                  <c:v>116.72661965091899</c:v>
                </c:pt>
                <c:pt idx="666">
                  <c:v>116.54739977385</c:v>
                </c:pt>
                <c:pt idx="667">
                  <c:v>116.253573730949</c:v>
                </c:pt>
                <c:pt idx="668">
                  <c:v>116.143803850002</c:v>
                </c:pt>
                <c:pt idx="669">
                  <c:v>116.542413354017</c:v>
                </c:pt>
                <c:pt idx="670">
                  <c:v>117.797789252559</c:v>
                </c:pt>
                <c:pt idx="671">
                  <c:v>117.565095447845</c:v>
                </c:pt>
                <c:pt idx="672">
                  <c:v>118.14004296109202</c:v>
                </c:pt>
                <c:pt idx="673">
                  <c:v>117.843530442602</c:v>
                </c:pt>
                <c:pt idx="674">
                  <c:v>117.970831075858</c:v>
                </c:pt>
                <c:pt idx="675">
                  <c:v>118.273585350283</c:v>
                </c:pt>
                <c:pt idx="676">
                  <c:v>118.917808957492</c:v>
                </c:pt>
                <c:pt idx="677">
                  <c:v>118.75560418033999</c:v>
                </c:pt>
                <c:pt idx="678">
                  <c:v>118.835782787806</c:v>
                </c:pt>
                <c:pt idx="679">
                  <c:v>118.03465762401602</c:v>
                </c:pt>
                <c:pt idx="680">
                  <c:v>117.29233977745102</c:v>
                </c:pt>
                <c:pt idx="681">
                  <c:v>118.26213690798998</c:v>
                </c:pt>
                <c:pt idx="682">
                  <c:v>115.96059891649702</c:v>
                </c:pt>
                <c:pt idx="683">
                  <c:v>116.35163050764498</c:v>
                </c:pt>
                <c:pt idx="684">
                  <c:v>115.609663542018</c:v>
                </c:pt>
                <c:pt idx="685">
                  <c:v>115.259580410415</c:v>
                </c:pt>
                <c:pt idx="686">
                  <c:v>116.12077123143098</c:v>
                </c:pt>
                <c:pt idx="687">
                  <c:v>115.781602131334</c:v>
                </c:pt>
                <c:pt idx="688">
                  <c:v>116.504501783113</c:v>
                </c:pt>
                <c:pt idx="689">
                  <c:v>117.42219941827</c:v>
                </c:pt>
                <c:pt idx="690">
                  <c:v>116.974248643845</c:v>
                </c:pt>
                <c:pt idx="691">
                  <c:v>116.847453309725</c:v>
                </c:pt>
                <c:pt idx="692">
                  <c:v>116.70730169906601</c:v>
                </c:pt>
                <c:pt idx="693">
                  <c:v>118.117596302362</c:v>
                </c:pt>
                <c:pt idx="694">
                  <c:v>117.90592210103701</c:v>
                </c:pt>
                <c:pt idx="695">
                  <c:v>115.976582741607</c:v>
                </c:pt>
                <c:pt idx="696">
                  <c:v>117.638783233735</c:v>
                </c:pt>
                <c:pt idx="697">
                  <c:v>118.15204397146699</c:v>
                </c:pt>
                <c:pt idx="698">
                  <c:v>116.245706929509</c:v>
                </c:pt>
                <c:pt idx="699">
                  <c:v>117.405946855061</c:v>
                </c:pt>
                <c:pt idx="700">
                  <c:v>118.32979212961099</c:v>
                </c:pt>
                <c:pt idx="701">
                  <c:v>117.75365476008599</c:v>
                </c:pt>
                <c:pt idx="702">
                  <c:v>117.81268087140499</c:v>
                </c:pt>
                <c:pt idx="703">
                  <c:v>119.87179238959999</c:v>
                </c:pt>
                <c:pt idx="704">
                  <c:v>119.774376725962</c:v>
                </c:pt>
                <c:pt idx="705">
                  <c:v>120.04133713112202</c:v>
                </c:pt>
                <c:pt idx="706">
                  <c:v>121.253212921144</c:v>
                </c:pt>
                <c:pt idx="707">
                  <c:v>121.077090040283</c:v>
                </c:pt>
                <c:pt idx="708">
                  <c:v>121.11344018929499</c:v>
                </c:pt>
                <c:pt idx="709">
                  <c:v>121.002776023569</c:v>
                </c:pt>
                <c:pt idx="710">
                  <c:v>122.18760400277</c:v>
                </c:pt>
                <c:pt idx="711">
                  <c:v>121.739112544386</c:v>
                </c:pt>
                <c:pt idx="712">
                  <c:v>121.568027998554</c:v>
                </c:pt>
                <c:pt idx="713">
                  <c:v>120.91438882366002</c:v>
                </c:pt>
                <c:pt idx="714">
                  <c:v>121.642503699142</c:v>
                </c:pt>
                <c:pt idx="715">
                  <c:v>120.95532376640202</c:v>
                </c:pt>
                <c:pt idx="716">
                  <c:v>120.791718869273</c:v>
                </c:pt>
                <c:pt idx="717">
                  <c:v>119.962519793295</c:v>
                </c:pt>
                <c:pt idx="718">
                  <c:v>119.84097200934501</c:v>
                </c:pt>
                <c:pt idx="719">
                  <c:v>118.735675518878</c:v>
                </c:pt>
                <c:pt idx="720">
                  <c:v>119.515598326934</c:v>
                </c:pt>
                <c:pt idx="721">
                  <c:v>119.515598326934</c:v>
                </c:pt>
                <c:pt idx="722">
                  <c:v>119.515598326934</c:v>
                </c:pt>
                <c:pt idx="723">
                  <c:v>121.009692200435</c:v>
                </c:pt>
                <c:pt idx="724">
                  <c:v>120.09785932119298</c:v>
                </c:pt>
                <c:pt idx="725">
                  <c:v>119.32678053605402</c:v>
                </c:pt>
                <c:pt idx="726">
                  <c:v>117.61517251152</c:v>
                </c:pt>
                <c:pt idx="727">
                  <c:v>117.848402098143</c:v>
                </c:pt>
                <c:pt idx="728">
                  <c:v>118.14873519515801</c:v>
                </c:pt>
                <c:pt idx="729">
                  <c:v>120.428219036456</c:v>
                </c:pt>
                <c:pt idx="730">
                  <c:v>121.247596372191</c:v>
                </c:pt>
                <c:pt idx="731">
                  <c:v>120.29936306550599</c:v>
                </c:pt>
                <c:pt idx="732">
                  <c:v>119.33416643182299</c:v>
                </c:pt>
                <c:pt idx="733">
                  <c:v>118.403648936434</c:v>
                </c:pt>
                <c:pt idx="734">
                  <c:v>116.63729361906201</c:v>
                </c:pt>
                <c:pt idx="735">
                  <c:v>116.548214388706</c:v>
                </c:pt>
                <c:pt idx="736">
                  <c:v>117.18607559132698</c:v>
                </c:pt>
                <c:pt idx="737">
                  <c:v>117.69360799707</c:v>
                </c:pt>
                <c:pt idx="738">
                  <c:v>120.372122561035</c:v>
                </c:pt>
                <c:pt idx="739">
                  <c:v>121.32319632573298</c:v>
                </c:pt>
                <c:pt idx="740">
                  <c:v>121.95722503818098</c:v>
                </c:pt>
                <c:pt idx="741">
                  <c:v>121.224508177293</c:v>
                </c:pt>
                <c:pt idx="742">
                  <c:v>122.34422948707299</c:v>
                </c:pt>
                <c:pt idx="743">
                  <c:v>122.12147792179799</c:v>
                </c:pt>
                <c:pt idx="744">
                  <c:v>122.12147792179799</c:v>
                </c:pt>
                <c:pt idx="745">
                  <c:v>122.28947742321698</c:v>
                </c:pt>
                <c:pt idx="746">
                  <c:v>123.665830809469</c:v>
                </c:pt>
                <c:pt idx="747">
                  <c:v>123.875849086147</c:v>
                </c:pt>
                <c:pt idx="748">
                  <c:v>124.18802853945698</c:v>
                </c:pt>
                <c:pt idx="749">
                  <c:v>125.009395104636</c:v>
                </c:pt>
                <c:pt idx="750">
                  <c:v>125.009395104636</c:v>
                </c:pt>
                <c:pt idx="751">
                  <c:v>125.70537018213102</c:v>
                </c:pt>
                <c:pt idx="752">
                  <c:v>125.57930545931499</c:v>
                </c:pt>
                <c:pt idx="753">
                  <c:v>126.04533394426201</c:v>
                </c:pt>
                <c:pt idx="754">
                  <c:v>126.517227074994</c:v>
                </c:pt>
                <c:pt idx="755">
                  <c:v>126.52670722047901</c:v>
                </c:pt>
                <c:pt idx="756">
                  <c:v>126.574414762758</c:v>
                </c:pt>
                <c:pt idx="757">
                  <c:v>126.574414762758</c:v>
                </c:pt>
                <c:pt idx="758">
                  <c:v>127.36640218919599</c:v>
                </c:pt>
                <c:pt idx="759">
                  <c:v>127.95812081743601</c:v>
                </c:pt>
                <c:pt idx="760">
                  <c:v>125.810623054095</c:v>
                </c:pt>
                <c:pt idx="761">
                  <c:v>125.50241992643201</c:v>
                </c:pt>
                <c:pt idx="762">
                  <c:v>126.30888244366901</c:v>
                </c:pt>
                <c:pt idx="763">
                  <c:v>127.535595677372</c:v>
                </c:pt>
                <c:pt idx="764">
                  <c:v>125.55088780528401</c:v>
                </c:pt>
                <c:pt idx="765">
                  <c:v>125.771983920669</c:v>
                </c:pt>
                <c:pt idx="766">
                  <c:v>124.429757346001</c:v>
                </c:pt>
                <c:pt idx="767">
                  <c:v>123.695678446413</c:v>
                </c:pt>
                <c:pt idx="768">
                  <c:v>123.80224184739302</c:v>
                </c:pt>
                <c:pt idx="769">
                  <c:v>122.32714335135802</c:v>
                </c:pt>
                <c:pt idx="770">
                  <c:v>121.582880359226</c:v>
                </c:pt>
                <c:pt idx="771">
                  <c:v>122.783451543723</c:v>
                </c:pt>
                <c:pt idx="772">
                  <c:v>122.909164477556</c:v>
                </c:pt>
                <c:pt idx="773">
                  <c:v>121.743579475934</c:v>
                </c:pt>
                <c:pt idx="774">
                  <c:v>121.36305600033998</c:v>
                </c:pt>
                <c:pt idx="775">
                  <c:v>121.170395421839</c:v>
                </c:pt>
                <c:pt idx="776">
                  <c:v>121.563108892522</c:v>
                </c:pt>
                <c:pt idx="777">
                  <c:v>122.513645607679</c:v>
                </c:pt>
                <c:pt idx="778">
                  <c:v>122.78607813090801</c:v>
                </c:pt>
                <c:pt idx="779">
                  <c:v>122.59149893844202</c:v>
                </c:pt>
                <c:pt idx="780">
                  <c:v>119.43270177713701</c:v>
                </c:pt>
                <c:pt idx="781">
                  <c:v>118.024400006872</c:v>
                </c:pt>
                <c:pt idx="782">
                  <c:v>115.761827190842</c:v>
                </c:pt>
                <c:pt idx="783">
                  <c:v>116.97487994480899</c:v>
                </c:pt>
                <c:pt idx="784">
                  <c:v>119.00705336248801</c:v>
                </c:pt>
                <c:pt idx="785">
                  <c:v>120.198597997775</c:v>
                </c:pt>
                <c:pt idx="786">
                  <c:v>119.709694487908</c:v>
                </c:pt>
                <c:pt idx="787">
                  <c:v>120.70042618363701</c:v>
                </c:pt>
                <c:pt idx="788">
                  <c:v>120.17306155244101</c:v>
                </c:pt>
                <c:pt idx="789">
                  <c:v>119.16484333296199</c:v>
                </c:pt>
                <c:pt idx="790">
                  <c:v>121.46253094074</c:v>
                </c:pt>
                <c:pt idx="791">
                  <c:v>120.081094649767</c:v>
                </c:pt>
                <c:pt idx="792">
                  <c:v>121.601987522773</c:v>
                </c:pt>
                <c:pt idx="793">
                  <c:v>122.51771636201498</c:v>
                </c:pt>
                <c:pt idx="794">
                  <c:v>122.66854468247401</c:v>
                </c:pt>
                <c:pt idx="795">
                  <c:v>123.47622935330899</c:v>
                </c:pt>
                <c:pt idx="796">
                  <c:v>123.105339132762</c:v>
                </c:pt>
                <c:pt idx="797">
                  <c:v>123.622024466074</c:v>
                </c:pt>
                <c:pt idx="798">
                  <c:v>123.08448226304</c:v>
                </c:pt>
                <c:pt idx="799">
                  <c:v>123.414401793263</c:v>
                </c:pt>
                <c:pt idx="800">
                  <c:v>124.57796129175</c:v>
                </c:pt>
                <c:pt idx="801">
                  <c:v>124.29034661684099</c:v>
                </c:pt>
                <c:pt idx="802">
                  <c:v>124.402201714955</c:v>
                </c:pt>
                <c:pt idx="803">
                  <c:v>124.48786026183301</c:v>
                </c:pt>
                <c:pt idx="804">
                  <c:v>125.42687315086101</c:v>
                </c:pt>
                <c:pt idx="805">
                  <c:v>125.177691121652</c:v>
                </c:pt>
                <c:pt idx="806">
                  <c:v>124.99718107211399</c:v>
                </c:pt>
                <c:pt idx="807">
                  <c:v>125.12498105484899</c:v>
                </c:pt>
                <c:pt idx="808">
                  <c:v>125.686121419286</c:v>
                </c:pt>
                <c:pt idx="809">
                  <c:v>125.729581842486</c:v>
                </c:pt>
                <c:pt idx="810">
                  <c:v>127.595091116676</c:v>
                </c:pt>
                <c:pt idx="811">
                  <c:v>127.724405083498</c:v>
                </c:pt>
                <c:pt idx="812">
                  <c:v>127.77505688000099</c:v>
                </c:pt>
                <c:pt idx="813">
                  <c:v>127.088324639511</c:v>
                </c:pt>
                <c:pt idx="814">
                  <c:v>126.95829470865098</c:v>
                </c:pt>
                <c:pt idx="815">
                  <c:v>128.06165715221201</c:v>
                </c:pt>
                <c:pt idx="816">
                  <c:v>128.76332442796101</c:v>
                </c:pt>
                <c:pt idx="817">
                  <c:v>128.96287450209499</c:v>
                </c:pt>
                <c:pt idx="818">
                  <c:v>129.61919186215999</c:v>
                </c:pt>
                <c:pt idx="819">
                  <c:v>129.98335109832399</c:v>
                </c:pt>
                <c:pt idx="820">
                  <c:v>129.98335109832399</c:v>
                </c:pt>
                <c:pt idx="821">
                  <c:v>129.569802800806</c:v>
                </c:pt>
                <c:pt idx="822">
                  <c:v>128.85051620188599</c:v>
                </c:pt>
                <c:pt idx="823">
                  <c:v>127.46168205814502</c:v>
                </c:pt>
                <c:pt idx="824">
                  <c:v>127.16159293418798</c:v>
                </c:pt>
                <c:pt idx="825">
                  <c:v>128.50156263758399</c:v>
                </c:pt>
                <c:pt idx="826">
                  <c:v>128.91287856946599</c:v>
                </c:pt>
                <c:pt idx="827">
                  <c:v>128.65271774470801</c:v>
                </c:pt>
                <c:pt idx="828">
                  <c:v>126.08948058998899</c:v>
                </c:pt>
                <c:pt idx="829">
                  <c:v>125.57476054795499</c:v>
                </c:pt>
                <c:pt idx="830">
                  <c:v>126.355960677683</c:v>
                </c:pt>
                <c:pt idx="831">
                  <c:v>125.334895531656</c:v>
                </c:pt>
                <c:pt idx="832">
                  <c:v>127.05748959063502</c:v>
                </c:pt>
                <c:pt idx="833">
                  <c:v>126.950798563323</c:v>
                </c:pt>
                <c:pt idx="834">
                  <c:v>126.888188297458</c:v>
                </c:pt>
                <c:pt idx="835">
                  <c:v>127.770801024848</c:v>
                </c:pt>
                <c:pt idx="836">
                  <c:v>128.33497664928899</c:v>
                </c:pt>
                <c:pt idx="837">
                  <c:v>128.20050459878601</c:v>
                </c:pt>
                <c:pt idx="838">
                  <c:v>129.979651327151</c:v>
                </c:pt>
                <c:pt idx="839">
                  <c:v>130.385431058591</c:v>
                </c:pt>
                <c:pt idx="840">
                  <c:v>130.58524579892801</c:v>
                </c:pt>
                <c:pt idx="841">
                  <c:v>130.83871000957399</c:v>
                </c:pt>
                <c:pt idx="842">
                  <c:v>132.155194510987</c:v>
                </c:pt>
                <c:pt idx="843">
                  <c:v>131.834728075295</c:v>
                </c:pt>
                <c:pt idx="844">
                  <c:v>132.248465462517</c:v>
                </c:pt>
                <c:pt idx="845">
                  <c:v>132.72504725094299</c:v>
                </c:pt>
                <c:pt idx="846">
                  <c:v>132.77578536737201</c:v>
                </c:pt>
                <c:pt idx="847">
                  <c:v>132.10001037389799</c:v>
                </c:pt>
                <c:pt idx="848">
                  <c:v>132.46161181233501</c:v>
                </c:pt>
                <c:pt idx="849">
                  <c:v>132.559130892647</c:v>
                </c:pt>
                <c:pt idx="850">
                  <c:v>132.704270798431</c:v>
                </c:pt>
                <c:pt idx="851">
                  <c:v>132.45843137499901</c:v>
                </c:pt>
                <c:pt idx="852">
                  <c:v>131.74774606939101</c:v>
                </c:pt>
                <c:pt idx="853">
                  <c:v>133.069582533926</c:v>
                </c:pt>
                <c:pt idx="854">
                  <c:v>132.32779764178099</c:v>
                </c:pt>
                <c:pt idx="855">
                  <c:v>131.88728027411699</c:v>
                </c:pt>
                <c:pt idx="856">
                  <c:v>132.18327050151501</c:v>
                </c:pt>
                <c:pt idx="857">
                  <c:v>131.811866189874</c:v>
                </c:pt>
                <c:pt idx="858">
                  <c:v>131.506444886579</c:v>
                </c:pt>
                <c:pt idx="859">
                  <c:v>131.249787917285</c:v>
                </c:pt>
                <c:pt idx="860">
                  <c:v>133.14224732784001</c:v>
                </c:pt>
                <c:pt idx="861">
                  <c:v>133.48380603150699</c:v>
                </c:pt>
                <c:pt idx="862">
                  <c:v>133.364735176907</c:v>
                </c:pt>
                <c:pt idx="863">
                  <c:v>134.43779122087</c:v>
                </c:pt>
                <c:pt idx="864">
                  <c:v>135.056528837173</c:v>
                </c:pt>
                <c:pt idx="865">
                  <c:v>134.98709462153101</c:v>
                </c:pt>
                <c:pt idx="866">
                  <c:v>136.26950262621801</c:v>
                </c:pt>
                <c:pt idx="867">
                  <c:v>136.787049269222</c:v>
                </c:pt>
                <c:pt idx="868">
                  <c:v>137.140659906254</c:v>
                </c:pt>
                <c:pt idx="869">
                  <c:v>136.34061232750901</c:v>
                </c:pt>
                <c:pt idx="870">
                  <c:v>136.54688001286601</c:v>
                </c:pt>
                <c:pt idx="871">
                  <c:v>136.16151709169901</c:v>
                </c:pt>
                <c:pt idx="872">
                  <c:v>136.446163154787</c:v>
                </c:pt>
                <c:pt idx="873">
                  <c:v>137.24845148164499</c:v>
                </c:pt>
                <c:pt idx="874">
                  <c:v>137.174983176583</c:v>
                </c:pt>
                <c:pt idx="875">
                  <c:v>137.646243626841</c:v>
                </c:pt>
                <c:pt idx="876">
                  <c:v>137.646243626841</c:v>
                </c:pt>
                <c:pt idx="877">
                  <c:v>137.888664118148</c:v>
                </c:pt>
                <c:pt idx="878">
                  <c:v>137.578888329667</c:v>
                </c:pt>
                <c:pt idx="879">
                  <c:v>138.41896178163699</c:v>
                </c:pt>
                <c:pt idx="880">
                  <c:v>137.724216304794</c:v>
                </c:pt>
                <c:pt idx="881">
                  <c:v>137.557648278676</c:v>
                </c:pt>
                <c:pt idx="882">
                  <c:v>138.32538274403601</c:v>
                </c:pt>
                <c:pt idx="883">
                  <c:v>137.634135174969</c:v>
                </c:pt>
                <c:pt idx="884">
                  <c:v>137.16230644040601</c:v>
                </c:pt>
                <c:pt idx="885">
                  <c:v>138.00665346294701</c:v>
                </c:pt>
                <c:pt idx="886">
                  <c:v>138.261507520734</c:v>
                </c:pt>
                <c:pt idx="887">
                  <c:v>138.88509297243201</c:v>
                </c:pt>
                <c:pt idx="888">
                  <c:v>138.1942665668</c:v>
                </c:pt>
                <c:pt idx="889">
                  <c:v>137.99441307347399</c:v>
                </c:pt>
                <c:pt idx="890">
                  <c:v>137.780976502973</c:v>
                </c:pt>
                <c:pt idx="891">
                  <c:v>137.97768455503501</c:v>
                </c:pt>
                <c:pt idx="892">
                  <c:v>138.765120981519</c:v>
                </c:pt>
                <c:pt idx="893">
                  <c:v>138.09166835049899</c:v>
                </c:pt>
                <c:pt idx="894">
                  <c:v>138.775263175764</c:v>
                </c:pt>
                <c:pt idx="895">
                  <c:v>139.19598558990401</c:v>
                </c:pt>
                <c:pt idx="896">
                  <c:v>139.29786296321001</c:v>
                </c:pt>
                <c:pt idx="897">
                  <c:v>138.589213623646</c:v>
                </c:pt>
                <c:pt idx="898">
                  <c:v>136.29047219247801</c:v>
                </c:pt>
                <c:pt idx="899">
                  <c:v>135.53867226729</c:v>
                </c:pt>
                <c:pt idx="900">
                  <c:v>134.838894164435</c:v>
                </c:pt>
                <c:pt idx="901">
                  <c:v>135.309005514668</c:v>
                </c:pt>
                <c:pt idx="902">
                  <c:v>135.77178244584999</c:v>
                </c:pt>
                <c:pt idx="903">
                  <c:v>135.19307265719701</c:v>
                </c:pt>
                <c:pt idx="904">
                  <c:v>134.57631794086601</c:v>
                </c:pt>
                <c:pt idx="905">
                  <c:v>133.774645172308</c:v>
                </c:pt>
                <c:pt idx="906">
                  <c:v>133.445260709514</c:v>
                </c:pt>
                <c:pt idx="907">
                  <c:v>134.95767689961599</c:v>
                </c:pt>
                <c:pt idx="908">
                  <c:v>134.00748803823399</c:v>
                </c:pt>
                <c:pt idx="909">
                  <c:v>134.90772492029799</c:v>
                </c:pt>
                <c:pt idx="910">
                  <c:v>136.90531152089</c:v>
                </c:pt>
                <c:pt idx="911">
                  <c:v>137.46046001508299</c:v>
                </c:pt>
                <c:pt idx="912">
                  <c:v>138.380329379931</c:v>
                </c:pt>
                <c:pt idx="913">
                  <c:v>138.68116167221001</c:v>
                </c:pt>
                <c:pt idx="914">
                  <c:v>138.68116167221001</c:v>
                </c:pt>
                <c:pt idx="915">
                  <c:v>138.68116167221001</c:v>
                </c:pt>
                <c:pt idx="916">
                  <c:v>139.99086919171901</c:v>
                </c:pt>
                <c:pt idx="917">
                  <c:v>139.99514751316599</c:v>
                </c:pt>
                <c:pt idx="918">
                  <c:v>140.23295026347</c:v>
                </c:pt>
                <c:pt idx="919">
                  <c:v>140.23295026347</c:v>
                </c:pt>
                <c:pt idx="920">
                  <c:v>138.825732984567</c:v>
                </c:pt>
                <c:pt idx="921">
                  <c:v>139.92409841859401</c:v>
                </c:pt>
                <c:pt idx="922">
                  <c:v>139.76238550709201</c:v>
                </c:pt>
                <c:pt idx="923">
                  <c:v>140.46089729889201</c:v>
                </c:pt>
                <c:pt idx="924">
                  <c:v>140.97458166632501</c:v>
                </c:pt>
                <c:pt idx="925">
                  <c:v>140.79792193131499</c:v>
                </c:pt>
                <c:pt idx="926">
                  <c:v>141.30879984139901</c:v>
                </c:pt>
                <c:pt idx="927">
                  <c:v>141.76564407189801</c:v>
                </c:pt>
                <c:pt idx="928">
                  <c:v>141.84430127789199</c:v>
                </c:pt>
                <c:pt idx="929">
                  <c:v>143.19392247422601</c:v>
                </c:pt>
                <c:pt idx="930">
                  <c:v>143.161282539366</c:v>
                </c:pt>
                <c:pt idx="931">
                  <c:v>143.33074938261001</c:v>
                </c:pt>
                <c:pt idx="932">
                  <c:v>143.392572028323</c:v>
                </c:pt>
                <c:pt idx="933">
                  <c:v>143.26390327533099</c:v>
                </c:pt>
                <c:pt idx="934">
                  <c:v>143.37281502237801</c:v>
                </c:pt>
                <c:pt idx="935">
                  <c:v>142.660672170461</c:v>
                </c:pt>
                <c:pt idx="936">
                  <c:v>139.53666404567099</c:v>
                </c:pt>
                <c:pt idx="937">
                  <c:v>138.39962905519801</c:v>
                </c:pt>
                <c:pt idx="938">
                  <c:v>139.08554634890899</c:v>
                </c:pt>
                <c:pt idx="939">
                  <c:v>138.57478067821299</c:v>
                </c:pt>
                <c:pt idx="940">
                  <c:v>138.719184774078</c:v>
                </c:pt>
                <c:pt idx="941">
                  <c:v>137.95259933840299</c:v>
                </c:pt>
                <c:pt idx="942">
                  <c:v>136.84463635759101</c:v>
                </c:pt>
                <c:pt idx="943">
                  <c:v>136.62646999698299</c:v>
                </c:pt>
                <c:pt idx="944">
                  <c:v>136.662565464691</c:v>
                </c:pt>
                <c:pt idx="945">
                  <c:v>138.84903078137199</c:v>
                </c:pt>
                <c:pt idx="946">
                  <c:v>139.74591787145599</c:v>
                </c:pt>
                <c:pt idx="947">
                  <c:v>140.047739032696</c:v>
                </c:pt>
                <c:pt idx="948">
                  <c:v>141.55771116287099</c:v>
                </c:pt>
                <c:pt idx="949">
                  <c:v>142.15837875835999</c:v>
                </c:pt>
                <c:pt idx="950">
                  <c:v>142.39361750102299</c:v>
                </c:pt>
                <c:pt idx="951">
                  <c:v>143.25331556447199</c:v>
                </c:pt>
                <c:pt idx="952">
                  <c:v>143.63569486989999</c:v>
                </c:pt>
                <c:pt idx="953">
                  <c:v>143.569898133376</c:v>
                </c:pt>
                <c:pt idx="954">
                  <c:v>143.679696115365</c:v>
                </c:pt>
                <c:pt idx="955">
                  <c:v>143.69974353954299</c:v>
                </c:pt>
                <c:pt idx="956">
                  <c:v>144.25036709306201</c:v>
                </c:pt>
                <c:pt idx="957">
                  <c:v>145.24872781421101</c:v>
                </c:pt>
                <c:pt idx="958">
                  <c:v>145.17060262983799</c:v>
                </c:pt>
                <c:pt idx="959">
                  <c:v>144.53604254072101</c:v>
                </c:pt>
                <c:pt idx="960">
                  <c:v>144.099333098779</c:v>
                </c:pt>
                <c:pt idx="961">
                  <c:v>144.78846432365501</c:v>
                </c:pt>
                <c:pt idx="962">
                  <c:v>141.22903267677299</c:v>
                </c:pt>
                <c:pt idx="963">
                  <c:v>144.19387711606601</c:v>
                </c:pt>
                <c:pt idx="964">
                  <c:v>144.33147630453101</c:v>
                </c:pt>
                <c:pt idx="965">
                  <c:v>145.13684402374599</c:v>
                </c:pt>
                <c:pt idx="966">
                  <c:v>143.84066905288799</c:v>
                </c:pt>
                <c:pt idx="967">
                  <c:v>143.61946659409301</c:v>
                </c:pt>
                <c:pt idx="968">
                  <c:v>143.551598149955</c:v>
                </c:pt>
                <c:pt idx="969">
                  <c:v>142.20900865541799</c:v>
                </c:pt>
                <c:pt idx="970">
                  <c:v>140.45575763001099</c:v>
                </c:pt>
                <c:pt idx="971">
                  <c:v>139.67251601309201</c:v>
                </c:pt>
                <c:pt idx="972">
                  <c:v>141.348880955445</c:v>
                </c:pt>
                <c:pt idx="973">
                  <c:v>142.531965662749</c:v>
                </c:pt>
                <c:pt idx="974">
                  <c:v>142.46926246311099</c:v>
                </c:pt>
                <c:pt idx="975">
                  <c:v>142.63499095816701</c:v>
                </c:pt>
                <c:pt idx="976">
                  <c:v>142.71008679006499</c:v>
                </c:pt>
                <c:pt idx="977">
                  <c:v>141.113468100511</c:v>
                </c:pt>
                <c:pt idx="978">
                  <c:v>142.68540909706201</c:v>
                </c:pt>
                <c:pt idx="979">
                  <c:v>144.125621164606</c:v>
                </c:pt>
                <c:pt idx="980">
                  <c:v>144.26477436718301</c:v>
                </c:pt>
                <c:pt idx="981">
                  <c:v>145.60360362300699</c:v>
                </c:pt>
                <c:pt idx="982">
                  <c:v>145.64736356974399</c:v>
                </c:pt>
                <c:pt idx="983">
                  <c:v>146.27834878120001</c:v>
                </c:pt>
                <c:pt idx="984">
                  <c:v>146.30083641152299</c:v>
                </c:pt>
                <c:pt idx="985">
                  <c:v>146.552089359788</c:v>
                </c:pt>
                <c:pt idx="986">
                  <c:v>147.25116239482401</c:v>
                </c:pt>
                <c:pt idx="987">
                  <c:v>146.004564123427</c:v>
                </c:pt>
                <c:pt idx="988">
                  <c:v>144.82809641255599</c:v>
                </c:pt>
                <c:pt idx="989">
                  <c:v>145.572362687988</c:v>
                </c:pt>
                <c:pt idx="990">
                  <c:v>144.73054498986599</c:v>
                </c:pt>
                <c:pt idx="991">
                  <c:v>142.85686861907399</c:v>
                </c:pt>
                <c:pt idx="992">
                  <c:v>143.03414255531899</c:v>
                </c:pt>
                <c:pt idx="993">
                  <c:v>141.75556700706301</c:v>
                </c:pt>
                <c:pt idx="994">
                  <c:v>143.60364217503101</c:v>
                </c:pt>
                <c:pt idx="995">
                  <c:v>144.091127547219</c:v>
                </c:pt>
                <c:pt idx="996">
                  <c:v>144.091127547219</c:v>
                </c:pt>
                <c:pt idx="997">
                  <c:v>144.091127547219</c:v>
                </c:pt>
                <c:pt idx="998">
                  <c:v>146.23632773539799</c:v>
                </c:pt>
                <c:pt idx="999">
                  <c:v>145.735631886043</c:v>
                </c:pt>
                <c:pt idx="1000">
                  <c:v>146.231456523839</c:v>
                </c:pt>
                <c:pt idx="1001">
                  <c:v>144.89321642360099</c:v>
                </c:pt>
                <c:pt idx="1002">
                  <c:v>145.204868664098</c:v>
                </c:pt>
                <c:pt idx="1003">
                  <c:v>146.77447861489799</c:v>
                </c:pt>
                <c:pt idx="1004">
                  <c:v>146.73284922965601</c:v>
                </c:pt>
                <c:pt idx="1005">
                  <c:v>146.73284922965601</c:v>
                </c:pt>
                <c:pt idx="1006">
                  <c:v>146.54915543836401</c:v>
                </c:pt>
                <c:pt idx="1007">
                  <c:v>146.46650533754499</c:v>
                </c:pt>
                <c:pt idx="1008">
                  <c:v>146.05222608931899</c:v>
                </c:pt>
                <c:pt idx="1009">
                  <c:v>146.232702500329</c:v>
                </c:pt>
                <c:pt idx="1010">
                  <c:v>147.52751236562199</c:v>
                </c:pt>
                <c:pt idx="1011">
                  <c:v>147.38535699706401</c:v>
                </c:pt>
                <c:pt idx="1012">
                  <c:v>148.713449415535</c:v>
                </c:pt>
                <c:pt idx="1013">
                  <c:v>148.72603947505999</c:v>
                </c:pt>
                <c:pt idx="1014">
                  <c:v>148.63569403572799</c:v>
                </c:pt>
                <c:pt idx="1015">
                  <c:v>147.038055968869</c:v>
                </c:pt>
                <c:pt idx="1016">
                  <c:v>147.00800628392699</c:v>
                </c:pt>
                <c:pt idx="1017">
                  <c:v>147.63527221541699</c:v>
                </c:pt>
                <c:pt idx="1018">
                  <c:v>147.413944544495</c:v>
                </c:pt>
                <c:pt idx="1019">
                  <c:v>148.049159270237</c:v>
                </c:pt>
                <c:pt idx="1020">
                  <c:v>148.311046973972</c:v>
                </c:pt>
                <c:pt idx="1021">
                  <c:v>148.91481041183701</c:v>
                </c:pt>
                <c:pt idx="1022">
                  <c:v>150.519913985958</c:v>
                </c:pt>
                <c:pt idx="1023">
                  <c:v>150.60006217022999</c:v>
                </c:pt>
                <c:pt idx="1024">
                  <c:v>150.70575097533199</c:v>
                </c:pt>
                <c:pt idx="1025">
                  <c:v>150.70575097533199</c:v>
                </c:pt>
                <c:pt idx="1026">
                  <c:v>151.09956805648599</c:v>
                </c:pt>
                <c:pt idx="1027">
                  <c:v>151.662334588867</c:v>
                </c:pt>
                <c:pt idx="1028">
                  <c:v>150.89291539981701</c:v>
                </c:pt>
                <c:pt idx="1029">
                  <c:v>150.992617370445</c:v>
                </c:pt>
                <c:pt idx="1030">
                  <c:v>151.853331597356</c:v>
                </c:pt>
                <c:pt idx="1031">
                  <c:v>152.87307705835201</c:v>
                </c:pt>
                <c:pt idx="1032">
                  <c:v>152.87307705835201</c:v>
                </c:pt>
                <c:pt idx="1033">
                  <c:v>153.90986008959399</c:v>
                </c:pt>
                <c:pt idx="1034">
                  <c:v>152.89056210052499</c:v>
                </c:pt>
                <c:pt idx="1035">
                  <c:v>153.31277087549799</c:v>
                </c:pt>
                <c:pt idx="1036">
                  <c:v>152.79301489176299</c:v>
                </c:pt>
                <c:pt idx="1037">
                  <c:v>152.10382396703</c:v>
                </c:pt>
                <c:pt idx="1038">
                  <c:v>152.879853317792</c:v>
                </c:pt>
                <c:pt idx="1039">
                  <c:v>152.98405012185401</c:v>
                </c:pt>
                <c:pt idx="1040">
                  <c:v>153.624666667349</c:v>
                </c:pt>
                <c:pt idx="1041">
                  <c:v>153.38466973760299</c:v>
                </c:pt>
                <c:pt idx="1042">
                  <c:v>153.38466973760299</c:v>
                </c:pt>
                <c:pt idx="1043">
                  <c:v>152.659773813783</c:v>
                </c:pt>
                <c:pt idx="1044">
                  <c:v>150.92194599336301</c:v>
                </c:pt>
                <c:pt idx="1045">
                  <c:v>151.05716886990999</c:v>
                </c:pt>
                <c:pt idx="1046">
                  <c:v>150.962448284489</c:v>
                </c:pt>
                <c:pt idx="1047">
                  <c:v>150.79980255709401</c:v>
                </c:pt>
                <c:pt idx="1048">
                  <c:v>151.77126767862001</c:v>
                </c:pt>
                <c:pt idx="1049">
                  <c:v>152.05013814859601</c:v>
                </c:pt>
                <c:pt idx="1050">
                  <c:v>153.370487837729</c:v>
                </c:pt>
                <c:pt idx="1051">
                  <c:v>152.757718508924</c:v>
                </c:pt>
                <c:pt idx="1052">
                  <c:v>151.221269790859</c:v>
                </c:pt>
                <c:pt idx="1053">
                  <c:v>149.20775039062499</c:v>
                </c:pt>
                <c:pt idx="1054">
                  <c:v>149.341448856657</c:v>
                </c:pt>
                <c:pt idx="1055">
                  <c:v>147.18432737347999</c:v>
                </c:pt>
                <c:pt idx="1056">
                  <c:v>147.33024684554599</c:v>
                </c:pt>
                <c:pt idx="1057">
                  <c:v>148.538864622657</c:v>
                </c:pt>
                <c:pt idx="1058">
                  <c:v>147.49634021877799</c:v>
                </c:pt>
                <c:pt idx="1059">
                  <c:v>149.597863641554</c:v>
                </c:pt>
                <c:pt idx="1060">
                  <c:v>148.20866234943199</c:v>
                </c:pt>
                <c:pt idx="1061">
                  <c:v>148.220726349176</c:v>
                </c:pt>
                <c:pt idx="1062">
                  <c:v>147.54073754830401</c:v>
                </c:pt>
                <c:pt idx="1063">
                  <c:v>149.129512905063</c:v>
                </c:pt>
                <c:pt idx="1064">
                  <c:v>149.30346671421299</c:v>
                </c:pt>
                <c:pt idx="1065">
                  <c:v>150.11069144714699</c:v>
                </c:pt>
                <c:pt idx="1066">
                  <c:v>148.62645931325201</c:v>
                </c:pt>
                <c:pt idx="1067">
                  <c:v>148.44117785416901</c:v>
                </c:pt>
                <c:pt idx="1068">
                  <c:v>149.01956934154501</c:v>
                </c:pt>
                <c:pt idx="1069">
                  <c:v>148.53441988229301</c:v>
                </c:pt>
                <c:pt idx="1070">
                  <c:v>146.37799331738699</c:v>
                </c:pt>
                <c:pt idx="1071">
                  <c:v>144.28906737083199</c:v>
                </c:pt>
                <c:pt idx="1072">
                  <c:v>143.912653625047</c:v>
                </c:pt>
                <c:pt idx="1073">
                  <c:v>143.96586178872201</c:v>
                </c:pt>
                <c:pt idx="1074">
                  <c:v>142.78328116895599</c:v>
                </c:pt>
                <c:pt idx="1075">
                  <c:v>141.46996368977699</c:v>
                </c:pt>
                <c:pt idx="1076">
                  <c:v>140.80452521149201</c:v>
                </c:pt>
                <c:pt idx="1077">
                  <c:v>142.894325199006</c:v>
                </c:pt>
                <c:pt idx="1078">
                  <c:v>142.10911984086499</c:v>
                </c:pt>
                <c:pt idx="1079">
                  <c:v>142.96464501638599</c:v>
                </c:pt>
                <c:pt idx="1080">
                  <c:v>143.60358840218601</c:v>
                </c:pt>
                <c:pt idx="1081">
                  <c:v>143.60358840218601</c:v>
                </c:pt>
                <c:pt idx="1082">
                  <c:v>144.56760463752599</c:v>
                </c:pt>
                <c:pt idx="1083">
                  <c:v>145.41461424502199</c:v>
                </c:pt>
                <c:pt idx="1084">
                  <c:v>145.61911954358601</c:v>
                </c:pt>
                <c:pt idx="1085">
                  <c:v>146.763254825557</c:v>
                </c:pt>
                <c:pt idx="1086">
                  <c:v>146.21683036432501</c:v>
                </c:pt>
                <c:pt idx="1087">
                  <c:v>148.06134232233501</c:v>
                </c:pt>
                <c:pt idx="1088">
                  <c:v>149.12729604757899</c:v>
                </c:pt>
                <c:pt idx="1089">
                  <c:v>149.42567529894299</c:v>
                </c:pt>
                <c:pt idx="1090">
                  <c:v>148.36245900148401</c:v>
                </c:pt>
                <c:pt idx="1091">
                  <c:v>148.66188705244301</c:v>
                </c:pt>
                <c:pt idx="1092">
                  <c:v>148.64995156004099</c:v>
                </c:pt>
                <c:pt idx="1093">
                  <c:v>148.83584700489001</c:v>
                </c:pt>
                <c:pt idx="1094">
                  <c:v>149.94811943237499</c:v>
                </c:pt>
                <c:pt idx="1095">
                  <c:v>151.43984144394901</c:v>
                </c:pt>
                <c:pt idx="1096">
                  <c:v>151.36596412348899</c:v>
                </c:pt>
                <c:pt idx="1097">
                  <c:v>151.26430352371199</c:v>
                </c:pt>
                <c:pt idx="1098">
                  <c:v>150.66444206876201</c:v>
                </c:pt>
                <c:pt idx="1099">
                  <c:v>150.20045350630599</c:v>
                </c:pt>
                <c:pt idx="1100">
                  <c:v>150.00806615757099</c:v>
                </c:pt>
                <c:pt idx="1101">
                  <c:v>149.829144266062</c:v>
                </c:pt>
                <c:pt idx="1102">
                  <c:v>149.37549166688899</c:v>
                </c:pt>
                <c:pt idx="1103">
                  <c:v>148.552356743182</c:v>
                </c:pt>
                <c:pt idx="1104">
                  <c:v>149.241052423914</c:v>
                </c:pt>
                <c:pt idx="1105">
                  <c:v>150.16197580502501</c:v>
                </c:pt>
                <c:pt idx="1106">
                  <c:v>150.26683368408899</c:v>
                </c:pt>
                <c:pt idx="1107">
                  <c:v>149.70734207734299</c:v>
                </c:pt>
                <c:pt idx="1108">
                  <c:v>147.82673199698101</c:v>
                </c:pt>
                <c:pt idx="1109">
                  <c:v>148.68801873296701</c:v>
                </c:pt>
                <c:pt idx="1110">
                  <c:v>147.25128379345</c:v>
                </c:pt>
                <c:pt idx="1111">
                  <c:v>147.97152448814299</c:v>
                </c:pt>
                <c:pt idx="1112">
                  <c:v>147.40162060988899</c:v>
                </c:pt>
                <c:pt idx="1113">
                  <c:v>148.41331359764101</c:v>
                </c:pt>
                <c:pt idx="1114">
                  <c:v>147.03944712995599</c:v>
                </c:pt>
                <c:pt idx="1115">
                  <c:v>143.91015829718</c:v>
                </c:pt>
                <c:pt idx="1116">
                  <c:v>144.83744027909799</c:v>
                </c:pt>
                <c:pt idx="1117">
                  <c:v>145.212195866614</c:v>
                </c:pt>
                <c:pt idx="1118">
                  <c:v>143.097744132614</c:v>
                </c:pt>
                <c:pt idx="1119">
                  <c:v>141.84929937061901</c:v>
                </c:pt>
                <c:pt idx="1120">
                  <c:v>141.325905885163</c:v>
                </c:pt>
                <c:pt idx="1121">
                  <c:v>139.089753624331</c:v>
                </c:pt>
                <c:pt idx="1122">
                  <c:v>138.52930623600599</c:v>
                </c:pt>
                <c:pt idx="1123">
                  <c:v>138.79427400165699</c:v>
                </c:pt>
                <c:pt idx="1124">
                  <c:v>134.784550029304</c:v>
                </c:pt>
                <c:pt idx="1125">
                  <c:v>133.96288499678701</c:v>
                </c:pt>
                <c:pt idx="1126">
                  <c:v>137.65111776234201</c:v>
                </c:pt>
                <c:pt idx="1127">
                  <c:v>136.60610894913299</c:v>
                </c:pt>
                <c:pt idx="1128">
                  <c:v>139.35635662390499</c:v>
                </c:pt>
                <c:pt idx="1129">
                  <c:v>140.448450853678</c:v>
                </c:pt>
                <c:pt idx="1130">
                  <c:v>141.381986978599</c:v>
                </c:pt>
                <c:pt idx="1131">
                  <c:v>141.05707887420701</c:v>
                </c:pt>
                <c:pt idx="1132">
                  <c:v>140.16438964338499</c:v>
                </c:pt>
                <c:pt idx="1133">
                  <c:v>142.26148638632401</c:v>
                </c:pt>
                <c:pt idx="1134">
                  <c:v>142.14575133047899</c:v>
                </c:pt>
                <c:pt idx="1135">
                  <c:v>142.78778498704</c:v>
                </c:pt>
                <c:pt idx="1136">
                  <c:v>145.17855891987099</c:v>
                </c:pt>
                <c:pt idx="1137">
                  <c:v>144.36408874280701</c:v>
                </c:pt>
                <c:pt idx="1138">
                  <c:v>142.91894883794501</c:v>
                </c:pt>
                <c:pt idx="1139">
                  <c:v>145.151390362059</c:v>
                </c:pt>
                <c:pt idx="1140">
                  <c:v>145.88172493375001</c:v>
                </c:pt>
                <c:pt idx="1141">
                  <c:v>145.007877911713</c:v>
                </c:pt>
                <c:pt idx="1142">
                  <c:v>146.542925595589</c:v>
                </c:pt>
                <c:pt idx="1143">
                  <c:v>147.20060368714499</c:v>
                </c:pt>
                <c:pt idx="1144">
                  <c:v>145.531411172763</c:v>
                </c:pt>
                <c:pt idx="1145">
                  <c:v>145.84698895842499</c:v>
                </c:pt>
                <c:pt idx="1146">
                  <c:v>146.468035823679</c:v>
                </c:pt>
                <c:pt idx="1147">
                  <c:v>147.19357313300699</c:v>
                </c:pt>
                <c:pt idx="1148">
                  <c:v>148.663329521337</c:v>
                </c:pt>
                <c:pt idx="1149">
                  <c:v>148.74629719134001</c:v>
                </c:pt>
                <c:pt idx="1150">
                  <c:v>148.385839225144</c:v>
                </c:pt>
                <c:pt idx="1151">
                  <c:v>151.266471399495</c:v>
                </c:pt>
                <c:pt idx="1152">
                  <c:v>151.69396251146799</c:v>
                </c:pt>
                <c:pt idx="1153">
                  <c:v>152.05474890951601</c:v>
                </c:pt>
                <c:pt idx="1154">
                  <c:v>152.05708205107501</c:v>
                </c:pt>
                <c:pt idx="1155">
                  <c:v>152.702098745434</c:v>
                </c:pt>
                <c:pt idx="1156">
                  <c:v>152.645769016218</c:v>
                </c:pt>
                <c:pt idx="1157">
                  <c:v>152.35388702478801</c:v>
                </c:pt>
                <c:pt idx="1158">
                  <c:v>152.411508741663</c:v>
                </c:pt>
                <c:pt idx="1159">
                  <c:v>153.03507174787899</c:v>
                </c:pt>
                <c:pt idx="1160">
                  <c:v>151.70840626760301</c:v>
                </c:pt>
                <c:pt idx="1161">
                  <c:v>154.31853778330799</c:v>
                </c:pt>
                <c:pt idx="1162">
                  <c:v>153.46563270394</c:v>
                </c:pt>
                <c:pt idx="1163">
                  <c:v>150.13288182908701</c:v>
                </c:pt>
                <c:pt idx="1164">
                  <c:v>149.625295690592</c:v>
                </c:pt>
                <c:pt idx="1165">
                  <c:v>149.737595583548</c:v>
                </c:pt>
                <c:pt idx="1166">
                  <c:v>146.150870114832</c:v>
                </c:pt>
                <c:pt idx="1167">
                  <c:v>142.954406122112</c:v>
                </c:pt>
                <c:pt idx="1168">
                  <c:v>145.61001782722201</c:v>
                </c:pt>
                <c:pt idx="1169">
                  <c:v>145.508919651659</c:v>
                </c:pt>
                <c:pt idx="1170">
                  <c:v>149.56512908048001</c:v>
                </c:pt>
                <c:pt idx="1171">
                  <c:v>150.03229877011299</c:v>
                </c:pt>
                <c:pt idx="1172">
                  <c:v>150.959278580546</c:v>
                </c:pt>
                <c:pt idx="1173">
                  <c:v>152.27000682452001</c:v>
                </c:pt>
                <c:pt idx="1174">
                  <c:v>152.27000682452001</c:v>
                </c:pt>
                <c:pt idx="1175">
                  <c:v>152.27000682452001</c:v>
                </c:pt>
                <c:pt idx="1176">
                  <c:v>152.27000682452001</c:v>
                </c:pt>
                <c:pt idx="1177">
                  <c:v>151.98769267332199</c:v>
                </c:pt>
                <c:pt idx="1178">
                  <c:v>150.49471379537999</c:v>
                </c:pt>
                <c:pt idx="1179">
                  <c:v>150.83791823314101</c:v>
                </c:pt>
                <c:pt idx="1180">
                  <c:v>150.83791823314101</c:v>
                </c:pt>
                <c:pt idx="1181">
                  <c:v>150.54021860665799</c:v>
                </c:pt>
                <c:pt idx="1182">
                  <c:v>146.83732009366199</c:v>
                </c:pt>
                <c:pt idx="1183">
                  <c:v>146.02808664245401</c:v>
                </c:pt>
                <c:pt idx="1184">
                  <c:v>146.545482052187</c:v>
                </c:pt>
                <c:pt idx="1185">
                  <c:v>150.58988007495199</c:v>
                </c:pt>
                <c:pt idx="1186">
                  <c:v>148.87725031388101</c:v>
                </c:pt>
                <c:pt idx="1187">
                  <c:v>149.982472195535</c:v>
                </c:pt>
                <c:pt idx="1188">
                  <c:v>152.04729679466101</c:v>
                </c:pt>
                <c:pt idx="1189">
                  <c:v>150.45807372122701</c:v>
                </c:pt>
                <c:pt idx="1190">
                  <c:v>153.235325191551</c:v>
                </c:pt>
                <c:pt idx="1191">
                  <c:v>155.068894690831</c:v>
                </c:pt>
                <c:pt idx="1192">
                  <c:v>156.18950408896799</c:v>
                </c:pt>
                <c:pt idx="1193">
                  <c:v>156.92080904804999</c:v>
                </c:pt>
                <c:pt idx="1194">
                  <c:v>158.04170525183901</c:v>
                </c:pt>
                <c:pt idx="1195">
                  <c:v>160.02355113593899</c:v>
                </c:pt>
                <c:pt idx="1196">
                  <c:v>162.82638446465</c:v>
                </c:pt>
                <c:pt idx="1197">
                  <c:v>164.710281904884</c:v>
                </c:pt>
                <c:pt idx="1198">
                  <c:v>163.311744082883</c:v>
                </c:pt>
                <c:pt idx="1199">
                  <c:v>163.66300544335999</c:v>
                </c:pt>
                <c:pt idx="1200">
                  <c:v>164.01482758618701</c:v>
                </c:pt>
                <c:pt idx="1201">
                  <c:v>163.230246162382</c:v>
                </c:pt>
                <c:pt idx="1202">
                  <c:v>163.33191736303999</c:v>
                </c:pt>
                <c:pt idx="1203">
                  <c:v>164.735263888031</c:v>
                </c:pt>
                <c:pt idx="1204">
                  <c:v>164.89176071986901</c:v>
                </c:pt>
                <c:pt idx="1205">
                  <c:v>165.247835803877</c:v>
                </c:pt>
                <c:pt idx="1206">
                  <c:v>164.86260108421001</c:v>
                </c:pt>
                <c:pt idx="1207">
                  <c:v>162.99445112927199</c:v>
                </c:pt>
                <c:pt idx="1208">
                  <c:v>164.58007085494199</c:v>
                </c:pt>
                <c:pt idx="1209">
                  <c:v>164.32128149259799</c:v>
                </c:pt>
                <c:pt idx="1210">
                  <c:v>166.15166598552</c:v>
                </c:pt>
                <c:pt idx="1211">
                  <c:v>166.72897313379599</c:v>
                </c:pt>
                <c:pt idx="1212">
                  <c:v>166.42432192558701</c:v>
                </c:pt>
                <c:pt idx="1213">
                  <c:v>166.448366565821</c:v>
                </c:pt>
                <c:pt idx="1214">
                  <c:v>167.67529809179899</c:v>
                </c:pt>
                <c:pt idx="1215">
                  <c:v>168.49352042115399</c:v>
                </c:pt>
                <c:pt idx="1216">
                  <c:v>168.44258357441501</c:v>
                </c:pt>
                <c:pt idx="1217">
                  <c:v>169.938259650878</c:v>
                </c:pt>
                <c:pt idx="1218">
                  <c:v>170.98439387000499</c:v>
                </c:pt>
                <c:pt idx="1219">
                  <c:v>171.14973437908</c:v>
                </c:pt>
                <c:pt idx="1220">
                  <c:v>172.42098584666701</c:v>
                </c:pt>
                <c:pt idx="1221">
                  <c:v>173.00123022615699</c:v>
                </c:pt>
                <c:pt idx="1222">
                  <c:v>172.994517651401</c:v>
                </c:pt>
                <c:pt idx="1223">
                  <c:v>171.50104964977601</c:v>
                </c:pt>
                <c:pt idx="1224">
                  <c:v>172.26270437282801</c:v>
                </c:pt>
                <c:pt idx="1225">
                  <c:v>174.00210737277101</c:v>
                </c:pt>
                <c:pt idx="1226">
                  <c:v>174.23655956251801</c:v>
                </c:pt>
                <c:pt idx="1227">
                  <c:v>173.83396566384201</c:v>
                </c:pt>
                <c:pt idx="1228">
                  <c:v>172.34510000097299</c:v>
                </c:pt>
                <c:pt idx="1229">
                  <c:v>175.544543387098</c:v>
                </c:pt>
                <c:pt idx="1230">
                  <c:v>175.58443618753299</c:v>
                </c:pt>
                <c:pt idx="1231">
                  <c:v>176.12754767296099</c:v>
                </c:pt>
                <c:pt idx="1232">
                  <c:v>177.93023929119099</c:v>
                </c:pt>
                <c:pt idx="1233">
                  <c:v>176.52777241632299</c:v>
                </c:pt>
                <c:pt idx="1234">
                  <c:v>176.51693275397099</c:v>
                </c:pt>
                <c:pt idx="1235">
                  <c:v>176.978303795166</c:v>
                </c:pt>
                <c:pt idx="1236">
                  <c:v>178.68912375992801</c:v>
                </c:pt>
                <c:pt idx="1237">
                  <c:v>178.085459248821</c:v>
                </c:pt>
                <c:pt idx="1238">
                  <c:v>178.93947192665499</c:v>
                </c:pt>
                <c:pt idx="1239">
                  <c:v>177.108230190456</c:v>
                </c:pt>
                <c:pt idx="1240">
                  <c:v>175.94259158679</c:v>
                </c:pt>
                <c:pt idx="1241">
                  <c:v>176.37623567514399</c:v>
                </c:pt>
                <c:pt idx="1242">
                  <c:v>178.56870896973601</c:v>
                </c:pt>
                <c:pt idx="1243">
                  <c:v>177.12010105112199</c:v>
                </c:pt>
                <c:pt idx="1244">
                  <c:v>177.815222697975</c:v>
                </c:pt>
                <c:pt idx="1245">
                  <c:v>178.26329925658601</c:v>
                </c:pt>
                <c:pt idx="1246">
                  <c:v>178.26329925658601</c:v>
                </c:pt>
                <c:pt idx="1247">
                  <c:v>178.26329925658601</c:v>
                </c:pt>
                <c:pt idx="1248">
                  <c:v>181.07953754291</c:v>
                </c:pt>
                <c:pt idx="1249">
                  <c:v>180.589491355462</c:v>
                </c:pt>
                <c:pt idx="1250">
                  <c:v>182.77230707592599</c:v>
                </c:pt>
                <c:pt idx="1251">
                  <c:v>184.66887974090699</c:v>
                </c:pt>
                <c:pt idx="1252">
                  <c:v>185.31062165039199</c:v>
                </c:pt>
                <c:pt idx="1253">
                  <c:v>184.71050717288</c:v>
                </c:pt>
                <c:pt idx="1254">
                  <c:v>185.02986983175001</c:v>
                </c:pt>
                <c:pt idx="1255">
                  <c:v>183.35510774756</c:v>
                </c:pt>
                <c:pt idx="1256">
                  <c:v>180.074322375864</c:v>
                </c:pt>
                <c:pt idx="1257">
                  <c:v>181.65678599775799</c:v>
                </c:pt>
                <c:pt idx="1258">
                  <c:v>182.947532689583</c:v>
                </c:pt>
                <c:pt idx="1259">
                  <c:v>182.30066640676799</c:v>
                </c:pt>
                <c:pt idx="1260">
                  <c:v>181.433692198389</c:v>
                </c:pt>
                <c:pt idx="1261">
                  <c:v>182.58314410106999</c:v>
                </c:pt>
                <c:pt idx="1262">
                  <c:v>184.771458692061</c:v>
                </c:pt>
                <c:pt idx="1263">
                  <c:v>181.92042608686</c:v>
                </c:pt>
                <c:pt idx="1264">
                  <c:v>177.256275170734</c:v>
                </c:pt>
                <c:pt idx="1265">
                  <c:v>177.353167679504</c:v>
                </c:pt>
                <c:pt idx="1266">
                  <c:v>177.353167679504</c:v>
                </c:pt>
                <c:pt idx="1267">
                  <c:v>179.223939639961</c:v>
                </c:pt>
                <c:pt idx="1268">
                  <c:v>175.45989806264299</c:v>
                </c:pt>
                <c:pt idx="1269">
                  <c:v>174.96511728350001</c:v>
                </c:pt>
                <c:pt idx="1270">
                  <c:v>175.19006799403999</c:v>
                </c:pt>
                <c:pt idx="1271">
                  <c:v>178.99940736378201</c:v>
                </c:pt>
                <c:pt idx="1272">
                  <c:v>178.998900127989</c:v>
                </c:pt>
                <c:pt idx="1273">
                  <c:v>177.48155254620301</c:v>
                </c:pt>
                <c:pt idx="1274">
                  <c:v>177.13195415242001</c:v>
                </c:pt>
                <c:pt idx="1275">
                  <c:v>177.13195415242001</c:v>
                </c:pt>
                <c:pt idx="1276">
                  <c:v>178.33026782212599</c:v>
                </c:pt>
                <c:pt idx="1277">
                  <c:v>179.22442481041699</c:v>
                </c:pt>
                <c:pt idx="1278">
                  <c:v>182.040035975699</c:v>
                </c:pt>
                <c:pt idx="1279">
                  <c:v>182.319851008943</c:v>
                </c:pt>
                <c:pt idx="1280">
                  <c:v>182.697987417657</c:v>
                </c:pt>
                <c:pt idx="1281">
                  <c:v>182.40413252125299</c:v>
                </c:pt>
                <c:pt idx="1282">
                  <c:v>182.40413252125299</c:v>
                </c:pt>
                <c:pt idx="1283">
                  <c:v>179.80872319129401</c:v>
                </c:pt>
                <c:pt idx="1284">
                  <c:v>182.29785023809001</c:v>
                </c:pt>
                <c:pt idx="1285">
                  <c:v>181.77935648846099</c:v>
                </c:pt>
                <c:pt idx="1286">
                  <c:v>179.14541274893199</c:v>
                </c:pt>
                <c:pt idx="1287">
                  <c:v>179.579034872058</c:v>
                </c:pt>
                <c:pt idx="1288">
                  <c:v>178.92542958432699</c:v>
                </c:pt>
                <c:pt idx="1289">
                  <c:v>179.56019551724901</c:v>
                </c:pt>
                <c:pt idx="1290">
                  <c:v>178.01472601336499</c:v>
                </c:pt>
                <c:pt idx="1291">
                  <c:v>175.76400871789201</c:v>
                </c:pt>
                <c:pt idx="1292">
                  <c:v>174.04758623500899</c:v>
                </c:pt>
                <c:pt idx="1293">
                  <c:v>173.27688237130499</c:v>
                </c:pt>
                <c:pt idx="1294">
                  <c:v>176.19278486528901</c:v>
                </c:pt>
                <c:pt idx="1295">
                  <c:v>177.103695719548</c:v>
                </c:pt>
                <c:pt idx="1296">
                  <c:v>175.156961338549</c:v>
                </c:pt>
                <c:pt idx="1297">
                  <c:v>172.291702993814</c:v>
                </c:pt>
                <c:pt idx="1298">
                  <c:v>173.17249381238599</c:v>
                </c:pt>
                <c:pt idx="1299">
                  <c:v>171.99623460566801</c:v>
                </c:pt>
                <c:pt idx="1300">
                  <c:v>173.20819257782699</c:v>
                </c:pt>
                <c:pt idx="1301">
                  <c:v>173.336082469258</c:v>
                </c:pt>
                <c:pt idx="1302">
                  <c:v>178.450337665722</c:v>
                </c:pt>
                <c:pt idx="1303">
                  <c:v>178.450337665722</c:v>
                </c:pt>
                <c:pt idx="1304">
                  <c:v>179.42416190660299</c:v>
                </c:pt>
                <c:pt idx="1305">
                  <c:v>179.410029626659</c:v>
                </c:pt>
                <c:pt idx="1306">
                  <c:v>180.01318532810299</c:v>
                </c:pt>
                <c:pt idx="1307">
                  <c:v>174.41785712177801</c:v>
                </c:pt>
                <c:pt idx="1308">
                  <c:v>172.37075931780001</c:v>
                </c:pt>
                <c:pt idx="1309">
                  <c:v>175.05405441006499</c:v>
                </c:pt>
                <c:pt idx="1310">
                  <c:v>173.95339453218801</c:v>
                </c:pt>
                <c:pt idx="1311">
                  <c:v>173.05923890416199</c:v>
                </c:pt>
                <c:pt idx="1312">
                  <c:v>170.22249384661899</c:v>
                </c:pt>
                <c:pt idx="1313">
                  <c:v>167.11710727998999</c:v>
                </c:pt>
                <c:pt idx="1314">
                  <c:v>168.559490739279</c:v>
                </c:pt>
                <c:pt idx="1315">
                  <c:v>172.51617426529</c:v>
                </c:pt>
                <c:pt idx="1316">
                  <c:v>176.81615453950599</c:v>
                </c:pt>
                <c:pt idx="1317">
                  <c:v>179.42221064672</c:v>
                </c:pt>
                <c:pt idx="1318">
                  <c:v>180.091473299428</c:v>
                </c:pt>
                <c:pt idx="1319">
                  <c:v>181.16219006904601</c:v>
                </c:pt>
                <c:pt idx="1320">
                  <c:v>183.39924518925301</c:v>
                </c:pt>
                <c:pt idx="1321">
                  <c:v>183.41183137196001</c:v>
                </c:pt>
                <c:pt idx="1322">
                  <c:v>184.638344079018</c:v>
                </c:pt>
                <c:pt idx="1323">
                  <c:v>182.90639655029199</c:v>
                </c:pt>
                <c:pt idx="1324">
                  <c:v>182.08437647554999</c:v>
                </c:pt>
                <c:pt idx="1325">
                  <c:v>181.94703571772499</c:v>
                </c:pt>
                <c:pt idx="1326">
                  <c:v>180.69742936388201</c:v>
                </c:pt>
                <c:pt idx="1327">
                  <c:v>176.93853833771701</c:v>
                </c:pt>
                <c:pt idx="1328">
                  <c:v>178.45277177897</c:v>
                </c:pt>
                <c:pt idx="1329">
                  <c:v>179.433818681161</c:v>
                </c:pt>
                <c:pt idx="1330">
                  <c:v>179.814905952678</c:v>
                </c:pt>
                <c:pt idx="1331">
                  <c:v>180.49369008610401</c:v>
                </c:pt>
                <c:pt idx="1332">
                  <c:v>182.228463713173</c:v>
                </c:pt>
                <c:pt idx="1333">
                  <c:v>182.28354588236201</c:v>
                </c:pt>
                <c:pt idx="1334">
                  <c:v>183.981975939318</c:v>
                </c:pt>
                <c:pt idx="1335">
                  <c:v>183.18167025384901</c:v>
                </c:pt>
                <c:pt idx="1336">
                  <c:v>181.768387784548</c:v>
                </c:pt>
                <c:pt idx="1337">
                  <c:v>183.184452970796</c:v>
                </c:pt>
                <c:pt idx="1338">
                  <c:v>180.36013444539799</c:v>
                </c:pt>
                <c:pt idx="1339">
                  <c:v>175.605766325753</c:v>
                </c:pt>
                <c:pt idx="1340">
                  <c:v>177.50576583461299</c:v>
                </c:pt>
                <c:pt idx="1341">
                  <c:v>177.12055236807799</c:v>
                </c:pt>
                <c:pt idx="1342">
                  <c:v>177.21358114098601</c:v>
                </c:pt>
                <c:pt idx="1343">
                  <c:v>177.28905874655999</c:v>
                </c:pt>
                <c:pt idx="1344">
                  <c:v>174.25964673127299</c:v>
                </c:pt>
                <c:pt idx="1345">
                  <c:v>170.67333291499901</c:v>
                </c:pt>
                <c:pt idx="1346">
                  <c:v>165.635710529714</c:v>
                </c:pt>
                <c:pt idx="1347">
                  <c:v>157.61822506750499</c:v>
                </c:pt>
                <c:pt idx="1348">
                  <c:v>163.90544143806</c:v>
                </c:pt>
                <c:pt idx="1349">
                  <c:v>162.11988336548501</c:v>
                </c:pt>
                <c:pt idx="1350">
                  <c:v>166.84262668393799</c:v>
                </c:pt>
                <c:pt idx="1351">
                  <c:v>167.18151459144499</c:v>
                </c:pt>
                <c:pt idx="1352">
                  <c:v>166.537827312231</c:v>
                </c:pt>
                <c:pt idx="1353">
                  <c:v>162.95259537955499</c:v>
                </c:pt>
                <c:pt idx="1354">
                  <c:v>163.13199968399499</c:v>
                </c:pt>
                <c:pt idx="1355">
                  <c:v>166.652643728388</c:v>
                </c:pt>
                <c:pt idx="1356">
                  <c:v>162.85083585695301</c:v>
                </c:pt>
                <c:pt idx="1357">
                  <c:v>163.54764238883601</c:v>
                </c:pt>
                <c:pt idx="1358">
                  <c:v>165.48850100815301</c:v>
                </c:pt>
                <c:pt idx="1359">
                  <c:v>167.25803224678</c:v>
                </c:pt>
                <c:pt idx="1360">
                  <c:v>165.32107081647101</c:v>
                </c:pt>
                <c:pt idx="1361">
                  <c:v>163.44770276136501</c:v>
                </c:pt>
                <c:pt idx="1362">
                  <c:v>162.72461019719901</c:v>
                </c:pt>
                <c:pt idx="1363">
                  <c:v>163.83507683247399</c:v>
                </c:pt>
                <c:pt idx="1364">
                  <c:v>165.850171089133</c:v>
                </c:pt>
                <c:pt idx="1365">
                  <c:v>166.25556113968199</c:v>
                </c:pt>
                <c:pt idx="1366">
                  <c:v>163.410577221784</c:v>
                </c:pt>
                <c:pt idx="1367">
                  <c:v>164.80263603129001</c:v>
                </c:pt>
                <c:pt idx="1368">
                  <c:v>159.776619275896</c:v>
                </c:pt>
                <c:pt idx="1369">
                  <c:v>160.00709525394001</c:v>
                </c:pt>
                <c:pt idx="1370">
                  <c:v>156.777143015983</c:v>
                </c:pt>
                <c:pt idx="1371">
                  <c:v>161.11429784367999</c:v>
                </c:pt>
                <c:pt idx="1372">
                  <c:v>157.906085516312</c:v>
                </c:pt>
                <c:pt idx="1373">
                  <c:v>157.001501865629</c:v>
                </c:pt>
                <c:pt idx="1374">
                  <c:v>160.568925992423</c:v>
                </c:pt>
                <c:pt idx="1375">
                  <c:v>159.26276332544199</c:v>
                </c:pt>
                <c:pt idx="1376">
                  <c:v>160.42119116731899</c:v>
                </c:pt>
                <c:pt idx="1377">
                  <c:v>165.414193203146</c:v>
                </c:pt>
                <c:pt idx="1378">
                  <c:v>166.79906466817201</c:v>
                </c:pt>
                <c:pt idx="1379">
                  <c:v>166.64108836314099</c:v>
                </c:pt>
                <c:pt idx="1380">
                  <c:v>167.212513018946</c:v>
                </c:pt>
                <c:pt idx="1381">
                  <c:v>168.04286577588601</c:v>
                </c:pt>
                <c:pt idx="1382">
                  <c:v>167.401757865608</c:v>
                </c:pt>
                <c:pt idx="1383">
                  <c:v>166.25702932256999</c:v>
                </c:pt>
                <c:pt idx="1384">
                  <c:v>164.91032686995101</c:v>
                </c:pt>
                <c:pt idx="1385">
                  <c:v>167.22326376844299</c:v>
                </c:pt>
                <c:pt idx="1386">
                  <c:v>168.02479927253299</c:v>
                </c:pt>
                <c:pt idx="1387">
                  <c:v>168.58988518829</c:v>
                </c:pt>
                <c:pt idx="1388">
                  <c:v>168.02274265762799</c:v>
                </c:pt>
                <c:pt idx="1389">
                  <c:v>168.62180410410701</c:v>
                </c:pt>
                <c:pt idx="1390">
                  <c:v>171.935677042446</c:v>
                </c:pt>
                <c:pt idx="1391">
                  <c:v>175.16274441039101</c:v>
                </c:pt>
                <c:pt idx="1392">
                  <c:v>174.968153615484</c:v>
                </c:pt>
                <c:pt idx="1393">
                  <c:v>172.53281363826099</c:v>
                </c:pt>
                <c:pt idx="1394">
                  <c:v>174.588647545817</c:v>
                </c:pt>
                <c:pt idx="1395">
                  <c:v>174.88562035097999</c:v>
                </c:pt>
                <c:pt idx="1396">
                  <c:v>175.151182582449</c:v>
                </c:pt>
                <c:pt idx="1397">
                  <c:v>176.21669517486799</c:v>
                </c:pt>
                <c:pt idx="1398">
                  <c:v>176.77478619689001</c:v>
                </c:pt>
                <c:pt idx="1399">
                  <c:v>176.791390432485</c:v>
                </c:pt>
                <c:pt idx="1400">
                  <c:v>176.78711718282901</c:v>
                </c:pt>
                <c:pt idx="1401">
                  <c:v>177.639035210126</c:v>
                </c:pt>
                <c:pt idx="1402">
                  <c:v>175.22211773644301</c:v>
                </c:pt>
                <c:pt idx="1403">
                  <c:v>175.49438613544001</c:v>
                </c:pt>
                <c:pt idx="1404">
                  <c:v>176.71086540600299</c:v>
                </c:pt>
                <c:pt idx="1405">
                  <c:v>174.15879745035701</c:v>
                </c:pt>
                <c:pt idx="1406">
                  <c:v>173.160171339014</c:v>
                </c:pt>
                <c:pt idx="1407">
                  <c:v>173.696910035304</c:v>
                </c:pt>
                <c:pt idx="1408">
                  <c:v>177.846985792813</c:v>
                </c:pt>
                <c:pt idx="1409">
                  <c:v>177.422366640935</c:v>
                </c:pt>
                <c:pt idx="1410">
                  <c:v>178.453701416255</c:v>
                </c:pt>
                <c:pt idx="1411">
                  <c:v>178.39197053351401</c:v>
                </c:pt>
                <c:pt idx="1412">
                  <c:v>178.158866991541</c:v>
                </c:pt>
                <c:pt idx="1413">
                  <c:v>175.72258740283701</c:v>
                </c:pt>
                <c:pt idx="1414">
                  <c:v>178.258253350633</c:v>
                </c:pt>
                <c:pt idx="1415">
                  <c:v>180.38049425823999</c:v>
                </c:pt>
                <c:pt idx="1416">
                  <c:v>180.28736126984899</c:v>
                </c:pt>
                <c:pt idx="1417">
                  <c:v>181.025566103887</c:v>
                </c:pt>
                <c:pt idx="1418">
                  <c:v>180.050513319581</c:v>
                </c:pt>
                <c:pt idx="1419">
                  <c:v>179.76949802468101</c:v>
                </c:pt>
                <c:pt idx="1420">
                  <c:v>175.07509788898699</c:v>
                </c:pt>
                <c:pt idx="1421">
                  <c:v>174.31194633604699</c:v>
                </c:pt>
                <c:pt idx="1422">
                  <c:v>175.477105283334</c:v>
                </c:pt>
                <c:pt idx="1423">
                  <c:v>172.65513753093899</c:v>
                </c:pt>
                <c:pt idx="1424">
                  <c:v>171.598814769114</c:v>
                </c:pt>
                <c:pt idx="1425">
                  <c:v>171.37543329323401</c:v>
                </c:pt>
                <c:pt idx="1426">
                  <c:v>168.19918536369201</c:v>
                </c:pt>
                <c:pt idx="1427">
                  <c:v>165.301534523507</c:v>
                </c:pt>
                <c:pt idx="1428">
                  <c:v>169.98080390687099</c:v>
                </c:pt>
                <c:pt idx="1429">
                  <c:v>170.58484342560399</c:v>
                </c:pt>
                <c:pt idx="1430">
                  <c:v>172.850353281504</c:v>
                </c:pt>
                <c:pt idx="1431">
                  <c:v>170.96007</c:v>
                </c:pt>
                <c:pt idx="1432">
                  <c:v>168.806976962015</c:v>
                </c:pt>
                <c:pt idx="1433">
                  <c:v>168.939038835009</c:v>
                </c:pt>
                <c:pt idx="1434">
                  <c:v>172.87660644500801</c:v>
                </c:pt>
                <c:pt idx="1435">
                  <c:v>172.87660644500801</c:v>
                </c:pt>
                <c:pt idx="1436">
                  <c:v>172.87660644500801</c:v>
                </c:pt>
                <c:pt idx="1437">
                  <c:v>171.98683132423801</c:v>
                </c:pt>
                <c:pt idx="1438">
                  <c:v>174.679888520698</c:v>
                </c:pt>
                <c:pt idx="1439">
                  <c:v>173.75052123439099</c:v>
                </c:pt>
                <c:pt idx="1440">
                  <c:v>172.93654302859801</c:v>
                </c:pt>
                <c:pt idx="1441">
                  <c:v>172.93654302859801</c:v>
                </c:pt>
                <c:pt idx="1442">
                  <c:v>168.35823184224901</c:v>
                </c:pt>
                <c:pt idx="1443">
                  <c:v>169.18968312872599</c:v>
                </c:pt>
                <c:pt idx="1444">
                  <c:v>167.24180801747201</c:v>
                </c:pt>
                <c:pt idx="1445">
                  <c:v>164.65690764271301</c:v>
                </c:pt>
                <c:pt idx="1446">
                  <c:v>162.58669716774099</c:v>
                </c:pt>
                <c:pt idx="1447">
                  <c:v>161.79835506365001</c:v>
                </c:pt>
                <c:pt idx="1448">
                  <c:v>163.78577318571001</c:v>
                </c:pt>
                <c:pt idx="1449">
                  <c:v>164.19534357537299</c:v>
                </c:pt>
                <c:pt idx="1450">
                  <c:v>161.29741679312801</c:v>
                </c:pt>
                <c:pt idx="1451">
                  <c:v>157.20353735829099</c:v>
                </c:pt>
                <c:pt idx="1452">
                  <c:v>155.902880418808</c:v>
                </c:pt>
                <c:pt idx="1453">
                  <c:v>158.62491691176101</c:v>
                </c:pt>
                <c:pt idx="1454">
                  <c:v>153.737943085534</c:v>
                </c:pt>
                <c:pt idx="1455">
                  <c:v>157.06116913383801</c:v>
                </c:pt>
                <c:pt idx="1456">
                  <c:v>161.32228896082299</c:v>
                </c:pt>
                <c:pt idx="1457">
                  <c:v>160.82360187634299</c:v>
                </c:pt>
                <c:pt idx="1458">
                  <c:v>162.03550830730501</c:v>
                </c:pt>
                <c:pt idx="1459">
                  <c:v>162.93362079361401</c:v>
                </c:pt>
                <c:pt idx="1460">
                  <c:v>160.48248406467101</c:v>
                </c:pt>
                <c:pt idx="1461">
                  <c:v>164.12647389851401</c:v>
                </c:pt>
                <c:pt idx="1462">
                  <c:v>163.90910083595199</c:v>
                </c:pt>
                <c:pt idx="1463">
                  <c:v>160.78101934554499</c:v>
                </c:pt>
                <c:pt idx="1464">
                  <c:v>158.22858314740401</c:v>
                </c:pt>
                <c:pt idx="1465">
                  <c:v>158.07166102124</c:v>
                </c:pt>
                <c:pt idx="1466">
                  <c:v>156.339609310806</c:v>
                </c:pt>
                <c:pt idx="1467">
                  <c:v>150.45047652954401</c:v>
                </c:pt>
                <c:pt idx="1468">
                  <c:v>148.398230572008</c:v>
                </c:pt>
                <c:pt idx="1469">
                  <c:v>150.34005054656299</c:v>
                </c:pt>
                <c:pt idx="1470">
                  <c:v>145.154920600879</c:v>
                </c:pt>
                <c:pt idx="1471">
                  <c:v>148.29015246084501</c:v>
                </c:pt>
                <c:pt idx="1472">
                  <c:v>152.70991998685801</c:v>
                </c:pt>
                <c:pt idx="1473">
                  <c:v>152.22450977136899</c:v>
                </c:pt>
                <c:pt idx="1474">
                  <c:v>156.00760003126601</c:v>
                </c:pt>
                <c:pt idx="1475">
                  <c:v>156.62073752751999</c:v>
                </c:pt>
                <c:pt idx="1476">
                  <c:v>155.38311839527501</c:v>
                </c:pt>
                <c:pt idx="1477">
                  <c:v>158.469024216554</c:v>
                </c:pt>
                <c:pt idx="1478">
                  <c:v>156.47614601788999</c:v>
                </c:pt>
                <c:pt idx="1479">
                  <c:v>153.101481739566</c:v>
                </c:pt>
                <c:pt idx="1480">
                  <c:v>155.905290457262</c:v>
                </c:pt>
                <c:pt idx="1481">
                  <c:v>157.89417728830301</c:v>
                </c:pt>
                <c:pt idx="1482">
                  <c:v>158.79684514884201</c:v>
                </c:pt>
                <c:pt idx="1483">
                  <c:v>161.77793881670101</c:v>
                </c:pt>
                <c:pt idx="1484">
                  <c:v>161.71544796151599</c:v>
                </c:pt>
                <c:pt idx="1485">
                  <c:v>161.51108000273501</c:v>
                </c:pt>
                <c:pt idx="1486">
                  <c:v>162.59224907941299</c:v>
                </c:pt>
                <c:pt idx="1487">
                  <c:v>161.900518986528</c:v>
                </c:pt>
                <c:pt idx="1488">
                  <c:v>160.52079047817199</c:v>
                </c:pt>
                <c:pt idx="1489">
                  <c:v>161.36251978673999</c:v>
                </c:pt>
                <c:pt idx="1490">
                  <c:v>159.32093620323701</c:v>
                </c:pt>
                <c:pt idx="1491">
                  <c:v>163.81002681988801</c:v>
                </c:pt>
                <c:pt idx="1492">
                  <c:v>165.23415769351999</c:v>
                </c:pt>
                <c:pt idx="1493">
                  <c:v>164.079634018869</c:v>
                </c:pt>
                <c:pt idx="1494">
                  <c:v>164.28839829765599</c:v>
                </c:pt>
                <c:pt idx="1495">
                  <c:v>164.148888721372</c:v>
                </c:pt>
                <c:pt idx="1496">
                  <c:v>164.78134956289401</c:v>
                </c:pt>
                <c:pt idx="1497">
                  <c:v>164.75033747405399</c:v>
                </c:pt>
                <c:pt idx="1498">
                  <c:v>164.99603500866601</c:v>
                </c:pt>
                <c:pt idx="1499">
                  <c:v>165.04570233582001</c:v>
                </c:pt>
                <c:pt idx="1500">
                  <c:v>162.45048326738899</c:v>
                </c:pt>
                <c:pt idx="1501">
                  <c:v>162.45048326738899</c:v>
                </c:pt>
                <c:pt idx="1502">
                  <c:v>162.45048326738899</c:v>
                </c:pt>
                <c:pt idx="1503">
                  <c:v>163.35530583196501</c:v>
                </c:pt>
                <c:pt idx="1504">
                  <c:v>165.83167822828</c:v>
                </c:pt>
                <c:pt idx="1505">
                  <c:v>163.94697071062399</c:v>
                </c:pt>
                <c:pt idx="1506">
                  <c:v>162.123664869994</c:v>
                </c:pt>
                <c:pt idx="1507">
                  <c:v>162.18100007739</c:v>
                </c:pt>
                <c:pt idx="1508">
                  <c:v>159.12111854059199</c:v>
                </c:pt>
                <c:pt idx="1509">
                  <c:v>160.14430161873699</c:v>
                </c:pt>
                <c:pt idx="1510">
                  <c:v>158.845443791299</c:v>
                </c:pt>
                <c:pt idx="1511">
                  <c:v>161.159474741374</c:v>
                </c:pt>
                <c:pt idx="1512">
                  <c:v>161.81157679871899</c:v>
                </c:pt>
                <c:pt idx="1513">
                  <c:v>162.30514561639399</c:v>
                </c:pt>
                <c:pt idx="1514">
                  <c:v>165.54904008420601</c:v>
                </c:pt>
                <c:pt idx="1515">
                  <c:v>166.218616663098</c:v>
                </c:pt>
                <c:pt idx="1516">
                  <c:v>165.877618180306</c:v>
                </c:pt>
                <c:pt idx="1517">
                  <c:v>166.37772455875799</c:v>
                </c:pt>
                <c:pt idx="1518">
                  <c:v>168.94850378904701</c:v>
                </c:pt>
                <c:pt idx="1519">
                  <c:v>169.50683072763499</c:v>
                </c:pt>
                <c:pt idx="1520">
                  <c:v>168.766776937484</c:v>
                </c:pt>
                <c:pt idx="1521">
                  <c:v>168.40457084722499</c:v>
                </c:pt>
                <c:pt idx="1522">
                  <c:v>167.182893410476</c:v>
                </c:pt>
                <c:pt idx="1523">
                  <c:v>167.439012284049</c:v>
                </c:pt>
                <c:pt idx="1524">
                  <c:v>168.53098558695899</c:v>
                </c:pt>
                <c:pt idx="1525">
                  <c:v>168.82981993617</c:v>
                </c:pt>
                <c:pt idx="1526">
                  <c:v>165.90342149129299</c:v>
                </c:pt>
                <c:pt idx="1527">
                  <c:v>166.23526132717399</c:v>
                </c:pt>
                <c:pt idx="1528">
                  <c:v>163.959817254282</c:v>
                </c:pt>
                <c:pt idx="1529">
                  <c:v>162.35744132933101</c:v>
                </c:pt>
                <c:pt idx="1530">
                  <c:v>162.35744132933101</c:v>
                </c:pt>
                <c:pt idx="1531">
                  <c:v>162.81253601091001</c:v>
                </c:pt>
                <c:pt idx="1532">
                  <c:v>163.570277889474</c:v>
                </c:pt>
                <c:pt idx="1533">
                  <c:v>164.6240341573</c:v>
                </c:pt>
                <c:pt idx="1534">
                  <c:v>163.64194534190801</c:v>
                </c:pt>
                <c:pt idx="1535">
                  <c:v>162.99031610675701</c:v>
                </c:pt>
                <c:pt idx="1536">
                  <c:v>163.689815675267</c:v>
                </c:pt>
                <c:pt idx="1537">
                  <c:v>163.689815675267</c:v>
                </c:pt>
                <c:pt idx="1538">
                  <c:v>163.50755465604499</c:v>
                </c:pt>
                <c:pt idx="1539">
                  <c:v>164.11156185528</c:v>
                </c:pt>
                <c:pt idx="1540">
                  <c:v>162.39348139921199</c:v>
                </c:pt>
                <c:pt idx="1541">
                  <c:v>164.50093181803399</c:v>
                </c:pt>
                <c:pt idx="1542">
                  <c:v>163.75557565320199</c:v>
                </c:pt>
                <c:pt idx="1543">
                  <c:v>166.33887011414001</c:v>
                </c:pt>
                <c:pt idx="1544">
                  <c:v>168.081190321061</c:v>
                </c:pt>
                <c:pt idx="1545">
                  <c:v>169.11936162441501</c:v>
                </c:pt>
                <c:pt idx="1546">
                  <c:v>169.25955632888801</c:v>
                </c:pt>
                <c:pt idx="1547">
                  <c:v>169.68456940786601</c:v>
                </c:pt>
                <c:pt idx="1548">
                  <c:v>169.042771952316</c:v>
                </c:pt>
                <c:pt idx="1549">
                  <c:v>168.15957642248901</c:v>
                </c:pt>
                <c:pt idx="1550">
                  <c:v>168.38722064049</c:v>
                </c:pt>
                <c:pt idx="1551">
                  <c:v>167.31028415317101</c:v>
                </c:pt>
                <c:pt idx="1552">
                  <c:v>168.022309899362</c:v>
                </c:pt>
                <c:pt idx="1553">
                  <c:v>170.10655114264699</c:v>
                </c:pt>
                <c:pt idx="1554">
                  <c:v>169.405247935978</c:v>
                </c:pt>
                <c:pt idx="1555">
                  <c:v>167.79746235397499</c:v>
                </c:pt>
                <c:pt idx="1556">
                  <c:v>163.84612322522699</c:v>
                </c:pt>
                <c:pt idx="1557">
                  <c:v>161.01044599755099</c:v>
                </c:pt>
                <c:pt idx="1558">
                  <c:v>158.09988738263101</c:v>
                </c:pt>
                <c:pt idx="1559">
                  <c:v>159.38119347252899</c:v>
                </c:pt>
                <c:pt idx="1560">
                  <c:v>158.12668380898199</c:v>
                </c:pt>
                <c:pt idx="1561">
                  <c:v>159.749461009622</c:v>
                </c:pt>
                <c:pt idx="1562">
                  <c:v>164.68183818289401</c:v>
                </c:pt>
                <c:pt idx="1563">
                  <c:v>165.20091212501001</c:v>
                </c:pt>
                <c:pt idx="1564">
                  <c:v>165.40830992169199</c:v>
                </c:pt>
                <c:pt idx="1565">
                  <c:v>165.40830992169199</c:v>
                </c:pt>
                <c:pt idx="1566">
                  <c:v>158.32146422360501</c:v>
                </c:pt>
                <c:pt idx="1567">
                  <c:v>153.033265515876</c:v>
                </c:pt>
                <c:pt idx="1568">
                  <c:v>156.66990237745301</c:v>
                </c:pt>
                <c:pt idx="1569">
                  <c:v>160.984493208148</c:v>
                </c:pt>
                <c:pt idx="1570">
                  <c:v>162.94152201589699</c:v>
                </c:pt>
                <c:pt idx="1571">
                  <c:v>164.51587553567799</c:v>
                </c:pt>
                <c:pt idx="1572">
                  <c:v>163.46128708388099</c:v>
                </c:pt>
                <c:pt idx="1573">
                  <c:v>160.670279880229</c:v>
                </c:pt>
                <c:pt idx="1574">
                  <c:v>157.87245223011899</c:v>
                </c:pt>
                <c:pt idx="1575">
                  <c:v>159.15671300215399</c:v>
                </c:pt>
                <c:pt idx="1576">
                  <c:v>162.069294758051</c:v>
                </c:pt>
                <c:pt idx="1577">
                  <c:v>164.64790847730001</c:v>
                </c:pt>
                <c:pt idx="1578">
                  <c:v>166.140576149841</c:v>
                </c:pt>
                <c:pt idx="1579">
                  <c:v>166.090806433528</c:v>
                </c:pt>
                <c:pt idx="1580">
                  <c:v>167.33697920081801</c:v>
                </c:pt>
                <c:pt idx="1581">
                  <c:v>166.97847497876</c:v>
                </c:pt>
                <c:pt idx="1582">
                  <c:v>167.24660091854801</c:v>
                </c:pt>
                <c:pt idx="1583">
                  <c:v>166.659905127359</c:v>
                </c:pt>
                <c:pt idx="1584">
                  <c:v>168.052542559324</c:v>
                </c:pt>
                <c:pt idx="1585">
                  <c:v>167.80797280537001</c:v>
                </c:pt>
                <c:pt idx="1586">
                  <c:v>168.31365861732601</c:v>
                </c:pt>
                <c:pt idx="1587">
                  <c:v>168.585382313091</c:v>
                </c:pt>
                <c:pt idx="1588">
                  <c:v>168.83961944895</c:v>
                </c:pt>
                <c:pt idx="1589">
                  <c:v>169.940801744238</c:v>
                </c:pt>
                <c:pt idx="1590">
                  <c:v>168.80173325835199</c:v>
                </c:pt>
                <c:pt idx="1591">
                  <c:v>169.97962642655401</c:v>
                </c:pt>
                <c:pt idx="1592">
                  <c:v>169.24494200778199</c:v>
                </c:pt>
                <c:pt idx="1593">
                  <c:v>166.49286195348199</c:v>
                </c:pt>
                <c:pt idx="1594">
                  <c:v>166.312523722393</c:v>
                </c:pt>
                <c:pt idx="1595">
                  <c:v>167.36142848857801</c:v>
                </c:pt>
                <c:pt idx="1596">
                  <c:v>169.47058505269001</c:v>
                </c:pt>
                <c:pt idx="1597">
                  <c:v>169.82567706924101</c:v>
                </c:pt>
                <c:pt idx="1598">
                  <c:v>172.078118166877</c:v>
                </c:pt>
                <c:pt idx="1599">
                  <c:v>171.57454830075801</c:v>
                </c:pt>
                <c:pt idx="1600">
                  <c:v>173.34767196522401</c:v>
                </c:pt>
                <c:pt idx="1601">
                  <c:v>173.23219673370099</c:v>
                </c:pt>
                <c:pt idx="1602">
                  <c:v>173.23219673370099</c:v>
                </c:pt>
                <c:pt idx="1603">
                  <c:v>172.06501436009</c:v>
                </c:pt>
                <c:pt idx="1604">
                  <c:v>170.180565303935</c:v>
                </c:pt>
                <c:pt idx="1605">
                  <c:v>171.204079443816</c:v>
                </c:pt>
                <c:pt idx="1606">
                  <c:v>169.97481356539299</c:v>
                </c:pt>
                <c:pt idx="1607">
                  <c:v>170.00804646016499</c:v>
                </c:pt>
                <c:pt idx="1608">
                  <c:v>171.31568579837099</c:v>
                </c:pt>
                <c:pt idx="1609">
                  <c:v>171.420070518887</c:v>
                </c:pt>
                <c:pt idx="1610">
                  <c:v>170.35745755260999</c:v>
                </c:pt>
                <c:pt idx="1611">
                  <c:v>171.425712547073</c:v>
                </c:pt>
                <c:pt idx="1612">
                  <c:v>170.863118011637</c:v>
                </c:pt>
                <c:pt idx="1613">
                  <c:v>171.846814692339</c:v>
                </c:pt>
                <c:pt idx="1614">
                  <c:v>171.05366115135001</c:v>
                </c:pt>
                <c:pt idx="1615">
                  <c:v>170.721571078507</c:v>
                </c:pt>
                <c:pt idx="1616">
                  <c:v>173.86925623224201</c:v>
                </c:pt>
                <c:pt idx="1617">
                  <c:v>174.15572392808801</c:v>
                </c:pt>
                <c:pt idx="1618">
                  <c:v>173.66990092580701</c:v>
                </c:pt>
                <c:pt idx="1619">
                  <c:v>174.636524816058</c:v>
                </c:pt>
                <c:pt idx="1620">
                  <c:v>174.20545464578601</c:v>
                </c:pt>
                <c:pt idx="1621">
                  <c:v>172.02725009298101</c:v>
                </c:pt>
                <c:pt idx="1622">
                  <c:v>170.23789586471801</c:v>
                </c:pt>
                <c:pt idx="1623">
                  <c:v>168.87615926262299</c:v>
                </c:pt>
                <c:pt idx="1624">
                  <c:v>168.62992964269401</c:v>
                </c:pt>
                <c:pt idx="1625">
                  <c:v>169.21975826195001</c:v>
                </c:pt>
                <c:pt idx="1626">
                  <c:v>168.07558553708401</c:v>
                </c:pt>
                <c:pt idx="1627">
                  <c:v>169.899107352947</c:v>
                </c:pt>
                <c:pt idx="1628">
                  <c:v>169.97474635942001</c:v>
                </c:pt>
                <c:pt idx="1629">
                  <c:v>170.536032441961</c:v>
                </c:pt>
                <c:pt idx="1630">
                  <c:v>173.558186241893</c:v>
                </c:pt>
                <c:pt idx="1631">
                  <c:v>172.70511941809201</c:v>
                </c:pt>
                <c:pt idx="1632">
                  <c:v>170.418922503467</c:v>
                </c:pt>
                <c:pt idx="1633">
                  <c:v>170.17290063455599</c:v>
                </c:pt>
                <c:pt idx="1634">
                  <c:v>171.28000218079299</c:v>
                </c:pt>
                <c:pt idx="1635">
                  <c:v>171.53073732253301</c:v>
                </c:pt>
                <c:pt idx="1636">
                  <c:v>172.10934844291</c:v>
                </c:pt>
                <c:pt idx="1637">
                  <c:v>171.99846639256199</c:v>
                </c:pt>
                <c:pt idx="1638">
                  <c:v>173.070721837787</c:v>
                </c:pt>
                <c:pt idx="1639">
                  <c:v>171.90757747228599</c:v>
                </c:pt>
                <c:pt idx="1640">
                  <c:v>171.254667410325</c:v>
                </c:pt>
                <c:pt idx="1641">
                  <c:v>169.386941710088</c:v>
                </c:pt>
                <c:pt idx="1642">
                  <c:v>171.33925164613299</c:v>
                </c:pt>
                <c:pt idx="1643">
                  <c:v>170.65457090869</c:v>
                </c:pt>
                <c:pt idx="1644">
                  <c:v>169.84652137028101</c:v>
                </c:pt>
                <c:pt idx="1645">
                  <c:v>168.887458554554</c:v>
                </c:pt>
                <c:pt idx="1646">
                  <c:v>171.17151994568101</c:v>
                </c:pt>
                <c:pt idx="1647">
                  <c:v>170.32257367892399</c:v>
                </c:pt>
                <c:pt idx="1648">
                  <c:v>172.62015853428699</c:v>
                </c:pt>
                <c:pt idx="1649">
                  <c:v>173.20437045642799</c:v>
                </c:pt>
                <c:pt idx="1650">
                  <c:v>173.63424564719</c:v>
                </c:pt>
                <c:pt idx="1651">
                  <c:v>173.548958891799</c:v>
                </c:pt>
                <c:pt idx="1652">
                  <c:v>173.82423690412301</c:v>
                </c:pt>
                <c:pt idx="1653">
                  <c:v>173.08969130532901</c:v>
                </c:pt>
                <c:pt idx="1654">
                  <c:v>172.639423006752</c:v>
                </c:pt>
                <c:pt idx="1655">
                  <c:v>172.95341107048799</c:v>
                </c:pt>
                <c:pt idx="1656">
                  <c:v>172.73221543744299</c:v>
                </c:pt>
                <c:pt idx="1657">
                  <c:v>171.798509369155</c:v>
                </c:pt>
                <c:pt idx="1658">
                  <c:v>171.798509369155</c:v>
                </c:pt>
                <c:pt idx="1659">
                  <c:v>168.02848059663501</c:v>
                </c:pt>
                <c:pt idx="1660">
                  <c:v>167.59031523028699</c:v>
                </c:pt>
                <c:pt idx="1661">
                  <c:v>166.32424621207801</c:v>
                </c:pt>
                <c:pt idx="1662">
                  <c:v>168.458249868683</c:v>
                </c:pt>
                <c:pt idx="1663">
                  <c:v>168.966548792682</c:v>
                </c:pt>
                <c:pt idx="1664">
                  <c:v>170.21346053973099</c:v>
                </c:pt>
                <c:pt idx="1665">
                  <c:v>167.88393361663699</c:v>
                </c:pt>
                <c:pt idx="1666">
                  <c:v>167.07930986067601</c:v>
                </c:pt>
                <c:pt idx="1667">
                  <c:v>166.230801359183</c:v>
                </c:pt>
                <c:pt idx="1668">
                  <c:v>167.45302164609501</c:v>
                </c:pt>
                <c:pt idx="1669">
                  <c:v>167.150615878672</c:v>
                </c:pt>
                <c:pt idx="1670">
                  <c:v>168.09860674801601</c:v>
                </c:pt>
                <c:pt idx="1671">
                  <c:v>167.50232591218301</c:v>
                </c:pt>
                <c:pt idx="1672">
                  <c:v>168.04558332210499</c:v>
                </c:pt>
                <c:pt idx="1673">
                  <c:v>168.52186241578801</c:v>
                </c:pt>
                <c:pt idx="1674">
                  <c:v>168.19808810016801</c:v>
                </c:pt>
                <c:pt idx="1675">
                  <c:v>168.879327880022</c:v>
                </c:pt>
                <c:pt idx="1676">
                  <c:v>169.457767464635</c:v>
                </c:pt>
                <c:pt idx="1677">
                  <c:v>168.29553539985</c:v>
                </c:pt>
                <c:pt idx="1678">
                  <c:v>168.927603832854</c:v>
                </c:pt>
                <c:pt idx="1679">
                  <c:v>169.88419445929199</c:v>
                </c:pt>
                <c:pt idx="1680">
                  <c:v>168.22962143498</c:v>
                </c:pt>
                <c:pt idx="1681">
                  <c:v>167.51122319563601</c:v>
                </c:pt>
                <c:pt idx="1682">
                  <c:v>168.350012616512</c:v>
                </c:pt>
                <c:pt idx="1683">
                  <c:v>170.31911183258299</c:v>
                </c:pt>
                <c:pt idx="1684">
                  <c:v>171.89966560874501</c:v>
                </c:pt>
                <c:pt idx="1685">
                  <c:v>173.319308037833</c:v>
                </c:pt>
                <c:pt idx="1686">
                  <c:v>174.79418465041601</c:v>
                </c:pt>
                <c:pt idx="1687">
                  <c:v>174.83778271701101</c:v>
                </c:pt>
                <c:pt idx="1688">
                  <c:v>176.52963849944501</c:v>
                </c:pt>
                <c:pt idx="1689">
                  <c:v>175.67201546563999</c:v>
                </c:pt>
                <c:pt idx="1690">
                  <c:v>176.888553193993</c:v>
                </c:pt>
                <c:pt idx="1691">
                  <c:v>177.60768285660799</c:v>
                </c:pt>
                <c:pt idx="1692">
                  <c:v>178.23924844030901</c:v>
                </c:pt>
                <c:pt idx="1693">
                  <c:v>179.22803063548599</c:v>
                </c:pt>
                <c:pt idx="1694">
                  <c:v>179.08929639177401</c:v>
                </c:pt>
                <c:pt idx="1695">
                  <c:v>178.73211656893699</c:v>
                </c:pt>
                <c:pt idx="1696">
                  <c:v>179.53486956767699</c:v>
                </c:pt>
                <c:pt idx="1697">
                  <c:v>179.53486956767699</c:v>
                </c:pt>
                <c:pt idx="1698">
                  <c:v>180.15126971833499</c:v>
                </c:pt>
                <c:pt idx="1699">
                  <c:v>179.835065567714</c:v>
                </c:pt>
                <c:pt idx="1700">
                  <c:v>180.02929854096399</c:v>
                </c:pt>
                <c:pt idx="1701">
                  <c:v>180.03444026422201</c:v>
                </c:pt>
                <c:pt idx="1702">
                  <c:v>181.811003855656</c:v>
                </c:pt>
                <c:pt idx="1703">
                  <c:v>181.62578853730199</c:v>
                </c:pt>
                <c:pt idx="1704">
                  <c:v>181.35217248063299</c:v>
                </c:pt>
                <c:pt idx="1705">
                  <c:v>181.575913351683</c:v>
                </c:pt>
                <c:pt idx="1706">
                  <c:v>181.50854510903599</c:v>
                </c:pt>
                <c:pt idx="1707">
                  <c:v>180.80758962654099</c:v>
                </c:pt>
                <c:pt idx="1708">
                  <c:v>180.47386392972899</c:v>
                </c:pt>
                <c:pt idx="1709">
                  <c:v>180.90749498821</c:v>
                </c:pt>
                <c:pt idx="1710">
                  <c:v>179.837391629168</c:v>
                </c:pt>
                <c:pt idx="1711">
                  <c:v>181.559413765882</c:v>
                </c:pt>
                <c:pt idx="1712">
                  <c:v>180.82325484728699</c:v>
                </c:pt>
                <c:pt idx="1713">
                  <c:v>180.40652217330401</c:v>
                </c:pt>
                <c:pt idx="1714">
                  <c:v>180.828506271154</c:v>
                </c:pt>
                <c:pt idx="1715">
                  <c:v>180.987362777165</c:v>
                </c:pt>
                <c:pt idx="1716">
                  <c:v>181.28625197329399</c:v>
                </c:pt>
                <c:pt idx="1717">
                  <c:v>180.209991601241</c:v>
                </c:pt>
                <c:pt idx="1718">
                  <c:v>180.460195777119</c:v>
                </c:pt>
                <c:pt idx="1719">
                  <c:v>181.81117555998699</c:v>
                </c:pt>
                <c:pt idx="1720">
                  <c:v>182.001020313656</c:v>
                </c:pt>
                <c:pt idx="1721">
                  <c:v>181.772792382407</c:v>
                </c:pt>
                <c:pt idx="1722">
                  <c:v>179.49794143558799</c:v>
                </c:pt>
                <c:pt idx="1723">
                  <c:v>178.376117327336</c:v>
                </c:pt>
                <c:pt idx="1724">
                  <c:v>178.980087019747</c:v>
                </c:pt>
                <c:pt idx="1725">
                  <c:v>179.979477921214</c:v>
                </c:pt>
                <c:pt idx="1726">
                  <c:v>180.70586136823499</c:v>
                </c:pt>
                <c:pt idx="1727">
                  <c:v>179.04351788045801</c:v>
                </c:pt>
                <c:pt idx="1728">
                  <c:v>179.321078351658</c:v>
                </c:pt>
                <c:pt idx="1729">
                  <c:v>180.05675693550299</c:v>
                </c:pt>
                <c:pt idx="1730">
                  <c:v>181.761959711212</c:v>
                </c:pt>
                <c:pt idx="1731">
                  <c:v>181.864942314328</c:v>
                </c:pt>
                <c:pt idx="1732">
                  <c:v>183.10032329696199</c:v>
                </c:pt>
                <c:pt idx="1733">
                  <c:v>183.00769251957399</c:v>
                </c:pt>
                <c:pt idx="1734">
                  <c:v>183.333802223622</c:v>
                </c:pt>
                <c:pt idx="1735">
                  <c:v>183.628888525913</c:v>
                </c:pt>
                <c:pt idx="1736">
                  <c:v>183.42602141756299</c:v>
                </c:pt>
                <c:pt idx="1737">
                  <c:v>183.695226331447</c:v>
                </c:pt>
                <c:pt idx="1738">
                  <c:v>184.68665849419401</c:v>
                </c:pt>
                <c:pt idx="1739">
                  <c:v>184.77664426696199</c:v>
                </c:pt>
                <c:pt idx="1740">
                  <c:v>184.525616994925</c:v>
                </c:pt>
                <c:pt idx="1741">
                  <c:v>183.17225697749399</c:v>
                </c:pt>
                <c:pt idx="1742">
                  <c:v>183.573136077594</c:v>
                </c:pt>
                <c:pt idx="1743">
                  <c:v>183.69966742488501</c:v>
                </c:pt>
                <c:pt idx="1744">
                  <c:v>186.204467774438</c:v>
                </c:pt>
                <c:pt idx="1745">
                  <c:v>186.46968372884101</c:v>
                </c:pt>
                <c:pt idx="1746">
                  <c:v>186.646319705465</c:v>
                </c:pt>
                <c:pt idx="1747">
                  <c:v>186.15266039770501</c:v>
                </c:pt>
                <c:pt idx="1748">
                  <c:v>185.79649250840501</c:v>
                </c:pt>
                <c:pt idx="1749">
                  <c:v>185.61339711604899</c:v>
                </c:pt>
                <c:pt idx="1750">
                  <c:v>186.49689137417499</c:v>
                </c:pt>
                <c:pt idx="1751">
                  <c:v>186.76928831819299</c:v>
                </c:pt>
                <c:pt idx="1752">
                  <c:v>187.04588480788701</c:v>
                </c:pt>
                <c:pt idx="1753">
                  <c:v>186.646084722567</c:v>
                </c:pt>
                <c:pt idx="1754">
                  <c:v>187.10919974193601</c:v>
                </c:pt>
                <c:pt idx="1755">
                  <c:v>188.49168528295999</c:v>
                </c:pt>
                <c:pt idx="1756">
                  <c:v>189.35667288005899</c:v>
                </c:pt>
                <c:pt idx="1757">
                  <c:v>188.96707409251201</c:v>
                </c:pt>
                <c:pt idx="1758">
                  <c:v>187.757302237</c:v>
                </c:pt>
                <c:pt idx="1759">
                  <c:v>187.34077860215299</c:v>
                </c:pt>
                <c:pt idx="1760">
                  <c:v>188.81515001825301</c:v>
                </c:pt>
                <c:pt idx="1761">
                  <c:v>189.21090269667701</c:v>
                </c:pt>
                <c:pt idx="1762">
                  <c:v>188.98020339357299</c:v>
                </c:pt>
                <c:pt idx="1763">
                  <c:v>190.25233574577501</c:v>
                </c:pt>
                <c:pt idx="1764">
                  <c:v>190.710103510034</c:v>
                </c:pt>
                <c:pt idx="1765">
                  <c:v>191.85573862951199</c:v>
                </c:pt>
                <c:pt idx="1766">
                  <c:v>192.90299698600401</c:v>
                </c:pt>
                <c:pt idx="1767">
                  <c:v>192.228034106065</c:v>
                </c:pt>
                <c:pt idx="1768">
                  <c:v>192.489449650338</c:v>
                </c:pt>
                <c:pt idx="1769">
                  <c:v>192.403601761348</c:v>
                </c:pt>
                <c:pt idx="1770">
                  <c:v>193.04136492544399</c:v>
                </c:pt>
                <c:pt idx="1771">
                  <c:v>193.256238258417</c:v>
                </c:pt>
                <c:pt idx="1772">
                  <c:v>193.10908181199201</c:v>
                </c:pt>
                <c:pt idx="1773">
                  <c:v>192.628887526505</c:v>
                </c:pt>
                <c:pt idx="1774">
                  <c:v>193.17265415777101</c:v>
                </c:pt>
                <c:pt idx="1775">
                  <c:v>192.64712328477299</c:v>
                </c:pt>
                <c:pt idx="1776">
                  <c:v>192.64712328477299</c:v>
                </c:pt>
                <c:pt idx="1777">
                  <c:v>192.64712328477299</c:v>
                </c:pt>
                <c:pt idx="1778">
                  <c:v>190.500574584737</c:v>
                </c:pt>
                <c:pt idx="1779">
                  <c:v>190.97921304432899</c:v>
                </c:pt>
                <c:pt idx="1780">
                  <c:v>191.492675957177</c:v>
                </c:pt>
                <c:pt idx="1781">
                  <c:v>190.93747156837</c:v>
                </c:pt>
                <c:pt idx="1782">
                  <c:v>196.221354975824</c:v>
                </c:pt>
                <c:pt idx="1783">
                  <c:v>196.60305104780801</c:v>
                </c:pt>
                <c:pt idx="1784">
                  <c:v>196.95422466895701</c:v>
                </c:pt>
                <c:pt idx="1785">
                  <c:v>196.68099373507701</c:v>
                </c:pt>
                <c:pt idx="1786">
                  <c:v>196.42470734069701</c:v>
                </c:pt>
                <c:pt idx="1787">
                  <c:v>196.42470734069701</c:v>
                </c:pt>
                <c:pt idx="1788">
                  <c:v>198.45372422859799</c:v>
                </c:pt>
                <c:pt idx="1789">
                  <c:v>198.42240393555801</c:v>
                </c:pt>
                <c:pt idx="1790">
                  <c:v>201.09645469737401</c:v>
                </c:pt>
                <c:pt idx="1791">
                  <c:v>202.59845039877101</c:v>
                </c:pt>
                <c:pt idx="1792">
                  <c:v>202.40510015270502</c:v>
                </c:pt>
                <c:pt idx="1793">
                  <c:v>203.161189507458</c:v>
                </c:pt>
                <c:pt idx="1794">
                  <c:v>203.183455153463</c:v>
                </c:pt>
                <c:pt idx="1795">
                  <c:v>201.880134491002</c:v>
                </c:pt>
                <c:pt idx="1796">
                  <c:v>203.43470979365401</c:v>
                </c:pt>
                <c:pt idx="1797">
                  <c:v>204.01304342026202</c:v>
                </c:pt>
                <c:pt idx="1798">
                  <c:v>204.65450572407403</c:v>
                </c:pt>
                <c:pt idx="1799">
                  <c:v>202.03172028550799</c:v>
                </c:pt>
                <c:pt idx="1800">
                  <c:v>200.76416877953699</c:v>
                </c:pt>
                <c:pt idx="1801">
                  <c:v>202.72723069271396</c:v>
                </c:pt>
                <c:pt idx="1802">
                  <c:v>202.88839343500501</c:v>
                </c:pt>
                <c:pt idx="1803">
                  <c:v>203.71117480054704</c:v>
                </c:pt>
                <c:pt idx="1804">
                  <c:v>203.86096608312104</c:v>
                </c:pt>
                <c:pt idx="1805">
                  <c:v>203.86096608312104</c:v>
                </c:pt>
                <c:pt idx="1806">
                  <c:v>204.042499756767</c:v>
                </c:pt>
                <c:pt idx="1807">
                  <c:v>203.81612573346302</c:v>
                </c:pt>
                <c:pt idx="1808">
                  <c:v>203.75028494323902</c:v>
                </c:pt>
                <c:pt idx="1809">
                  <c:v>203.85098084168399</c:v>
                </c:pt>
                <c:pt idx="1810">
                  <c:v>205.182299879776</c:v>
                </c:pt>
                <c:pt idx="1811">
                  <c:v>206.01359819325799</c:v>
                </c:pt>
                <c:pt idx="1812">
                  <c:v>206.01359819325799</c:v>
                </c:pt>
                <c:pt idx="1813">
                  <c:v>204.732252039103</c:v>
                </c:pt>
                <c:pt idx="1814">
                  <c:v>204.68247767700603</c:v>
                </c:pt>
                <c:pt idx="1815">
                  <c:v>204.59077571277001</c:v>
                </c:pt>
                <c:pt idx="1816">
                  <c:v>205.505924502715</c:v>
                </c:pt>
                <c:pt idx="1817">
                  <c:v>203.39465644077296</c:v>
                </c:pt>
                <c:pt idx="1818">
                  <c:v>204.51845765657501</c:v>
                </c:pt>
                <c:pt idx="1819">
                  <c:v>204.68501177238903</c:v>
                </c:pt>
                <c:pt idx="1820">
                  <c:v>203.14990860818304</c:v>
                </c:pt>
                <c:pt idx="1821">
                  <c:v>204.55367036215998</c:v>
                </c:pt>
                <c:pt idx="1822">
                  <c:v>206.11244894290701</c:v>
                </c:pt>
                <c:pt idx="1823">
                  <c:v>205.04073424655996</c:v>
                </c:pt>
                <c:pt idx="1824">
                  <c:v>204.705655021882</c:v>
                </c:pt>
                <c:pt idx="1825">
                  <c:v>204.414027654829</c:v>
                </c:pt>
                <c:pt idx="1826">
                  <c:v>204.414027654829</c:v>
                </c:pt>
                <c:pt idx="1827">
                  <c:v>204.15646784725899</c:v>
                </c:pt>
                <c:pt idx="1828">
                  <c:v>201.89217663648401</c:v>
                </c:pt>
                <c:pt idx="1829">
                  <c:v>201.406419657008</c:v>
                </c:pt>
                <c:pt idx="1830">
                  <c:v>198.00261472813401</c:v>
                </c:pt>
                <c:pt idx="1831">
                  <c:v>197.490801165237</c:v>
                </c:pt>
                <c:pt idx="1832">
                  <c:v>199.202118898523</c:v>
                </c:pt>
                <c:pt idx="1833">
                  <c:v>198.59113483405301</c:v>
                </c:pt>
                <c:pt idx="1834">
                  <c:v>198.817083322369</c:v>
                </c:pt>
                <c:pt idx="1835">
                  <c:v>197.40750644290401</c:v>
                </c:pt>
                <c:pt idx="1836">
                  <c:v>197.43529565280099</c:v>
                </c:pt>
                <c:pt idx="1837">
                  <c:v>198.33235132623901</c:v>
                </c:pt>
                <c:pt idx="1838">
                  <c:v>197.53417089225599</c:v>
                </c:pt>
                <c:pt idx="1839">
                  <c:v>200.587615016211</c:v>
                </c:pt>
                <c:pt idx="1840">
                  <c:v>201.34734948177501</c:v>
                </c:pt>
                <c:pt idx="1841">
                  <c:v>201.821719929979</c:v>
                </c:pt>
                <c:pt idx="1842">
                  <c:v>202.02194421739401</c:v>
                </c:pt>
                <c:pt idx="1843">
                  <c:v>200.33537781601001</c:v>
                </c:pt>
                <c:pt idx="1844">
                  <c:v>201.401857722963</c:v>
                </c:pt>
                <c:pt idx="1845">
                  <c:v>201.02751856164497</c:v>
                </c:pt>
                <c:pt idx="1846">
                  <c:v>198.76196412324401</c:v>
                </c:pt>
                <c:pt idx="1847">
                  <c:v>198.05995036508199</c:v>
                </c:pt>
                <c:pt idx="1848">
                  <c:v>198.563152919158</c:v>
                </c:pt>
                <c:pt idx="1849">
                  <c:v>200.19263252791498</c:v>
                </c:pt>
                <c:pt idx="1850">
                  <c:v>200.269922205564</c:v>
                </c:pt>
                <c:pt idx="1851">
                  <c:v>198.22689840904201</c:v>
                </c:pt>
                <c:pt idx="1852">
                  <c:v>197.795650906243</c:v>
                </c:pt>
                <c:pt idx="1853">
                  <c:v>199.116635619948</c:v>
                </c:pt>
                <c:pt idx="1854">
                  <c:v>198.415554531803</c:v>
                </c:pt>
                <c:pt idx="1855">
                  <c:v>198.655582663384</c:v>
                </c:pt>
                <c:pt idx="1856">
                  <c:v>200.549702660213</c:v>
                </c:pt>
                <c:pt idx="1857">
                  <c:v>200.36771675820398</c:v>
                </c:pt>
                <c:pt idx="1858">
                  <c:v>200.78055834670701</c:v>
                </c:pt>
                <c:pt idx="1859">
                  <c:v>199.10576531762399</c:v>
                </c:pt>
                <c:pt idx="1860">
                  <c:v>197.61573382204401</c:v>
                </c:pt>
                <c:pt idx="1861">
                  <c:v>195.871988162055</c:v>
                </c:pt>
                <c:pt idx="1862">
                  <c:v>198.27607335214901</c:v>
                </c:pt>
                <c:pt idx="1863">
                  <c:v>198.27607335214901</c:v>
                </c:pt>
                <c:pt idx="1864">
                  <c:v>199.84327978190399</c:v>
                </c:pt>
                <c:pt idx="1865">
                  <c:v>199.345530322847</c:v>
                </c:pt>
                <c:pt idx="1866">
                  <c:v>197.80846464254901</c:v>
                </c:pt>
                <c:pt idx="1867">
                  <c:v>197.04202386434901</c:v>
                </c:pt>
                <c:pt idx="1868">
                  <c:v>198.579784248473</c:v>
                </c:pt>
                <c:pt idx="1869">
                  <c:v>197.92855652120701</c:v>
                </c:pt>
                <c:pt idx="1870">
                  <c:v>197.85958069726101</c:v>
                </c:pt>
                <c:pt idx="1871">
                  <c:v>197.39562141415701</c:v>
                </c:pt>
                <c:pt idx="1872">
                  <c:v>196.56005782782799</c:v>
                </c:pt>
                <c:pt idx="1873">
                  <c:v>194.64554712293801</c:v>
                </c:pt>
                <c:pt idx="1874">
                  <c:v>195.90812123473799</c:v>
                </c:pt>
                <c:pt idx="1875">
                  <c:v>197.17186761399299</c:v>
                </c:pt>
                <c:pt idx="1876">
                  <c:v>197.969935734882</c:v>
                </c:pt>
                <c:pt idx="1877">
                  <c:v>197.024698489564</c:v>
                </c:pt>
                <c:pt idx="1878">
                  <c:v>197.22652732288401</c:v>
                </c:pt>
                <c:pt idx="1879">
                  <c:v>197.5717875249</c:v>
                </c:pt>
                <c:pt idx="1880">
                  <c:v>198.36612946940099</c:v>
                </c:pt>
                <c:pt idx="1881">
                  <c:v>198.37561177330201</c:v>
                </c:pt>
                <c:pt idx="1882">
                  <c:v>200.606926120905</c:v>
                </c:pt>
                <c:pt idx="1883">
                  <c:v>200.90173238654501</c:v>
                </c:pt>
                <c:pt idx="1884">
                  <c:v>200.80383725847</c:v>
                </c:pt>
                <c:pt idx="1885">
                  <c:v>200.609288820801</c:v>
                </c:pt>
                <c:pt idx="1886">
                  <c:v>200.00942064534598</c:v>
                </c:pt>
                <c:pt idx="1887">
                  <c:v>200.88134948990199</c:v>
                </c:pt>
                <c:pt idx="1888">
                  <c:v>201.27349571092199</c:v>
                </c:pt>
                <c:pt idx="1889">
                  <c:v>201.04540922761197</c:v>
                </c:pt>
                <c:pt idx="1890">
                  <c:v>200.65584212340403</c:v>
                </c:pt>
                <c:pt idx="1891">
                  <c:v>200.78260007819901</c:v>
                </c:pt>
                <c:pt idx="1892">
                  <c:v>201.07744259855102</c:v>
                </c:pt>
                <c:pt idx="1893">
                  <c:v>201.28079459557097</c:v>
                </c:pt>
                <c:pt idx="1894">
                  <c:v>201.72388531184501</c:v>
                </c:pt>
                <c:pt idx="1895">
                  <c:v>202.14766936705999</c:v>
                </c:pt>
                <c:pt idx="1896">
                  <c:v>202.987549200948</c:v>
                </c:pt>
                <c:pt idx="1897">
                  <c:v>203.66553043597298</c:v>
                </c:pt>
                <c:pt idx="1898">
                  <c:v>203.97235691722301</c:v>
                </c:pt>
                <c:pt idx="1899">
                  <c:v>203.11689184598899</c:v>
                </c:pt>
                <c:pt idx="1900">
                  <c:v>204.03167788781599</c:v>
                </c:pt>
                <c:pt idx="1901">
                  <c:v>203.233972306005</c:v>
                </c:pt>
                <c:pt idx="1902">
                  <c:v>203.841280503159</c:v>
                </c:pt>
                <c:pt idx="1903">
                  <c:v>203.684879803445</c:v>
                </c:pt>
                <c:pt idx="1904">
                  <c:v>204.51843599388599</c:v>
                </c:pt>
                <c:pt idx="1905">
                  <c:v>204.61266880194299</c:v>
                </c:pt>
                <c:pt idx="1906">
                  <c:v>204.95319939043796</c:v>
                </c:pt>
                <c:pt idx="1907">
                  <c:v>204.78598257715598</c:v>
                </c:pt>
                <c:pt idx="1908">
                  <c:v>204.70170419780499</c:v>
                </c:pt>
                <c:pt idx="1909">
                  <c:v>205.10274627245497</c:v>
                </c:pt>
                <c:pt idx="1910">
                  <c:v>204.29396032510101</c:v>
                </c:pt>
                <c:pt idx="1911">
                  <c:v>204.74288928498598</c:v>
                </c:pt>
                <c:pt idx="1912">
                  <c:v>205.06560727407802</c:v>
                </c:pt>
                <c:pt idx="1913">
                  <c:v>204.74279877938096</c:v>
                </c:pt>
                <c:pt idx="1914">
                  <c:v>203.25531151450201</c:v>
                </c:pt>
                <c:pt idx="1915">
                  <c:v>205.64499405605599</c:v>
                </c:pt>
                <c:pt idx="1916">
                  <c:v>206.58502579142501</c:v>
                </c:pt>
                <c:pt idx="1917">
                  <c:v>207.26256878777002</c:v>
                </c:pt>
                <c:pt idx="1918">
                  <c:v>207.78123514679604</c:v>
                </c:pt>
                <c:pt idx="1919">
                  <c:v>207.78123514679604</c:v>
                </c:pt>
                <c:pt idx="1920">
                  <c:v>208.79427930836297</c:v>
                </c:pt>
                <c:pt idx="1921">
                  <c:v>208.99181764091298</c:v>
                </c:pt>
                <c:pt idx="1922">
                  <c:v>208.971859344406</c:v>
                </c:pt>
                <c:pt idx="1923">
                  <c:v>207.97914651824101</c:v>
                </c:pt>
                <c:pt idx="1924">
                  <c:v>208.314045395465</c:v>
                </c:pt>
                <c:pt idx="1925">
                  <c:v>206.29987891051101</c:v>
                </c:pt>
                <c:pt idx="1926">
                  <c:v>205.21198977293201</c:v>
                </c:pt>
                <c:pt idx="1927">
                  <c:v>203.923184987734</c:v>
                </c:pt>
                <c:pt idx="1928">
                  <c:v>203.14726423079304</c:v>
                </c:pt>
                <c:pt idx="1929">
                  <c:v>201.96032099263502</c:v>
                </c:pt>
                <c:pt idx="1930">
                  <c:v>203.36768427843799</c:v>
                </c:pt>
                <c:pt idx="1931">
                  <c:v>202.18433452896801</c:v>
                </c:pt>
                <c:pt idx="1932">
                  <c:v>203.01883807734501</c:v>
                </c:pt>
                <c:pt idx="1933">
                  <c:v>203.67982467655298</c:v>
                </c:pt>
                <c:pt idx="1934">
                  <c:v>203.13313592486696</c:v>
                </c:pt>
                <c:pt idx="1935">
                  <c:v>203.67513536303599</c:v>
                </c:pt>
                <c:pt idx="1936">
                  <c:v>203.50389560182603</c:v>
                </c:pt>
                <c:pt idx="1937">
                  <c:v>202.65312013892597</c:v>
                </c:pt>
                <c:pt idx="1938">
                  <c:v>203.91001328921197</c:v>
                </c:pt>
                <c:pt idx="1939">
                  <c:v>204.18617649453</c:v>
                </c:pt>
                <c:pt idx="1940">
                  <c:v>204.24163644933603</c:v>
                </c:pt>
                <c:pt idx="1941">
                  <c:v>202.71151650104403</c:v>
                </c:pt>
                <c:pt idx="1942">
                  <c:v>204.73772427649899</c:v>
                </c:pt>
                <c:pt idx="1943">
                  <c:v>205.12308202146298</c:v>
                </c:pt>
                <c:pt idx="1944">
                  <c:v>205.16922433143799</c:v>
                </c:pt>
                <c:pt idx="1945">
                  <c:v>205.76595448728199</c:v>
                </c:pt>
                <c:pt idx="1946">
                  <c:v>206.42213291657598</c:v>
                </c:pt>
                <c:pt idx="1947">
                  <c:v>206.02805988934901</c:v>
                </c:pt>
                <c:pt idx="1948">
                  <c:v>207.04078399398799</c:v>
                </c:pt>
                <c:pt idx="1949">
                  <c:v>205.5513158389</c:v>
                </c:pt>
                <c:pt idx="1950">
                  <c:v>204.40168763038201</c:v>
                </c:pt>
                <c:pt idx="1951">
                  <c:v>204.10654022591598</c:v>
                </c:pt>
                <c:pt idx="1952">
                  <c:v>206.42304914247796</c:v>
                </c:pt>
                <c:pt idx="1953">
                  <c:v>205.77987659097298</c:v>
                </c:pt>
                <c:pt idx="1954">
                  <c:v>204.428704820159</c:v>
                </c:pt>
                <c:pt idx="1955">
                  <c:v>205.12722689081201</c:v>
                </c:pt>
                <c:pt idx="1956">
                  <c:v>205.04983186707801</c:v>
                </c:pt>
                <c:pt idx="1957">
                  <c:v>205.04983186707801</c:v>
                </c:pt>
                <c:pt idx="1958">
                  <c:v>205.04983186707801</c:v>
                </c:pt>
                <c:pt idx="1959">
                  <c:v>205.245169728977</c:v>
                </c:pt>
                <c:pt idx="1960">
                  <c:v>204.56729892851803</c:v>
                </c:pt>
                <c:pt idx="1961">
                  <c:v>203.76652514066097</c:v>
                </c:pt>
                <c:pt idx="1962">
                  <c:v>203.76652514066097</c:v>
                </c:pt>
                <c:pt idx="1963">
                  <c:v>203.73307178378698</c:v>
                </c:pt>
                <c:pt idx="1964">
                  <c:v>205.075071104703</c:v>
                </c:pt>
                <c:pt idx="1965">
                  <c:v>207.473678260535</c:v>
                </c:pt>
                <c:pt idx="1966">
                  <c:v>209.570640420936</c:v>
                </c:pt>
                <c:pt idx="1967">
                  <c:v>210.022352125532</c:v>
                </c:pt>
                <c:pt idx="1968">
                  <c:v>210.76519607858501</c:v>
                </c:pt>
                <c:pt idx="1969">
                  <c:v>209.18920911198603</c:v>
                </c:pt>
                <c:pt idx="1970">
                  <c:v>208.46949868788599</c:v>
                </c:pt>
                <c:pt idx="1971">
                  <c:v>209.10569217191099</c:v>
                </c:pt>
                <c:pt idx="1972">
                  <c:v>209.00551470279299</c:v>
                </c:pt>
                <c:pt idx="1973">
                  <c:v>209.72154133197299</c:v>
                </c:pt>
                <c:pt idx="1974">
                  <c:v>209.43943717768204</c:v>
                </c:pt>
                <c:pt idx="1975">
                  <c:v>209.71727016653099</c:v>
                </c:pt>
                <c:pt idx="1976">
                  <c:v>210.85394965079001</c:v>
                </c:pt>
                <c:pt idx="1977">
                  <c:v>211.75126064756199</c:v>
                </c:pt>
                <c:pt idx="1978">
                  <c:v>212.156860333205</c:v>
                </c:pt>
                <c:pt idx="1979">
                  <c:v>210.03429262026901</c:v>
                </c:pt>
                <c:pt idx="1980">
                  <c:v>208.89406788638604</c:v>
                </c:pt>
                <c:pt idx="1981">
                  <c:v>209.92239522807398</c:v>
                </c:pt>
                <c:pt idx="1982">
                  <c:v>209.046806914977</c:v>
                </c:pt>
                <c:pt idx="1983">
                  <c:v>207.26917364505701</c:v>
                </c:pt>
                <c:pt idx="1984">
                  <c:v>207.55524995240998</c:v>
                </c:pt>
              </c:numCache>
            </c:numRef>
          </c:val>
          <c:smooth val="0"/>
          <c:extLst xmlns:c16r2="http://schemas.microsoft.com/office/drawing/2015/06/chart">
            <c:ext xmlns:c16="http://schemas.microsoft.com/office/drawing/2014/chart" uri="{C3380CC4-5D6E-409C-BE32-E72D297353CC}">
              <c16:uniqueId val="{00000001-7127-4EE7-81B7-88A877082DDF}"/>
            </c:ext>
          </c:extLst>
        </c:ser>
        <c:ser>
          <c:idx val="1"/>
          <c:order val="1"/>
          <c:tx>
            <c:v>Benchmark</c:v>
          </c:tx>
          <c:spPr>
            <a:ln w="28575">
              <a:solidFill>
                <a:srgbClr val="009EE0"/>
              </a:solidFill>
              <a:prstDash val="solid"/>
            </a:ln>
          </c:spPr>
          <c:marker>
            <c:symbol val="none"/>
          </c:marker>
          <c:cat>
            <c:numRef>
              <c:f>'AFE Euro RP Brut'!$C$5:$C$1989</c:f>
              <c:numCache>
                <c:formatCode>m/d/yyyy</c:formatCode>
                <c:ptCount val="1985"/>
                <c:pt idx="0">
                  <c:v>40353</c:v>
                </c:pt>
                <c:pt idx="1">
                  <c:v>40354</c:v>
                </c:pt>
                <c:pt idx="2">
                  <c:v>40357</c:v>
                </c:pt>
                <c:pt idx="3">
                  <c:v>40358</c:v>
                </c:pt>
                <c:pt idx="4">
                  <c:v>40359</c:v>
                </c:pt>
                <c:pt idx="5">
                  <c:v>40360</c:v>
                </c:pt>
                <c:pt idx="6">
                  <c:v>40361</c:v>
                </c:pt>
                <c:pt idx="7">
                  <c:v>40364</c:v>
                </c:pt>
                <c:pt idx="8">
                  <c:v>40365</c:v>
                </c:pt>
                <c:pt idx="9">
                  <c:v>40366</c:v>
                </c:pt>
                <c:pt idx="10">
                  <c:v>40367</c:v>
                </c:pt>
                <c:pt idx="11">
                  <c:v>40368</c:v>
                </c:pt>
                <c:pt idx="12">
                  <c:v>40371</c:v>
                </c:pt>
                <c:pt idx="13">
                  <c:v>40372</c:v>
                </c:pt>
                <c:pt idx="14">
                  <c:v>40373</c:v>
                </c:pt>
                <c:pt idx="15">
                  <c:v>40374</c:v>
                </c:pt>
                <c:pt idx="16">
                  <c:v>40375</c:v>
                </c:pt>
                <c:pt idx="17">
                  <c:v>40378</c:v>
                </c:pt>
                <c:pt idx="18">
                  <c:v>40379</c:v>
                </c:pt>
                <c:pt idx="19">
                  <c:v>40380</c:v>
                </c:pt>
                <c:pt idx="20">
                  <c:v>40381</c:v>
                </c:pt>
                <c:pt idx="21">
                  <c:v>40382</c:v>
                </c:pt>
                <c:pt idx="22">
                  <c:v>40385</c:v>
                </c:pt>
                <c:pt idx="23">
                  <c:v>40386</c:v>
                </c:pt>
                <c:pt idx="24">
                  <c:v>40387</c:v>
                </c:pt>
                <c:pt idx="25">
                  <c:v>40388</c:v>
                </c:pt>
                <c:pt idx="26">
                  <c:v>40389</c:v>
                </c:pt>
                <c:pt idx="27">
                  <c:v>40392</c:v>
                </c:pt>
                <c:pt idx="28">
                  <c:v>40393</c:v>
                </c:pt>
                <c:pt idx="29">
                  <c:v>40394</c:v>
                </c:pt>
                <c:pt idx="30">
                  <c:v>40395</c:v>
                </c:pt>
                <c:pt idx="31">
                  <c:v>40396</c:v>
                </c:pt>
                <c:pt idx="32">
                  <c:v>40399</c:v>
                </c:pt>
                <c:pt idx="33">
                  <c:v>40400</c:v>
                </c:pt>
                <c:pt idx="34">
                  <c:v>40401</c:v>
                </c:pt>
                <c:pt idx="35">
                  <c:v>40402</c:v>
                </c:pt>
                <c:pt idx="36">
                  <c:v>40403</c:v>
                </c:pt>
                <c:pt idx="37">
                  <c:v>40406</c:v>
                </c:pt>
                <c:pt idx="38">
                  <c:v>40407</c:v>
                </c:pt>
                <c:pt idx="39">
                  <c:v>40408</c:v>
                </c:pt>
                <c:pt idx="40">
                  <c:v>40409</c:v>
                </c:pt>
                <c:pt idx="41">
                  <c:v>40410</c:v>
                </c:pt>
                <c:pt idx="42">
                  <c:v>40413</c:v>
                </c:pt>
                <c:pt idx="43">
                  <c:v>40414</c:v>
                </c:pt>
                <c:pt idx="44">
                  <c:v>40415</c:v>
                </c:pt>
                <c:pt idx="45">
                  <c:v>40416</c:v>
                </c:pt>
                <c:pt idx="46">
                  <c:v>40417</c:v>
                </c:pt>
                <c:pt idx="47">
                  <c:v>40420</c:v>
                </c:pt>
                <c:pt idx="48">
                  <c:v>40421</c:v>
                </c:pt>
                <c:pt idx="49">
                  <c:v>40422</c:v>
                </c:pt>
                <c:pt idx="50">
                  <c:v>40423</c:v>
                </c:pt>
                <c:pt idx="51">
                  <c:v>40424</c:v>
                </c:pt>
                <c:pt idx="52">
                  <c:v>40427</c:v>
                </c:pt>
                <c:pt idx="53">
                  <c:v>40428</c:v>
                </c:pt>
                <c:pt idx="54">
                  <c:v>40429</c:v>
                </c:pt>
                <c:pt idx="55">
                  <c:v>40430</c:v>
                </c:pt>
                <c:pt idx="56">
                  <c:v>40431</c:v>
                </c:pt>
                <c:pt idx="57">
                  <c:v>40434</c:v>
                </c:pt>
                <c:pt idx="58">
                  <c:v>40435</c:v>
                </c:pt>
                <c:pt idx="59">
                  <c:v>40436</c:v>
                </c:pt>
                <c:pt idx="60">
                  <c:v>40437</c:v>
                </c:pt>
                <c:pt idx="61">
                  <c:v>40438</c:v>
                </c:pt>
                <c:pt idx="62">
                  <c:v>40441</c:v>
                </c:pt>
                <c:pt idx="63">
                  <c:v>40442</c:v>
                </c:pt>
                <c:pt idx="64">
                  <c:v>40443</c:v>
                </c:pt>
                <c:pt idx="65">
                  <c:v>40444</c:v>
                </c:pt>
                <c:pt idx="66">
                  <c:v>40445</c:v>
                </c:pt>
                <c:pt idx="67">
                  <c:v>40448</c:v>
                </c:pt>
                <c:pt idx="68">
                  <c:v>40449</c:v>
                </c:pt>
                <c:pt idx="69">
                  <c:v>40450</c:v>
                </c:pt>
                <c:pt idx="70">
                  <c:v>40451</c:v>
                </c:pt>
                <c:pt idx="71">
                  <c:v>40452</c:v>
                </c:pt>
                <c:pt idx="72">
                  <c:v>40455</c:v>
                </c:pt>
                <c:pt idx="73">
                  <c:v>40456</c:v>
                </c:pt>
                <c:pt idx="74">
                  <c:v>40457</c:v>
                </c:pt>
                <c:pt idx="75">
                  <c:v>40458</c:v>
                </c:pt>
                <c:pt idx="76">
                  <c:v>40459</c:v>
                </c:pt>
                <c:pt idx="77">
                  <c:v>40462</c:v>
                </c:pt>
                <c:pt idx="78">
                  <c:v>40463</c:v>
                </c:pt>
                <c:pt idx="79">
                  <c:v>40464</c:v>
                </c:pt>
                <c:pt idx="80">
                  <c:v>40465</c:v>
                </c:pt>
                <c:pt idx="81">
                  <c:v>40466</c:v>
                </c:pt>
                <c:pt idx="82">
                  <c:v>40469</c:v>
                </c:pt>
                <c:pt idx="83">
                  <c:v>40470</c:v>
                </c:pt>
                <c:pt idx="84">
                  <c:v>40471</c:v>
                </c:pt>
                <c:pt idx="85">
                  <c:v>40472</c:v>
                </c:pt>
                <c:pt idx="86">
                  <c:v>40473</c:v>
                </c:pt>
                <c:pt idx="87">
                  <c:v>40476</c:v>
                </c:pt>
                <c:pt idx="88">
                  <c:v>40477</c:v>
                </c:pt>
                <c:pt idx="89">
                  <c:v>40478</c:v>
                </c:pt>
                <c:pt idx="90">
                  <c:v>40479</c:v>
                </c:pt>
                <c:pt idx="91">
                  <c:v>40480</c:v>
                </c:pt>
                <c:pt idx="92">
                  <c:v>40483</c:v>
                </c:pt>
                <c:pt idx="93">
                  <c:v>40484</c:v>
                </c:pt>
                <c:pt idx="94">
                  <c:v>40485</c:v>
                </c:pt>
                <c:pt idx="95">
                  <c:v>40486</c:v>
                </c:pt>
                <c:pt idx="96">
                  <c:v>40487</c:v>
                </c:pt>
                <c:pt idx="97">
                  <c:v>40490</c:v>
                </c:pt>
                <c:pt idx="98">
                  <c:v>40491</c:v>
                </c:pt>
                <c:pt idx="99">
                  <c:v>40492</c:v>
                </c:pt>
                <c:pt idx="100">
                  <c:v>40493</c:v>
                </c:pt>
                <c:pt idx="101">
                  <c:v>40494</c:v>
                </c:pt>
                <c:pt idx="102">
                  <c:v>40497</c:v>
                </c:pt>
                <c:pt idx="103">
                  <c:v>40498</c:v>
                </c:pt>
                <c:pt idx="104">
                  <c:v>40499</c:v>
                </c:pt>
                <c:pt idx="105">
                  <c:v>40500</c:v>
                </c:pt>
                <c:pt idx="106">
                  <c:v>40501</c:v>
                </c:pt>
                <c:pt idx="107">
                  <c:v>40504</c:v>
                </c:pt>
                <c:pt idx="108">
                  <c:v>40505</c:v>
                </c:pt>
                <c:pt idx="109">
                  <c:v>40506</c:v>
                </c:pt>
                <c:pt idx="110">
                  <c:v>40507</c:v>
                </c:pt>
                <c:pt idx="111">
                  <c:v>40508</c:v>
                </c:pt>
                <c:pt idx="112">
                  <c:v>40511</c:v>
                </c:pt>
                <c:pt idx="113">
                  <c:v>40512</c:v>
                </c:pt>
                <c:pt idx="114">
                  <c:v>40513</c:v>
                </c:pt>
                <c:pt idx="115">
                  <c:v>40514</c:v>
                </c:pt>
                <c:pt idx="116">
                  <c:v>40515</c:v>
                </c:pt>
                <c:pt idx="117">
                  <c:v>40518</c:v>
                </c:pt>
                <c:pt idx="118">
                  <c:v>40519</c:v>
                </c:pt>
                <c:pt idx="119">
                  <c:v>40520</c:v>
                </c:pt>
                <c:pt idx="120">
                  <c:v>40521</c:v>
                </c:pt>
                <c:pt idx="121">
                  <c:v>40522</c:v>
                </c:pt>
                <c:pt idx="122">
                  <c:v>40525</c:v>
                </c:pt>
                <c:pt idx="123">
                  <c:v>40526</c:v>
                </c:pt>
                <c:pt idx="124">
                  <c:v>40527</c:v>
                </c:pt>
                <c:pt idx="125">
                  <c:v>40528</c:v>
                </c:pt>
                <c:pt idx="126">
                  <c:v>40529</c:v>
                </c:pt>
                <c:pt idx="127">
                  <c:v>40532</c:v>
                </c:pt>
                <c:pt idx="128">
                  <c:v>40533</c:v>
                </c:pt>
                <c:pt idx="129">
                  <c:v>40534</c:v>
                </c:pt>
                <c:pt idx="130">
                  <c:v>40535</c:v>
                </c:pt>
                <c:pt idx="131">
                  <c:v>40536</c:v>
                </c:pt>
                <c:pt idx="132">
                  <c:v>40539</c:v>
                </c:pt>
                <c:pt idx="133">
                  <c:v>40540</c:v>
                </c:pt>
                <c:pt idx="134">
                  <c:v>40541</c:v>
                </c:pt>
                <c:pt idx="135">
                  <c:v>40542</c:v>
                </c:pt>
                <c:pt idx="136">
                  <c:v>40543</c:v>
                </c:pt>
                <c:pt idx="137">
                  <c:v>40546</c:v>
                </c:pt>
                <c:pt idx="138">
                  <c:v>40547</c:v>
                </c:pt>
                <c:pt idx="139">
                  <c:v>40548</c:v>
                </c:pt>
                <c:pt idx="140">
                  <c:v>40549</c:v>
                </c:pt>
                <c:pt idx="141">
                  <c:v>40550</c:v>
                </c:pt>
                <c:pt idx="142">
                  <c:v>40553</c:v>
                </c:pt>
                <c:pt idx="143">
                  <c:v>40554</c:v>
                </c:pt>
                <c:pt idx="144">
                  <c:v>40555</c:v>
                </c:pt>
                <c:pt idx="145">
                  <c:v>40556</c:v>
                </c:pt>
                <c:pt idx="146">
                  <c:v>40557</c:v>
                </c:pt>
                <c:pt idx="147">
                  <c:v>40560</c:v>
                </c:pt>
                <c:pt idx="148">
                  <c:v>40561</c:v>
                </c:pt>
                <c:pt idx="149">
                  <c:v>40562</c:v>
                </c:pt>
                <c:pt idx="150">
                  <c:v>40563</c:v>
                </c:pt>
                <c:pt idx="151">
                  <c:v>40564</c:v>
                </c:pt>
                <c:pt idx="152">
                  <c:v>40567</c:v>
                </c:pt>
                <c:pt idx="153">
                  <c:v>40568</c:v>
                </c:pt>
                <c:pt idx="154">
                  <c:v>40569</c:v>
                </c:pt>
                <c:pt idx="155">
                  <c:v>40570</c:v>
                </c:pt>
                <c:pt idx="156">
                  <c:v>40571</c:v>
                </c:pt>
                <c:pt idx="157">
                  <c:v>40574</c:v>
                </c:pt>
                <c:pt idx="158">
                  <c:v>40575</c:v>
                </c:pt>
                <c:pt idx="159">
                  <c:v>40576</c:v>
                </c:pt>
                <c:pt idx="160">
                  <c:v>40577</c:v>
                </c:pt>
                <c:pt idx="161">
                  <c:v>40578</c:v>
                </c:pt>
                <c:pt idx="162">
                  <c:v>40581</c:v>
                </c:pt>
                <c:pt idx="163">
                  <c:v>40582</c:v>
                </c:pt>
                <c:pt idx="164">
                  <c:v>40583</c:v>
                </c:pt>
                <c:pt idx="165">
                  <c:v>40584</c:v>
                </c:pt>
                <c:pt idx="166">
                  <c:v>40585</c:v>
                </c:pt>
                <c:pt idx="167">
                  <c:v>40588</c:v>
                </c:pt>
                <c:pt idx="168">
                  <c:v>40589</c:v>
                </c:pt>
                <c:pt idx="169">
                  <c:v>40590</c:v>
                </c:pt>
                <c:pt idx="170">
                  <c:v>40591</c:v>
                </c:pt>
                <c:pt idx="171">
                  <c:v>40592</c:v>
                </c:pt>
                <c:pt idx="172">
                  <c:v>40595</c:v>
                </c:pt>
                <c:pt idx="173">
                  <c:v>40596</c:v>
                </c:pt>
                <c:pt idx="174">
                  <c:v>40597</c:v>
                </c:pt>
                <c:pt idx="175">
                  <c:v>40598</c:v>
                </c:pt>
                <c:pt idx="176">
                  <c:v>40599</c:v>
                </c:pt>
                <c:pt idx="177">
                  <c:v>40602</c:v>
                </c:pt>
                <c:pt idx="178">
                  <c:v>40603</c:v>
                </c:pt>
                <c:pt idx="179">
                  <c:v>40604</c:v>
                </c:pt>
                <c:pt idx="180">
                  <c:v>40605</c:v>
                </c:pt>
                <c:pt idx="181">
                  <c:v>40606</c:v>
                </c:pt>
                <c:pt idx="182">
                  <c:v>40609</c:v>
                </c:pt>
                <c:pt idx="183">
                  <c:v>40610</c:v>
                </c:pt>
                <c:pt idx="184">
                  <c:v>40611</c:v>
                </c:pt>
                <c:pt idx="185">
                  <c:v>40612</c:v>
                </c:pt>
                <c:pt idx="186">
                  <c:v>40613</c:v>
                </c:pt>
                <c:pt idx="187">
                  <c:v>40616</c:v>
                </c:pt>
                <c:pt idx="188">
                  <c:v>40617</c:v>
                </c:pt>
                <c:pt idx="189">
                  <c:v>40618</c:v>
                </c:pt>
                <c:pt idx="190">
                  <c:v>40619</c:v>
                </c:pt>
                <c:pt idx="191">
                  <c:v>40620</c:v>
                </c:pt>
                <c:pt idx="192">
                  <c:v>40623</c:v>
                </c:pt>
                <c:pt idx="193">
                  <c:v>40624</c:v>
                </c:pt>
                <c:pt idx="194">
                  <c:v>40625</c:v>
                </c:pt>
                <c:pt idx="195">
                  <c:v>40626</c:v>
                </c:pt>
                <c:pt idx="196">
                  <c:v>40627</c:v>
                </c:pt>
                <c:pt idx="197">
                  <c:v>40630</c:v>
                </c:pt>
                <c:pt idx="198">
                  <c:v>40631</c:v>
                </c:pt>
                <c:pt idx="199">
                  <c:v>40632</c:v>
                </c:pt>
                <c:pt idx="200">
                  <c:v>40633</c:v>
                </c:pt>
                <c:pt idx="201">
                  <c:v>40634</c:v>
                </c:pt>
                <c:pt idx="202">
                  <c:v>40637</c:v>
                </c:pt>
                <c:pt idx="203">
                  <c:v>40638</c:v>
                </c:pt>
                <c:pt idx="204">
                  <c:v>40639</c:v>
                </c:pt>
                <c:pt idx="205">
                  <c:v>40640</c:v>
                </c:pt>
                <c:pt idx="206">
                  <c:v>40641</c:v>
                </c:pt>
                <c:pt idx="207">
                  <c:v>40644</c:v>
                </c:pt>
                <c:pt idx="208">
                  <c:v>40645</c:v>
                </c:pt>
                <c:pt idx="209">
                  <c:v>40646</c:v>
                </c:pt>
                <c:pt idx="210">
                  <c:v>40647</c:v>
                </c:pt>
                <c:pt idx="211">
                  <c:v>40648</c:v>
                </c:pt>
                <c:pt idx="212">
                  <c:v>40651</c:v>
                </c:pt>
                <c:pt idx="213">
                  <c:v>40652</c:v>
                </c:pt>
                <c:pt idx="214">
                  <c:v>40653</c:v>
                </c:pt>
                <c:pt idx="215">
                  <c:v>40654</c:v>
                </c:pt>
                <c:pt idx="216">
                  <c:v>40655</c:v>
                </c:pt>
                <c:pt idx="217">
                  <c:v>40658</c:v>
                </c:pt>
                <c:pt idx="218">
                  <c:v>40659</c:v>
                </c:pt>
                <c:pt idx="219">
                  <c:v>40660</c:v>
                </c:pt>
                <c:pt idx="220">
                  <c:v>40661</c:v>
                </c:pt>
                <c:pt idx="221">
                  <c:v>40662</c:v>
                </c:pt>
                <c:pt idx="222">
                  <c:v>40665</c:v>
                </c:pt>
                <c:pt idx="223">
                  <c:v>40666</c:v>
                </c:pt>
                <c:pt idx="224">
                  <c:v>40667</c:v>
                </c:pt>
                <c:pt idx="225">
                  <c:v>40668</c:v>
                </c:pt>
                <c:pt idx="226">
                  <c:v>40669</c:v>
                </c:pt>
                <c:pt idx="227">
                  <c:v>40672</c:v>
                </c:pt>
                <c:pt idx="228">
                  <c:v>40673</c:v>
                </c:pt>
                <c:pt idx="229">
                  <c:v>40674</c:v>
                </c:pt>
                <c:pt idx="230">
                  <c:v>40675</c:v>
                </c:pt>
                <c:pt idx="231">
                  <c:v>40676</c:v>
                </c:pt>
                <c:pt idx="232">
                  <c:v>40679</c:v>
                </c:pt>
                <c:pt idx="233">
                  <c:v>40680</c:v>
                </c:pt>
                <c:pt idx="234">
                  <c:v>40681</c:v>
                </c:pt>
                <c:pt idx="235">
                  <c:v>40682</c:v>
                </c:pt>
                <c:pt idx="236">
                  <c:v>40683</c:v>
                </c:pt>
                <c:pt idx="237">
                  <c:v>40686</c:v>
                </c:pt>
                <c:pt idx="238">
                  <c:v>40687</c:v>
                </c:pt>
                <c:pt idx="239">
                  <c:v>40688</c:v>
                </c:pt>
                <c:pt idx="240">
                  <c:v>40689</c:v>
                </c:pt>
                <c:pt idx="241">
                  <c:v>40690</c:v>
                </c:pt>
                <c:pt idx="242">
                  <c:v>40693</c:v>
                </c:pt>
                <c:pt idx="243">
                  <c:v>40694</c:v>
                </c:pt>
                <c:pt idx="244">
                  <c:v>40695</c:v>
                </c:pt>
                <c:pt idx="245">
                  <c:v>40696</c:v>
                </c:pt>
                <c:pt idx="246">
                  <c:v>40697</c:v>
                </c:pt>
                <c:pt idx="247">
                  <c:v>40700</c:v>
                </c:pt>
                <c:pt idx="248">
                  <c:v>40701</c:v>
                </c:pt>
                <c:pt idx="249">
                  <c:v>40702</c:v>
                </c:pt>
                <c:pt idx="250">
                  <c:v>40703</c:v>
                </c:pt>
                <c:pt idx="251">
                  <c:v>40704</c:v>
                </c:pt>
                <c:pt idx="252">
                  <c:v>40707</c:v>
                </c:pt>
                <c:pt idx="253">
                  <c:v>40708</c:v>
                </c:pt>
                <c:pt idx="254">
                  <c:v>40709</c:v>
                </c:pt>
                <c:pt idx="255">
                  <c:v>40710</c:v>
                </c:pt>
                <c:pt idx="256">
                  <c:v>40711</c:v>
                </c:pt>
                <c:pt idx="257">
                  <c:v>40714</c:v>
                </c:pt>
                <c:pt idx="258">
                  <c:v>40715</c:v>
                </c:pt>
                <c:pt idx="259">
                  <c:v>40716</c:v>
                </c:pt>
                <c:pt idx="260">
                  <c:v>40717</c:v>
                </c:pt>
                <c:pt idx="261">
                  <c:v>40718</c:v>
                </c:pt>
                <c:pt idx="262">
                  <c:v>40721</c:v>
                </c:pt>
                <c:pt idx="263">
                  <c:v>40722</c:v>
                </c:pt>
                <c:pt idx="264">
                  <c:v>40723</c:v>
                </c:pt>
                <c:pt idx="265">
                  <c:v>40724</c:v>
                </c:pt>
                <c:pt idx="266">
                  <c:v>40725</c:v>
                </c:pt>
                <c:pt idx="267">
                  <c:v>40728</c:v>
                </c:pt>
                <c:pt idx="268">
                  <c:v>40729</c:v>
                </c:pt>
                <c:pt idx="269">
                  <c:v>40730</c:v>
                </c:pt>
                <c:pt idx="270">
                  <c:v>40731</c:v>
                </c:pt>
                <c:pt idx="271">
                  <c:v>40732</c:v>
                </c:pt>
                <c:pt idx="272">
                  <c:v>40735</c:v>
                </c:pt>
                <c:pt idx="273">
                  <c:v>40736</c:v>
                </c:pt>
                <c:pt idx="274">
                  <c:v>40737</c:v>
                </c:pt>
                <c:pt idx="275">
                  <c:v>40738</c:v>
                </c:pt>
                <c:pt idx="276">
                  <c:v>40739</c:v>
                </c:pt>
                <c:pt idx="277">
                  <c:v>40742</c:v>
                </c:pt>
                <c:pt idx="278">
                  <c:v>40743</c:v>
                </c:pt>
                <c:pt idx="279">
                  <c:v>40744</c:v>
                </c:pt>
                <c:pt idx="280">
                  <c:v>40745</c:v>
                </c:pt>
                <c:pt idx="281">
                  <c:v>40746</c:v>
                </c:pt>
                <c:pt idx="282">
                  <c:v>40749</c:v>
                </c:pt>
                <c:pt idx="283">
                  <c:v>40750</c:v>
                </c:pt>
                <c:pt idx="284">
                  <c:v>40751</c:v>
                </c:pt>
                <c:pt idx="285">
                  <c:v>40752</c:v>
                </c:pt>
                <c:pt idx="286">
                  <c:v>40753</c:v>
                </c:pt>
                <c:pt idx="287">
                  <c:v>40756</c:v>
                </c:pt>
                <c:pt idx="288">
                  <c:v>40757</c:v>
                </c:pt>
                <c:pt idx="289">
                  <c:v>40758</c:v>
                </c:pt>
                <c:pt idx="290">
                  <c:v>40759</c:v>
                </c:pt>
                <c:pt idx="291">
                  <c:v>40760</c:v>
                </c:pt>
                <c:pt idx="292">
                  <c:v>40763</c:v>
                </c:pt>
                <c:pt idx="293">
                  <c:v>40764</c:v>
                </c:pt>
                <c:pt idx="294">
                  <c:v>40765</c:v>
                </c:pt>
                <c:pt idx="295">
                  <c:v>40766</c:v>
                </c:pt>
                <c:pt idx="296">
                  <c:v>40767</c:v>
                </c:pt>
                <c:pt idx="297">
                  <c:v>40770</c:v>
                </c:pt>
                <c:pt idx="298">
                  <c:v>40771</c:v>
                </c:pt>
                <c:pt idx="299">
                  <c:v>40772</c:v>
                </c:pt>
                <c:pt idx="300">
                  <c:v>40773</c:v>
                </c:pt>
                <c:pt idx="301">
                  <c:v>40774</c:v>
                </c:pt>
                <c:pt idx="302">
                  <c:v>40777</c:v>
                </c:pt>
                <c:pt idx="303">
                  <c:v>40778</c:v>
                </c:pt>
                <c:pt idx="304">
                  <c:v>40779</c:v>
                </c:pt>
                <c:pt idx="305">
                  <c:v>40780</c:v>
                </c:pt>
                <c:pt idx="306">
                  <c:v>40781</c:v>
                </c:pt>
                <c:pt idx="307">
                  <c:v>40784</c:v>
                </c:pt>
                <c:pt idx="308">
                  <c:v>40785</c:v>
                </c:pt>
                <c:pt idx="309">
                  <c:v>40786</c:v>
                </c:pt>
                <c:pt idx="310">
                  <c:v>40787</c:v>
                </c:pt>
                <c:pt idx="311">
                  <c:v>40788</c:v>
                </c:pt>
                <c:pt idx="312">
                  <c:v>40791</c:v>
                </c:pt>
                <c:pt idx="313">
                  <c:v>40792</c:v>
                </c:pt>
                <c:pt idx="314">
                  <c:v>40793</c:v>
                </c:pt>
                <c:pt idx="315">
                  <c:v>40794</c:v>
                </c:pt>
                <c:pt idx="316">
                  <c:v>40795</c:v>
                </c:pt>
                <c:pt idx="317">
                  <c:v>40798</c:v>
                </c:pt>
                <c:pt idx="318">
                  <c:v>40799</c:v>
                </c:pt>
                <c:pt idx="319">
                  <c:v>40800</c:v>
                </c:pt>
                <c:pt idx="320">
                  <c:v>40801</c:v>
                </c:pt>
                <c:pt idx="321">
                  <c:v>40802</c:v>
                </c:pt>
                <c:pt idx="322">
                  <c:v>40805</c:v>
                </c:pt>
                <c:pt idx="323">
                  <c:v>40806</c:v>
                </c:pt>
                <c:pt idx="324">
                  <c:v>40807</c:v>
                </c:pt>
                <c:pt idx="325">
                  <c:v>40808</c:v>
                </c:pt>
                <c:pt idx="326">
                  <c:v>40809</c:v>
                </c:pt>
                <c:pt idx="327">
                  <c:v>40812</c:v>
                </c:pt>
                <c:pt idx="328">
                  <c:v>40813</c:v>
                </c:pt>
                <c:pt idx="329">
                  <c:v>40814</c:v>
                </c:pt>
                <c:pt idx="330">
                  <c:v>40815</c:v>
                </c:pt>
                <c:pt idx="331">
                  <c:v>40816</c:v>
                </c:pt>
                <c:pt idx="332">
                  <c:v>40819</c:v>
                </c:pt>
                <c:pt idx="333">
                  <c:v>40820</c:v>
                </c:pt>
                <c:pt idx="334">
                  <c:v>40821</c:v>
                </c:pt>
                <c:pt idx="335">
                  <c:v>40822</c:v>
                </c:pt>
                <c:pt idx="336">
                  <c:v>40823</c:v>
                </c:pt>
                <c:pt idx="337">
                  <c:v>40826</c:v>
                </c:pt>
                <c:pt idx="338">
                  <c:v>40827</c:v>
                </c:pt>
                <c:pt idx="339">
                  <c:v>40828</c:v>
                </c:pt>
                <c:pt idx="340">
                  <c:v>40829</c:v>
                </c:pt>
                <c:pt idx="341">
                  <c:v>40830</c:v>
                </c:pt>
                <c:pt idx="342">
                  <c:v>40833</c:v>
                </c:pt>
                <c:pt idx="343">
                  <c:v>40834</c:v>
                </c:pt>
                <c:pt idx="344">
                  <c:v>40835</c:v>
                </c:pt>
                <c:pt idx="345">
                  <c:v>40836</c:v>
                </c:pt>
                <c:pt idx="346">
                  <c:v>40837</c:v>
                </c:pt>
                <c:pt idx="347">
                  <c:v>40840</c:v>
                </c:pt>
                <c:pt idx="348">
                  <c:v>40841</c:v>
                </c:pt>
                <c:pt idx="349">
                  <c:v>40842</c:v>
                </c:pt>
                <c:pt idx="350">
                  <c:v>40843</c:v>
                </c:pt>
                <c:pt idx="351">
                  <c:v>40844</c:v>
                </c:pt>
                <c:pt idx="352">
                  <c:v>40847</c:v>
                </c:pt>
                <c:pt idx="353">
                  <c:v>40848</c:v>
                </c:pt>
                <c:pt idx="354">
                  <c:v>40849</c:v>
                </c:pt>
                <c:pt idx="355">
                  <c:v>40850</c:v>
                </c:pt>
                <c:pt idx="356">
                  <c:v>40851</c:v>
                </c:pt>
                <c:pt idx="357">
                  <c:v>40854</c:v>
                </c:pt>
                <c:pt idx="358">
                  <c:v>40855</c:v>
                </c:pt>
                <c:pt idx="359">
                  <c:v>40856</c:v>
                </c:pt>
                <c:pt idx="360">
                  <c:v>40857</c:v>
                </c:pt>
                <c:pt idx="361">
                  <c:v>40858</c:v>
                </c:pt>
                <c:pt idx="362">
                  <c:v>40861</c:v>
                </c:pt>
                <c:pt idx="363">
                  <c:v>40862</c:v>
                </c:pt>
                <c:pt idx="364">
                  <c:v>40863</c:v>
                </c:pt>
                <c:pt idx="365">
                  <c:v>40864</c:v>
                </c:pt>
                <c:pt idx="366">
                  <c:v>40865</c:v>
                </c:pt>
                <c:pt idx="367">
                  <c:v>40868</c:v>
                </c:pt>
                <c:pt idx="368">
                  <c:v>40869</c:v>
                </c:pt>
                <c:pt idx="369">
                  <c:v>40870</c:v>
                </c:pt>
                <c:pt idx="370">
                  <c:v>40871</c:v>
                </c:pt>
                <c:pt idx="371">
                  <c:v>40872</c:v>
                </c:pt>
                <c:pt idx="372">
                  <c:v>40875</c:v>
                </c:pt>
                <c:pt idx="373">
                  <c:v>40876</c:v>
                </c:pt>
                <c:pt idx="374">
                  <c:v>40877</c:v>
                </c:pt>
                <c:pt idx="375">
                  <c:v>40878</c:v>
                </c:pt>
                <c:pt idx="376">
                  <c:v>40879</c:v>
                </c:pt>
                <c:pt idx="377">
                  <c:v>40882</c:v>
                </c:pt>
                <c:pt idx="378">
                  <c:v>40883</c:v>
                </c:pt>
                <c:pt idx="379">
                  <c:v>40884</c:v>
                </c:pt>
                <c:pt idx="380">
                  <c:v>40885</c:v>
                </c:pt>
                <c:pt idx="381">
                  <c:v>40886</c:v>
                </c:pt>
                <c:pt idx="382">
                  <c:v>40889</c:v>
                </c:pt>
                <c:pt idx="383">
                  <c:v>40890</c:v>
                </c:pt>
                <c:pt idx="384">
                  <c:v>40891</c:v>
                </c:pt>
                <c:pt idx="385">
                  <c:v>40892</c:v>
                </c:pt>
                <c:pt idx="386">
                  <c:v>40893</c:v>
                </c:pt>
                <c:pt idx="387">
                  <c:v>40896</c:v>
                </c:pt>
                <c:pt idx="388">
                  <c:v>40897</c:v>
                </c:pt>
                <c:pt idx="389">
                  <c:v>40898</c:v>
                </c:pt>
                <c:pt idx="390">
                  <c:v>40899</c:v>
                </c:pt>
                <c:pt idx="391">
                  <c:v>40900</c:v>
                </c:pt>
                <c:pt idx="392">
                  <c:v>40903</c:v>
                </c:pt>
                <c:pt idx="393">
                  <c:v>40904</c:v>
                </c:pt>
                <c:pt idx="394">
                  <c:v>40905</c:v>
                </c:pt>
                <c:pt idx="395">
                  <c:v>40906</c:v>
                </c:pt>
                <c:pt idx="396">
                  <c:v>40907</c:v>
                </c:pt>
                <c:pt idx="397">
                  <c:v>40910</c:v>
                </c:pt>
                <c:pt idx="398">
                  <c:v>40911</c:v>
                </c:pt>
                <c:pt idx="399">
                  <c:v>40912</c:v>
                </c:pt>
                <c:pt idx="400">
                  <c:v>40913</c:v>
                </c:pt>
                <c:pt idx="401">
                  <c:v>40914</c:v>
                </c:pt>
                <c:pt idx="402">
                  <c:v>40917</c:v>
                </c:pt>
                <c:pt idx="403">
                  <c:v>40918</c:v>
                </c:pt>
                <c:pt idx="404">
                  <c:v>40919</c:v>
                </c:pt>
                <c:pt idx="405">
                  <c:v>40920</c:v>
                </c:pt>
                <c:pt idx="406">
                  <c:v>40921</c:v>
                </c:pt>
                <c:pt idx="407">
                  <c:v>40924</c:v>
                </c:pt>
                <c:pt idx="408">
                  <c:v>40925</c:v>
                </c:pt>
                <c:pt idx="409">
                  <c:v>40926</c:v>
                </c:pt>
                <c:pt idx="410">
                  <c:v>40927</c:v>
                </c:pt>
                <c:pt idx="411">
                  <c:v>40928</c:v>
                </c:pt>
                <c:pt idx="412">
                  <c:v>40931</c:v>
                </c:pt>
                <c:pt idx="413">
                  <c:v>40932</c:v>
                </c:pt>
                <c:pt idx="414">
                  <c:v>40933</c:v>
                </c:pt>
                <c:pt idx="415">
                  <c:v>40934</c:v>
                </c:pt>
                <c:pt idx="416">
                  <c:v>40935</c:v>
                </c:pt>
                <c:pt idx="417">
                  <c:v>40938</c:v>
                </c:pt>
                <c:pt idx="418">
                  <c:v>40939</c:v>
                </c:pt>
                <c:pt idx="419">
                  <c:v>40940</c:v>
                </c:pt>
                <c:pt idx="420">
                  <c:v>40941</c:v>
                </c:pt>
                <c:pt idx="421">
                  <c:v>40942</c:v>
                </c:pt>
                <c:pt idx="422">
                  <c:v>40945</c:v>
                </c:pt>
                <c:pt idx="423">
                  <c:v>40946</c:v>
                </c:pt>
                <c:pt idx="424">
                  <c:v>40947</c:v>
                </c:pt>
                <c:pt idx="425">
                  <c:v>40948</c:v>
                </c:pt>
                <c:pt idx="426">
                  <c:v>40949</c:v>
                </c:pt>
                <c:pt idx="427">
                  <c:v>40952</c:v>
                </c:pt>
                <c:pt idx="428">
                  <c:v>40953</c:v>
                </c:pt>
                <c:pt idx="429">
                  <c:v>40954</c:v>
                </c:pt>
                <c:pt idx="430">
                  <c:v>40955</c:v>
                </c:pt>
                <c:pt idx="431">
                  <c:v>40956</c:v>
                </c:pt>
                <c:pt idx="432">
                  <c:v>40959</c:v>
                </c:pt>
                <c:pt idx="433">
                  <c:v>40960</c:v>
                </c:pt>
                <c:pt idx="434">
                  <c:v>40961</c:v>
                </c:pt>
                <c:pt idx="435">
                  <c:v>40962</c:v>
                </c:pt>
                <c:pt idx="436">
                  <c:v>40963</c:v>
                </c:pt>
                <c:pt idx="437">
                  <c:v>40966</c:v>
                </c:pt>
                <c:pt idx="438">
                  <c:v>40967</c:v>
                </c:pt>
                <c:pt idx="439">
                  <c:v>40968</c:v>
                </c:pt>
                <c:pt idx="440">
                  <c:v>40969</c:v>
                </c:pt>
                <c:pt idx="441">
                  <c:v>40970</c:v>
                </c:pt>
                <c:pt idx="442">
                  <c:v>40973</c:v>
                </c:pt>
                <c:pt idx="443">
                  <c:v>40974</c:v>
                </c:pt>
                <c:pt idx="444">
                  <c:v>40975</c:v>
                </c:pt>
                <c:pt idx="445">
                  <c:v>40976</c:v>
                </c:pt>
                <c:pt idx="446">
                  <c:v>40977</c:v>
                </c:pt>
                <c:pt idx="447">
                  <c:v>40980</c:v>
                </c:pt>
                <c:pt idx="448">
                  <c:v>40981</c:v>
                </c:pt>
                <c:pt idx="449">
                  <c:v>40982</c:v>
                </c:pt>
                <c:pt idx="450">
                  <c:v>40983</c:v>
                </c:pt>
                <c:pt idx="451">
                  <c:v>40984</c:v>
                </c:pt>
                <c:pt idx="452">
                  <c:v>40987</c:v>
                </c:pt>
                <c:pt idx="453">
                  <c:v>40988</c:v>
                </c:pt>
                <c:pt idx="454">
                  <c:v>40989</c:v>
                </c:pt>
                <c:pt idx="455">
                  <c:v>40990</c:v>
                </c:pt>
                <c:pt idx="456">
                  <c:v>40991</c:v>
                </c:pt>
                <c:pt idx="457">
                  <c:v>40994</c:v>
                </c:pt>
                <c:pt idx="458">
                  <c:v>40995</c:v>
                </c:pt>
                <c:pt idx="459">
                  <c:v>40996</c:v>
                </c:pt>
                <c:pt idx="460">
                  <c:v>40997</c:v>
                </c:pt>
                <c:pt idx="461">
                  <c:v>40998</c:v>
                </c:pt>
                <c:pt idx="462">
                  <c:v>41001</c:v>
                </c:pt>
                <c:pt idx="463">
                  <c:v>41002</c:v>
                </c:pt>
                <c:pt idx="464">
                  <c:v>41003</c:v>
                </c:pt>
                <c:pt idx="465">
                  <c:v>41004</c:v>
                </c:pt>
                <c:pt idx="466">
                  <c:v>41005</c:v>
                </c:pt>
                <c:pt idx="467">
                  <c:v>41008</c:v>
                </c:pt>
                <c:pt idx="468">
                  <c:v>41009</c:v>
                </c:pt>
                <c:pt idx="469">
                  <c:v>41010</c:v>
                </c:pt>
                <c:pt idx="470">
                  <c:v>41011</c:v>
                </c:pt>
                <c:pt idx="471">
                  <c:v>41012</c:v>
                </c:pt>
                <c:pt idx="472">
                  <c:v>41015</c:v>
                </c:pt>
                <c:pt idx="473">
                  <c:v>41016</c:v>
                </c:pt>
                <c:pt idx="474">
                  <c:v>41017</c:v>
                </c:pt>
                <c:pt idx="475">
                  <c:v>41018</c:v>
                </c:pt>
                <c:pt idx="476">
                  <c:v>41019</c:v>
                </c:pt>
                <c:pt idx="477">
                  <c:v>41022</c:v>
                </c:pt>
                <c:pt idx="478">
                  <c:v>41023</c:v>
                </c:pt>
                <c:pt idx="479">
                  <c:v>41024</c:v>
                </c:pt>
                <c:pt idx="480">
                  <c:v>41025</c:v>
                </c:pt>
                <c:pt idx="481">
                  <c:v>41026</c:v>
                </c:pt>
                <c:pt idx="482">
                  <c:v>41029</c:v>
                </c:pt>
                <c:pt idx="483">
                  <c:v>41030</c:v>
                </c:pt>
                <c:pt idx="484">
                  <c:v>41031</c:v>
                </c:pt>
                <c:pt idx="485">
                  <c:v>41032</c:v>
                </c:pt>
                <c:pt idx="486">
                  <c:v>41033</c:v>
                </c:pt>
                <c:pt idx="487">
                  <c:v>41036</c:v>
                </c:pt>
                <c:pt idx="488">
                  <c:v>41037</c:v>
                </c:pt>
                <c:pt idx="489">
                  <c:v>41038</c:v>
                </c:pt>
                <c:pt idx="490">
                  <c:v>41039</c:v>
                </c:pt>
                <c:pt idx="491">
                  <c:v>41040</c:v>
                </c:pt>
                <c:pt idx="492">
                  <c:v>41043</c:v>
                </c:pt>
                <c:pt idx="493">
                  <c:v>41044</c:v>
                </c:pt>
                <c:pt idx="494">
                  <c:v>41045</c:v>
                </c:pt>
                <c:pt idx="495">
                  <c:v>41046</c:v>
                </c:pt>
                <c:pt idx="496">
                  <c:v>41047</c:v>
                </c:pt>
                <c:pt idx="497">
                  <c:v>41050</c:v>
                </c:pt>
                <c:pt idx="498">
                  <c:v>41051</c:v>
                </c:pt>
                <c:pt idx="499">
                  <c:v>41052</c:v>
                </c:pt>
                <c:pt idx="500">
                  <c:v>41053</c:v>
                </c:pt>
                <c:pt idx="501">
                  <c:v>41054</c:v>
                </c:pt>
                <c:pt idx="502">
                  <c:v>41057</c:v>
                </c:pt>
                <c:pt idx="503">
                  <c:v>41058</c:v>
                </c:pt>
                <c:pt idx="504">
                  <c:v>41059</c:v>
                </c:pt>
                <c:pt idx="505">
                  <c:v>41060</c:v>
                </c:pt>
                <c:pt idx="506">
                  <c:v>41061</c:v>
                </c:pt>
                <c:pt idx="507">
                  <c:v>41064</c:v>
                </c:pt>
                <c:pt idx="508">
                  <c:v>41065</c:v>
                </c:pt>
                <c:pt idx="509">
                  <c:v>41066</c:v>
                </c:pt>
                <c:pt idx="510">
                  <c:v>41067</c:v>
                </c:pt>
                <c:pt idx="511">
                  <c:v>41068</c:v>
                </c:pt>
                <c:pt idx="512">
                  <c:v>41071</c:v>
                </c:pt>
                <c:pt idx="513">
                  <c:v>41072</c:v>
                </c:pt>
                <c:pt idx="514">
                  <c:v>41073</c:v>
                </c:pt>
                <c:pt idx="515">
                  <c:v>41074</c:v>
                </c:pt>
                <c:pt idx="516">
                  <c:v>41075</c:v>
                </c:pt>
                <c:pt idx="517">
                  <c:v>41078</c:v>
                </c:pt>
                <c:pt idx="518">
                  <c:v>41079</c:v>
                </c:pt>
                <c:pt idx="519">
                  <c:v>41080</c:v>
                </c:pt>
                <c:pt idx="520">
                  <c:v>41081</c:v>
                </c:pt>
                <c:pt idx="521">
                  <c:v>41082</c:v>
                </c:pt>
                <c:pt idx="522">
                  <c:v>41085</c:v>
                </c:pt>
                <c:pt idx="523">
                  <c:v>41086</c:v>
                </c:pt>
                <c:pt idx="524">
                  <c:v>41087</c:v>
                </c:pt>
                <c:pt idx="525">
                  <c:v>41088</c:v>
                </c:pt>
                <c:pt idx="526">
                  <c:v>41089</c:v>
                </c:pt>
                <c:pt idx="527">
                  <c:v>41092</c:v>
                </c:pt>
                <c:pt idx="528">
                  <c:v>41093</c:v>
                </c:pt>
                <c:pt idx="529">
                  <c:v>41094</c:v>
                </c:pt>
                <c:pt idx="530">
                  <c:v>41095</c:v>
                </c:pt>
                <c:pt idx="531">
                  <c:v>41096</c:v>
                </c:pt>
                <c:pt idx="532">
                  <c:v>41099</c:v>
                </c:pt>
                <c:pt idx="533">
                  <c:v>41100</c:v>
                </c:pt>
                <c:pt idx="534">
                  <c:v>41101</c:v>
                </c:pt>
                <c:pt idx="535">
                  <c:v>41102</c:v>
                </c:pt>
                <c:pt idx="536">
                  <c:v>41103</c:v>
                </c:pt>
                <c:pt idx="537">
                  <c:v>41106</c:v>
                </c:pt>
                <c:pt idx="538">
                  <c:v>41107</c:v>
                </c:pt>
                <c:pt idx="539">
                  <c:v>41108</c:v>
                </c:pt>
                <c:pt idx="540">
                  <c:v>41109</c:v>
                </c:pt>
                <c:pt idx="541">
                  <c:v>41110</c:v>
                </c:pt>
                <c:pt idx="542">
                  <c:v>41113</c:v>
                </c:pt>
                <c:pt idx="543">
                  <c:v>41114</c:v>
                </c:pt>
                <c:pt idx="544">
                  <c:v>41115</c:v>
                </c:pt>
                <c:pt idx="545">
                  <c:v>41116</c:v>
                </c:pt>
                <c:pt idx="546">
                  <c:v>41117</c:v>
                </c:pt>
                <c:pt idx="547">
                  <c:v>41120</c:v>
                </c:pt>
                <c:pt idx="548">
                  <c:v>41121</c:v>
                </c:pt>
                <c:pt idx="549">
                  <c:v>41122</c:v>
                </c:pt>
                <c:pt idx="550">
                  <c:v>41123</c:v>
                </c:pt>
                <c:pt idx="551">
                  <c:v>41124</c:v>
                </c:pt>
                <c:pt idx="552">
                  <c:v>41127</c:v>
                </c:pt>
                <c:pt idx="553">
                  <c:v>41128</c:v>
                </c:pt>
                <c:pt idx="554">
                  <c:v>41129</c:v>
                </c:pt>
                <c:pt idx="555">
                  <c:v>41130</c:v>
                </c:pt>
                <c:pt idx="556">
                  <c:v>41131</c:v>
                </c:pt>
                <c:pt idx="557">
                  <c:v>41134</c:v>
                </c:pt>
                <c:pt idx="558">
                  <c:v>41135</c:v>
                </c:pt>
                <c:pt idx="559">
                  <c:v>41136</c:v>
                </c:pt>
                <c:pt idx="560">
                  <c:v>41137</c:v>
                </c:pt>
                <c:pt idx="561">
                  <c:v>41138</c:v>
                </c:pt>
                <c:pt idx="562">
                  <c:v>41141</c:v>
                </c:pt>
                <c:pt idx="563">
                  <c:v>41142</c:v>
                </c:pt>
                <c:pt idx="564">
                  <c:v>41143</c:v>
                </c:pt>
                <c:pt idx="565">
                  <c:v>41144</c:v>
                </c:pt>
                <c:pt idx="566">
                  <c:v>41145</c:v>
                </c:pt>
                <c:pt idx="567">
                  <c:v>41148</c:v>
                </c:pt>
                <c:pt idx="568">
                  <c:v>41149</c:v>
                </c:pt>
                <c:pt idx="569">
                  <c:v>41150</c:v>
                </c:pt>
                <c:pt idx="570">
                  <c:v>41151</c:v>
                </c:pt>
                <c:pt idx="571">
                  <c:v>41152</c:v>
                </c:pt>
                <c:pt idx="572">
                  <c:v>41155</c:v>
                </c:pt>
                <c:pt idx="573">
                  <c:v>41156</c:v>
                </c:pt>
                <c:pt idx="574">
                  <c:v>41157</c:v>
                </c:pt>
                <c:pt idx="575">
                  <c:v>41158</c:v>
                </c:pt>
                <c:pt idx="576">
                  <c:v>41159</c:v>
                </c:pt>
                <c:pt idx="577">
                  <c:v>41162</c:v>
                </c:pt>
                <c:pt idx="578">
                  <c:v>41163</c:v>
                </c:pt>
                <c:pt idx="579">
                  <c:v>41164</c:v>
                </c:pt>
                <c:pt idx="580">
                  <c:v>41165</c:v>
                </c:pt>
                <c:pt idx="581">
                  <c:v>41166</c:v>
                </c:pt>
                <c:pt idx="582">
                  <c:v>41169</c:v>
                </c:pt>
                <c:pt idx="583">
                  <c:v>41170</c:v>
                </c:pt>
                <c:pt idx="584">
                  <c:v>41171</c:v>
                </c:pt>
                <c:pt idx="585">
                  <c:v>41172</c:v>
                </c:pt>
                <c:pt idx="586">
                  <c:v>41173</c:v>
                </c:pt>
                <c:pt idx="587">
                  <c:v>41176</c:v>
                </c:pt>
                <c:pt idx="588">
                  <c:v>41177</c:v>
                </c:pt>
                <c:pt idx="589">
                  <c:v>41178</c:v>
                </c:pt>
                <c:pt idx="590">
                  <c:v>41179</c:v>
                </c:pt>
                <c:pt idx="591">
                  <c:v>41180</c:v>
                </c:pt>
                <c:pt idx="592">
                  <c:v>41183</c:v>
                </c:pt>
                <c:pt idx="593">
                  <c:v>41184</c:v>
                </c:pt>
                <c:pt idx="594">
                  <c:v>41185</c:v>
                </c:pt>
                <c:pt idx="595">
                  <c:v>41186</c:v>
                </c:pt>
                <c:pt idx="596">
                  <c:v>41187</c:v>
                </c:pt>
                <c:pt idx="597">
                  <c:v>41190</c:v>
                </c:pt>
                <c:pt idx="598">
                  <c:v>41191</c:v>
                </c:pt>
                <c:pt idx="599">
                  <c:v>41192</c:v>
                </c:pt>
                <c:pt idx="600">
                  <c:v>41193</c:v>
                </c:pt>
                <c:pt idx="601">
                  <c:v>41194</c:v>
                </c:pt>
                <c:pt idx="602">
                  <c:v>41197</c:v>
                </c:pt>
                <c:pt idx="603">
                  <c:v>41198</c:v>
                </c:pt>
                <c:pt idx="604">
                  <c:v>41199</c:v>
                </c:pt>
                <c:pt idx="605">
                  <c:v>41200</c:v>
                </c:pt>
                <c:pt idx="606">
                  <c:v>41201</c:v>
                </c:pt>
                <c:pt idx="607">
                  <c:v>41204</c:v>
                </c:pt>
                <c:pt idx="608">
                  <c:v>41205</c:v>
                </c:pt>
                <c:pt idx="609">
                  <c:v>41206</c:v>
                </c:pt>
                <c:pt idx="610">
                  <c:v>41207</c:v>
                </c:pt>
                <c:pt idx="611">
                  <c:v>41208</c:v>
                </c:pt>
                <c:pt idx="612">
                  <c:v>41211</c:v>
                </c:pt>
                <c:pt idx="613">
                  <c:v>41212</c:v>
                </c:pt>
                <c:pt idx="614">
                  <c:v>41213</c:v>
                </c:pt>
                <c:pt idx="615">
                  <c:v>41214</c:v>
                </c:pt>
                <c:pt idx="616">
                  <c:v>41215</c:v>
                </c:pt>
                <c:pt idx="617">
                  <c:v>41218</c:v>
                </c:pt>
                <c:pt idx="618">
                  <c:v>41219</c:v>
                </c:pt>
                <c:pt idx="619">
                  <c:v>41220</c:v>
                </c:pt>
                <c:pt idx="620">
                  <c:v>41221</c:v>
                </c:pt>
                <c:pt idx="621">
                  <c:v>41222</c:v>
                </c:pt>
                <c:pt idx="622">
                  <c:v>41225</c:v>
                </c:pt>
                <c:pt idx="623">
                  <c:v>41226</c:v>
                </c:pt>
                <c:pt idx="624">
                  <c:v>41227</c:v>
                </c:pt>
                <c:pt idx="625">
                  <c:v>41228</c:v>
                </c:pt>
                <c:pt idx="626">
                  <c:v>41229</c:v>
                </c:pt>
                <c:pt idx="627">
                  <c:v>41232</c:v>
                </c:pt>
                <c:pt idx="628">
                  <c:v>41233</c:v>
                </c:pt>
                <c:pt idx="629">
                  <c:v>41234</c:v>
                </c:pt>
                <c:pt idx="630">
                  <c:v>41235</c:v>
                </c:pt>
                <c:pt idx="631">
                  <c:v>41236</c:v>
                </c:pt>
                <c:pt idx="632">
                  <c:v>41239</c:v>
                </c:pt>
                <c:pt idx="633">
                  <c:v>41240</c:v>
                </c:pt>
                <c:pt idx="634">
                  <c:v>41241</c:v>
                </c:pt>
                <c:pt idx="635">
                  <c:v>41242</c:v>
                </c:pt>
                <c:pt idx="636">
                  <c:v>41243</c:v>
                </c:pt>
                <c:pt idx="637">
                  <c:v>41246</c:v>
                </c:pt>
                <c:pt idx="638">
                  <c:v>41247</c:v>
                </c:pt>
                <c:pt idx="639">
                  <c:v>41248</c:v>
                </c:pt>
                <c:pt idx="640">
                  <c:v>41249</c:v>
                </c:pt>
                <c:pt idx="641">
                  <c:v>41250</c:v>
                </c:pt>
                <c:pt idx="642">
                  <c:v>41253</c:v>
                </c:pt>
                <c:pt idx="643">
                  <c:v>41254</c:v>
                </c:pt>
                <c:pt idx="644">
                  <c:v>41255</c:v>
                </c:pt>
                <c:pt idx="645">
                  <c:v>41256</c:v>
                </c:pt>
                <c:pt idx="646">
                  <c:v>41257</c:v>
                </c:pt>
                <c:pt idx="647">
                  <c:v>41260</c:v>
                </c:pt>
                <c:pt idx="648">
                  <c:v>41261</c:v>
                </c:pt>
                <c:pt idx="649">
                  <c:v>41262</c:v>
                </c:pt>
                <c:pt idx="650">
                  <c:v>41263</c:v>
                </c:pt>
                <c:pt idx="651">
                  <c:v>41264</c:v>
                </c:pt>
                <c:pt idx="652">
                  <c:v>41267</c:v>
                </c:pt>
                <c:pt idx="653">
                  <c:v>41268</c:v>
                </c:pt>
                <c:pt idx="654">
                  <c:v>41269</c:v>
                </c:pt>
                <c:pt idx="655">
                  <c:v>41270</c:v>
                </c:pt>
                <c:pt idx="656">
                  <c:v>41271</c:v>
                </c:pt>
                <c:pt idx="657">
                  <c:v>41274</c:v>
                </c:pt>
                <c:pt idx="658">
                  <c:v>41275</c:v>
                </c:pt>
                <c:pt idx="659">
                  <c:v>41276</c:v>
                </c:pt>
                <c:pt idx="660">
                  <c:v>41277</c:v>
                </c:pt>
                <c:pt idx="661">
                  <c:v>41278</c:v>
                </c:pt>
                <c:pt idx="662">
                  <c:v>41281</c:v>
                </c:pt>
                <c:pt idx="663">
                  <c:v>41282</c:v>
                </c:pt>
                <c:pt idx="664">
                  <c:v>41283</c:v>
                </c:pt>
                <c:pt idx="665">
                  <c:v>41284</c:v>
                </c:pt>
                <c:pt idx="666">
                  <c:v>41285</c:v>
                </c:pt>
                <c:pt idx="667">
                  <c:v>41288</c:v>
                </c:pt>
                <c:pt idx="668">
                  <c:v>41289</c:v>
                </c:pt>
                <c:pt idx="669">
                  <c:v>41290</c:v>
                </c:pt>
                <c:pt idx="670">
                  <c:v>41291</c:v>
                </c:pt>
                <c:pt idx="671">
                  <c:v>41292</c:v>
                </c:pt>
                <c:pt idx="672">
                  <c:v>41295</c:v>
                </c:pt>
                <c:pt idx="673">
                  <c:v>41296</c:v>
                </c:pt>
                <c:pt idx="674">
                  <c:v>41297</c:v>
                </c:pt>
                <c:pt idx="675">
                  <c:v>41298</c:v>
                </c:pt>
                <c:pt idx="676">
                  <c:v>41299</c:v>
                </c:pt>
                <c:pt idx="677">
                  <c:v>41302</c:v>
                </c:pt>
                <c:pt idx="678">
                  <c:v>41303</c:v>
                </c:pt>
                <c:pt idx="679">
                  <c:v>41304</c:v>
                </c:pt>
                <c:pt idx="680">
                  <c:v>41305</c:v>
                </c:pt>
                <c:pt idx="681">
                  <c:v>41306</c:v>
                </c:pt>
                <c:pt idx="682">
                  <c:v>41309</c:v>
                </c:pt>
                <c:pt idx="683">
                  <c:v>41310</c:v>
                </c:pt>
                <c:pt idx="684">
                  <c:v>41311</c:v>
                </c:pt>
                <c:pt idx="685">
                  <c:v>41312</c:v>
                </c:pt>
                <c:pt idx="686">
                  <c:v>41313</c:v>
                </c:pt>
                <c:pt idx="687">
                  <c:v>41316</c:v>
                </c:pt>
                <c:pt idx="688">
                  <c:v>41317</c:v>
                </c:pt>
                <c:pt idx="689">
                  <c:v>41318</c:v>
                </c:pt>
                <c:pt idx="690">
                  <c:v>41319</c:v>
                </c:pt>
                <c:pt idx="691">
                  <c:v>41320</c:v>
                </c:pt>
                <c:pt idx="692">
                  <c:v>41323</c:v>
                </c:pt>
                <c:pt idx="693">
                  <c:v>41324</c:v>
                </c:pt>
                <c:pt idx="694">
                  <c:v>41325</c:v>
                </c:pt>
                <c:pt idx="695">
                  <c:v>41326</c:v>
                </c:pt>
                <c:pt idx="696">
                  <c:v>41327</c:v>
                </c:pt>
                <c:pt idx="697">
                  <c:v>41330</c:v>
                </c:pt>
                <c:pt idx="698">
                  <c:v>41331</c:v>
                </c:pt>
                <c:pt idx="699">
                  <c:v>41332</c:v>
                </c:pt>
                <c:pt idx="700">
                  <c:v>41333</c:v>
                </c:pt>
                <c:pt idx="701">
                  <c:v>41334</c:v>
                </c:pt>
                <c:pt idx="702">
                  <c:v>41337</c:v>
                </c:pt>
                <c:pt idx="703">
                  <c:v>41338</c:v>
                </c:pt>
                <c:pt idx="704">
                  <c:v>41339</c:v>
                </c:pt>
                <c:pt idx="705">
                  <c:v>41340</c:v>
                </c:pt>
                <c:pt idx="706">
                  <c:v>41341</c:v>
                </c:pt>
                <c:pt idx="707">
                  <c:v>41344</c:v>
                </c:pt>
                <c:pt idx="708">
                  <c:v>41345</c:v>
                </c:pt>
                <c:pt idx="709">
                  <c:v>41346</c:v>
                </c:pt>
                <c:pt idx="710">
                  <c:v>41347</c:v>
                </c:pt>
                <c:pt idx="711">
                  <c:v>41348</c:v>
                </c:pt>
                <c:pt idx="712">
                  <c:v>41351</c:v>
                </c:pt>
                <c:pt idx="713">
                  <c:v>41352</c:v>
                </c:pt>
                <c:pt idx="714">
                  <c:v>41353</c:v>
                </c:pt>
                <c:pt idx="715">
                  <c:v>41354</c:v>
                </c:pt>
                <c:pt idx="716">
                  <c:v>41355</c:v>
                </c:pt>
                <c:pt idx="717">
                  <c:v>41358</c:v>
                </c:pt>
                <c:pt idx="718">
                  <c:v>41359</c:v>
                </c:pt>
                <c:pt idx="719">
                  <c:v>41360</c:v>
                </c:pt>
                <c:pt idx="720">
                  <c:v>41361</c:v>
                </c:pt>
                <c:pt idx="721">
                  <c:v>41362</c:v>
                </c:pt>
                <c:pt idx="722">
                  <c:v>41365</c:v>
                </c:pt>
                <c:pt idx="723">
                  <c:v>41366</c:v>
                </c:pt>
                <c:pt idx="724">
                  <c:v>41367</c:v>
                </c:pt>
                <c:pt idx="725">
                  <c:v>41368</c:v>
                </c:pt>
                <c:pt idx="726">
                  <c:v>41369</c:v>
                </c:pt>
                <c:pt idx="727">
                  <c:v>41372</c:v>
                </c:pt>
                <c:pt idx="728">
                  <c:v>41373</c:v>
                </c:pt>
                <c:pt idx="729">
                  <c:v>41374</c:v>
                </c:pt>
                <c:pt idx="730">
                  <c:v>41375</c:v>
                </c:pt>
                <c:pt idx="731">
                  <c:v>41376</c:v>
                </c:pt>
                <c:pt idx="732">
                  <c:v>41379</c:v>
                </c:pt>
                <c:pt idx="733">
                  <c:v>41380</c:v>
                </c:pt>
                <c:pt idx="734">
                  <c:v>41381</c:v>
                </c:pt>
                <c:pt idx="735">
                  <c:v>41382</c:v>
                </c:pt>
                <c:pt idx="736">
                  <c:v>41383</c:v>
                </c:pt>
                <c:pt idx="737">
                  <c:v>41386</c:v>
                </c:pt>
                <c:pt idx="738">
                  <c:v>41387</c:v>
                </c:pt>
                <c:pt idx="739">
                  <c:v>41388</c:v>
                </c:pt>
                <c:pt idx="740">
                  <c:v>41389</c:v>
                </c:pt>
                <c:pt idx="741">
                  <c:v>41390</c:v>
                </c:pt>
                <c:pt idx="742">
                  <c:v>41393</c:v>
                </c:pt>
                <c:pt idx="743">
                  <c:v>41394</c:v>
                </c:pt>
                <c:pt idx="744">
                  <c:v>41395</c:v>
                </c:pt>
                <c:pt idx="745">
                  <c:v>41396</c:v>
                </c:pt>
                <c:pt idx="746">
                  <c:v>41397</c:v>
                </c:pt>
                <c:pt idx="747">
                  <c:v>41400</c:v>
                </c:pt>
                <c:pt idx="748">
                  <c:v>41401</c:v>
                </c:pt>
                <c:pt idx="749">
                  <c:v>41402</c:v>
                </c:pt>
                <c:pt idx="750">
                  <c:v>41403</c:v>
                </c:pt>
                <c:pt idx="751">
                  <c:v>41404</c:v>
                </c:pt>
                <c:pt idx="752">
                  <c:v>41407</c:v>
                </c:pt>
                <c:pt idx="753">
                  <c:v>41408</c:v>
                </c:pt>
                <c:pt idx="754">
                  <c:v>41409</c:v>
                </c:pt>
                <c:pt idx="755">
                  <c:v>41410</c:v>
                </c:pt>
                <c:pt idx="756">
                  <c:v>41411</c:v>
                </c:pt>
                <c:pt idx="757">
                  <c:v>41414</c:v>
                </c:pt>
                <c:pt idx="758">
                  <c:v>41415</c:v>
                </c:pt>
                <c:pt idx="759">
                  <c:v>41416</c:v>
                </c:pt>
                <c:pt idx="760">
                  <c:v>41417</c:v>
                </c:pt>
                <c:pt idx="761">
                  <c:v>41418</c:v>
                </c:pt>
                <c:pt idx="762">
                  <c:v>41421</c:v>
                </c:pt>
                <c:pt idx="763">
                  <c:v>41422</c:v>
                </c:pt>
                <c:pt idx="764">
                  <c:v>41423</c:v>
                </c:pt>
                <c:pt idx="765">
                  <c:v>41424</c:v>
                </c:pt>
                <c:pt idx="766">
                  <c:v>41425</c:v>
                </c:pt>
                <c:pt idx="767">
                  <c:v>41428</c:v>
                </c:pt>
                <c:pt idx="768">
                  <c:v>41429</c:v>
                </c:pt>
                <c:pt idx="769">
                  <c:v>41430</c:v>
                </c:pt>
                <c:pt idx="770">
                  <c:v>41431</c:v>
                </c:pt>
                <c:pt idx="771">
                  <c:v>41432</c:v>
                </c:pt>
                <c:pt idx="772">
                  <c:v>41435</c:v>
                </c:pt>
                <c:pt idx="773">
                  <c:v>41436</c:v>
                </c:pt>
                <c:pt idx="774">
                  <c:v>41437</c:v>
                </c:pt>
                <c:pt idx="775">
                  <c:v>41438</c:v>
                </c:pt>
                <c:pt idx="776">
                  <c:v>41439</c:v>
                </c:pt>
                <c:pt idx="777">
                  <c:v>41442</c:v>
                </c:pt>
                <c:pt idx="778">
                  <c:v>41443</c:v>
                </c:pt>
                <c:pt idx="779">
                  <c:v>41444</c:v>
                </c:pt>
                <c:pt idx="780">
                  <c:v>41445</c:v>
                </c:pt>
                <c:pt idx="781">
                  <c:v>41446</c:v>
                </c:pt>
                <c:pt idx="782">
                  <c:v>41449</c:v>
                </c:pt>
                <c:pt idx="783">
                  <c:v>41450</c:v>
                </c:pt>
                <c:pt idx="784">
                  <c:v>41451</c:v>
                </c:pt>
                <c:pt idx="785">
                  <c:v>41452</c:v>
                </c:pt>
                <c:pt idx="786">
                  <c:v>41453</c:v>
                </c:pt>
                <c:pt idx="787">
                  <c:v>41456</c:v>
                </c:pt>
                <c:pt idx="788">
                  <c:v>41457</c:v>
                </c:pt>
                <c:pt idx="789">
                  <c:v>41458</c:v>
                </c:pt>
                <c:pt idx="790">
                  <c:v>41459</c:v>
                </c:pt>
                <c:pt idx="791">
                  <c:v>41460</c:v>
                </c:pt>
                <c:pt idx="792">
                  <c:v>41463</c:v>
                </c:pt>
                <c:pt idx="793">
                  <c:v>41464</c:v>
                </c:pt>
                <c:pt idx="794">
                  <c:v>41465</c:v>
                </c:pt>
                <c:pt idx="795">
                  <c:v>41466</c:v>
                </c:pt>
                <c:pt idx="796">
                  <c:v>41467</c:v>
                </c:pt>
                <c:pt idx="797">
                  <c:v>41470</c:v>
                </c:pt>
                <c:pt idx="798">
                  <c:v>41471</c:v>
                </c:pt>
                <c:pt idx="799">
                  <c:v>41472</c:v>
                </c:pt>
                <c:pt idx="800">
                  <c:v>41473</c:v>
                </c:pt>
                <c:pt idx="801">
                  <c:v>41474</c:v>
                </c:pt>
                <c:pt idx="802">
                  <c:v>41477</c:v>
                </c:pt>
                <c:pt idx="803">
                  <c:v>41478</c:v>
                </c:pt>
                <c:pt idx="804">
                  <c:v>41479</c:v>
                </c:pt>
                <c:pt idx="805">
                  <c:v>41480</c:v>
                </c:pt>
                <c:pt idx="806">
                  <c:v>41481</c:v>
                </c:pt>
                <c:pt idx="807">
                  <c:v>41484</c:v>
                </c:pt>
                <c:pt idx="808">
                  <c:v>41485</c:v>
                </c:pt>
                <c:pt idx="809">
                  <c:v>41486</c:v>
                </c:pt>
                <c:pt idx="810">
                  <c:v>41487</c:v>
                </c:pt>
                <c:pt idx="811">
                  <c:v>41488</c:v>
                </c:pt>
                <c:pt idx="812">
                  <c:v>41491</c:v>
                </c:pt>
                <c:pt idx="813">
                  <c:v>41492</c:v>
                </c:pt>
                <c:pt idx="814">
                  <c:v>41493</c:v>
                </c:pt>
                <c:pt idx="815">
                  <c:v>41494</c:v>
                </c:pt>
                <c:pt idx="816">
                  <c:v>41495</c:v>
                </c:pt>
                <c:pt idx="817">
                  <c:v>41498</c:v>
                </c:pt>
                <c:pt idx="818">
                  <c:v>41499</c:v>
                </c:pt>
                <c:pt idx="819">
                  <c:v>41500</c:v>
                </c:pt>
                <c:pt idx="820">
                  <c:v>41501</c:v>
                </c:pt>
                <c:pt idx="821">
                  <c:v>41502</c:v>
                </c:pt>
                <c:pt idx="822">
                  <c:v>41505</c:v>
                </c:pt>
                <c:pt idx="823">
                  <c:v>41506</c:v>
                </c:pt>
                <c:pt idx="824">
                  <c:v>41507</c:v>
                </c:pt>
                <c:pt idx="825">
                  <c:v>41508</c:v>
                </c:pt>
                <c:pt idx="826">
                  <c:v>41509</c:v>
                </c:pt>
                <c:pt idx="827">
                  <c:v>41512</c:v>
                </c:pt>
                <c:pt idx="828">
                  <c:v>41513</c:v>
                </c:pt>
                <c:pt idx="829">
                  <c:v>41514</c:v>
                </c:pt>
                <c:pt idx="830">
                  <c:v>41515</c:v>
                </c:pt>
                <c:pt idx="831">
                  <c:v>41516</c:v>
                </c:pt>
                <c:pt idx="832">
                  <c:v>41519</c:v>
                </c:pt>
                <c:pt idx="833">
                  <c:v>41520</c:v>
                </c:pt>
                <c:pt idx="834">
                  <c:v>41521</c:v>
                </c:pt>
                <c:pt idx="835">
                  <c:v>41522</c:v>
                </c:pt>
                <c:pt idx="836">
                  <c:v>41523</c:v>
                </c:pt>
                <c:pt idx="837">
                  <c:v>41526</c:v>
                </c:pt>
                <c:pt idx="838">
                  <c:v>41527</c:v>
                </c:pt>
                <c:pt idx="839">
                  <c:v>41528</c:v>
                </c:pt>
                <c:pt idx="840">
                  <c:v>41529</c:v>
                </c:pt>
                <c:pt idx="841">
                  <c:v>41530</c:v>
                </c:pt>
                <c:pt idx="842">
                  <c:v>41533</c:v>
                </c:pt>
                <c:pt idx="843">
                  <c:v>41534</c:v>
                </c:pt>
                <c:pt idx="844">
                  <c:v>41535</c:v>
                </c:pt>
                <c:pt idx="845">
                  <c:v>41536</c:v>
                </c:pt>
                <c:pt idx="846">
                  <c:v>41537</c:v>
                </c:pt>
                <c:pt idx="847">
                  <c:v>41540</c:v>
                </c:pt>
                <c:pt idx="848">
                  <c:v>41541</c:v>
                </c:pt>
                <c:pt idx="849">
                  <c:v>41542</c:v>
                </c:pt>
                <c:pt idx="850">
                  <c:v>41543</c:v>
                </c:pt>
                <c:pt idx="851">
                  <c:v>41544</c:v>
                </c:pt>
                <c:pt idx="852">
                  <c:v>41547</c:v>
                </c:pt>
                <c:pt idx="853">
                  <c:v>41548</c:v>
                </c:pt>
                <c:pt idx="854">
                  <c:v>41549</c:v>
                </c:pt>
                <c:pt idx="855">
                  <c:v>41550</c:v>
                </c:pt>
                <c:pt idx="856">
                  <c:v>41551</c:v>
                </c:pt>
                <c:pt idx="857">
                  <c:v>41554</c:v>
                </c:pt>
                <c:pt idx="858">
                  <c:v>41555</c:v>
                </c:pt>
                <c:pt idx="859">
                  <c:v>41556</c:v>
                </c:pt>
                <c:pt idx="860">
                  <c:v>41557</c:v>
                </c:pt>
                <c:pt idx="861">
                  <c:v>41558</c:v>
                </c:pt>
                <c:pt idx="862">
                  <c:v>41561</c:v>
                </c:pt>
                <c:pt idx="863">
                  <c:v>41562</c:v>
                </c:pt>
                <c:pt idx="864">
                  <c:v>41563</c:v>
                </c:pt>
                <c:pt idx="865">
                  <c:v>41564</c:v>
                </c:pt>
                <c:pt idx="866">
                  <c:v>41565</c:v>
                </c:pt>
                <c:pt idx="867">
                  <c:v>41568</c:v>
                </c:pt>
                <c:pt idx="868">
                  <c:v>41569</c:v>
                </c:pt>
                <c:pt idx="869">
                  <c:v>41570</c:v>
                </c:pt>
                <c:pt idx="870">
                  <c:v>41571</c:v>
                </c:pt>
                <c:pt idx="871">
                  <c:v>41572</c:v>
                </c:pt>
                <c:pt idx="872">
                  <c:v>41575</c:v>
                </c:pt>
                <c:pt idx="873">
                  <c:v>41576</c:v>
                </c:pt>
                <c:pt idx="874">
                  <c:v>41577</c:v>
                </c:pt>
                <c:pt idx="875">
                  <c:v>41578</c:v>
                </c:pt>
                <c:pt idx="876">
                  <c:v>41579</c:v>
                </c:pt>
                <c:pt idx="877">
                  <c:v>41582</c:v>
                </c:pt>
                <c:pt idx="878">
                  <c:v>41583</c:v>
                </c:pt>
                <c:pt idx="879">
                  <c:v>41584</c:v>
                </c:pt>
                <c:pt idx="880">
                  <c:v>41585</c:v>
                </c:pt>
                <c:pt idx="881">
                  <c:v>41586</c:v>
                </c:pt>
                <c:pt idx="882">
                  <c:v>41589</c:v>
                </c:pt>
                <c:pt idx="883">
                  <c:v>41590</c:v>
                </c:pt>
                <c:pt idx="884">
                  <c:v>41591</c:v>
                </c:pt>
                <c:pt idx="885">
                  <c:v>41592</c:v>
                </c:pt>
                <c:pt idx="886">
                  <c:v>41593</c:v>
                </c:pt>
                <c:pt idx="887">
                  <c:v>41596</c:v>
                </c:pt>
                <c:pt idx="888">
                  <c:v>41597</c:v>
                </c:pt>
                <c:pt idx="889">
                  <c:v>41598</c:v>
                </c:pt>
                <c:pt idx="890">
                  <c:v>41599</c:v>
                </c:pt>
                <c:pt idx="891">
                  <c:v>41600</c:v>
                </c:pt>
                <c:pt idx="892">
                  <c:v>41603</c:v>
                </c:pt>
                <c:pt idx="893">
                  <c:v>41604</c:v>
                </c:pt>
                <c:pt idx="894">
                  <c:v>41605</c:v>
                </c:pt>
                <c:pt idx="895">
                  <c:v>41606</c:v>
                </c:pt>
                <c:pt idx="896">
                  <c:v>41607</c:v>
                </c:pt>
                <c:pt idx="897">
                  <c:v>41610</c:v>
                </c:pt>
                <c:pt idx="898">
                  <c:v>41611</c:v>
                </c:pt>
                <c:pt idx="899">
                  <c:v>41612</c:v>
                </c:pt>
                <c:pt idx="900">
                  <c:v>41613</c:v>
                </c:pt>
                <c:pt idx="901">
                  <c:v>41614</c:v>
                </c:pt>
                <c:pt idx="902">
                  <c:v>41617</c:v>
                </c:pt>
                <c:pt idx="903">
                  <c:v>41618</c:v>
                </c:pt>
                <c:pt idx="904">
                  <c:v>41619</c:v>
                </c:pt>
                <c:pt idx="905">
                  <c:v>41620</c:v>
                </c:pt>
                <c:pt idx="906">
                  <c:v>41621</c:v>
                </c:pt>
                <c:pt idx="907">
                  <c:v>41624</c:v>
                </c:pt>
                <c:pt idx="908">
                  <c:v>41625</c:v>
                </c:pt>
                <c:pt idx="909">
                  <c:v>41626</c:v>
                </c:pt>
                <c:pt idx="910">
                  <c:v>41627</c:v>
                </c:pt>
                <c:pt idx="911">
                  <c:v>41628</c:v>
                </c:pt>
                <c:pt idx="912">
                  <c:v>41631</c:v>
                </c:pt>
                <c:pt idx="913">
                  <c:v>41632</c:v>
                </c:pt>
                <c:pt idx="914">
                  <c:v>41633</c:v>
                </c:pt>
                <c:pt idx="915">
                  <c:v>41634</c:v>
                </c:pt>
                <c:pt idx="916">
                  <c:v>41635</c:v>
                </c:pt>
                <c:pt idx="917">
                  <c:v>41638</c:v>
                </c:pt>
                <c:pt idx="918">
                  <c:v>41639</c:v>
                </c:pt>
                <c:pt idx="919">
                  <c:v>41640</c:v>
                </c:pt>
                <c:pt idx="920">
                  <c:v>41641</c:v>
                </c:pt>
                <c:pt idx="921">
                  <c:v>41642</c:v>
                </c:pt>
                <c:pt idx="922">
                  <c:v>41645</c:v>
                </c:pt>
                <c:pt idx="923">
                  <c:v>41646</c:v>
                </c:pt>
                <c:pt idx="924">
                  <c:v>41647</c:v>
                </c:pt>
                <c:pt idx="925">
                  <c:v>41648</c:v>
                </c:pt>
                <c:pt idx="926">
                  <c:v>41649</c:v>
                </c:pt>
                <c:pt idx="927">
                  <c:v>41652</c:v>
                </c:pt>
                <c:pt idx="928">
                  <c:v>41653</c:v>
                </c:pt>
                <c:pt idx="929">
                  <c:v>41654</c:v>
                </c:pt>
                <c:pt idx="930">
                  <c:v>41655</c:v>
                </c:pt>
                <c:pt idx="931">
                  <c:v>41656</c:v>
                </c:pt>
                <c:pt idx="932">
                  <c:v>41659</c:v>
                </c:pt>
                <c:pt idx="933">
                  <c:v>41660</c:v>
                </c:pt>
                <c:pt idx="934">
                  <c:v>41661</c:v>
                </c:pt>
                <c:pt idx="935">
                  <c:v>41662</c:v>
                </c:pt>
                <c:pt idx="936">
                  <c:v>41663</c:v>
                </c:pt>
                <c:pt idx="937">
                  <c:v>41666</c:v>
                </c:pt>
                <c:pt idx="938">
                  <c:v>41667</c:v>
                </c:pt>
                <c:pt idx="939">
                  <c:v>41668</c:v>
                </c:pt>
                <c:pt idx="940">
                  <c:v>41669</c:v>
                </c:pt>
                <c:pt idx="941">
                  <c:v>41670</c:v>
                </c:pt>
                <c:pt idx="942">
                  <c:v>41673</c:v>
                </c:pt>
                <c:pt idx="943">
                  <c:v>41674</c:v>
                </c:pt>
                <c:pt idx="944">
                  <c:v>41675</c:v>
                </c:pt>
                <c:pt idx="945">
                  <c:v>41676</c:v>
                </c:pt>
                <c:pt idx="946">
                  <c:v>41677</c:v>
                </c:pt>
                <c:pt idx="947">
                  <c:v>41680</c:v>
                </c:pt>
                <c:pt idx="948">
                  <c:v>41681</c:v>
                </c:pt>
                <c:pt idx="949">
                  <c:v>41682</c:v>
                </c:pt>
                <c:pt idx="950">
                  <c:v>41683</c:v>
                </c:pt>
                <c:pt idx="951">
                  <c:v>41684</c:v>
                </c:pt>
                <c:pt idx="952">
                  <c:v>41687</c:v>
                </c:pt>
                <c:pt idx="953">
                  <c:v>41688</c:v>
                </c:pt>
                <c:pt idx="954">
                  <c:v>41689</c:v>
                </c:pt>
                <c:pt idx="955">
                  <c:v>41690</c:v>
                </c:pt>
                <c:pt idx="956">
                  <c:v>41691</c:v>
                </c:pt>
                <c:pt idx="957">
                  <c:v>41694</c:v>
                </c:pt>
                <c:pt idx="958">
                  <c:v>41695</c:v>
                </c:pt>
                <c:pt idx="959">
                  <c:v>41696</c:v>
                </c:pt>
                <c:pt idx="960">
                  <c:v>41697</c:v>
                </c:pt>
                <c:pt idx="961">
                  <c:v>41698</c:v>
                </c:pt>
                <c:pt idx="962">
                  <c:v>41701</c:v>
                </c:pt>
                <c:pt idx="963">
                  <c:v>41702</c:v>
                </c:pt>
                <c:pt idx="964">
                  <c:v>41703</c:v>
                </c:pt>
                <c:pt idx="965">
                  <c:v>41704</c:v>
                </c:pt>
                <c:pt idx="966">
                  <c:v>41705</c:v>
                </c:pt>
                <c:pt idx="967">
                  <c:v>41708</c:v>
                </c:pt>
                <c:pt idx="968">
                  <c:v>41709</c:v>
                </c:pt>
                <c:pt idx="969">
                  <c:v>41710</c:v>
                </c:pt>
                <c:pt idx="970">
                  <c:v>41711</c:v>
                </c:pt>
                <c:pt idx="971">
                  <c:v>41712</c:v>
                </c:pt>
                <c:pt idx="972">
                  <c:v>41715</c:v>
                </c:pt>
                <c:pt idx="973">
                  <c:v>41716</c:v>
                </c:pt>
                <c:pt idx="974">
                  <c:v>41717</c:v>
                </c:pt>
                <c:pt idx="975">
                  <c:v>41718</c:v>
                </c:pt>
                <c:pt idx="976">
                  <c:v>41719</c:v>
                </c:pt>
                <c:pt idx="977">
                  <c:v>41722</c:v>
                </c:pt>
                <c:pt idx="978">
                  <c:v>41723</c:v>
                </c:pt>
                <c:pt idx="979">
                  <c:v>41724</c:v>
                </c:pt>
                <c:pt idx="980">
                  <c:v>41725</c:v>
                </c:pt>
                <c:pt idx="981">
                  <c:v>41726</c:v>
                </c:pt>
                <c:pt idx="982">
                  <c:v>41729</c:v>
                </c:pt>
                <c:pt idx="983">
                  <c:v>41730</c:v>
                </c:pt>
                <c:pt idx="984">
                  <c:v>41731</c:v>
                </c:pt>
                <c:pt idx="985">
                  <c:v>41732</c:v>
                </c:pt>
                <c:pt idx="986">
                  <c:v>41733</c:v>
                </c:pt>
                <c:pt idx="987">
                  <c:v>41736</c:v>
                </c:pt>
                <c:pt idx="988">
                  <c:v>41737</c:v>
                </c:pt>
                <c:pt idx="989">
                  <c:v>41738</c:v>
                </c:pt>
                <c:pt idx="990">
                  <c:v>41739</c:v>
                </c:pt>
                <c:pt idx="991">
                  <c:v>41740</c:v>
                </c:pt>
                <c:pt idx="992">
                  <c:v>41743</c:v>
                </c:pt>
                <c:pt idx="993">
                  <c:v>41744</c:v>
                </c:pt>
                <c:pt idx="994">
                  <c:v>41745</c:v>
                </c:pt>
                <c:pt idx="995">
                  <c:v>41746</c:v>
                </c:pt>
                <c:pt idx="996">
                  <c:v>41747</c:v>
                </c:pt>
                <c:pt idx="997">
                  <c:v>41750</c:v>
                </c:pt>
                <c:pt idx="998">
                  <c:v>41751</c:v>
                </c:pt>
                <c:pt idx="999">
                  <c:v>41752</c:v>
                </c:pt>
                <c:pt idx="1000">
                  <c:v>41753</c:v>
                </c:pt>
                <c:pt idx="1001">
                  <c:v>41754</c:v>
                </c:pt>
                <c:pt idx="1002">
                  <c:v>41757</c:v>
                </c:pt>
                <c:pt idx="1003">
                  <c:v>41758</c:v>
                </c:pt>
                <c:pt idx="1004">
                  <c:v>41759</c:v>
                </c:pt>
                <c:pt idx="1005">
                  <c:v>41760</c:v>
                </c:pt>
                <c:pt idx="1006">
                  <c:v>41761</c:v>
                </c:pt>
                <c:pt idx="1007">
                  <c:v>41764</c:v>
                </c:pt>
                <c:pt idx="1008">
                  <c:v>41765</c:v>
                </c:pt>
                <c:pt idx="1009">
                  <c:v>41766</c:v>
                </c:pt>
                <c:pt idx="1010">
                  <c:v>41767</c:v>
                </c:pt>
                <c:pt idx="1011">
                  <c:v>41768</c:v>
                </c:pt>
                <c:pt idx="1012">
                  <c:v>41771</c:v>
                </c:pt>
                <c:pt idx="1013">
                  <c:v>41772</c:v>
                </c:pt>
                <c:pt idx="1014">
                  <c:v>41773</c:v>
                </c:pt>
                <c:pt idx="1015">
                  <c:v>41774</c:v>
                </c:pt>
                <c:pt idx="1016">
                  <c:v>41775</c:v>
                </c:pt>
                <c:pt idx="1017">
                  <c:v>41778</c:v>
                </c:pt>
                <c:pt idx="1018">
                  <c:v>41779</c:v>
                </c:pt>
                <c:pt idx="1019">
                  <c:v>41780</c:v>
                </c:pt>
                <c:pt idx="1020">
                  <c:v>41781</c:v>
                </c:pt>
                <c:pt idx="1021">
                  <c:v>41782</c:v>
                </c:pt>
                <c:pt idx="1022">
                  <c:v>41785</c:v>
                </c:pt>
                <c:pt idx="1023">
                  <c:v>41786</c:v>
                </c:pt>
                <c:pt idx="1024">
                  <c:v>41787</c:v>
                </c:pt>
                <c:pt idx="1025">
                  <c:v>41788</c:v>
                </c:pt>
                <c:pt idx="1026">
                  <c:v>41789</c:v>
                </c:pt>
                <c:pt idx="1027">
                  <c:v>41792</c:v>
                </c:pt>
                <c:pt idx="1028">
                  <c:v>41793</c:v>
                </c:pt>
                <c:pt idx="1029">
                  <c:v>41794</c:v>
                </c:pt>
                <c:pt idx="1030">
                  <c:v>41795</c:v>
                </c:pt>
                <c:pt idx="1031">
                  <c:v>41796</c:v>
                </c:pt>
                <c:pt idx="1032">
                  <c:v>41799</c:v>
                </c:pt>
                <c:pt idx="1033">
                  <c:v>41800</c:v>
                </c:pt>
                <c:pt idx="1034">
                  <c:v>41801</c:v>
                </c:pt>
                <c:pt idx="1035">
                  <c:v>41802</c:v>
                </c:pt>
                <c:pt idx="1036">
                  <c:v>41803</c:v>
                </c:pt>
                <c:pt idx="1037">
                  <c:v>41806</c:v>
                </c:pt>
                <c:pt idx="1038">
                  <c:v>41807</c:v>
                </c:pt>
                <c:pt idx="1039">
                  <c:v>41808</c:v>
                </c:pt>
                <c:pt idx="1040">
                  <c:v>41809</c:v>
                </c:pt>
                <c:pt idx="1041">
                  <c:v>41810</c:v>
                </c:pt>
                <c:pt idx="1042">
                  <c:v>41813</c:v>
                </c:pt>
                <c:pt idx="1043">
                  <c:v>41814</c:v>
                </c:pt>
                <c:pt idx="1044">
                  <c:v>41815</c:v>
                </c:pt>
                <c:pt idx="1045">
                  <c:v>41816</c:v>
                </c:pt>
                <c:pt idx="1046">
                  <c:v>41817</c:v>
                </c:pt>
                <c:pt idx="1047">
                  <c:v>41820</c:v>
                </c:pt>
                <c:pt idx="1048">
                  <c:v>41821</c:v>
                </c:pt>
                <c:pt idx="1049">
                  <c:v>41822</c:v>
                </c:pt>
                <c:pt idx="1050">
                  <c:v>41823</c:v>
                </c:pt>
                <c:pt idx="1051">
                  <c:v>41824</c:v>
                </c:pt>
                <c:pt idx="1052">
                  <c:v>41827</c:v>
                </c:pt>
                <c:pt idx="1053">
                  <c:v>41828</c:v>
                </c:pt>
                <c:pt idx="1054">
                  <c:v>41829</c:v>
                </c:pt>
                <c:pt idx="1055">
                  <c:v>41830</c:v>
                </c:pt>
                <c:pt idx="1056">
                  <c:v>41831</c:v>
                </c:pt>
                <c:pt idx="1057">
                  <c:v>41834</c:v>
                </c:pt>
                <c:pt idx="1058">
                  <c:v>41835</c:v>
                </c:pt>
                <c:pt idx="1059">
                  <c:v>41836</c:v>
                </c:pt>
                <c:pt idx="1060">
                  <c:v>41837</c:v>
                </c:pt>
                <c:pt idx="1061">
                  <c:v>41838</c:v>
                </c:pt>
                <c:pt idx="1062">
                  <c:v>41841</c:v>
                </c:pt>
                <c:pt idx="1063">
                  <c:v>41842</c:v>
                </c:pt>
                <c:pt idx="1064">
                  <c:v>41843</c:v>
                </c:pt>
                <c:pt idx="1065">
                  <c:v>41844</c:v>
                </c:pt>
                <c:pt idx="1066">
                  <c:v>41845</c:v>
                </c:pt>
                <c:pt idx="1067">
                  <c:v>41848</c:v>
                </c:pt>
                <c:pt idx="1068">
                  <c:v>41849</c:v>
                </c:pt>
                <c:pt idx="1069">
                  <c:v>41850</c:v>
                </c:pt>
                <c:pt idx="1070">
                  <c:v>41851</c:v>
                </c:pt>
                <c:pt idx="1071">
                  <c:v>41852</c:v>
                </c:pt>
                <c:pt idx="1072">
                  <c:v>41855</c:v>
                </c:pt>
                <c:pt idx="1073">
                  <c:v>41856</c:v>
                </c:pt>
                <c:pt idx="1074">
                  <c:v>41857</c:v>
                </c:pt>
                <c:pt idx="1075">
                  <c:v>41858</c:v>
                </c:pt>
                <c:pt idx="1076">
                  <c:v>41859</c:v>
                </c:pt>
                <c:pt idx="1077">
                  <c:v>41862</c:v>
                </c:pt>
                <c:pt idx="1078">
                  <c:v>41863</c:v>
                </c:pt>
                <c:pt idx="1079">
                  <c:v>41864</c:v>
                </c:pt>
                <c:pt idx="1080">
                  <c:v>41865</c:v>
                </c:pt>
                <c:pt idx="1081">
                  <c:v>41866</c:v>
                </c:pt>
                <c:pt idx="1082">
                  <c:v>41869</c:v>
                </c:pt>
                <c:pt idx="1083">
                  <c:v>41870</c:v>
                </c:pt>
                <c:pt idx="1084">
                  <c:v>41871</c:v>
                </c:pt>
                <c:pt idx="1085">
                  <c:v>41872</c:v>
                </c:pt>
                <c:pt idx="1086">
                  <c:v>41873</c:v>
                </c:pt>
                <c:pt idx="1087">
                  <c:v>41876</c:v>
                </c:pt>
                <c:pt idx="1088">
                  <c:v>41877</c:v>
                </c:pt>
                <c:pt idx="1089">
                  <c:v>41878</c:v>
                </c:pt>
                <c:pt idx="1090">
                  <c:v>41879</c:v>
                </c:pt>
                <c:pt idx="1091">
                  <c:v>41880</c:v>
                </c:pt>
                <c:pt idx="1092">
                  <c:v>41883</c:v>
                </c:pt>
                <c:pt idx="1093">
                  <c:v>41884</c:v>
                </c:pt>
                <c:pt idx="1094">
                  <c:v>41885</c:v>
                </c:pt>
                <c:pt idx="1095">
                  <c:v>41886</c:v>
                </c:pt>
                <c:pt idx="1096">
                  <c:v>41887</c:v>
                </c:pt>
                <c:pt idx="1097">
                  <c:v>41890</c:v>
                </c:pt>
                <c:pt idx="1098">
                  <c:v>41891</c:v>
                </c:pt>
                <c:pt idx="1099">
                  <c:v>41892</c:v>
                </c:pt>
                <c:pt idx="1100">
                  <c:v>41893</c:v>
                </c:pt>
                <c:pt idx="1101">
                  <c:v>41894</c:v>
                </c:pt>
                <c:pt idx="1102">
                  <c:v>41897</c:v>
                </c:pt>
                <c:pt idx="1103">
                  <c:v>41898</c:v>
                </c:pt>
                <c:pt idx="1104">
                  <c:v>41899</c:v>
                </c:pt>
                <c:pt idx="1105">
                  <c:v>41900</c:v>
                </c:pt>
                <c:pt idx="1106">
                  <c:v>41901</c:v>
                </c:pt>
                <c:pt idx="1107">
                  <c:v>41904</c:v>
                </c:pt>
                <c:pt idx="1108">
                  <c:v>41905</c:v>
                </c:pt>
                <c:pt idx="1109">
                  <c:v>41906</c:v>
                </c:pt>
                <c:pt idx="1110">
                  <c:v>41907</c:v>
                </c:pt>
                <c:pt idx="1111">
                  <c:v>41908</c:v>
                </c:pt>
                <c:pt idx="1112">
                  <c:v>41911</c:v>
                </c:pt>
                <c:pt idx="1113">
                  <c:v>41912</c:v>
                </c:pt>
                <c:pt idx="1114">
                  <c:v>41913</c:v>
                </c:pt>
                <c:pt idx="1115">
                  <c:v>41914</c:v>
                </c:pt>
                <c:pt idx="1116">
                  <c:v>41915</c:v>
                </c:pt>
                <c:pt idx="1117">
                  <c:v>41918</c:v>
                </c:pt>
                <c:pt idx="1118">
                  <c:v>41919</c:v>
                </c:pt>
                <c:pt idx="1119">
                  <c:v>41920</c:v>
                </c:pt>
                <c:pt idx="1120">
                  <c:v>41921</c:v>
                </c:pt>
                <c:pt idx="1121">
                  <c:v>41922</c:v>
                </c:pt>
                <c:pt idx="1122">
                  <c:v>41925</c:v>
                </c:pt>
                <c:pt idx="1123">
                  <c:v>41926</c:v>
                </c:pt>
                <c:pt idx="1124">
                  <c:v>41927</c:v>
                </c:pt>
                <c:pt idx="1125">
                  <c:v>41928</c:v>
                </c:pt>
                <c:pt idx="1126">
                  <c:v>41929</c:v>
                </c:pt>
                <c:pt idx="1127">
                  <c:v>41932</c:v>
                </c:pt>
                <c:pt idx="1128">
                  <c:v>41933</c:v>
                </c:pt>
                <c:pt idx="1129">
                  <c:v>41934</c:v>
                </c:pt>
                <c:pt idx="1130">
                  <c:v>41935</c:v>
                </c:pt>
                <c:pt idx="1131">
                  <c:v>41936</c:v>
                </c:pt>
                <c:pt idx="1132">
                  <c:v>41939</c:v>
                </c:pt>
                <c:pt idx="1133">
                  <c:v>41940</c:v>
                </c:pt>
                <c:pt idx="1134">
                  <c:v>41941</c:v>
                </c:pt>
                <c:pt idx="1135">
                  <c:v>41942</c:v>
                </c:pt>
                <c:pt idx="1136">
                  <c:v>41943</c:v>
                </c:pt>
                <c:pt idx="1137">
                  <c:v>41946</c:v>
                </c:pt>
                <c:pt idx="1138">
                  <c:v>41947</c:v>
                </c:pt>
                <c:pt idx="1139">
                  <c:v>41948</c:v>
                </c:pt>
                <c:pt idx="1140">
                  <c:v>41949</c:v>
                </c:pt>
                <c:pt idx="1141">
                  <c:v>41950</c:v>
                </c:pt>
                <c:pt idx="1142">
                  <c:v>41953</c:v>
                </c:pt>
                <c:pt idx="1143">
                  <c:v>41954</c:v>
                </c:pt>
                <c:pt idx="1144">
                  <c:v>41955</c:v>
                </c:pt>
                <c:pt idx="1145">
                  <c:v>41956</c:v>
                </c:pt>
                <c:pt idx="1146">
                  <c:v>41957</c:v>
                </c:pt>
                <c:pt idx="1147">
                  <c:v>41960</c:v>
                </c:pt>
                <c:pt idx="1148">
                  <c:v>41961</c:v>
                </c:pt>
                <c:pt idx="1149">
                  <c:v>41962</c:v>
                </c:pt>
                <c:pt idx="1150">
                  <c:v>41963</c:v>
                </c:pt>
                <c:pt idx="1151">
                  <c:v>41964</c:v>
                </c:pt>
                <c:pt idx="1152">
                  <c:v>41967</c:v>
                </c:pt>
                <c:pt idx="1153">
                  <c:v>41968</c:v>
                </c:pt>
                <c:pt idx="1154">
                  <c:v>41969</c:v>
                </c:pt>
                <c:pt idx="1155">
                  <c:v>41970</c:v>
                </c:pt>
                <c:pt idx="1156">
                  <c:v>41971</c:v>
                </c:pt>
                <c:pt idx="1157">
                  <c:v>41974</c:v>
                </c:pt>
                <c:pt idx="1158">
                  <c:v>41975</c:v>
                </c:pt>
                <c:pt idx="1159">
                  <c:v>41976</c:v>
                </c:pt>
                <c:pt idx="1160">
                  <c:v>41977</c:v>
                </c:pt>
                <c:pt idx="1161">
                  <c:v>41978</c:v>
                </c:pt>
                <c:pt idx="1162">
                  <c:v>41981</c:v>
                </c:pt>
                <c:pt idx="1163">
                  <c:v>41982</c:v>
                </c:pt>
                <c:pt idx="1164">
                  <c:v>41983</c:v>
                </c:pt>
                <c:pt idx="1165">
                  <c:v>41984</c:v>
                </c:pt>
                <c:pt idx="1166">
                  <c:v>41985</c:v>
                </c:pt>
                <c:pt idx="1167">
                  <c:v>41988</c:v>
                </c:pt>
                <c:pt idx="1168">
                  <c:v>41989</c:v>
                </c:pt>
                <c:pt idx="1169">
                  <c:v>41990</c:v>
                </c:pt>
                <c:pt idx="1170">
                  <c:v>41991</c:v>
                </c:pt>
                <c:pt idx="1171">
                  <c:v>41992</c:v>
                </c:pt>
                <c:pt idx="1172">
                  <c:v>41995</c:v>
                </c:pt>
                <c:pt idx="1173">
                  <c:v>41996</c:v>
                </c:pt>
                <c:pt idx="1174">
                  <c:v>41997</c:v>
                </c:pt>
                <c:pt idx="1175">
                  <c:v>41998</c:v>
                </c:pt>
                <c:pt idx="1176">
                  <c:v>41999</c:v>
                </c:pt>
                <c:pt idx="1177">
                  <c:v>42002</c:v>
                </c:pt>
                <c:pt idx="1178">
                  <c:v>42003</c:v>
                </c:pt>
                <c:pt idx="1179">
                  <c:v>42004</c:v>
                </c:pt>
                <c:pt idx="1180">
                  <c:v>42005</c:v>
                </c:pt>
                <c:pt idx="1181">
                  <c:v>42006</c:v>
                </c:pt>
                <c:pt idx="1182">
                  <c:v>42009</c:v>
                </c:pt>
                <c:pt idx="1183">
                  <c:v>42010</c:v>
                </c:pt>
                <c:pt idx="1184">
                  <c:v>42011</c:v>
                </c:pt>
                <c:pt idx="1185">
                  <c:v>42012</c:v>
                </c:pt>
                <c:pt idx="1186">
                  <c:v>42013</c:v>
                </c:pt>
                <c:pt idx="1187">
                  <c:v>42016</c:v>
                </c:pt>
                <c:pt idx="1188">
                  <c:v>42017</c:v>
                </c:pt>
                <c:pt idx="1189">
                  <c:v>42018</c:v>
                </c:pt>
                <c:pt idx="1190">
                  <c:v>42019</c:v>
                </c:pt>
                <c:pt idx="1191">
                  <c:v>42020</c:v>
                </c:pt>
                <c:pt idx="1192">
                  <c:v>42023</c:v>
                </c:pt>
                <c:pt idx="1193">
                  <c:v>42024</c:v>
                </c:pt>
                <c:pt idx="1194">
                  <c:v>42025</c:v>
                </c:pt>
                <c:pt idx="1195">
                  <c:v>42026</c:v>
                </c:pt>
                <c:pt idx="1196">
                  <c:v>42027</c:v>
                </c:pt>
                <c:pt idx="1197">
                  <c:v>42030</c:v>
                </c:pt>
                <c:pt idx="1198">
                  <c:v>42031</c:v>
                </c:pt>
                <c:pt idx="1199">
                  <c:v>42032</c:v>
                </c:pt>
                <c:pt idx="1200">
                  <c:v>42033</c:v>
                </c:pt>
                <c:pt idx="1201">
                  <c:v>42034</c:v>
                </c:pt>
                <c:pt idx="1202">
                  <c:v>42037</c:v>
                </c:pt>
                <c:pt idx="1203">
                  <c:v>42038</c:v>
                </c:pt>
                <c:pt idx="1204">
                  <c:v>42039</c:v>
                </c:pt>
                <c:pt idx="1205">
                  <c:v>42040</c:v>
                </c:pt>
                <c:pt idx="1206">
                  <c:v>42041</c:v>
                </c:pt>
                <c:pt idx="1207">
                  <c:v>42044</c:v>
                </c:pt>
                <c:pt idx="1208">
                  <c:v>42045</c:v>
                </c:pt>
                <c:pt idx="1209">
                  <c:v>42046</c:v>
                </c:pt>
                <c:pt idx="1210">
                  <c:v>42047</c:v>
                </c:pt>
                <c:pt idx="1211">
                  <c:v>42048</c:v>
                </c:pt>
                <c:pt idx="1212">
                  <c:v>42051</c:v>
                </c:pt>
                <c:pt idx="1213">
                  <c:v>42052</c:v>
                </c:pt>
                <c:pt idx="1214">
                  <c:v>42053</c:v>
                </c:pt>
                <c:pt idx="1215">
                  <c:v>42054</c:v>
                </c:pt>
                <c:pt idx="1216">
                  <c:v>42055</c:v>
                </c:pt>
                <c:pt idx="1217">
                  <c:v>42058</c:v>
                </c:pt>
                <c:pt idx="1218">
                  <c:v>42059</c:v>
                </c:pt>
                <c:pt idx="1219">
                  <c:v>42060</c:v>
                </c:pt>
                <c:pt idx="1220">
                  <c:v>42061</c:v>
                </c:pt>
                <c:pt idx="1221">
                  <c:v>42062</c:v>
                </c:pt>
                <c:pt idx="1222">
                  <c:v>42065</c:v>
                </c:pt>
                <c:pt idx="1223">
                  <c:v>42066</c:v>
                </c:pt>
                <c:pt idx="1224">
                  <c:v>42067</c:v>
                </c:pt>
                <c:pt idx="1225">
                  <c:v>42068</c:v>
                </c:pt>
                <c:pt idx="1226">
                  <c:v>42069</c:v>
                </c:pt>
                <c:pt idx="1227">
                  <c:v>42072</c:v>
                </c:pt>
                <c:pt idx="1228">
                  <c:v>42073</c:v>
                </c:pt>
                <c:pt idx="1229">
                  <c:v>42074</c:v>
                </c:pt>
                <c:pt idx="1230">
                  <c:v>42075</c:v>
                </c:pt>
                <c:pt idx="1231">
                  <c:v>42076</c:v>
                </c:pt>
                <c:pt idx="1232">
                  <c:v>42079</c:v>
                </c:pt>
                <c:pt idx="1233">
                  <c:v>42080</c:v>
                </c:pt>
                <c:pt idx="1234">
                  <c:v>42081</c:v>
                </c:pt>
                <c:pt idx="1235">
                  <c:v>42082</c:v>
                </c:pt>
                <c:pt idx="1236">
                  <c:v>42083</c:v>
                </c:pt>
                <c:pt idx="1237">
                  <c:v>42086</c:v>
                </c:pt>
                <c:pt idx="1238">
                  <c:v>42087</c:v>
                </c:pt>
                <c:pt idx="1239">
                  <c:v>42088</c:v>
                </c:pt>
                <c:pt idx="1240">
                  <c:v>42089</c:v>
                </c:pt>
                <c:pt idx="1241">
                  <c:v>42090</c:v>
                </c:pt>
                <c:pt idx="1242">
                  <c:v>42093</c:v>
                </c:pt>
                <c:pt idx="1243">
                  <c:v>42094</c:v>
                </c:pt>
                <c:pt idx="1244">
                  <c:v>42095</c:v>
                </c:pt>
                <c:pt idx="1245">
                  <c:v>42096</c:v>
                </c:pt>
                <c:pt idx="1246">
                  <c:v>42097</c:v>
                </c:pt>
                <c:pt idx="1247">
                  <c:v>42100</c:v>
                </c:pt>
                <c:pt idx="1248">
                  <c:v>42101</c:v>
                </c:pt>
                <c:pt idx="1249">
                  <c:v>42102</c:v>
                </c:pt>
                <c:pt idx="1250">
                  <c:v>42103</c:v>
                </c:pt>
                <c:pt idx="1251">
                  <c:v>42104</c:v>
                </c:pt>
                <c:pt idx="1252">
                  <c:v>42107</c:v>
                </c:pt>
                <c:pt idx="1253">
                  <c:v>42108</c:v>
                </c:pt>
                <c:pt idx="1254">
                  <c:v>42109</c:v>
                </c:pt>
                <c:pt idx="1255">
                  <c:v>42110</c:v>
                </c:pt>
                <c:pt idx="1256">
                  <c:v>42111</c:v>
                </c:pt>
                <c:pt idx="1257">
                  <c:v>42114</c:v>
                </c:pt>
                <c:pt idx="1258">
                  <c:v>42115</c:v>
                </c:pt>
                <c:pt idx="1259">
                  <c:v>42116</c:v>
                </c:pt>
                <c:pt idx="1260">
                  <c:v>42117</c:v>
                </c:pt>
                <c:pt idx="1261">
                  <c:v>42118</c:v>
                </c:pt>
                <c:pt idx="1262">
                  <c:v>42121</c:v>
                </c:pt>
                <c:pt idx="1263">
                  <c:v>42122</c:v>
                </c:pt>
                <c:pt idx="1264">
                  <c:v>42123</c:v>
                </c:pt>
                <c:pt idx="1265">
                  <c:v>42124</c:v>
                </c:pt>
                <c:pt idx="1266">
                  <c:v>42125</c:v>
                </c:pt>
                <c:pt idx="1267">
                  <c:v>42128</c:v>
                </c:pt>
                <c:pt idx="1268">
                  <c:v>42129</c:v>
                </c:pt>
                <c:pt idx="1269">
                  <c:v>42130</c:v>
                </c:pt>
                <c:pt idx="1270">
                  <c:v>42131</c:v>
                </c:pt>
                <c:pt idx="1271">
                  <c:v>42132</c:v>
                </c:pt>
                <c:pt idx="1272">
                  <c:v>42135</c:v>
                </c:pt>
                <c:pt idx="1273">
                  <c:v>42136</c:v>
                </c:pt>
                <c:pt idx="1274">
                  <c:v>42137</c:v>
                </c:pt>
                <c:pt idx="1275">
                  <c:v>42138</c:v>
                </c:pt>
                <c:pt idx="1276">
                  <c:v>42139</c:v>
                </c:pt>
                <c:pt idx="1277">
                  <c:v>42142</c:v>
                </c:pt>
                <c:pt idx="1278">
                  <c:v>42143</c:v>
                </c:pt>
                <c:pt idx="1279">
                  <c:v>42144</c:v>
                </c:pt>
                <c:pt idx="1280">
                  <c:v>42145</c:v>
                </c:pt>
                <c:pt idx="1281">
                  <c:v>42146</c:v>
                </c:pt>
                <c:pt idx="1282">
                  <c:v>42149</c:v>
                </c:pt>
                <c:pt idx="1283">
                  <c:v>42150</c:v>
                </c:pt>
                <c:pt idx="1284">
                  <c:v>42151</c:v>
                </c:pt>
                <c:pt idx="1285">
                  <c:v>42152</c:v>
                </c:pt>
                <c:pt idx="1286">
                  <c:v>42153</c:v>
                </c:pt>
                <c:pt idx="1287">
                  <c:v>42156</c:v>
                </c:pt>
                <c:pt idx="1288">
                  <c:v>42157</c:v>
                </c:pt>
                <c:pt idx="1289">
                  <c:v>42158</c:v>
                </c:pt>
                <c:pt idx="1290">
                  <c:v>42159</c:v>
                </c:pt>
                <c:pt idx="1291">
                  <c:v>42160</c:v>
                </c:pt>
                <c:pt idx="1292">
                  <c:v>42163</c:v>
                </c:pt>
                <c:pt idx="1293">
                  <c:v>42164</c:v>
                </c:pt>
                <c:pt idx="1294">
                  <c:v>42165</c:v>
                </c:pt>
                <c:pt idx="1295">
                  <c:v>42166</c:v>
                </c:pt>
                <c:pt idx="1296">
                  <c:v>42167</c:v>
                </c:pt>
                <c:pt idx="1297">
                  <c:v>42170</c:v>
                </c:pt>
                <c:pt idx="1298">
                  <c:v>42171</c:v>
                </c:pt>
                <c:pt idx="1299">
                  <c:v>42172</c:v>
                </c:pt>
                <c:pt idx="1300">
                  <c:v>42173</c:v>
                </c:pt>
                <c:pt idx="1301">
                  <c:v>42174</c:v>
                </c:pt>
                <c:pt idx="1302">
                  <c:v>42177</c:v>
                </c:pt>
                <c:pt idx="1303">
                  <c:v>42178</c:v>
                </c:pt>
                <c:pt idx="1304">
                  <c:v>42179</c:v>
                </c:pt>
                <c:pt idx="1305">
                  <c:v>42180</c:v>
                </c:pt>
                <c:pt idx="1306">
                  <c:v>42181</c:v>
                </c:pt>
                <c:pt idx="1307">
                  <c:v>42184</c:v>
                </c:pt>
                <c:pt idx="1308">
                  <c:v>42185</c:v>
                </c:pt>
                <c:pt idx="1309">
                  <c:v>42186</c:v>
                </c:pt>
                <c:pt idx="1310">
                  <c:v>42187</c:v>
                </c:pt>
                <c:pt idx="1311">
                  <c:v>42188</c:v>
                </c:pt>
                <c:pt idx="1312">
                  <c:v>42191</c:v>
                </c:pt>
                <c:pt idx="1313">
                  <c:v>42192</c:v>
                </c:pt>
                <c:pt idx="1314">
                  <c:v>42193</c:v>
                </c:pt>
                <c:pt idx="1315">
                  <c:v>42194</c:v>
                </c:pt>
                <c:pt idx="1316">
                  <c:v>42195</c:v>
                </c:pt>
                <c:pt idx="1317">
                  <c:v>42198</c:v>
                </c:pt>
                <c:pt idx="1318">
                  <c:v>42199</c:v>
                </c:pt>
                <c:pt idx="1319">
                  <c:v>42200</c:v>
                </c:pt>
                <c:pt idx="1320">
                  <c:v>42201</c:v>
                </c:pt>
                <c:pt idx="1321">
                  <c:v>42202</c:v>
                </c:pt>
                <c:pt idx="1322">
                  <c:v>42205</c:v>
                </c:pt>
                <c:pt idx="1323">
                  <c:v>42206</c:v>
                </c:pt>
                <c:pt idx="1324">
                  <c:v>42207</c:v>
                </c:pt>
                <c:pt idx="1325">
                  <c:v>42208</c:v>
                </c:pt>
                <c:pt idx="1326">
                  <c:v>42209</c:v>
                </c:pt>
                <c:pt idx="1327">
                  <c:v>42212</c:v>
                </c:pt>
                <c:pt idx="1328">
                  <c:v>42213</c:v>
                </c:pt>
                <c:pt idx="1329">
                  <c:v>42214</c:v>
                </c:pt>
                <c:pt idx="1330">
                  <c:v>42215</c:v>
                </c:pt>
                <c:pt idx="1331">
                  <c:v>42216</c:v>
                </c:pt>
                <c:pt idx="1332">
                  <c:v>42219</c:v>
                </c:pt>
                <c:pt idx="1333">
                  <c:v>42220</c:v>
                </c:pt>
                <c:pt idx="1334">
                  <c:v>42221</c:v>
                </c:pt>
                <c:pt idx="1335">
                  <c:v>42222</c:v>
                </c:pt>
                <c:pt idx="1336">
                  <c:v>42223</c:v>
                </c:pt>
                <c:pt idx="1337">
                  <c:v>42226</c:v>
                </c:pt>
                <c:pt idx="1338">
                  <c:v>42227</c:v>
                </c:pt>
                <c:pt idx="1339">
                  <c:v>42228</c:v>
                </c:pt>
                <c:pt idx="1340">
                  <c:v>42229</c:v>
                </c:pt>
                <c:pt idx="1341">
                  <c:v>42230</c:v>
                </c:pt>
                <c:pt idx="1342">
                  <c:v>42233</c:v>
                </c:pt>
                <c:pt idx="1343">
                  <c:v>42234</c:v>
                </c:pt>
                <c:pt idx="1344">
                  <c:v>42235</c:v>
                </c:pt>
                <c:pt idx="1345">
                  <c:v>42236</c:v>
                </c:pt>
                <c:pt idx="1346">
                  <c:v>42237</c:v>
                </c:pt>
                <c:pt idx="1347">
                  <c:v>42240</c:v>
                </c:pt>
                <c:pt idx="1348">
                  <c:v>42241</c:v>
                </c:pt>
                <c:pt idx="1349">
                  <c:v>42242</c:v>
                </c:pt>
                <c:pt idx="1350">
                  <c:v>42243</c:v>
                </c:pt>
                <c:pt idx="1351">
                  <c:v>42244</c:v>
                </c:pt>
                <c:pt idx="1352">
                  <c:v>42247</c:v>
                </c:pt>
                <c:pt idx="1353">
                  <c:v>42248</c:v>
                </c:pt>
                <c:pt idx="1354">
                  <c:v>42249</c:v>
                </c:pt>
                <c:pt idx="1355">
                  <c:v>42250</c:v>
                </c:pt>
                <c:pt idx="1356">
                  <c:v>42251</c:v>
                </c:pt>
                <c:pt idx="1357">
                  <c:v>42254</c:v>
                </c:pt>
                <c:pt idx="1358">
                  <c:v>42255</c:v>
                </c:pt>
                <c:pt idx="1359">
                  <c:v>42256</c:v>
                </c:pt>
                <c:pt idx="1360">
                  <c:v>42257</c:v>
                </c:pt>
                <c:pt idx="1361">
                  <c:v>42258</c:v>
                </c:pt>
                <c:pt idx="1362">
                  <c:v>42261</c:v>
                </c:pt>
                <c:pt idx="1363">
                  <c:v>42262</c:v>
                </c:pt>
                <c:pt idx="1364">
                  <c:v>42263</c:v>
                </c:pt>
                <c:pt idx="1365">
                  <c:v>42264</c:v>
                </c:pt>
                <c:pt idx="1366">
                  <c:v>42265</c:v>
                </c:pt>
                <c:pt idx="1367">
                  <c:v>42268</c:v>
                </c:pt>
                <c:pt idx="1368">
                  <c:v>42269</c:v>
                </c:pt>
                <c:pt idx="1369">
                  <c:v>42270</c:v>
                </c:pt>
                <c:pt idx="1370">
                  <c:v>42271</c:v>
                </c:pt>
                <c:pt idx="1371">
                  <c:v>42272</c:v>
                </c:pt>
                <c:pt idx="1372">
                  <c:v>42275</c:v>
                </c:pt>
                <c:pt idx="1373">
                  <c:v>42276</c:v>
                </c:pt>
                <c:pt idx="1374">
                  <c:v>42277</c:v>
                </c:pt>
                <c:pt idx="1375">
                  <c:v>42278</c:v>
                </c:pt>
                <c:pt idx="1376">
                  <c:v>42279</c:v>
                </c:pt>
                <c:pt idx="1377">
                  <c:v>42282</c:v>
                </c:pt>
                <c:pt idx="1378">
                  <c:v>42283</c:v>
                </c:pt>
                <c:pt idx="1379">
                  <c:v>42284</c:v>
                </c:pt>
                <c:pt idx="1380">
                  <c:v>42285</c:v>
                </c:pt>
                <c:pt idx="1381">
                  <c:v>42286</c:v>
                </c:pt>
                <c:pt idx="1382">
                  <c:v>42289</c:v>
                </c:pt>
                <c:pt idx="1383">
                  <c:v>42290</c:v>
                </c:pt>
                <c:pt idx="1384">
                  <c:v>42291</c:v>
                </c:pt>
                <c:pt idx="1385">
                  <c:v>42292</c:v>
                </c:pt>
                <c:pt idx="1386">
                  <c:v>42293</c:v>
                </c:pt>
                <c:pt idx="1387">
                  <c:v>42296</c:v>
                </c:pt>
                <c:pt idx="1388">
                  <c:v>42297</c:v>
                </c:pt>
                <c:pt idx="1389">
                  <c:v>42298</c:v>
                </c:pt>
                <c:pt idx="1390">
                  <c:v>42299</c:v>
                </c:pt>
                <c:pt idx="1391">
                  <c:v>42300</c:v>
                </c:pt>
                <c:pt idx="1392">
                  <c:v>42303</c:v>
                </c:pt>
                <c:pt idx="1393">
                  <c:v>42304</c:v>
                </c:pt>
                <c:pt idx="1394">
                  <c:v>42305</c:v>
                </c:pt>
                <c:pt idx="1395">
                  <c:v>42306</c:v>
                </c:pt>
                <c:pt idx="1396">
                  <c:v>42307</c:v>
                </c:pt>
                <c:pt idx="1397">
                  <c:v>42310</c:v>
                </c:pt>
                <c:pt idx="1398">
                  <c:v>42311</c:v>
                </c:pt>
                <c:pt idx="1399">
                  <c:v>42312</c:v>
                </c:pt>
                <c:pt idx="1400">
                  <c:v>42313</c:v>
                </c:pt>
                <c:pt idx="1401">
                  <c:v>42314</c:v>
                </c:pt>
                <c:pt idx="1402">
                  <c:v>42317</c:v>
                </c:pt>
                <c:pt idx="1403">
                  <c:v>42318</c:v>
                </c:pt>
                <c:pt idx="1404">
                  <c:v>42319</c:v>
                </c:pt>
                <c:pt idx="1405">
                  <c:v>42320</c:v>
                </c:pt>
                <c:pt idx="1406">
                  <c:v>42321</c:v>
                </c:pt>
                <c:pt idx="1407">
                  <c:v>42324</c:v>
                </c:pt>
                <c:pt idx="1408">
                  <c:v>42325</c:v>
                </c:pt>
                <c:pt idx="1409">
                  <c:v>42326</c:v>
                </c:pt>
                <c:pt idx="1410">
                  <c:v>42327</c:v>
                </c:pt>
                <c:pt idx="1411">
                  <c:v>42328</c:v>
                </c:pt>
                <c:pt idx="1412">
                  <c:v>42331</c:v>
                </c:pt>
                <c:pt idx="1413">
                  <c:v>42332</c:v>
                </c:pt>
                <c:pt idx="1414">
                  <c:v>42333</c:v>
                </c:pt>
                <c:pt idx="1415">
                  <c:v>42334</c:v>
                </c:pt>
                <c:pt idx="1416">
                  <c:v>42335</c:v>
                </c:pt>
                <c:pt idx="1417">
                  <c:v>42338</c:v>
                </c:pt>
                <c:pt idx="1418">
                  <c:v>42339</c:v>
                </c:pt>
                <c:pt idx="1419">
                  <c:v>42340</c:v>
                </c:pt>
                <c:pt idx="1420">
                  <c:v>42341</c:v>
                </c:pt>
                <c:pt idx="1421">
                  <c:v>42342</c:v>
                </c:pt>
                <c:pt idx="1422">
                  <c:v>42345</c:v>
                </c:pt>
                <c:pt idx="1423">
                  <c:v>42346</c:v>
                </c:pt>
                <c:pt idx="1424">
                  <c:v>42347</c:v>
                </c:pt>
                <c:pt idx="1425">
                  <c:v>42348</c:v>
                </c:pt>
                <c:pt idx="1426">
                  <c:v>42349</c:v>
                </c:pt>
                <c:pt idx="1427">
                  <c:v>42352</c:v>
                </c:pt>
                <c:pt idx="1428">
                  <c:v>42353</c:v>
                </c:pt>
                <c:pt idx="1429">
                  <c:v>42354</c:v>
                </c:pt>
                <c:pt idx="1430">
                  <c:v>42355</c:v>
                </c:pt>
                <c:pt idx="1431">
                  <c:v>42356</c:v>
                </c:pt>
                <c:pt idx="1432">
                  <c:v>42359</c:v>
                </c:pt>
                <c:pt idx="1433">
                  <c:v>42360</c:v>
                </c:pt>
                <c:pt idx="1434">
                  <c:v>42361</c:v>
                </c:pt>
                <c:pt idx="1435">
                  <c:v>42362</c:v>
                </c:pt>
                <c:pt idx="1436">
                  <c:v>42363</c:v>
                </c:pt>
                <c:pt idx="1437">
                  <c:v>42366</c:v>
                </c:pt>
                <c:pt idx="1438">
                  <c:v>42367</c:v>
                </c:pt>
                <c:pt idx="1439">
                  <c:v>42368</c:v>
                </c:pt>
                <c:pt idx="1440">
                  <c:v>42369</c:v>
                </c:pt>
                <c:pt idx="1441">
                  <c:v>42370</c:v>
                </c:pt>
                <c:pt idx="1442">
                  <c:v>42373</c:v>
                </c:pt>
                <c:pt idx="1443">
                  <c:v>42374</c:v>
                </c:pt>
                <c:pt idx="1444">
                  <c:v>42375</c:v>
                </c:pt>
                <c:pt idx="1445">
                  <c:v>42376</c:v>
                </c:pt>
                <c:pt idx="1446">
                  <c:v>42377</c:v>
                </c:pt>
                <c:pt idx="1447">
                  <c:v>42380</c:v>
                </c:pt>
                <c:pt idx="1448">
                  <c:v>42381</c:v>
                </c:pt>
                <c:pt idx="1449">
                  <c:v>42382</c:v>
                </c:pt>
                <c:pt idx="1450">
                  <c:v>42383</c:v>
                </c:pt>
                <c:pt idx="1451">
                  <c:v>42384</c:v>
                </c:pt>
                <c:pt idx="1452">
                  <c:v>42387</c:v>
                </c:pt>
                <c:pt idx="1453">
                  <c:v>42388</c:v>
                </c:pt>
                <c:pt idx="1454">
                  <c:v>42389</c:v>
                </c:pt>
                <c:pt idx="1455">
                  <c:v>42390</c:v>
                </c:pt>
                <c:pt idx="1456">
                  <c:v>42391</c:v>
                </c:pt>
                <c:pt idx="1457">
                  <c:v>42394</c:v>
                </c:pt>
                <c:pt idx="1458">
                  <c:v>42395</c:v>
                </c:pt>
                <c:pt idx="1459">
                  <c:v>42396</c:v>
                </c:pt>
                <c:pt idx="1460">
                  <c:v>42397</c:v>
                </c:pt>
                <c:pt idx="1461">
                  <c:v>42398</c:v>
                </c:pt>
                <c:pt idx="1462">
                  <c:v>42401</c:v>
                </c:pt>
                <c:pt idx="1463">
                  <c:v>42402</c:v>
                </c:pt>
                <c:pt idx="1464">
                  <c:v>42403</c:v>
                </c:pt>
                <c:pt idx="1465">
                  <c:v>42404</c:v>
                </c:pt>
                <c:pt idx="1466">
                  <c:v>42405</c:v>
                </c:pt>
                <c:pt idx="1467">
                  <c:v>42408</c:v>
                </c:pt>
                <c:pt idx="1468">
                  <c:v>42409</c:v>
                </c:pt>
                <c:pt idx="1469">
                  <c:v>42410</c:v>
                </c:pt>
                <c:pt idx="1470">
                  <c:v>42411</c:v>
                </c:pt>
                <c:pt idx="1471">
                  <c:v>42412</c:v>
                </c:pt>
                <c:pt idx="1472">
                  <c:v>42415</c:v>
                </c:pt>
                <c:pt idx="1473">
                  <c:v>42416</c:v>
                </c:pt>
                <c:pt idx="1474">
                  <c:v>42417</c:v>
                </c:pt>
                <c:pt idx="1475">
                  <c:v>42418</c:v>
                </c:pt>
                <c:pt idx="1476">
                  <c:v>42419</c:v>
                </c:pt>
                <c:pt idx="1477">
                  <c:v>42422</c:v>
                </c:pt>
                <c:pt idx="1478">
                  <c:v>42423</c:v>
                </c:pt>
                <c:pt idx="1479">
                  <c:v>42424</c:v>
                </c:pt>
                <c:pt idx="1480">
                  <c:v>42425</c:v>
                </c:pt>
                <c:pt idx="1481">
                  <c:v>42426</c:v>
                </c:pt>
                <c:pt idx="1482">
                  <c:v>42429</c:v>
                </c:pt>
                <c:pt idx="1483">
                  <c:v>42430</c:v>
                </c:pt>
                <c:pt idx="1484">
                  <c:v>42431</c:v>
                </c:pt>
                <c:pt idx="1485">
                  <c:v>42432</c:v>
                </c:pt>
                <c:pt idx="1486">
                  <c:v>42433</c:v>
                </c:pt>
                <c:pt idx="1487">
                  <c:v>42436</c:v>
                </c:pt>
                <c:pt idx="1488">
                  <c:v>42437</c:v>
                </c:pt>
                <c:pt idx="1489">
                  <c:v>42438</c:v>
                </c:pt>
                <c:pt idx="1490">
                  <c:v>42439</c:v>
                </c:pt>
                <c:pt idx="1491">
                  <c:v>42440</c:v>
                </c:pt>
                <c:pt idx="1492">
                  <c:v>42443</c:v>
                </c:pt>
                <c:pt idx="1493">
                  <c:v>42444</c:v>
                </c:pt>
                <c:pt idx="1494">
                  <c:v>42445</c:v>
                </c:pt>
                <c:pt idx="1495">
                  <c:v>42446</c:v>
                </c:pt>
                <c:pt idx="1496">
                  <c:v>42447</c:v>
                </c:pt>
                <c:pt idx="1497">
                  <c:v>42450</c:v>
                </c:pt>
                <c:pt idx="1498">
                  <c:v>42451</c:v>
                </c:pt>
                <c:pt idx="1499">
                  <c:v>42452</c:v>
                </c:pt>
                <c:pt idx="1500">
                  <c:v>42453</c:v>
                </c:pt>
                <c:pt idx="1501">
                  <c:v>42454</c:v>
                </c:pt>
                <c:pt idx="1502">
                  <c:v>42457</c:v>
                </c:pt>
                <c:pt idx="1503">
                  <c:v>42458</c:v>
                </c:pt>
                <c:pt idx="1504">
                  <c:v>42459</c:v>
                </c:pt>
                <c:pt idx="1505">
                  <c:v>42460</c:v>
                </c:pt>
                <c:pt idx="1506">
                  <c:v>42461</c:v>
                </c:pt>
                <c:pt idx="1507">
                  <c:v>42464</c:v>
                </c:pt>
                <c:pt idx="1508">
                  <c:v>42465</c:v>
                </c:pt>
                <c:pt idx="1509">
                  <c:v>42466</c:v>
                </c:pt>
                <c:pt idx="1510">
                  <c:v>42467</c:v>
                </c:pt>
                <c:pt idx="1511">
                  <c:v>42468</c:v>
                </c:pt>
                <c:pt idx="1512">
                  <c:v>42471</c:v>
                </c:pt>
                <c:pt idx="1513">
                  <c:v>42472</c:v>
                </c:pt>
                <c:pt idx="1514">
                  <c:v>42473</c:v>
                </c:pt>
                <c:pt idx="1515">
                  <c:v>42474</c:v>
                </c:pt>
                <c:pt idx="1516">
                  <c:v>42475</c:v>
                </c:pt>
                <c:pt idx="1517">
                  <c:v>42478</c:v>
                </c:pt>
                <c:pt idx="1518">
                  <c:v>42479</c:v>
                </c:pt>
                <c:pt idx="1519">
                  <c:v>42480</c:v>
                </c:pt>
                <c:pt idx="1520">
                  <c:v>42481</c:v>
                </c:pt>
                <c:pt idx="1521">
                  <c:v>42482</c:v>
                </c:pt>
                <c:pt idx="1522">
                  <c:v>42485</c:v>
                </c:pt>
                <c:pt idx="1523">
                  <c:v>42486</c:v>
                </c:pt>
                <c:pt idx="1524">
                  <c:v>42487</c:v>
                </c:pt>
                <c:pt idx="1525">
                  <c:v>42488</c:v>
                </c:pt>
                <c:pt idx="1526">
                  <c:v>42489</c:v>
                </c:pt>
                <c:pt idx="1527">
                  <c:v>42492</c:v>
                </c:pt>
                <c:pt idx="1528">
                  <c:v>42493</c:v>
                </c:pt>
                <c:pt idx="1529">
                  <c:v>42494</c:v>
                </c:pt>
                <c:pt idx="1530">
                  <c:v>42495</c:v>
                </c:pt>
                <c:pt idx="1531">
                  <c:v>42496</c:v>
                </c:pt>
                <c:pt idx="1532">
                  <c:v>42499</c:v>
                </c:pt>
                <c:pt idx="1533">
                  <c:v>42500</c:v>
                </c:pt>
                <c:pt idx="1534">
                  <c:v>42501</c:v>
                </c:pt>
                <c:pt idx="1535">
                  <c:v>42502</c:v>
                </c:pt>
                <c:pt idx="1536">
                  <c:v>42503</c:v>
                </c:pt>
                <c:pt idx="1537">
                  <c:v>42506</c:v>
                </c:pt>
                <c:pt idx="1538">
                  <c:v>42507</c:v>
                </c:pt>
                <c:pt idx="1539">
                  <c:v>42508</c:v>
                </c:pt>
                <c:pt idx="1540">
                  <c:v>42509</c:v>
                </c:pt>
                <c:pt idx="1541">
                  <c:v>42510</c:v>
                </c:pt>
                <c:pt idx="1542">
                  <c:v>42513</c:v>
                </c:pt>
                <c:pt idx="1543">
                  <c:v>42514</c:v>
                </c:pt>
                <c:pt idx="1544">
                  <c:v>42515</c:v>
                </c:pt>
                <c:pt idx="1545">
                  <c:v>42516</c:v>
                </c:pt>
                <c:pt idx="1546">
                  <c:v>42517</c:v>
                </c:pt>
                <c:pt idx="1547">
                  <c:v>42520</c:v>
                </c:pt>
                <c:pt idx="1548">
                  <c:v>42521</c:v>
                </c:pt>
                <c:pt idx="1549">
                  <c:v>42522</c:v>
                </c:pt>
                <c:pt idx="1550">
                  <c:v>42523</c:v>
                </c:pt>
                <c:pt idx="1551">
                  <c:v>42524</c:v>
                </c:pt>
                <c:pt idx="1552">
                  <c:v>42527</c:v>
                </c:pt>
                <c:pt idx="1553">
                  <c:v>42528</c:v>
                </c:pt>
                <c:pt idx="1554">
                  <c:v>42529</c:v>
                </c:pt>
                <c:pt idx="1555">
                  <c:v>42530</c:v>
                </c:pt>
                <c:pt idx="1556">
                  <c:v>42531</c:v>
                </c:pt>
                <c:pt idx="1557">
                  <c:v>42534</c:v>
                </c:pt>
                <c:pt idx="1558">
                  <c:v>42535</c:v>
                </c:pt>
                <c:pt idx="1559">
                  <c:v>42536</c:v>
                </c:pt>
                <c:pt idx="1560">
                  <c:v>42537</c:v>
                </c:pt>
                <c:pt idx="1561">
                  <c:v>42538</c:v>
                </c:pt>
                <c:pt idx="1562">
                  <c:v>42541</c:v>
                </c:pt>
                <c:pt idx="1563">
                  <c:v>42542</c:v>
                </c:pt>
                <c:pt idx="1564">
                  <c:v>42543</c:v>
                </c:pt>
                <c:pt idx="1565">
                  <c:v>42544</c:v>
                </c:pt>
                <c:pt idx="1566">
                  <c:v>42545</c:v>
                </c:pt>
                <c:pt idx="1567">
                  <c:v>42548</c:v>
                </c:pt>
                <c:pt idx="1568">
                  <c:v>42549</c:v>
                </c:pt>
                <c:pt idx="1569">
                  <c:v>42550</c:v>
                </c:pt>
                <c:pt idx="1570">
                  <c:v>42551</c:v>
                </c:pt>
                <c:pt idx="1571">
                  <c:v>42552</c:v>
                </c:pt>
                <c:pt idx="1572">
                  <c:v>42555</c:v>
                </c:pt>
                <c:pt idx="1573">
                  <c:v>42556</c:v>
                </c:pt>
                <c:pt idx="1574">
                  <c:v>42557</c:v>
                </c:pt>
                <c:pt idx="1575">
                  <c:v>42558</c:v>
                </c:pt>
                <c:pt idx="1576">
                  <c:v>42559</c:v>
                </c:pt>
                <c:pt idx="1577">
                  <c:v>42562</c:v>
                </c:pt>
                <c:pt idx="1578">
                  <c:v>42563</c:v>
                </c:pt>
                <c:pt idx="1579">
                  <c:v>42564</c:v>
                </c:pt>
                <c:pt idx="1580">
                  <c:v>42565</c:v>
                </c:pt>
                <c:pt idx="1581">
                  <c:v>42566</c:v>
                </c:pt>
                <c:pt idx="1582">
                  <c:v>42569</c:v>
                </c:pt>
                <c:pt idx="1583">
                  <c:v>42570</c:v>
                </c:pt>
                <c:pt idx="1584">
                  <c:v>42571</c:v>
                </c:pt>
                <c:pt idx="1585">
                  <c:v>42572</c:v>
                </c:pt>
                <c:pt idx="1586">
                  <c:v>42573</c:v>
                </c:pt>
                <c:pt idx="1587">
                  <c:v>42576</c:v>
                </c:pt>
                <c:pt idx="1588">
                  <c:v>42577</c:v>
                </c:pt>
                <c:pt idx="1589">
                  <c:v>42578</c:v>
                </c:pt>
                <c:pt idx="1590">
                  <c:v>42579</c:v>
                </c:pt>
                <c:pt idx="1591">
                  <c:v>42580</c:v>
                </c:pt>
                <c:pt idx="1592">
                  <c:v>42583</c:v>
                </c:pt>
                <c:pt idx="1593">
                  <c:v>42584</c:v>
                </c:pt>
                <c:pt idx="1594">
                  <c:v>42585</c:v>
                </c:pt>
                <c:pt idx="1595">
                  <c:v>42586</c:v>
                </c:pt>
                <c:pt idx="1596">
                  <c:v>42587</c:v>
                </c:pt>
                <c:pt idx="1597">
                  <c:v>42590</c:v>
                </c:pt>
                <c:pt idx="1598">
                  <c:v>42591</c:v>
                </c:pt>
                <c:pt idx="1599">
                  <c:v>42592</c:v>
                </c:pt>
                <c:pt idx="1600">
                  <c:v>42593</c:v>
                </c:pt>
                <c:pt idx="1601">
                  <c:v>42594</c:v>
                </c:pt>
                <c:pt idx="1602">
                  <c:v>42597</c:v>
                </c:pt>
                <c:pt idx="1603">
                  <c:v>42598</c:v>
                </c:pt>
                <c:pt idx="1604">
                  <c:v>42599</c:v>
                </c:pt>
                <c:pt idx="1605">
                  <c:v>42600</c:v>
                </c:pt>
                <c:pt idx="1606">
                  <c:v>42601</c:v>
                </c:pt>
                <c:pt idx="1607">
                  <c:v>42604</c:v>
                </c:pt>
                <c:pt idx="1608">
                  <c:v>42605</c:v>
                </c:pt>
                <c:pt idx="1609">
                  <c:v>42606</c:v>
                </c:pt>
                <c:pt idx="1610">
                  <c:v>42607</c:v>
                </c:pt>
                <c:pt idx="1611">
                  <c:v>42608</c:v>
                </c:pt>
                <c:pt idx="1612">
                  <c:v>42611</c:v>
                </c:pt>
                <c:pt idx="1613">
                  <c:v>42612</c:v>
                </c:pt>
                <c:pt idx="1614">
                  <c:v>42613</c:v>
                </c:pt>
                <c:pt idx="1615">
                  <c:v>42614</c:v>
                </c:pt>
                <c:pt idx="1616">
                  <c:v>42615</c:v>
                </c:pt>
                <c:pt idx="1617">
                  <c:v>42618</c:v>
                </c:pt>
                <c:pt idx="1618">
                  <c:v>42619</c:v>
                </c:pt>
                <c:pt idx="1619">
                  <c:v>42620</c:v>
                </c:pt>
                <c:pt idx="1620">
                  <c:v>42621</c:v>
                </c:pt>
                <c:pt idx="1621">
                  <c:v>42622</c:v>
                </c:pt>
                <c:pt idx="1622">
                  <c:v>42625</c:v>
                </c:pt>
                <c:pt idx="1623">
                  <c:v>42626</c:v>
                </c:pt>
                <c:pt idx="1624">
                  <c:v>42627</c:v>
                </c:pt>
                <c:pt idx="1625">
                  <c:v>42628</c:v>
                </c:pt>
                <c:pt idx="1626">
                  <c:v>42629</c:v>
                </c:pt>
                <c:pt idx="1627">
                  <c:v>42632</c:v>
                </c:pt>
                <c:pt idx="1628">
                  <c:v>42633</c:v>
                </c:pt>
                <c:pt idx="1629">
                  <c:v>42634</c:v>
                </c:pt>
                <c:pt idx="1630">
                  <c:v>42635</c:v>
                </c:pt>
                <c:pt idx="1631">
                  <c:v>42636</c:v>
                </c:pt>
                <c:pt idx="1632">
                  <c:v>42639</c:v>
                </c:pt>
                <c:pt idx="1633">
                  <c:v>42640</c:v>
                </c:pt>
                <c:pt idx="1634">
                  <c:v>42641</c:v>
                </c:pt>
                <c:pt idx="1635">
                  <c:v>42642</c:v>
                </c:pt>
                <c:pt idx="1636">
                  <c:v>42643</c:v>
                </c:pt>
                <c:pt idx="1637">
                  <c:v>42646</c:v>
                </c:pt>
                <c:pt idx="1638">
                  <c:v>42647</c:v>
                </c:pt>
                <c:pt idx="1639">
                  <c:v>42648</c:v>
                </c:pt>
                <c:pt idx="1640">
                  <c:v>42649</c:v>
                </c:pt>
                <c:pt idx="1641">
                  <c:v>42650</c:v>
                </c:pt>
                <c:pt idx="1642">
                  <c:v>42653</c:v>
                </c:pt>
                <c:pt idx="1643">
                  <c:v>42654</c:v>
                </c:pt>
                <c:pt idx="1644">
                  <c:v>42655</c:v>
                </c:pt>
                <c:pt idx="1645">
                  <c:v>42656</c:v>
                </c:pt>
                <c:pt idx="1646">
                  <c:v>42657</c:v>
                </c:pt>
                <c:pt idx="1647">
                  <c:v>42660</c:v>
                </c:pt>
                <c:pt idx="1648">
                  <c:v>42661</c:v>
                </c:pt>
                <c:pt idx="1649">
                  <c:v>42662</c:v>
                </c:pt>
                <c:pt idx="1650">
                  <c:v>42663</c:v>
                </c:pt>
                <c:pt idx="1651">
                  <c:v>42664</c:v>
                </c:pt>
                <c:pt idx="1652">
                  <c:v>42667</c:v>
                </c:pt>
                <c:pt idx="1653">
                  <c:v>42668</c:v>
                </c:pt>
                <c:pt idx="1654">
                  <c:v>42669</c:v>
                </c:pt>
                <c:pt idx="1655">
                  <c:v>42670</c:v>
                </c:pt>
                <c:pt idx="1656">
                  <c:v>42671</c:v>
                </c:pt>
                <c:pt idx="1657">
                  <c:v>42674</c:v>
                </c:pt>
                <c:pt idx="1658">
                  <c:v>42675</c:v>
                </c:pt>
                <c:pt idx="1659">
                  <c:v>42676</c:v>
                </c:pt>
                <c:pt idx="1660">
                  <c:v>42677</c:v>
                </c:pt>
                <c:pt idx="1661">
                  <c:v>42678</c:v>
                </c:pt>
                <c:pt idx="1662">
                  <c:v>42681</c:v>
                </c:pt>
                <c:pt idx="1663">
                  <c:v>42682</c:v>
                </c:pt>
                <c:pt idx="1664">
                  <c:v>42683</c:v>
                </c:pt>
                <c:pt idx="1665">
                  <c:v>42684</c:v>
                </c:pt>
                <c:pt idx="1666">
                  <c:v>42685</c:v>
                </c:pt>
                <c:pt idx="1667">
                  <c:v>42688</c:v>
                </c:pt>
                <c:pt idx="1668">
                  <c:v>42689</c:v>
                </c:pt>
                <c:pt idx="1669">
                  <c:v>42690</c:v>
                </c:pt>
                <c:pt idx="1670">
                  <c:v>42691</c:v>
                </c:pt>
                <c:pt idx="1671">
                  <c:v>42692</c:v>
                </c:pt>
                <c:pt idx="1672">
                  <c:v>42695</c:v>
                </c:pt>
                <c:pt idx="1673">
                  <c:v>42696</c:v>
                </c:pt>
                <c:pt idx="1674">
                  <c:v>42697</c:v>
                </c:pt>
                <c:pt idx="1675">
                  <c:v>42698</c:v>
                </c:pt>
                <c:pt idx="1676">
                  <c:v>42699</c:v>
                </c:pt>
                <c:pt idx="1677">
                  <c:v>42702</c:v>
                </c:pt>
                <c:pt idx="1678">
                  <c:v>42703</c:v>
                </c:pt>
                <c:pt idx="1679">
                  <c:v>42704</c:v>
                </c:pt>
                <c:pt idx="1680">
                  <c:v>42705</c:v>
                </c:pt>
                <c:pt idx="1681">
                  <c:v>42706</c:v>
                </c:pt>
                <c:pt idx="1682">
                  <c:v>42709</c:v>
                </c:pt>
                <c:pt idx="1683">
                  <c:v>42710</c:v>
                </c:pt>
                <c:pt idx="1684">
                  <c:v>42711</c:v>
                </c:pt>
                <c:pt idx="1685">
                  <c:v>42712</c:v>
                </c:pt>
                <c:pt idx="1686">
                  <c:v>42713</c:v>
                </c:pt>
                <c:pt idx="1687">
                  <c:v>42716</c:v>
                </c:pt>
                <c:pt idx="1688">
                  <c:v>42717</c:v>
                </c:pt>
                <c:pt idx="1689">
                  <c:v>42718</c:v>
                </c:pt>
                <c:pt idx="1690">
                  <c:v>42719</c:v>
                </c:pt>
                <c:pt idx="1691">
                  <c:v>42720</c:v>
                </c:pt>
                <c:pt idx="1692">
                  <c:v>42723</c:v>
                </c:pt>
                <c:pt idx="1693">
                  <c:v>42724</c:v>
                </c:pt>
                <c:pt idx="1694">
                  <c:v>42725</c:v>
                </c:pt>
                <c:pt idx="1695">
                  <c:v>42726</c:v>
                </c:pt>
                <c:pt idx="1696">
                  <c:v>42727</c:v>
                </c:pt>
                <c:pt idx="1697">
                  <c:v>42730</c:v>
                </c:pt>
                <c:pt idx="1698">
                  <c:v>42731</c:v>
                </c:pt>
                <c:pt idx="1699">
                  <c:v>42732</c:v>
                </c:pt>
                <c:pt idx="1700">
                  <c:v>42733</c:v>
                </c:pt>
                <c:pt idx="1701">
                  <c:v>42734</c:v>
                </c:pt>
                <c:pt idx="1702">
                  <c:v>42737</c:v>
                </c:pt>
                <c:pt idx="1703">
                  <c:v>42738</c:v>
                </c:pt>
                <c:pt idx="1704">
                  <c:v>42739</c:v>
                </c:pt>
                <c:pt idx="1705">
                  <c:v>42740</c:v>
                </c:pt>
                <c:pt idx="1706">
                  <c:v>42741</c:v>
                </c:pt>
                <c:pt idx="1707">
                  <c:v>42744</c:v>
                </c:pt>
                <c:pt idx="1708">
                  <c:v>42745</c:v>
                </c:pt>
                <c:pt idx="1709">
                  <c:v>42746</c:v>
                </c:pt>
                <c:pt idx="1710">
                  <c:v>42747</c:v>
                </c:pt>
                <c:pt idx="1711">
                  <c:v>42748</c:v>
                </c:pt>
                <c:pt idx="1712">
                  <c:v>42751</c:v>
                </c:pt>
                <c:pt idx="1713">
                  <c:v>42752</c:v>
                </c:pt>
                <c:pt idx="1714">
                  <c:v>42753</c:v>
                </c:pt>
                <c:pt idx="1715">
                  <c:v>42754</c:v>
                </c:pt>
                <c:pt idx="1716">
                  <c:v>42755</c:v>
                </c:pt>
                <c:pt idx="1717">
                  <c:v>42758</c:v>
                </c:pt>
                <c:pt idx="1718">
                  <c:v>42759</c:v>
                </c:pt>
                <c:pt idx="1719">
                  <c:v>42760</c:v>
                </c:pt>
                <c:pt idx="1720">
                  <c:v>42761</c:v>
                </c:pt>
                <c:pt idx="1721">
                  <c:v>42762</c:v>
                </c:pt>
                <c:pt idx="1722">
                  <c:v>42765</c:v>
                </c:pt>
                <c:pt idx="1723">
                  <c:v>42766</c:v>
                </c:pt>
                <c:pt idx="1724">
                  <c:v>42767</c:v>
                </c:pt>
                <c:pt idx="1725">
                  <c:v>42768</c:v>
                </c:pt>
                <c:pt idx="1726">
                  <c:v>42769</c:v>
                </c:pt>
                <c:pt idx="1727">
                  <c:v>42772</c:v>
                </c:pt>
                <c:pt idx="1728">
                  <c:v>42773</c:v>
                </c:pt>
                <c:pt idx="1729">
                  <c:v>42774</c:v>
                </c:pt>
                <c:pt idx="1730">
                  <c:v>42775</c:v>
                </c:pt>
                <c:pt idx="1731">
                  <c:v>42776</c:v>
                </c:pt>
                <c:pt idx="1732">
                  <c:v>42779</c:v>
                </c:pt>
                <c:pt idx="1733">
                  <c:v>42780</c:v>
                </c:pt>
                <c:pt idx="1734">
                  <c:v>42781</c:v>
                </c:pt>
                <c:pt idx="1735">
                  <c:v>42782</c:v>
                </c:pt>
                <c:pt idx="1736">
                  <c:v>42783</c:v>
                </c:pt>
                <c:pt idx="1737">
                  <c:v>42786</c:v>
                </c:pt>
                <c:pt idx="1738">
                  <c:v>42787</c:v>
                </c:pt>
                <c:pt idx="1739">
                  <c:v>42788</c:v>
                </c:pt>
                <c:pt idx="1740">
                  <c:v>42789</c:v>
                </c:pt>
                <c:pt idx="1741">
                  <c:v>42790</c:v>
                </c:pt>
                <c:pt idx="1742">
                  <c:v>42793</c:v>
                </c:pt>
                <c:pt idx="1743">
                  <c:v>42794</c:v>
                </c:pt>
                <c:pt idx="1744">
                  <c:v>42795</c:v>
                </c:pt>
                <c:pt idx="1745">
                  <c:v>42796</c:v>
                </c:pt>
                <c:pt idx="1746">
                  <c:v>42797</c:v>
                </c:pt>
                <c:pt idx="1747">
                  <c:v>42800</c:v>
                </c:pt>
                <c:pt idx="1748">
                  <c:v>42801</c:v>
                </c:pt>
                <c:pt idx="1749">
                  <c:v>42802</c:v>
                </c:pt>
                <c:pt idx="1750">
                  <c:v>42803</c:v>
                </c:pt>
                <c:pt idx="1751">
                  <c:v>42804</c:v>
                </c:pt>
                <c:pt idx="1752">
                  <c:v>42807</c:v>
                </c:pt>
                <c:pt idx="1753">
                  <c:v>42808</c:v>
                </c:pt>
                <c:pt idx="1754">
                  <c:v>42809</c:v>
                </c:pt>
                <c:pt idx="1755">
                  <c:v>42810</c:v>
                </c:pt>
                <c:pt idx="1756">
                  <c:v>42811</c:v>
                </c:pt>
                <c:pt idx="1757">
                  <c:v>42814</c:v>
                </c:pt>
                <c:pt idx="1758">
                  <c:v>42815</c:v>
                </c:pt>
                <c:pt idx="1759">
                  <c:v>42816</c:v>
                </c:pt>
                <c:pt idx="1760">
                  <c:v>42817</c:v>
                </c:pt>
                <c:pt idx="1761">
                  <c:v>42818</c:v>
                </c:pt>
                <c:pt idx="1762">
                  <c:v>42821</c:v>
                </c:pt>
                <c:pt idx="1763">
                  <c:v>42822</c:v>
                </c:pt>
                <c:pt idx="1764">
                  <c:v>42823</c:v>
                </c:pt>
                <c:pt idx="1765">
                  <c:v>42824</c:v>
                </c:pt>
                <c:pt idx="1766">
                  <c:v>42825</c:v>
                </c:pt>
                <c:pt idx="1767">
                  <c:v>42828</c:v>
                </c:pt>
                <c:pt idx="1768">
                  <c:v>42829</c:v>
                </c:pt>
                <c:pt idx="1769">
                  <c:v>42830</c:v>
                </c:pt>
                <c:pt idx="1770">
                  <c:v>42831</c:v>
                </c:pt>
                <c:pt idx="1771">
                  <c:v>42832</c:v>
                </c:pt>
                <c:pt idx="1772">
                  <c:v>42835</c:v>
                </c:pt>
                <c:pt idx="1773">
                  <c:v>42836</c:v>
                </c:pt>
                <c:pt idx="1774">
                  <c:v>42837</c:v>
                </c:pt>
                <c:pt idx="1775">
                  <c:v>42838</c:v>
                </c:pt>
                <c:pt idx="1776">
                  <c:v>42839</c:v>
                </c:pt>
                <c:pt idx="1777">
                  <c:v>42842</c:v>
                </c:pt>
                <c:pt idx="1778">
                  <c:v>42843</c:v>
                </c:pt>
                <c:pt idx="1779">
                  <c:v>42844</c:v>
                </c:pt>
                <c:pt idx="1780">
                  <c:v>42845</c:v>
                </c:pt>
                <c:pt idx="1781">
                  <c:v>42846</c:v>
                </c:pt>
                <c:pt idx="1782">
                  <c:v>42849</c:v>
                </c:pt>
                <c:pt idx="1783">
                  <c:v>42850</c:v>
                </c:pt>
                <c:pt idx="1784">
                  <c:v>42851</c:v>
                </c:pt>
                <c:pt idx="1785">
                  <c:v>42852</c:v>
                </c:pt>
                <c:pt idx="1786">
                  <c:v>42853</c:v>
                </c:pt>
                <c:pt idx="1787">
                  <c:v>42856</c:v>
                </c:pt>
                <c:pt idx="1788">
                  <c:v>42857</c:v>
                </c:pt>
                <c:pt idx="1789">
                  <c:v>42858</c:v>
                </c:pt>
                <c:pt idx="1790">
                  <c:v>42859</c:v>
                </c:pt>
                <c:pt idx="1791">
                  <c:v>42860</c:v>
                </c:pt>
                <c:pt idx="1792">
                  <c:v>42863</c:v>
                </c:pt>
                <c:pt idx="1793">
                  <c:v>42864</c:v>
                </c:pt>
                <c:pt idx="1794">
                  <c:v>42865</c:v>
                </c:pt>
                <c:pt idx="1795">
                  <c:v>42866</c:v>
                </c:pt>
                <c:pt idx="1796">
                  <c:v>42867</c:v>
                </c:pt>
                <c:pt idx="1797">
                  <c:v>42870</c:v>
                </c:pt>
                <c:pt idx="1798">
                  <c:v>42871</c:v>
                </c:pt>
                <c:pt idx="1799">
                  <c:v>42872</c:v>
                </c:pt>
                <c:pt idx="1800">
                  <c:v>42873</c:v>
                </c:pt>
                <c:pt idx="1801">
                  <c:v>42874</c:v>
                </c:pt>
                <c:pt idx="1802">
                  <c:v>42877</c:v>
                </c:pt>
                <c:pt idx="1803">
                  <c:v>42878</c:v>
                </c:pt>
                <c:pt idx="1804">
                  <c:v>42879</c:v>
                </c:pt>
                <c:pt idx="1805">
                  <c:v>42880</c:v>
                </c:pt>
                <c:pt idx="1806">
                  <c:v>42881</c:v>
                </c:pt>
                <c:pt idx="1807">
                  <c:v>42884</c:v>
                </c:pt>
                <c:pt idx="1808">
                  <c:v>42885</c:v>
                </c:pt>
                <c:pt idx="1809">
                  <c:v>42886</c:v>
                </c:pt>
                <c:pt idx="1810">
                  <c:v>42887</c:v>
                </c:pt>
                <c:pt idx="1811">
                  <c:v>42888</c:v>
                </c:pt>
                <c:pt idx="1812">
                  <c:v>42891</c:v>
                </c:pt>
                <c:pt idx="1813">
                  <c:v>42892</c:v>
                </c:pt>
                <c:pt idx="1814">
                  <c:v>42893</c:v>
                </c:pt>
                <c:pt idx="1815">
                  <c:v>42894</c:v>
                </c:pt>
                <c:pt idx="1816">
                  <c:v>42895</c:v>
                </c:pt>
                <c:pt idx="1817">
                  <c:v>42898</c:v>
                </c:pt>
                <c:pt idx="1818">
                  <c:v>42899</c:v>
                </c:pt>
                <c:pt idx="1819">
                  <c:v>42900</c:v>
                </c:pt>
                <c:pt idx="1820">
                  <c:v>42901</c:v>
                </c:pt>
                <c:pt idx="1821">
                  <c:v>42902</c:v>
                </c:pt>
                <c:pt idx="1822">
                  <c:v>42905</c:v>
                </c:pt>
                <c:pt idx="1823">
                  <c:v>42906</c:v>
                </c:pt>
                <c:pt idx="1824">
                  <c:v>42907</c:v>
                </c:pt>
                <c:pt idx="1825">
                  <c:v>42908</c:v>
                </c:pt>
                <c:pt idx="1826">
                  <c:v>42909</c:v>
                </c:pt>
                <c:pt idx="1827">
                  <c:v>42912</c:v>
                </c:pt>
                <c:pt idx="1828">
                  <c:v>42913</c:v>
                </c:pt>
                <c:pt idx="1829">
                  <c:v>42914</c:v>
                </c:pt>
                <c:pt idx="1830">
                  <c:v>42915</c:v>
                </c:pt>
                <c:pt idx="1831">
                  <c:v>42916</c:v>
                </c:pt>
                <c:pt idx="1832">
                  <c:v>42919</c:v>
                </c:pt>
                <c:pt idx="1833">
                  <c:v>42920</c:v>
                </c:pt>
                <c:pt idx="1834">
                  <c:v>42921</c:v>
                </c:pt>
                <c:pt idx="1835">
                  <c:v>42922</c:v>
                </c:pt>
                <c:pt idx="1836">
                  <c:v>42923</c:v>
                </c:pt>
                <c:pt idx="1837">
                  <c:v>42926</c:v>
                </c:pt>
                <c:pt idx="1838">
                  <c:v>42927</c:v>
                </c:pt>
                <c:pt idx="1839">
                  <c:v>42928</c:v>
                </c:pt>
                <c:pt idx="1840">
                  <c:v>42929</c:v>
                </c:pt>
                <c:pt idx="1841">
                  <c:v>42930</c:v>
                </c:pt>
                <c:pt idx="1842">
                  <c:v>42933</c:v>
                </c:pt>
                <c:pt idx="1843">
                  <c:v>42934</c:v>
                </c:pt>
                <c:pt idx="1844">
                  <c:v>42935</c:v>
                </c:pt>
                <c:pt idx="1845">
                  <c:v>42936</c:v>
                </c:pt>
                <c:pt idx="1846">
                  <c:v>42937</c:v>
                </c:pt>
                <c:pt idx="1847">
                  <c:v>42940</c:v>
                </c:pt>
                <c:pt idx="1848">
                  <c:v>42941</c:v>
                </c:pt>
                <c:pt idx="1849">
                  <c:v>42942</c:v>
                </c:pt>
                <c:pt idx="1850">
                  <c:v>42943</c:v>
                </c:pt>
                <c:pt idx="1851">
                  <c:v>42944</c:v>
                </c:pt>
                <c:pt idx="1852">
                  <c:v>42947</c:v>
                </c:pt>
                <c:pt idx="1853">
                  <c:v>42948</c:v>
                </c:pt>
                <c:pt idx="1854">
                  <c:v>42949</c:v>
                </c:pt>
                <c:pt idx="1855">
                  <c:v>42950</c:v>
                </c:pt>
                <c:pt idx="1856">
                  <c:v>42951</c:v>
                </c:pt>
                <c:pt idx="1857">
                  <c:v>42954</c:v>
                </c:pt>
                <c:pt idx="1858">
                  <c:v>42955</c:v>
                </c:pt>
                <c:pt idx="1859">
                  <c:v>42956</c:v>
                </c:pt>
                <c:pt idx="1860">
                  <c:v>42957</c:v>
                </c:pt>
                <c:pt idx="1861">
                  <c:v>42958</c:v>
                </c:pt>
                <c:pt idx="1862">
                  <c:v>42961</c:v>
                </c:pt>
                <c:pt idx="1863">
                  <c:v>42962</c:v>
                </c:pt>
                <c:pt idx="1864">
                  <c:v>42963</c:v>
                </c:pt>
                <c:pt idx="1865">
                  <c:v>42964</c:v>
                </c:pt>
                <c:pt idx="1866">
                  <c:v>42965</c:v>
                </c:pt>
                <c:pt idx="1867">
                  <c:v>42968</c:v>
                </c:pt>
                <c:pt idx="1868">
                  <c:v>42969</c:v>
                </c:pt>
                <c:pt idx="1869">
                  <c:v>42970</c:v>
                </c:pt>
                <c:pt idx="1870">
                  <c:v>42971</c:v>
                </c:pt>
                <c:pt idx="1871">
                  <c:v>42972</c:v>
                </c:pt>
                <c:pt idx="1872">
                  <c:v>42975</c:v>
                </c:pt>
                <c:pt idx="1873">
                  <c:v>42976</c:v>
                </c:pt>
                <c:pt idx="1874">
                  <c:v>42977</c:v>
                </c:pt>
                <c:pt idx="1875">
                  <c:v>42978</c:v>
                </c:pt>
                <c:pt idx="1876">
                  <c:v>42979</c:v>
                </c:pt>
                <c:pt idx="1877">
                  <c:v>42982</c:v>
                </c:pt>
                <c:pt idx="1878">
                  <c:v>42983</c:v>
                </c:pt>
                <c:pt idx="1879">
                  <c:v>42984</c:v>
                </c:pt>
                <c:pt idx="1880">
                  <c:v>42985</c:v>
                </c:pt>
                <c:pt idx="1881">
                  <c:v>42986</c:v>
                </c:pt>
                <c:pt idx="1882">
                  <c:v>42989</c:v>
                </c:pt>
                <c:pt idx="1883">
                  <c:v>42990</c:v>
                </c:pt>
                <c:pt idx="1884">
                  <c:v>42991</c:v>
                </c:pt>
                <c:pt idx="1885">
                  <c:v>42992</c:v>
                </c:pt>
                <c:pt idx="1886">
                  <c:v>42993</c:v>
                </c:pt>
                <c:pt idx="1887">
                  <c:v>42996</c:v>
                </c:pt>
                <c:pt idx="1888">
                  <c:v>42997</c:v>
                </c:pt>
                <c:pt idx="1889">
                  <c:v>42998</c:v>
                </c:pt>
                <c:pt idx="1890">
                  <c:v>42999</c:v>
                </c:pt>
                <c:pt idx="1891">
                  <c:v>43000</c:v>
                </c:pt>
                <c:pt idx="1892">
                  <c:v>43003</c:v>
                </c:pt>
                <c:pt idx="1893">
                  <c:v>43004</c:v>
                </c:pt>
                <c:pt idx="1894">
                  <c:v>43005</c:v>
                </c:pt>
                <c:pt idx="1895">
                  <c:v>43006</c:v>
                </c:pt>
                <c:pt idx="1896">
                  <c:v>43007</c:v>
                </c:pt>
                <c:pt idx="1897">
                  <c:v>43010</c:v>
                </c:pt>
                <c:pt idx="1898">
                  <c:v>43011</c:v>
                </c:pt>
                <c:pt idx="1899">
                  <c:v>43012</c:v>
                </c:pt>
                <c:pt idx="1900">
                  <c:v>43013</c:v>
                </c:pt>
                <c:pt idx="1901">
                  <c:v>43014</c:v>
                </c:pt>
                <c:pt idx="1902">
                  <c:v>43017</c:v>
                </c:pt>
                <c:pt idx="1903">
                  <c:v>43018</c:v>
                </c:pt>
                <c:pt idx="1904">
                  <c:v>43019</c:v>
                </c:pt>
                <c:pt idx="1905">
                  <c:v>43020</c:v>
                </c:pt>
                <c:pt idx="1906">
                  <c:v>43021</c:v>
                </c:pt>
                <c:pt idx="1907">
                  <c:v>43024</c:v>
                </c:pt>
                <c:pt idx="1908">
                  <c:v>43025</c:v>
                </c:pt>
                <c:pt idx="1909">
                  <c:v>43026</c:v>
                </c:pt>
                <c:pt idx="1910">
                  <c:v>43027</c:v>
                </c:pt>
                <c:pt idx="1911">
                  <c:v>43028</c:v>
                </c:pt>
                <c:pt idx="1912">
                  <c:v>43031</c:v>
                </c:pt>
                <c:pt idx="1913">
                  <c:v>43032</c:v>
                </c:pt>
                <c:pt idx="1914">
                  <c:v>43033</c:v>
                </c:pt>
                <c:pt idx="1915">
                  <c:v>43034</c:v>
                </c:pt>
                <c:pt idx="1916">
                  <c:v>43035</c:v>
                </c:pt>
                <c:pt idx="1917">
                  <c:v>43038</c:v>
                </c:pt>
                <c:pt idx="1918">
                  <c:v>43039</c:v>
                </c:pt>
                <c:pt idx="1919">
                  <c:v>43040</c:v>
                </c:pt>
                <c:pt idx="1920">
                  <c:v>43041</c:v>
                </c:pt>
                <c:pt idx="1921">
                  <c:v>43042</c:v>
                </c:pt>
                <c:pt idx="1922">
                  <c:v>43045</c:v>
                </c:pt>
                <c:pt idx="1923">
                  <c:v>43046</c:v>
                </c:pt>
                <c:pt idx="1924">
                  <c:v>43047</c:v>
                </c:pt>
                <c:pt idx="1925">
                  <c:v>43048</c:v>
                </c:pt>
                <c:pt idx="1926">
                  <c:v>43049</c:v>
                </c:pt>
                <c:pt idx="1927">
                  <c:v>43052</c:v>
                </c:pt>
                <c:pt idx="1928">
                  <c:v>43053</c:v>
                </c:pt>
                <c:pt idx="1929">
                  <c:v>43054</c:v>
                </c:pt>
                <c:pt idx="1930">
                  <c:v>43055</c:v>
                </c:pt>
                <c:pt idx="1931">
                  <c:v>43056</c:v>
                </c:pt>
                <c:pt idx="1932">
                  <c:v>43059</c:v>
                </c:pt>
                <c:pt idx="1933">
                  <c:v>43060</c:v>
                </c:pt>
                <c:pt idx="1934">
                  <c:v>43061</c:v>
                </c:pt>
                <c:pt idx="1935">
                  <c:v>43062</c:v>
                </c:pt>
                <c:pt idx="1936">
                  <c:v>43063</c:v>
                </c:pt>
                <c:pt idx="1937">
                  <c:v>43066</c:v>
                </c:pt>
                <c:pt idx="1938">
                  <c:v>43067</c:v>
                </c:pt>
                <c:pt idx="1939">
                  <c:v>43068</c:v>
                </c:pt>
                <c:pt idx="1940">
                  <c:v>43069</c:v>
                </c:pt>
                <c:pt idx="1941">
                  <c:v>43070</c:v>
                </c:pt>
                <c:pt idx="1942">
                  <c:v>43073</c:v>
                </c:pt>
                <c:pt idx="1943">
                  <c:v>43074</c:v>
                </c:pt>
                <c:pt idx="1944">
                  <c:v>43075</c:v>
                </c:pt>
                <c:pt idx="1945">
                  <c:v>43076</c:v>
                </c:pt>
                <c:pt idx="1946">
                  <c:v>43077</c:v>
                </c:pt>
                <c:pt idx="1947">
                  <c:v>43080</c:v>
                </c:pt>
                <c:pt idx="1948">
                  <c:v>43081</c:v>
                </c:pt>
                <c:pt idx="1949">
                  <c:v>43082</c:v>
                </c:pt>
                <c:pt idx="1950">
                  <c:v>43083</c:v>
                </c:pt>
                <c:pt idx="1951">
                  <c:v>43084</c:v>
                </c:pt>
                <c:pt idx="1952">
                  <c:v>43087</c:v>
                </c:pt>
                <c:pt idx="1953">
                  <c:v>43088</c:v>
                </c:pt>
                <c:pt idx="1954">
                  <c:v>43089</c:v>
                </c:pt>
                <c:pt idx="1955">
                  <c:v>43090</c:v>
                </c:pt>
                <c:pt idx="1956">
                  <c:v>43091</c:v>
                </c:pt>
                <c:pt idx="1957">
                  <c:v>43094</c:v>
                </c:pt>
                <c:pt idx="1958">
                  <c:v>43095</c:v>
                </c:pt>
                <c:pt idx="1959">
                  <c:v>43096</c:v>
                </c:pt>
                <c:pt idx="1960">
                  <c:v>43097</c:v>
                </c:pt>
                <c:pt idx="1961">
                  <c:v>43098</c:v>
                </c:pt>
                <c:pt idx="1962">
                  <c:v>43101</c:v>
                </c:pt>
                <c:pt idx="1963">
                  <c:v>43102</c:v>
                </c:pt>
                <c:pt idx="1964">
                  <c:v>43103</c:v>
                </c:pt>
                <c:pt idx="1965">
                  <c:v>43104</c:v>
                </c:pt>
                <c:pt idx="1966">
                  <c:v>43105</c:v>
                </c:pt>
                <c:pt idx="1967">
                  <c:v>43108</c:v>
                </c:pt>
                <c:pt idx="1968">
                  <c:v>43109</c:v>
                </c:pt>
                <c:pt idx="1969">
                  <c:v>43110</c:v>
                </c:pt>
                <c:pt idx="1970">
                  <c:v>43111</c:v>
                </c:pt>
                <c:pt idx="1971">
                  <c:v>43112</c:v>
                </c:pt>
                <c:pt idx="1972">
                  <c:v>43115</c:v>
                </c:pt>
                <c:pt idx="1973">
                  <c:v>43116</c:v>
                </c:pt>
                <c:pt idx="1974">
                  <c:v>43117</c:v>
                </c:pt>
                <c:pt idx="1975">
                  <c:v>43118</c:v>
                </c:pt>
                <c:pt idx="1976">
                  <c:v>43119</c:v>
                </c:pt>
                <c:pt idx="1977">
                  <c:v>43122</c:v>
                </c:pt>
                <c:pt idx="1978">
                  <c:v>43123</c:v>
                </c:pt>
                <c:pt idx="1979">
                  <c:v>43124</c:v>
                </c:pt>
                <c:pt idx="1980">
                  <c:v>43125</c:v>
                </c:pt>
                <c:pt idx="1981">
                  <c:v>43126</c:v>
                </c:pt>
                <c:pt idx="1982">
                  <c:v>43129</c:v>
                </c:pt>
                <c:pt idx="1983">
                  <c:v>43130</c:v>
                </c:pt>
                <c:pt idx="1984">
                  <c:v>43131</c:v>
                </c:pt>
              </c:numCache>
            </c:numRef>
          </c:cat>
          <c:val>
            <c:numRef>
              <c:f>'AFE Euro RP Brut'!$E$5:$E$1989</c:f>
              <c:numCache>
                <c:formatCode>#,##0.00_);[Red]\(#,##0.00\)</c:formatCode>
                <c:ptCount val="1985"/>
                <c:pt idx="0">
                  <c:v>100</c:v>
                </c:pt>
                <c:pt idx="1">
                  <c:v>99.333497104159335</c:v>
                </c:pt>
                <c:pt idx="2">
                  <c:v>100.65874534375932</c:v>
                </c:pt>
                <c:pt idx="3">
                  <c:v>96.77544476610872</c:v>
                </c:pt>
                <c:pt idx="4">
                  <c:v>97.114837606207786</c:v>
                </c:pt>
                <c:pt idx="5">
                  <c:v>95.093349196985756</c:v>
                </c:pt>
                <c:pt idx="6">
                  <c:v>95.294399045200947</c:v>
                </c:pt>
                <c:pt idx="7">
                  <c:v>94.885188247406248</c:v>
                </c:pt>
                <c:pt idx="8">
                  <c:v>97.410917464660585</c:v>
                </c:pt>
                <c:pt idx="9">
                  <c:v>99.082669634687278</c:v>
                </c:pt>
                <c:pt idx="10">
                  <c:v>100.21462556711676</c:v>
                </c:pt>
                <c:pt idx="11">
                  <c:v>100.72080574937361</c:v>
                </c:pt>
                <c:pt idx="12">
                  <c:v>100.93866363629567</c:v>
                </c:pt>
                <c:pt idx="13">
                  <c:v>102.89938456341086</c:v>
                </c:pt>
                <c:pt idx="14">
                  <c:v>102.95562681324162</c:v>
                </c:pt>
                <c:pt idx="15">
                  <c:v>101.78294373514412</c:v>
                </c:pt>
                <c:pt idx="16">
                  <c:v>99.881050893837909</c:v>
                </c:pt>
                <c:pt idx="17">
                  <c:v>99.398143356788509</c:v>
                </c:pt>
                <c:pt idx="18">
                  <c:v>99.084609019948459</c:v>
                </c:pt>
                <c:pt idx="19">
                  <c:v>99.780202727816771</c:v>
                </c:pt>
                <c:pt idx="20">
                  <c:v>102.44492138767203</c:v>
                </c:pt>
                <c:pt idx="21">
                  <c:v>102.72807198897699</c:v>
                </c:pt>
                <c:pt idx="22">
                  <c:v>103.54455419930527</c:v>
                </c:pt>
                <c:pt idx="23">
                  <c:v>104.26988519199159</c:v>
                </c:pt>
                <c:pt idx="24">
                  <c:v>104.01453247920682</c:v>
                </c:pt>
                <c:pt idx="25">
                  <c:v>103.63376603168601</c:v>
                </c:pt>
                <c:pt idx="26">
                  <c:v>103.21809060531737</c:v>
                </c:pt>
                <c:pt idx="27">
                  <c:v>105.98624327820868</c:v>
                </c:pt>
                <c:pt idx="28">
                  <c:v>106.03666736121924</c:v>
                </c:pt>
                <c:pt idx="29">
                  <c:v>106.23254551540462</c:v>
                </c:pt>
                <c:pt idx="30">
                  <c:v>106.06963694376921</c:v>
                </c:pt>
                <c:pt idx="31">
                  <c:v>104.60927803209066</c:v>
                </c:pt>
                <c:pt idx="32">
                  <c:v>106.10842470417606</c:v>
                </c:pt>
                <c:pt idx="33">
                  <c:v>105.06503413133692</c:v>
                </c:pt>
                <c:pt idx="34">
                  <c:v>102.35312370827639</c:v>
                </c:pt>
                <c:pt idx="35">
                  <c:v>102.15789201584471</c:v>
                </c:pt>
                <c:pt idx="36">
                  <c:v>101.87280202927857</c:v>
                </c:pt>
                <c:pt idx="37">
                  <c:v>101.65559060411024</c:v>
                </c:pt>
                <c:pt idx="38">
                  <c:v>103.22584815739874</c:v>
                </c:pt>
                <c:pt idx="39">
                  <c:v>102.95368742798044</c:v>
                </c:pt>
                <c:pt idx="40">
                  <c:v>101.18496586245496</c:v>
                </c:pt>
                <c:pt idx="41">
                  <c:v>99.930828504058084</c:v>
                </c:pt>
                <c:pt idx="42">
                  <c:v>100.471271203409</c:v>
                </c:pt>
                <c:pt idx="43">
                  <c:v>98.851236039900343</c:v>
                </c:pt>
                <c:pt idx="44">
                  <c:v>97.89705729944194</c:v>
                </c:pt>
                <c:pt idx="45">
                  <c:v>98.685741621250017</c:v>
                </c:pt>
                <c:pt idx="46">
                  <c:v>99.466668390976707</c:v>
                </c:pt>
                <c:pt idx="47">
                  <c:v>99.063922221755917</c:v>
                </c:pt>
                <c:pt idx="48">
                  <c:v>99.29664874005033</c:v>
                </c:pt>
                <c:pt idx="49">
                  <c:v>102.4475072457236</c:v>
                </c:pt>
                <c:pt idx="50">
                  <c:v>102.62528444873136</c:v>
                </c:pt>
                <c:pt idx="51">
                  <c:v>103.56976624081055</c:v>
                </c:pt>
                <c:pt idx="52">
                  <c:v>103.89946214356706</c:v>
                </c:pt>
                <c:pt idx="53">
                  <c:v>102.90843503899967</c:v>
                </c:pt>
                <c:pt idx="54">
                  <c:v>103.74818990557205</c:v>
                </c:pt>
                <c:pt idx="55">
                  <c:v>104.90471141775308</c:v>
                </c:pt>
                <c:pt idx="56">
                  <c:v>104.89113570988819</c:v>
                </c:pt>
                <c:pt idx="57">
                  <c:v>105.78519341895681</c:v>
                </c:pt>
                <c:pt idx="58">
                  <c:v>105.88862743199283</c:v>
                </c:pt>
                <c:pt idx="59">
                  <c:v>105.4962246618683</c:v>
                </c:pt>
                <c:pt idx="60">
                  <c:v>105.06568059309065</c:v>
                </c:pt>
                <c:pt idx="61">
                  <c:v>104.47287443650465</c:v>
                </c:pt>
                <c:pt idx="62">
                  <c:v>106.04248551700277</c:v>
                </c:pt>
                <c:pt idx="63">
                  <c:v>105.90931423018537</c:v>
                </c:pt>
                <c:pt idx="64">
                  <c:v>104.50131878677855</c:v>
                </c:pt>
                <c:pt idx="65">
                  <c:v>103.95247207359253</c:v>
                </c:pt>
                <c:pt idx="66">
                  <c:v>105.80264790838072</c:v>
                </c:pt>
                <c:pt idx="67">
                  <c:v>105.30745758697388</c:v>
                </c:pt>
                <c:pt idx="68">
                  <c:v>105.27578092793135</c:v>
                </c:pt>
                <c:pt idx="69">
                  <c:v>104.69267169765122</c:v>
                </c:pt>
                <c:pt idx="70">
                  <c:v>104.54010653614874</c:v>
                </c:pt>
                <c:pt idx="71">
                  <c:v>104.06624948572482</c:v>
                </c:pt>
                <c:pt idx="72">
                  <c:v>103.04095986406334</c:v>
                </c:pt>
                <c:pt idx="73">
                  <c:v>104.94479210166736</c:v>
                </c:pt>
                <c:pt idx="74">
                  <c:v>105.75416322166799</c:v>
                </c:pt>
                <c:pt idx="75">
                  <c:v>105.97008171229221</c:v>
                </c:pt>
                <c:pt idx="76">
                  <c:v>105.92935456662418</c:v>
                </c:pt>
                <c:pt idx="77">
                  <c:v>106.19892946006426</c:v>
                </c:pt>
                <c:pt idx="78">
                  <c:v>105.82592056462484</c:v>
                </c:pt>
                <c:pt idx="79">
                  <c:v>107.96118638597913</c:v>
                </c:pt>
                <c:pt idx="80">
                  <c:v>107.77565163089</c:v>
                </c:pt>
                <c:pt idx="81">
                  <c:v>108.00579230216951</c:v>
                </c:pt>
                <c:pt idx="82">
                  <c:v>108.29476107029467</c:v>
                </c:pt>
                <c:pt idx="83">
                  <c:v>107.81831816181922</c:v>
                </c:pt>
                <c:pt idx="84">
                  <c:v>108.27084195229686</c:v>
                </c:pt>
                <c:pt idx="85">
                  <c:v>109.44481795390182</c:v>
                </c:pt>
                <c:pt idx="86">
                  <c:v>109.30324265324931</c:v>
                </c:pt>
                <c:pt idx="87">
                  <c:v>109.53920149134902</c:v>
                </c:pt>
                <c:pt idx="88">
                  <c:v>108.95027410528537</c:v>
                </c:pt>
                <c:pt idx="89">
                  <c:v>108.02324679159344</c:v>
                </c:pt>
                <c:pt idx="90">
                  <c:v>108.508093713904</c:v>
                </c:pt>
                <c:pt idx="91">
                  <c:v>108.40336677736053</c:v>
                </c:pt>
                <c:pt idx="92">
                  <c:v>108.18033719640864</c:v>
                </c:pt>
                <c:pt idx="93">
                  <c:v>108.93605192463008</c:v>
                </c:pt>
                <c:pt idx="94">
                  <c:v>108.05492346167263</c:v>
                </c:pt>
                <c:pt idx="95">
                  <c:v>109.69305957635895</c:v>
                </c:pt>
                <c:pt idx="96">
                  <c:v>109.41443421836672</c:v>
                </c:pt>
                <c:pt idx="97">
                  <c:v>109.27027307069935</c:v>
                </c:pt>
                <c:pt idx="98">
                  <c:v>110.24190628954497</c:v>
                </c:pt>
                <c:pt idx="99">
                  <c:v>108.88045614758973</c:v>
                </c:pt>
                <c:pt idx="100">
                  <c:v>108.23722589695647</c:v>
                </c:pt>
                <c:pt idx="101">
                  <c:v>108.10987277695926</c:v>
                </c:pt>
                <c:pt idx="102">
                  <c:v>109.06405150638101</c:v>
                </c:pt>
                <c:pt idx="103">
                  <c:v>106.74906909675772</c:v>
                </c:pt>
                <c:pt idx="104">
                  <c:v>107.43819817605211</c:v>
                </c:pt>
                <c:pt idx="105">
                  <c:v>109.28837402187696</c:v>
                </c:pt>
                <c:pt idx="106">
                  <c:v>109.1015463432804</c:v>
                </c:pt>
                <c:pt idx="107">
                  <c:v>107.98316611871581</c:v>
                </c:pt>
                <c:pt idx="108">
                  <c:v>105.5893152647714</c:v>
                </c:pt>
                <c:pt idx="109">
                  <c:v>106.51117087339685</c:v>
                </c:pt>
                <c:pt idx="110">
                  <c:v>106.91908874768413</c:v>
                </c:pt>
                <c:pt idx="111">
                  <c:v>106.11618225625743</c:v>
                </c:pt>
                <c:pt idx="112">
                  <c:v>103.67126085754875</c:v>
                </c:pt>
                <c:pt idx="113">
                  <c:v>103.09784857564782</c:v>
                </c:pt>
                <c:pt idx="114">
                  <c:v>105.75416322166799</c:v>
                </c:pt>
                <c:pt idx="115">
                  <c:v>107.86744932132233</c:v>
                </c:pt>
                <c:pt idx="116">
                  <c:v>108.01936802107109</c:v>
                </c:pt>
                <c:pt idx="117">
                  <c:v>107.76724761705492</c:v>
                </c:pt>
                <c:pt idx="118">
                  <c:v>108.88304199460461</c:v>
                </c:pt>
                <c:pt idx="119">
                  <c:v>109.23407116834404</c:v>
                </c:pt>
                <c:pt idx="120">
                  <c:v>109.66849399660738</c:v>
                </c:pt>
                <c:pt idx="121">
                  <c:v>109.71827161786423</c:v>
                </c:pt>
                <c:pt idx="122">
                  <c:v>110.30849192743534</c:v>
                </c:pt>
                <c:pt idx="123">
                  <c:v>110.43584510261586</c:v>
                </c:pt>
                <c:pt idx="124">
                  <c:v>109.79067542257479</c:v>
                </c:pt>
                <c:pt idx="125">
                  <c:v>109.93742242829374</c:v>
                </c:pt>
                <c:pt idx="126">
                  <c:v>109.2463539527015</c:v>
                </c:pt>
                <c:pt idx="127">
                  <c:v>109.907038681722</c:v>
                </c:pt>
                <c:pt idx="128">
                  <c:v>111.26267061271039</c:v>
                </c:pt>
                <c:pt idx="129">
                  <c:v>111.1592366217477</c:v>
                </c:pt>
                <c:pt idx="130">
                  <c:v>110.98275236432072</c:v>
                </c:pt>
                <c:pt idx="131">
                  <c:v>110.853459903209</c:v>
                </c:pt>
                <c:pt idx="132">
                  <c:v>109.61613053937231</c:v>
                </c:pt>
                <c:pt idx="133">
                  <c:v>109.61742346287977</c:v>
                </c:pt>
                <c:pt idx="134">
                  <c:v>110.21087608121948</c:v>
                </c:pt>
                <c:pt idx="135">
                  <c:v>109.07439491651394</c:v>
                </c:pt>
                <c:pt idx="136">
                  <c:v>108.57209350477946</c:v>
                </c:pt>
                <c:pt idx="137">
                  <c:v>110.30655254217416</c:v>
                </c:pt>
                <c:pt idx="138">
                  <c:v>110.42485523072922</c:v>
                </c:pt>
                <c:pt idx="139">
                  <c:v>109.92707902919747</c:v>
                </c:pt>
                <c:pt idx="140">
                  <c:v>110.0408564302931</c:v>
                </c:pt>
                <c:pt idx="141">
                  <c:v>109.35560612152106</c:v>
                </c:pt>
                <c:pt idx="142">
                  <c:v>107.71488414878318</c:v>
                </c:pt>
                <c:pt idx="143">
                  <c:v>109.24182870938877</c:v>
                </c:pt>
                <c:pt idx="144">
                  <c:v>111.84901221797914</c:v>
                </c:pt>
                <c:pt idx="145">
                  <c:v>112.48513140035807</c:v>
                </c:pt>
                <c:pt idx="146">
                  <c:v>112.64028233161878</c:v>
                </c:pt>
                <c:pt idx="147">
                  <c:v>112.38169729902872</c:v>
                </c:pt>
                <c:pt idx="148">
                  <c:v>113.65134977262501</c:v>
                </c:pt>
                <c:pt idx="149">
                  <c:v>112.78702939252108</c:v>
                </c:pt>
                <c:pt idx="150">
                  <c:v>112.38299024460949</c:v>
                </c:pt>
                <c:pt idx="151">
                  <c:v>113.63777411994344</c:v>
                </c:pt>
                <c:pt idx="152">
                  <c:v>113.84076337549314</c:v>
                </c:pt>
                <c:pt idx="153">
                  <c:v>113.28609844030359</c:v>
                </c:pt>
                <c:pt idx="154">
                  <c:v>114.04245968546208</c:v>
                </c:pt>
                <c:pt idx="155">
                  <c:v>114.67470003109865</c:v>
                </c:pt>
                <c:pt idx="156">
                  <c:v>113.58282476051014</c:v>
                </c:pt>
                <c:pt idx="157">
                  <c:v>113.49943115013292</c:v>
                </c:pt>
                <c:pt idx="158">
                  <c:v>115.39809166059716</c:v>
                </c:pt>
                <c:pt idx="159">
                  <c:v>115.45110154647595</c:v>
                </c:pt>
                <c:pt idx="160">
                  <c:v>114.97077993369813</c:v>
                </c:pt>
                <c:pt idx="161">
                  <c:v>115.26233447158154</c:v>
                </c:pt>
                <c:pt idx="162">
                  <c:v>116.37037128601318</c:v>
                </c:pt>
                <c:pt idx="163">
                  <c:v>116.80867299516552</c:v>
                </c:pt>
                <c:pt idx="164">
                  <c:v>116.57723937830524</c:v>
                </c:pt>
                <c:pt idx="165">
                  <c:v>116.31736140013437</c:v>
                </c:pt>
                <c:pt idx="166">
                  <c:v>116.42079539109709</c:v>
                </c:pt>
                <c:pt idx="167">
                  <c:v>116.46087604190136</c:v>
                </c:pt>
                <c:pt idx="168">
                  <c:v>116.65804720788755</c:v>
                </c:pt>
                <c:pt idx="169">
                  <c:v>117.6122259262726</c:v>
                </c:pt>
                <c:pt idx="170">
                  <c:v>117.68527619273689</c:v>
                </c:pt>
                <c:pt idx="171">
                  <c:v>117.77060927666862</c:v>
                </c:pt>
                <c:pt idx="172">
                  <c:v>115.8157064611903</c:v>
                </c:pt>
                <c:pt idx="173">
                  <c:v>115.0115070021095</c:v>
                </c:pt>
                <c:pt idx="174">
                  <c:v>113.73732938453045</c:v>
                </c:pt>
                <c:pt idx="175">
                  <c:v>113.27122984204125</c:v>
                </c:pt>
                <c:pt idx="176">
                  <c:v>114.73482106248842</c:v>
                </c:pt>
                <c:pt idx="177">
                  <c:v>115.70839363348524</c:v>
                </c:pt>
                <c:pt idx="178">
                  <c:v>114.92811339173225</c:v>
                </c:pt>
                <c:pt idx="179">
                  <c:v>114.04375263104288</c:v>
                </c:pt>
                <c:pt idx="180">
                  <c:v>114.43744832467485</c:v>
                </c:pt>
                <c:pt idx="181">
                  <c:v>113.74379400206772</c:v>
                </c:pt>
                <c:pt idx="182">
                  <c:v>113.30937112965771</c:v>
                </c:pt>
                <c:pt idx="183">
                  <c:v>113.77029888982378</c:v>
                </c:pt>
                <c:pt idx="184">
                  <c:v>113.60739039544501</c:v>
                </c:pt>
                <c:pt idx="185">
                  <c:v>112.47737383724004</c:v>
                </c:pt>
                <c:pt idx="186">
                  <c:v>111.44755896122913</c:v>
                </c:pt>
                <c:pt idx="187">
                  <c:v>110.33693628874592</c:v>
                </c:pt>
                <c:pt idx="188">
                  <c:v>107.75237898568257</c:v>
                </c:pt>
                <c:pt idx="189">
                  <c:v>105.66042614597451</c:v>
                </c:pt>
                <c:pt idx="190">
                  <c:v>107.84029789455587</c:v>
                </c:pt>
                <c:pt idx="191">
                  <c:v>108.21007447019002</c:v>
                </c:pt>
                <c:pt idx="192">
                  <c:v>110.55220832865307</c:v>
                </c:pt>
                <c:pt idx="193">
                  <c:v>110.19600744984717</c:v>
                </c:pt>
                <c:pt idx="194">
                  <c:v>110.73515720361731</c:v>
                </c:pt>
                <c:pt idx="195">
                  <c:v>112.37264690069657</c:v>
                </c:pt>
                <c:pt idx="196">
                  <c:v>112.436646658462</c:v>
                </c:pt>
                <c:pt idx="197">
                  <c:v>112.57951488262196</c:v>
                </c:pt>
                <c:pt idx="198">
                  <c:v>112.52909077753806</c:v>
                </c:pt>
                <c:pt idx="199">
                  <c:v>113.57183488862346</c:v>
                </c:pt>
                <c:pt idx="200">
                  <c:v>112.68100951039682</c:v>
                </c:pt>
                <c:pt idx="201">
                  <c:v>114.48270064743559</c:v>
                </c:pt>
                <c:pt idx="202">
                  <c:v>114.50274102802109</c:v>
                </c:pt>
                <c:pt idx="203">
                  <c:v>114.38573127401017</c:v>
                </c:pt>
                <c:pt idx="204">
                  <c:v>115.02702212834555</c:v>
                </c:pt>
                <c:pt idx="205">
                  <c:v>114.54282167882539</c:v>
                </c:pt>
                <c:pt idx="206">
                  <c:v>115.14532482793727</c:v>
                </c:pt>
                <c:pt idx="207">
                  <c:v>114.74581093437509</c:v>
                </c:pt>
                <c:pt idx="208">
                  <c:v>113.16585648789071</c:v>
                </c:pt>
                <c:pt idx="209">
                  <c:v>113.97522750856133</c:v>
                </c:pt>
                <c:pt idx="210">
                  <c:v>112.95252377806139</c:v>
                </c:pt>
                <c:pt idx="211">
                  <c:v>113.06436186011585</c:v>
                </c:pt>
                <c:pt idx="212">
                  <c:v>110.63107679504756</c:v>
                </c:pt>
                <c:pt idx="213">
                  <c:v>111.11075199021832</c:v>
                </c:pt>
                <c:pt idx="214">
                  <c:v>113.43866359076942</c:v>
                </c:pt>
                <c:pt idx="215">
                  <c:v>113.9719951997927</c:v>
                </c:pt>
                <c:pt idx="216">
                  <c:v>113.9719951997927</c:v>
                </c:pt>
                <c:pt idx="217">
                  <c:v>113.96876289102407</c:v>
                </c:pt>
                <c:pt idx="218">
                  <c:v>114.74063926241863</c:v>
                </c:pt>
                <c:pt idx="219">
                  <c:v>115.51768719540298</c:v>
                </c:pt>
                <c:pt idx="220">
                  <c:v>116.39105808420571</c:v>
                </c:pt>
                <c:pt idx="221">
                  <c:v>116.79574364972436</c:v>
                </c:pt>
                <c:pt idx="222">
                  <c:v>117.01489444911719</c:v>
                </c:pt>
                <c:pt idx="223">
                  <c:v>116.56624950641859</c:v>
                </c:pt>
                <c:pt idx="224">
                  <c:v>114.9371637900644</c:v>
                </c:pt>
                <c:pt idx="225">
                  <c:v>114.39736756350388</c:v>
                </c:pt>
                <c:pt idx="226">
                  <c:v>115.74136324914521</c:v>
                </c:pt>
                <c:pt idx="227">
                  <c:v>114.43550885112033</c:v>
                </c:pt>
                <c:pt idx="228">
                  <c:v>115.75881773856914</c:v>
                </c:pt>
                <c:pt idx="229">
                  <c:v>115.99089777303648</c:v>
                </c:pt>
                <c:pt idx="230">
                  <c:v>115.14079957358787</c:v>
                </c:pt>
                <c:pt idx="231">
                  <c:v>114.67728592226021</c:v>
                </c:pt>
                <c:pt idx="232">
                  <c:v>114.32496382501331</c:v>
                </c:pt>
                <c:pt idx="233">
                  <c:v>112.95704903241079</c:v>
                </c:pt>
                <c:pt idx="234">
                  <c:v>113.52981487463134</c:v>
                </c:pt>
                <c:pt idx="235">
                  <c:v>114.4380947422819</c:v>
                </c:pt>
                <c:pt idx="236">
                  <c:v>113.38371434170278</c:v>
                </c:pt>
                <c:pt idx="237">
                  <c:v>111.31955933533155</c:v>
                </c:pt>
                <c:pt idx="238">
                  <c:v>111.66347745185334</c:v>
                </c:pt>
                <c:pt idx="239">
                  <c:v>112.18129393464056</c:v>
                </c:pt>
                <c:pt idx="240">
                  <c:v>111.66800270620276</c:v>
                </c:pt>
                <c:pt idx="241">
                  <c:v>112.41078818831301</c:v>
                </c:pt>
                <c:pt idx="242">
                  <c:v>112.32545510438131</c:v>
                </c:pt>
                <c:pt idx="243">
                  <c:v>114.08124739068559</c:v>
                </c:pt>
                <c:pt idx="244">
                  <c:v>112.92149363595591</c:v>
                </c:pt>
                <c:pt idx="245">
                  <c:v>111.27753932133939</c:v>
                </c:pt>
                <c:pt idx="246">
                  <c:v>111.49733653833931</c:v>
                </c:pt>
                <c:pt idx="247">
                  <c:v>110.80756105247451</c:v>
                </c:pt>
                <c:pt idx="248">
                  <c:v>110.96400492931602</c:v>
                </c:pt>
                <c:pt idx="249">
                  <c:v>109.87148324112044</c:v>
                </c:pt>
                <c:pt idx="250">
                  <c:v>110.94978274866072</c:v>
                </c:pt>
                <c:pt idx="251">
                  <c:v>109.27997000804189</c:v>
                </c:pt>
                <c:pt idx="252">
                  <c:v>109.34461626067107</c:v>
                </c:pt>
                <c:pt idx="253">
                  <c:v>110.91228798901803</c:v>
                </c:pt>
                <c:pt idx="254">
                  <c:v>109.27544476472914</c:v>
                </c:pt>
                <c:pt idx="255">
                  <c:v>108.88174907109716</c:v>
                </c:pt>
                <c:pt idx="256">
                  <c:v>109.98396772974527</c:v>
                </c:pt>
                <c:pt idx="257">
                  <c:v>109.1901117139074</c:v>
                </c:pt>
                <c:pt idx="258">
                  <c:v>111.25232726879746</c:v>
                </c:pt>
                <c:pt idx="259">
                  <c:v>110.94655043989209</c:v>
                </c:pt>
                <c:pt idx="260">
                  <c:v>108.69880016302294</c:v>
                </c:pt>
                <c:pt idx="261">
                  <c:v>108.23076127941921</c:v>
                </c:pt>
                <c:pt idx="262">
                  <c:v>108.40724554788285</c:v>
                </c:pt>
                <c:pt idx="263">
                  <c:v>109.31811129565834</c:v>
                </c:pt>
                <c:pt idx="264">
                  <c:v>111.42299332629423</c:v>
                </c:pt>
                <c:pt idx="265">
                  <c:v>113.05789713221192</c:v>
                </c:pt>
                <c:pt idx="266">
                  <c:v>113.99462147153976</c:v>
                </c:pt>
                <c:pt idx="267">
                  <c:v>114.10516649764676</c:v>
                </c:pt>
                <c:pt idx="268">
                  <c:v>113.49102705904114</c:v>
                </c:pt>
                <c:pt idx="269">
                  <c:v>112.74694874171678</c:v>
                </c:pt>
                <c:pt idx="270">
                  <c:v>113.31906805596358</c:v>
                </c:pt>
                <c:pt idx="271">
                  <c:v>111.5031547382695</c:v>
                </c:pt>
                <c:pt idx="272">
                  <c:v>108.55205316834065</c:v>
                </c:pt>
                <c:pt idx="273">
                  <c:v>107.87520687340371</c:v>
                </c:pt>
                <c:pt idx="274">
                  <c:v>108.81063818989406</c:v>
                </c:pt>
                <c:pt idx="275">
                  <c:v>107.87132809184467</c:v>
                </c:pt>
                <c:pt idx="276">
                  <c:v>107.33799648282138</c:v>
                </c:pt>
                <c:pt idx="277">
                  <c:v>105.28935663579624</c:v>
                </c:pt>
                <c:pt idx="278">
                  <c:v>106.55836263660213</c:v>
                </c:pt>
                <c:pt idx="279">
                  <c:v>108.23593297344902</c:v>
                </c:pt>
                <c:pt idx="280">
                  <c:v>110.13588642949404</c:v>
                </c:pt>
                <c:pt idx="281">
                  <c:v>110.72028860535494</c:v>
                </c:pt>
                <c:pt idx="282">
                  <c:v>109.92901841445864</c:v>
                </c:pt>
                <c:pt idx="283">
                  <c:v>109.61095883430585</c:v>
                </c:pt>
                <c:pt idx="284">
                  <c:v>107.91270169926644</c:v>
                </c:pt>
                <c:pt idx="285">
                  <c:v>107.42397600643349</c:v>
                </c:pt>
                <c:pt idx="286">
                  <c:v>106.6482209307366</c:v>
                </c:pt>
                <c:pt idx="287">
                  <c:v>103.94988622657763</c:v>
                </c:pt>
                <c:pt idx="288">
                  <c:v>101.75579230837764</c:v>
                </c:pt>
                <c:pt idx="289">
                  <c:v>99.73171804110406</c:v>
                </c:pt>
                <c:pt idx="290">
                  <c:v>96.05657840199629</c:v>
                </c:pt>
                <c:pt idx="291">
                  <c:v>94.626603225852833</c:v>
                </c:pt>
                <c:pt idx="292">
                  <c:v>90.608191976123678</c:v>
                </c:pt>
                <c:pt idx="293">
                  <c:v>91.372957179933906</c:v>
                </c:pt>
                <c:pt idx="294">
                  <c:v>86.958910840274939</c:v>
                </c:pt>
                <c:pt idx="295">
                  <c:v>89.610053781228643</c:v>
                </c:pt>
                <c:pt idx="296">
                  <c:v>93.117759616424891</c:v>
                </c:pt>
                <c:pt idx="297">
                  <c:v>93.747414148156565</c:v>
                </c:pt>
                <c:pt idx="298">
                  <c:v>93.319455937430476</c:v>
                </c:pt>
                <c:pt idx="299">
                  <c:v>93.572869264954093</c:v>
                </c:pt>
                <c:pt idx="300">
                  <c:v>88.575713695014997</c:v>
                </c:pt>
                <c:pt idx="301">
                  <c:v>86.87745655997557</c:v>
                </c:pt>
                <c:pt idx="302">
                  <c:v>87.591797680775244</c:v>
                </c:pt>
                <c:pt idx="303">
                  <c:v>88.077937526593246</c:v>
                </c:pt>
                <c:pt idx="304">
                  <c:v>89.678578815416842</c:v>
                </c:pt>
                <c:pt idx="305">
                  <c:v>88.845935039172105</c:v>
                </c:pt>
                <c:pt idx="306">
                  <c:v>88.027513443582677</c:v>
                </c:pt>
                <c:pt idx="307">
                  <c:v>90.03413322143237</c:v>
                </c:pt>
                <c:pt idx="308">
                  <c:v>90.151789404087026</c:v>
                </c:pt>
                <c:pt idx="309">
                  <c:v>92.81650806394228</c:v>
                </c:pt>
                <c:pt idx="310">
                  <c:v>92.850770581036386</c:v>
                </c:pt>
                <c:pt idx="311">
                  <c:v>89.791709765795417</c:v>
                </c:pt>
                <c:pt idx="312">
                  <c:v>85.56643048999419</c:v>
                </c:pt>
                <c:pt idx="313">
                  <c:v>84.667847537612843</c:v>
                </c:pt>
                <c:pt idx="314">
                  <c:v>87.699756926087332</c:v>
                </c:pt>
                <c:pt idx="315">
                  <c:v>88.161977653907513</c:v>
                </c:pt>
                <c:pt idx="316">
                  <c:v>84.780978487991405</c:v>
                </c:pt>
                <c:pt idx="317">
                  <c:v>81.957876499813466</c:v>
                </c:pt>
                <c:pt idx="318">
                  <c:v>83.166761480266246</c:v>
                </c:pt>
                <c:pt idx="319">
                  <c:v>85.128775341925561</c:v>
                </c:pt>
                <c:pt idx="320">
                  <c:v>87.629292506637967</c:v>
                </c:pt>
                <c:pt idx="321">
                  <c:v>88.059190113661884</c:v>
                </c:pt>
                <c:pt idx="322">
                  <c:v>85.740328922479605</c:v>
                </c:pt>
                <c:pt idx="323">
                  <c:v>87.425656811407862</c:v>
                </c:pt>
                <c:pt idx="324">
                  <c:v>85.954308027842629</c:v>
                </c:pt>
                <c:pt idx="325">
                  <c:v>81.684422835851038</c:v>
                </c:pt>
                <c:pt idx="326">
                  <c:v>82.379370081965646</c:v>
                </c:pt>
                <c:pt idx="327">
                  <c:v>84.249586264229308</c:v>
                </c:pt>
                <c:pt idx="328">
                  <c:v>88.487794786141677</c:v>
                </c:pt>
                <c:pt idx="329">
                  <c:v>87.772807203588286</c:v>
                </c:pt>
                <c:pt idx="330">
                  <c:v>88.880197556266211</c:v>
                </c:pt>
                <c:pt idx="331">
                  <c:v>87.436000210504133</c:v>
                </c:pt>
                <c:pt idx="332">
                  <c:v>85.744854154755672</c:v>
                </c:pt>
                <c:pt idx="333">
                  <c:v>83.50421493510413</c:v>
                </c:pt>
                <c:pt idx="334">
                  <c:v>86.777254866744812</c:v>
                </c:pt>
                <c:pt idx="335">
                  <c:v>89.500801612409077</c:v>
                </c:pt>
                <c:pt idx="336">
                  <c:v>90.105890564389185</c:v>
                </c:pt>
                <c:pt idx="337">
                  <c:v>92.109924495223964</c:v>
                </c:pt>
                <c:pt idx="338">
                  <c:v>91.884955529010952</c:v>
                </c:pt>
                <c:pt idx="339">
                  <c:v>94.110726106253466</c:v>
                </c:pt>
                <c:pt idx="340">
                  <c:v>92.811336369912482</c:v>
                </c:pt>
                <c:pt idx="341">
                  <c:v>93.811413939032022</c:v>
                </c:pt>
                <c:pt idx="342">
                  <c:v>92.28834815998546</c:v>
                </c:pt>
                <c:pt idx="343">
                  <c:v>92.109278033470247</c:v>
                </c:pt>
                <c:pt idx="344">
                  <c:v>92.653599503343528</c:v>
                </c:pt>
                <c:pt idx="345">
                  <c:v>90.605606118072103</c:v>
                </c:pt>
                <c:pt idx="346">
                  <c:v>93.234122875572083</c:v>
                </c:pt>
                <c:pt idx="347">
                  <c:v>94.512179351966793</c:v>
                </c:pt>
                <c:pt idx="348">
                  <c:v>93.693111294623648</c:v>
                </c:pt>
                <c:pt idx="349">
                  <c:v>93.448748453725528</c:v>
                </c:pt>
                <c:pt idx="350">
                  <c:v>98.392894082602496</c:v>
                </c:pt>
                <c:pt idx="351">
                  <c:v>97.925501649715855</c:v>
                </c:pt>
                <c:pt idx="352">
                  <c:v>94.936258792170534</c:v>
                </c:pt>
                <c:pt idx="353">
                  <c:v>90.35865743015907</c:v>
                </c:pt>
                <c:pt idx="354">
                  <c:v>91.558491935023056</c:v>
                </c:pt>
                <c:pt idx="355">
                  <c:v>93.953635701438245</c:v>
                </c:pt>
                <c:pt idx="356">
                  <c:v>92.062732732018688</c:v>
                </c:pt>
                <c:pt idx="357">
                  <c:v>91.674855194170249</c:v>
                </c:pt>
                <c:pt idx="358">
                  <c:v>92.477115223843214</c:v>
                </c:pt>
                <c:pt idx="359">
                  <c:v>90.330859541638901</c:v>
                </c:pt>
                <c:pt idx="360">
                  <c:v>90.386455318679253</c:v>
                </c:pt>
                <c:pt idx="361">
                  <c:v>92.996871125001618</c:v>
                </c:pt>
                <c:pt idx="362">
                  <c:v>91.66386533332026</c:v>
                </c:pt>
                <c:pt idx="363">
                  <c:v>90.392273474462797</c:v>
                </c:pt>
                <c:pt idx="364">
                  <c:v>90.64697972549385</c:v>
                </c:pt>
                <c:pt idx="365">
                  <c:v>89.455549234464982</c:v>
                </c:pt>
                <c:pt idx="366">
                  <c:v>89.017894086396339</c:v>
                </c:pt>
                <c:pt idx="367">
                  <c:v>85.993742238966547</c:v>
                </c:pt>
                <c:pt idx="368">
                  <c:v>85.110027928994185</c:v>
                </c:pt>
                <c:pt idx="369">
                  <c:v>83.710436488385824</c:v>
                </c:pt>
                <c:pt idx="370">
                  <c:v>83.599244934305091</c:v>
                </c:pt>
                <c:pt idx="371">
                  <c:v>84.297424489188288</c:v>
                </c:pt>
                <c:pt idx="372">
                  <c:v>88.368845679979586</c:v>
                </c:pt>
                <c:pt idx="373">
                  <c:v>88.884722799578967</c:v>
                </c:pt>
                <c:pt idx="374">
                  <c:v>92.667175222245106</c:v>
                </c:pt>
                <c:pt idx="375">
                  <c:v>91.942490691312486</c:v>
                </c:pt>
                <c:pt idx="376">
                  <c:v>92.957436902841039</c:v>
                </c:pt>
                <c:pt idx="377">
                  <c:v>94.053837405705636</c:v>
                </c:pt>
                <c:pt idx="378">
                  <c:v>93.446809057427686</c:v>
                </c:pt>
                <c:pt idx="379">
                  <c:v>92.992345881688863</c:v>
                </c:pt>
                <c:pt idx="380">
                  <c:v>90.839625570910627</c:v>
                </c:pt>
                <c:pt idx="381">
                  <c:v>92.639377322688247</c:v>
                </c:pt>
                <c:pt idx="382">
                  <c:v>89.99017376699571</c:v>
                </c:pt>
                <c:pt idx="383">
                  <c:v>89.767144186043851</c:v>
                </c:pt>
                <c:pt idx="384">
                  <c:v>87.638989455017168</c:v>
                </c:pt>
                <c:pt idx="385">
                  <c:v>88.38694663115723</c:v>
                </c:pt>
                <c:pt idx="386">
                  <c:v>87.8982209383243</c:v>
                </c:pt>
                <c:pt idx="387">
                  <c:v>87.923432979829599</c:v>
                </c:pt>
                <c:pt idx="388">
                  <c:v>90.383869471664369</c:v>
                </c:pt>
                <c:pt idx="389">
                  <c:v>89.657892017224299</c:v>
                </c:pt>
                <c:pt idx="390">
                  <c:v>90.728434005793218</c:v>
                </c:pt>
                <c:pt idx="391">
                  <c:v>91.423381262944474</c:v>
                </c:pt>
                <c:pt idx="392">
                  <c:v>91.423381262944474</c:v>
                </c:pt>
                <c:pt idx="393">
                  <c:v>91.434371123794463</c:v>
                </c:pt>
                <c:pt idx="394">
                  <c:v>90.292718242985785</c:v>
                </c:pt>
                <c:pt idx="395">
                  <c:v>91.531986970010308</c:v>
                </c:pt>
                <c:pt idx="396">
                  <c:v>92.404064957378935</c:v>
                </c:pt>
                <c:pt idx="397">
                  <c:v>94.430078609913707</c:v>
                </c:pt>
                <c:pt idx="398">
                  <c:v>95.253671910569608</c:v>
                </c:pt>
                <c:pt idx="399">
                  <c:v>93.936181212014318</c:v>
                </c:pt>
                <c:pt idx="400">
                  <c:v>92.690447867452534</c:v>
                </c:pt>
                <c:pt idx="401">
                  <c:v>92.299984482589181</c:v>
                </c:pt>
                <c:pt idx="402">
                  <c:v>91.872026271863092</c:v>
                </c:pt>
                <c:pt idx="403">
                  <c:v>94.082928217733269</c:v>
                </c:pt>
                <c:pt idx="404">
                  <c:v>93.887050063547875</c:v>
                </c:pt>
                <c:pt idx="405">
                  <c:v>94.176018820636372</c:v>
                </c:pt>
                <c:pt idx="406">
                  <c:v>93.817232105852213</c:v>
                </c:pt>
                <c:pt idx="407">
                  <c:v>94.748138190066484</c:v>
                </c:pt>
                <c:pt idx="408">
                  <c:v>96.052699631473956</c:v>
                </c:pt>
                <c:pt idx="409">
                  <c:v>95.966720107861832</c:v>
                </c:pt>
                <c:pt idx="410">
                  <c:v>97.607442080599725</c:v>
                </c:pt>
                <c:pt idx="411">
                  <c:v>97.413503311675498</c:v>
                </c:pt>
                <c:pt idx="412">
                  <c:v>98.072895117188523</c:v>
                </c:pt>
                <c:pt idx="413">
                  <c:v>97.529220109068973</c:v>
                </c:pt>
                <c:pt idx="414">
                  <c:v>97.372776166007469</c:v>
                </c:pt>
                <c:pt idx="415">
                  <c:v>99.012205215237898</c:v>
                </c:pt>
                <c:pt idx="416">
                  <c:v>98.070955731927356</c:v>
                </c:pt>
                <c:pt idx="417">
                  <c:v>96.747000415834805</c:v>
                </c:pt>
                <c:pt idx="418">
                  <c:v>97.36307922866493</c:v>
                </c:pt>
                <c:pt idx="419">
                  <c:v>99.557173146864912</c:v>
                </c:pt>
                <c:pt idx="420">
                  <c:v>99.882343817345358</c:v>
                </c:pt>
                <c:pt idx="421">
                  <c:v>101.33235932992764</c:v>
                </c:pt>
                <c:pt idx="422">
                  <c:v>101.01882499308759</c:v>
                </c:pt>
                <c:pt idx="423">
                  <c:v>101.08153186045561</c:v>
                </c:pt>
                <c:pt idx="424">
                  <c:v>101.13001654716831</c:v>
                </c:pt>
                <c:pt idx="425">
                  <c:v>101.49397496701896</c:v>
                </c:pt>
                <c:pt idx="426">
                  <c:v>100.0252120415053</c:v>
                </c:pt>
                <c:pt idx="427">
                  <c:v>100.5016549389441</c:v>
                </c:pt>
                <c:pt idx="428">
                  <c:v>100.29995862897516</c:v>
                </c:pt>
                <c:pt idx="429">
                  <c:v>100.72145221112734</c:v>
                </c:pt>
                <c:pt idx="430">
                  <c:v>100.53009930025468</c:v>
                </c:pt>
                <c:pt idx="431">
                  <c:v>101.80880223840312</c:v>
                </c:pt>
                <c:pt idx="432">
                  <c:v>103.12176768260899</c:v>
                </c:pt>
                <c:pt idx="433">
                  <c:v>102.61235519158353</c:v>
                </c:pt>
                <c:pt idx="434">
                  <c:v>101.75773169363882</c:v>
                </c:pt>
                <c:pt idx="435">
                  <c:v>101.27417769483571</c:v>
                </c:pt>
                <c:pt idx="436">
                  <c:v>101.87409495278601</c:v>
                </c:pt>
                <c:pt idx="437">
                  <c:v>101.3937732737882</c:v>
                </c:pt>
                <c:pt idx="438">
                  <c:v>101.6801561838618</c:v>
                </c:pt>
                <c:pt idx="439">
                  <c:v>101.48815681123541</c:v>
                </c:pt>
                <c:pt idx="440">
                  <c:v>102.77849607198758</c:v>
                </c:pt>
                <c:pt idx="441">
                  <c:v>102.84184940110931</c:v>
                </c:pt>
                <c:pt idx="442">
                  <c:v>102.16694249143355</c:v>
                </c:pt>
                <c:pt idx="443">
                  <c:v>98.785296852727029</c:v>
                </c:pt>
                <c:pt idx="444">
                  <c:v>99.561051928423922</c:v>
                </c:pt>
                <c:pt idx="445">
                  <c:v>101.77906495358509</c:v>
                </c:pt>
                <c:pt idx="446">
                  <c:v>102.02019548571457</c:v>
                </c:pt>
                <c:pt idx="447">
                  <c:v>101.99821576401457</c:v>
                </c:pt>
                <c:pt idx="448">
                  <c:v>103.70164460412047</c:v>
                </c:pt>
                <c:pt idx="449">
                  <c:v>104.28475382336396</c:v>
                </c:pt>
                <c:pt idx="450">
                  <c:v>104.97065060492639</c:v>
                </c:pt>
                <c:pt idx="451">
                  <c:v>105.43804302677636</c:v>
                </c:pt>
                <c:pt idx="452">
                  <c:v>105.49234588030929</c:v>
                </c:pt>
                <c:pt idx="453">
                  <c:v>104.29509723349688</c:v>
                </c:pt>
                <c:pt idx="454">
                  <c:v>104.02358295479563</c:v>
                </c:pt>
                <c:pt idx="455">
                  <c:v>102.62528444873136</c:v>
                </c:pt>
                <c:pt idx="456">
                  <c:v>102.67764790596645</c:v>
                </c:pt>
                <c:pt idx="457">
                  <c:v>103.5283926333888</c:v>
                </c:pt>
                <c:pt idx="458">
                  <c:v>102.9918287155969</c:v>
                </c:pt>
                <c:pt idx="459">
                  <c:v>101.90383222656737</c:v>
                </c:pt>
                <c:pt idx="460">
                  <c:v>100.25212039297948</c:v>
                </c:pt>
                <c:pt idx="461">
                  <c:v>101.39118742677331</c:v>
                </c:pt>
                <c:pt idx="462">
                  <c:v>102.42100228071087</c:v>
                </c:pt>
                <c:pt idx="463">
                  <c:v>100.96064335799566</c:v>
                </c:pt>
                <c:pt idx="464">
                  <c:v>98.231924907264926</c:v>
                </c:pt>
                <c:pt idx="465">
                  <c:v>98.234510754279825</c:v>
                </c:pt>
                <c:pt idx="466">
                  <c:v>98.234510754279825</c:v>
                </c:pt>
                <c:pt idx="467">
                  <c:v>98.229985522003744</c:v>
                </c:pt>
                <c:pt idx="468">
                  <c:v>95.450842988262465</c:v>
                </c:pt>
                <c:pt idx="469">
                  <c:v>96.305466486207166</c:v>
                </c:pt>
                <c:pt idx="470">
                  <c:v>97.107080054126413</c:v>
                </c:pt>
                <c:pt idx="471">
                  <c:v>94.91945076450034</c:v>
                </c:pt>
                <c:pt idx="472">
                  <c:v>95.270479938239788</c:v>
                </c:pt>
                <c:pt idx="473">
                  <c:v>97.714108402404378</c:v>
                </c:pt>
                <c:pt idx="474">
                  <c:v>96.202678945961523</c:v>
                </c:pt>
                <c:pt idx="475">
                  <c:v>94.846400498036061</c:v>
                </c:pt>
                <c:pt idx="476">
                  <c:v>95.616337406912777</c:v>
                </c:pt>
                <c:pt idx="477">
                  <c:v>92.842366567201282</c:v>
                </c:pt>
                <c:pt idx="478">
                  <c:v>94.402927183147256</c:v>
                </c:pt>
                <c:pt idx="479">
                  <c:v>96.216254653826425</c:v>
                </c:pt>
                <c:pt idx="480">
                  <c:v>96.233709143250337</c:v>
                </c:pt>
                <c:pt idx="481">
                  <c:v>97.295200667267096</c:v>
                </c:pt>
                <c:pt idx="482">
                  <c:v>96.19233553582859</c:v>
                </c:pt>
                <c:pt idx="483">
                  <c:v>96.204618331222704</c:v>
                </c:pt>
                <c:pt idx="484">
                  <c:v>95.702316919488226</c:v>
                </c:pt>
                <c:pt idx="485">
                  <c:v>95.601468764503764</c:v>
                </c:pt>
                <c:pt idx="486">
                  <c:v>94.112019029760901</c:v>
                </c:pt>
                <c:pt idx="487">
                  <c:v>95.298924288513703</c:v>
                </c:pt>
                <c:pt idx="488">
                  <c:v>93.519212862138232</c:v>
                </c:pt>
                <c:pt idx="489">
                  <c:v>93.248991517981111</c:v>
                </c:pt>
                <c:pt idx="490">
                  <c:v>94.17666528239009</c:v>
                </c:pt>
                <c:pt idx="491">
                  <c:v>94.561310511469927</c:v>
                </c:pt>
                <c:pt idx="492">
                  <c:v>92.366570131516212</c:v>
                </c:pt>
                <c:pt idx="493">
                  <c:v>91.500956761684833</c:v>
                </c:pt>
                <c:pt idx="494">
                  <c:v>91.241078816623983</c:v>
                </c:pt>
                <c:pt idx="495">
                  <c:v>90.140799543237023</c:v>
                </c:pt>
                <c:pt idx="496">
                  <c:v>89.873810507848503</c:v>
                </c:pt>
                <c:pt idx="497">
                  <c:v>90.451748033062188</c:v>
                </c:pt>
                <c:pt idx="498">
                  <c:v>92.22887360138607</c:v>
                </c:pt>
                <c:pt idx="499">
                  <c:v>89.789123918780518</c:v>
                </c:pt>
                <c:pt idx="500">
                  <c:v>90.593969795468382</c:v>
                </c:pt>
                <c:pt idx="501">
                  <c:v>90.861605292610619</c:v>
                </c:pt>
                <c:pt idx="502">
                  <c:v>90.528030619331744</c:v>
                </c:pt>
                <c:pt idx="503">
                  <c:v>91.250775753966522</c:v>
                </c:pt>
                <c:pt idx="504">
                  <c:v>89.538942900025532</c:v>
                </c:pt>
                <c:pt idx="505">
                  <c:v>89.419347332109695</c:v>
                </c:pt>
                <c:pt idx="506">
                  <c:v>87.306707694209081</c:v>
                </c:pt>
                <c:pt idx="507">
                  <c:v>87.28537443426282</c:v>
                </c:pt>
                <c:pt idx="508">
                  <c:v>87.721090197070268</c:v>
                </c:pt>
                <c:pt idx="509">
                  <c:v>89.789770380534236</c:v>
                </c:pt>
                <c:pt idx="510">
                  <c:v>90.349606954570262</c:v>
                </c:pt>
                <c:pt idx="511">
                  <c:v>90.284314229150681</c:v>
                </c:pt>
                <c:pt idx="512">
                  <c:v>90.019264579023357</c:v>
                </c:pt>
                <c:pt idx="513">
                  <c:v>90.105890564389185</c:v>
                </c:pt>
                <c:pt idx="514">
                  <c:v>89.899022549353802</c:v>
                </c:pt>
                <c:pt idx="515">
                  <c:v>90.048355402087651</c:v>
                </c:pt>
                <c:pt idx="516">
                  <c:v>91.373603641687637</c:v>
                </c:pt>
                <c:pt idx="517">
                  <c:v>90.862898216118055</c:v>
                </c:pt>
                <c:pt idx="518">
                  <c:v>92.588306788960622</c:v>
                </c:pt>
                <c:pt idx="519">
                  <c:v>93.113880845902528</c:v>
                </c:pt>
                <c:pt idx="520">
                  <c:v>92.718245755972717</c:v>
                </c:pt>
                <c:pt idx="521">
                  <c:v>92.074369054622423</c:v>
                </c:pt>
                <c:pt idx="522">
                  <c:v>89.976598059130822</c:v>
                </c:pt>
                <c:pt idx="523">
                  <c:v>89.672114186842919</c:v>
                </c:pt>
                <c:pt idx="524">
                  <c:v>91.206169837776145</c:v>
                </c:pt>
                <c:pt idx="525">
                  <c:v>90.86742345943081</c:v>
                </c:pt>
                <c:pt idx="526">
                  <c:v>95.039046343452839</c:v>
                </c:pt>
                <c:pt idx="527">
                  <c:v>96.167123505359982</c:v>
                </c:pt>
                <c:pt idx="528">
                  <c:v>97.285503718887895</c:v>
                </c:pt>
                <c:pt idx="529">
                  <c:v>97.168493997986971</c:v>
                </c:pt>
                <c:pt idx="530">
                  <c:v>96.128335744953134</c:v>
                </c:pt>
                <c:pt idx="531">
                  <c:v>94.275574063150046</c:v>
                </c:pt>
                <c:pt idx="532">
                  <c:v>93.954928635982355</c:v>
                </c:pt>
                <c:pt idx="533">
                  <c:v>94.694481798287313</c:v>
                </c:pt>
                <c:pt idx="534">
                  <c:v>94.587169014728929</c:v>
                </c:pt>
                <c:pt idx="535">
                  <c:v>93.77585849843048</c:v>
                </c:pt>
                <c:pt idx="536">
                  <c:v>95.145066203503774</c:v>
                </c:pt>
                <c:pt idx="537">
                  <c:v>95.058440218137932</c:v>
                </c:pt>
                <c:pt idx="538">
                  <c:v>95.019652457731084</c:v>
                </c:pt>
                <c:pt idx="539">
                  <c:v>96.279607982948164</c:v>
                </c:pt>
                <c:pt idx="540">
                  <c:v>97.21051406716245</c:v>
                </c:pt>
                <c:pt idx="541">
                  <c:v>94.887127632667415</c:v>
                </c:pt>
                <c:pt idx="542">
                  <c:v>92.303216802394488</c:v>
                </c:pt>
                <c:pt idx="543">
                  <c:v>91.381361193769024</c:v>
                </c:pt>
                <c:pt idx="544">
                  <c:v>91.70653185321278</c:v>
                </c:pt>
                <c:pt idx="545">
                  <c:v>95.137308651422401</c:v>
                </c:pt>
                <c:pt idx="546">
                  <c:v>97.039847954482326</c:v>
                </c:pt>
                <c:pt idx="547">
                  <c:v>98.468530207118349</c:v>
                </c:pt>
                <c:pt idx="548">
                  <c:v>97.814956557388825</c:v>
                </c:pt>
                <c:pt idx="549">
                  <c:v>98.080006207516163</c:v>
                </c:pt>
                <c:pt idx="550">
                  <c:v>95.476701491521467</c:v>
                </c:pt>
                <c:pt idx="551">
                  <c:v>99.399436280295973</c:v>
                </c:pt>
                <c:pt idx="552">
                  <c:v>100.5275134422031</c:v>
                </c:pt>
                <c:pt idx="553">
                  <c:v>101.73833781895371</c:v>
                </c:pt>
                <c:pt idx="554">
                  <c:v>101.41510653373447</c:v>
                </c:pt>
                <c:pt idx="555">
                  <c:v>101.70148945484472</c:v>
                </c:pt>
                <c:pt idx="556">
                  <c:v>101.23086471318945</c:v>
                </c:pt>
                <c:pt idx="557">
                  <c:v>100.89211832380744</c:v>
                </c:pt>
                <c:pt idx="558">
                  <c:v>101.53664149794812</c:v>
                </c:pt>
                <c:pt idx="559">
                  <c:v>101.43967211348604</c:v>
                </c:pt>
                <c:pt idx="560">
                  <c:v>102.55869879980433</c:v>
                </c:pt>
                <c:pt idx="561">
                  <c:v>103.28532271599813</c:v>
                </c:pt>
                <c:pt idx="562">
                  <c:v>102.88386947028478</c:v>
                </c:pt>
                <c:pt idx="563">
                  <c:v>103.83352296743043</c:v>
                </c:pt>
                <c:pt idx="564">
                  <c:v>102.46948696742359</c:v>
                </c:pt>
                <c:pt idx="565">
                  <c:v>101.5806009523848</c:v>
                </c:pt>
                <c:pt idx="566">
                  <c:v>101.6775703368469</c:v>
                </c:pt>
                <c:pt idx="567">
                  <c:v>102.64403186166274</c:v>
                </c:pt>
                <c:pt idx="568">
                  <c:v>101.89736760903013</c:v>
                </c:pt>
                <c:pt idx="569">
                  <c:v>101.74027720421491</c:v>
                </c:pt>
                <c:pt idx="570">
                  <c:v>100.50747310576429</c:v>
                </c:pt>
                <c:pt idx="571">
                  <c:v>101.77130740150373</c:v>
                </c:pt>
                <c:pt idx="572">
                  <c:v>102.64791063218507</c:v>
                </c:pt>
                <c:pt idx="573">
                  <c:v>101.65171183358788</c:v>
                </c:pt>
                <c:pt idx="574">
                  <c:v>101.80104468632175</c:v>
                </c:pt>
                <c:pt idx="575">
                  <c:v>104.95448903900993</c:v>
                </c:pt>
                <c:pt idx="576">
                  <c:v>105.59965866386767</c:v>
                </c:pt>
                <c:pt idx="577">
                  <c:v>105.26608399058881</c:v>
                </c:pt>
                <c:pt idx="578">
                  <c:v>106.16466694297016</c:v>
                </c:pt>
                <c:pt idx="579">
                  <c:v>106.64692800722915</c:v>
                </c:pt>
                <c:pt idx="580">
                  <c:v>105.85889015821148</c:v>
                </c:pt>
                <c:pt idx="581">
                  <c:v>107.87908564392606</c:v>
                </c:pt>
                <c:pt idx="582">
                  <c:v>107.39876396492822</c:v>
                </c:pt>
                <c:pt idx="583">
                  <c:v>106.29008067770617</c:v>
                </c:pt>
                <c:pt idx="584">
                  <c:v>106.81371534938692</c:v>
                </c:pt>
                <c:pt idx="585">
                  <c:v>106.37993897184066</c:v>
                </c:pt>
                <c:pt idx="586">
                  <c:v>107.31924906989003</c:v>
                </c:pt>
                <c:pt idx="587">
                  <c:v>106.54349400522977</c:v>
                </c:pt>
                <c:pt idx="588">
                  <c:v>107.03157323630896</c:v>
                </c:pt>
                <c:pt idx="589">
                  <c:v>104.38754137464625</c:v>
                </c:pt>
                <c:pt idx="590">
                  <c:v>104.71659081564904</c:v>
                </c:pt>
                <c:pt idx="591">
                  <c:v>103.03643463178727</c:v>
                </c:pt>
                <c:pt idx="592">
                  <c:v>104.84846917895898</c:v>
                </c:pt>
                <c:pt idx="593">
                  <c:v>104.7043080312916</c:v>
                </c:pt>
                <c:pt idx="594">
                  <c:v>104.6700455141975</c:v>
                </c:pt>
                <c:pt idx="595">
                  <c:v>104.52976313705247</c:v>
                </c:pt>
                <c:pt idx="596">
                  <c:v>106.18212143239407</c:v>
                </c:pt>
                <c:pt idx="597">
                  <c:v>104.80903495679841</c:v>
                </c:pt>
                <c:pt idx="598">
                  <c:v>103.97121948652391</c:v>
                </c:pt>
                <c:pt idx="599">
                  <c:v>103.41202937424158</c:v>
                </c:pt>
                <c:pt idx="600">
                  <c:v>104.5051975573009</c:v>
                </c:pt>
                <c:pt idx="601">
                  <c:v>103.75788684291459</c:v>
                </c:pt>
                <c:pt idx="602">
                  <c:v>104.39723831198879</c:v>
                </c:pt>
                <c:pt idx="603">
                  <c:v>106.45492863460278</c:v>
                </c:pt>
                <c:pt idx="604">
                  <c:v>107.30955213254749</c:v>
                </c:pt>
                <c:pt idx="605">
                  <c:v>107.42139014838195</c:v>
                </c:pt>
                <c:pt idx="606">
                  <c:v>106.30559578186892</c:v>
                </c:pt>
                <c:pt idx="607">
                  <c:v>105.84854674807853</c:v>
                </c:pt>
                <c:pt idx="608">
                  <c:v>103.77275548532359</c:v>
                </c:pt>
                <c:pt idx="609">
                  <c:v>104.27441042426769</c:v>
                </c:pt>
                <c:pt idx="610">
                  <c:v>104.12572403328755</c:v>
                </c:pt>
                <c:pt idx="611">
                  <c:v>104.50584401905462</c:v>
                </c:pt>
                <c:pt idx="612">
                  <c:v>103.89364397674687</c:v>
                </c:pt>
                <c:pt idx="613">
                  <c:v>105.17881154346922</c:v>
                </c:pt>
                <c:pt idx="614">
                  <c:v>104.75020687098944</c:v>
                </c:pt>
                <c:pt idx="615">
                  <c:v>105.90672838317047</c:v>
                </c:pt>
                <c:pt idx="616">
                  <c:v>106.47496897104159</c:v>
                </c:pt>
                <c:pt idx="617">
                  <c:v>105.42188146085991</c:v>
                </c:pt>
                <c:pt idx="618">
                  <c:v>106.14527306828505</c:v>
                </c:pt>
                <c:pt idx="619">
                  <c:v>104.15740070336675</c:v>
                </c:pt>
                <c:pt idx="620">
                  <c:v>103.86196731770434</c:v>
                </c:pt>
                <c:pt idx="621">
                  <c:v>103.86778547348786</c:v>
                </c:pt>
                <c:pt idx="622">
                  <c:v>103.66932147228755</c:v>
                </c:pt>
                <c:pt idx="623">
                  <c:v>104.26471348692515</c:v>
                </c:pt>
                <c:pt idx="624">
                  <c:v>103.51093814396488</c:v>
                </c:pt>
                <c:pt idx="625">
                  <c:v>102.82051614116303</c:v>
                </c:pt>
                <c:pt idx="626">
                  <c:v>101.47781340110247</c:v>
                </c:pt>
                <c:pt idx="627">
                  <c:v>104.03780513545094</c:v>
                </c:pt>
                <c:pt idx="628">
                  <c:v>104.61380326436675</c:v>
                </c:pt>
                <c:pt idx="629">
                  <c:v>104.95190318095835</c:v>
                </c:pt>
                <c:pt idx="630">
                  <c:v>105.74511274607916</c:v>
                </c:pt>
                <c:pt idx="631">
                  <c:v>106.6029685527925</c:v>
                </c:pt>
                <c:pt idx="632">
                  <c:v>106.07351572532824</c:v>
                </c:pt>
                <c:pt idx="633">
                  <c:v>106.30818162888383</c:v>
                </c:pt>
                <c:pt idx="634">
                  <c:v>106.43812060693259</c:v>
                </c:pt>
                <c:pt idx="635">
                  <c:v>107.85581298768194</c:v>
                </c:pt>
                <c:pt idx="636">
                  <c:v>107.68320748974065</c:v>
                </c:pt>
                <c:pt idx="637">
                  <c:v>107.91205523751269</c:v>
                </c:pt>
                <c:pt idx="638">
                  <c:v>108.12538788112201</c:v>
                </c:pt>
                <c:pt idx="639">
                  <c:v>108.28506413295213</c:v>
                </c:pt>
                <c:pt idx="640">
                  <c:v>108.85007240101797</c:v>
                </c:pt>
                <c:pt idx="641">
                  <c:v>108.80094125255151</c:v>
                </c:pt>
                <c:pt idx="642">
                  <c:v>108.62445697305118</c:v>
                </c:pt>
                <c:pt idx="643">
                  <c:v>109.62130223340212</c:v>
                </c:pt>
                <c:pt idx="644">
                  <c:v>109.85467521345025</c:v>
                </c:pt>
                <c:pt idx="645">
                  <c:v>109.73701903079561</c:v>
                </c:pt>
                <c:pt idx="646">
                  <c:v>109.86501862358318</c:v>
                </c:pt>
                <c:pt idx="647">
                  <c:v>109.83916012032418</c:v>
                </c:pt>
                <c:pt idx="648">
                  <c:v>110.47721869900096</c:v>
                </c:pt>
                <c:pt idx="649">
                  <c:v>111.05257032201638</c:v>
                </c:pt>
                <c:pt idx="650">
                  <c:v>111.15018622341555</c:v>
                </c:pt>
                <c:pt idx="651">
                  <c:v>110.8043287437059</c:v>
                </c:pt>
                <c:pt idx="652">
                  <c:v>110.69830886158162</c:v>
                </c:pt>
                <c:pt idx="653">
                  <c:v>110.69830886158162</c:v>
                </c:pt>
                <c:pt idx="654">
                  <c:v>110.70154117035025</c:v>
                </c:pt>
                <c:pt idx="655">
                  <c:v>111.00861083446974</c:v>
                </c:pt>
                <c:pt idx="656">
                  <c:v>109.91350331029591</c:v>
                </c:pt>
                <c:pt idx="657">
                  <c:v>110.24061336603752</c:v>
                </c:pt>
                <c:pt idx="658">
                  <c:v>110.24061336603752</c:v>
                </c:pt>
                <c:pt idx="659">
                  <c:v>113.10573545650094</c:v>
                </c:pt>
                <c:pt idx="660">
                  <c:v>112.89628158341398</c:v>
                </c:pt>
                <c:pt idx="661">
                  <c:v>113.20658355630206</c:v>
                </c:pt>
                <c:pt idx="662">
                  <c:v>112.64351464038739</c:v>
                </c:pt>
                <c:pt idx="663">
                  <c:v>112.43276793208634</c:v>
                </c:pt>
                <c:pt idx="664">
                  <c:v>113.11413943722603</c:v>
                </c:pt>
                <c:pt idx="665">
                  <c:v>113.08181634953978</c:v>
                </c:pt>
                <c:pt idx="666">
                  <c:v>113.30484587530829</c:v>
                </c:pt>
                <c:pt idx="667">
                  <c:v>113.18331097731462</c:v>
                </c:pt>
                <c:pt idx="668">
                  <c:v>112.94218043414847</c:v>
                </c:pt>
                <c:pt idx="669">
                  <c:v>113.13288687223073</c:v>
                </c:pt>
                <c:pt idx="670">
                  <c:v>114.00237903465778</c:v>
                </c:pt>
                <c:pt idx="671">
                  <c:v>113.7606019635179</c:v>
                </c:pt>
                <c:pt idx="672">
                  <c:v>114.36310511262977</c:v>
                </c:pt>
                <c:pt idx="673">
                  <c:v>114.00884365219504</c:v>
                </c:pt>
                <c:pt idx="674">
                  <c:v>113.83041992121355</c:v>
                </c:pt>
                <c:pt idx="675">
                  <c:v>114.42257961604582</c:v>
                </c:pt>
                <c:pt idx="676">
                  <c:v>115.26944561709249</c:v>
                </c:pt>
                <c:pt idx="677">
                  <c:v>115.26039510839369</c:v>
                </c:pt>
                <c:pt idx="678">
                  <c:v>115.37999064319951</c:v>
                </c:pt>
                <c:pt idx="679">
                  <c:v>114.57255898571674</c:v>
                </c:pt>
                <c:pt idx="680">
                  <c:v>113.566663216667</c:v>
                </c:pt>
                <c:pt idx="681">
                  <c:v>114.22540856042632</c:v>
                </c:pt>
                <c:pt idx="682">
                  <c:v>111.11721660775558</c:v>
                </c:pt>
                <c:pt idx="683">
                  <c:v>111.92982004756146</c:v>
                </c:pt>
                <c:pt idx="684">
                  <c:v>110.85927799277253</c:v>
                </c:pt>
                <c:pt idx="685">
                  <c:v>110.26841125455771</c:v>
                </c:pt>
                <c:pt idx="686">
                  <c:v>111.50444768385029</c:v>
                </c:pt>
                <c:pt idx="687">
                  <c:v>111.20319610929434</c:v>
                </c:pt>
                <c:pt idx="688">
                  <c:v>112.06363776302257</c:v>
                </c:pt>
                <c:pt idx="689">
                  <c:v>112.68165592800388</c:v>
                </c:pt>
                <c:pt idx="690">
                  <c:v>112.04876916476023</c:v>
                </c:pt>
                <c:pt idx="691">
                  <c:v>111.62145743786121</c:v>
                </c:pt>
                <c:pt idx="692">
                  <c:v>111.62404321865611</c:v>
                </c:pt>
                <c:pt idx="693">
                  <c:v>113.33135087343102</c:v>
                </c:pt>
                <c:pt idx="694">
                  <c:v>112.79349401005834</c:v>
                </c:pt>
                <c:pt idx="695">
                  <c:v>110.46881460790918</c:v>
                </c:pt>
                <c:pt idx="696">
                  <c:v>112.18452624340918</c:v>
                </c:pt>
                <c:pt idx="697">
                  <c:v>112.95510966922295</c:v>
                </c:pt>
                <c:pt idx="698">
                  <c:v>110.17402771711049</c:v>
                </c:pt>
                <c:pt idx="699">
                  <c:v>111.6958005395396</c:v>
                </c:pt>
                <c:pt idx="700">
                  <c:v>112.64222180517332</c:v>
                </c:pt>
                <c:pt idx="701">
                  <c:v>112.03583992968574</c:v>
                </c:pt>
                <c:pt idx="702">
                  <c:v>112.07785994367786</c:v>
                </c:pt>
                <c:pt idx="703">
                  <c:v>114.46136743163599</c:v>
                </c:pt>
                <c:pt idx="704">
                  <c:v>114.44197346865759</c:v>
                </c:pt>
                <c:pt idx="705">
                  <c:v>114.86734583236876</c:v>
                </c:pt>
                <c:pt idx="706">
                  <c:v>116.24237177048226</c:v>
                </c:pt>
                <c:pt idx="707">
                  <c:v>115.99800891854748</c:v>
                </c:pt>
                <c:pt idx="708">
                  <c:v>115.86289825750558</c:v>
                </c:pt>
                <c:pt idx="709">
                  <c:v>115.66443425630526</c:v>
                </c:pt>
                <c:pt idx="710">
                  <c:v>117.02135917702113</c:v>
                </c:pt>
                <c:pt idx="711">
                  <c:v>116.41303782797902</c:v>
                </c:pt>
                <c:pt idx="712">
                  <c:v>115.91138288903495</c:v>
                </c:pt>
                <c:pt idx="713">
                  <c:v>114.70055850124766</c:v>
                </c:pt>
                <c:pt idx="714">
                  <c:v>115.88293852772438</c:v>
                </c:pt>
                <c:pt idx="715">
                  <c:v>114.85894185164366</c:v>
                </c:pt>
                <c:pt idx="716">
                  <c:v>114.69474041168412</c:v>
                </c:pt>
                <c:pt idx="717">
                  <c:v>113.53434012898074</c:v>
                </c:pt>
                <c:pt idx="718">
                  <c:v>113.41603742938904</c:v>
                </c:pt>
                <c:pt idx="719">
                  <c:v>112.28214214480836</c:v>
                </c:pt>
                <c:pt idx="720">
                  <c:v>112.75729208562973</c:v>
                </c:pt>
                <c:pt idx="721">
                  <c:v>112.75729208562973</c:v>
                </c:pt>
                <c:pt idx="722">
                  <c:v>112.75470619446814</c:v>
                </c:pt>
                <c:pt idx="723">
                  <c:v>114.7516291343053</c:v>
                </c:pt>
                <c:pt idx="724">
                  <c:v>113.38371434170278</c:v>
                </c:pt>
                <c:pt idx="725">
                  <c:v>112.53103025109257</c:v>
                </c:pt>
                <c:pt idx="726">
                  <c:v>110.85733862958469</c:v>
                </c:pt>
                <c:pt idx="727">
                  <c:v>111.00925736244345</c:v>
                </c:pt>
                <c:pt idx="728">
                  <c:v>111.18121636552101</c:v>
                </c:pt>
                <c:pt idx="729">
                  <c:v>113.79551094236571</c:v>
                </c:pt>
                <c:pt idx="730">
                  <c:v>114.52278129823989</c:v>
                </c:pt>
                <c:pt idx="731">
                  <c:v>113.06242238656135</c:v>
                </c:pt>
                <c:pt idx="732">
                  <c:v>112.39785895323851</c:v>
                </c:pt>
                <c:pt idx="733">
                  <c:v>111.73394182715606</c:v>
                </c:pt>
                <c:pt idx="734">
                  <c:v>109.59415080663565</c:v>
                </c:pt>
                <c:pt idx="735">
                  <c:v>109.46615122488474</c:v>
                </c:pt>
                <c:pt idx="736">
                  <c:v>110.282633435213</c:v>
                </c:pt>
                <c:pt idx="737">
                  <c:v>110.71447040542478</c:v>
                </c:pt>
                <c:pt idx="738">
                  <c:v>113.9493690384123</c:v>
                </c:pt>
                <c:pt idx="739">
                  <c:v>115.24423356455056</c:v>
                </c:pt>
                <c:pt idx="740">
                  <c:v>115.63986862137037</c:v>
                </c:pt>
                <c:pt idx="741">
                  <c:v>114.87316403229897</c:v>
                </c:pt>
                <c:pt idx="742">
                  <c:v>116.26111920548696</c:v>
                </c:pt>
                <c:pt idx="743">
                  <c:v>116.07364496580665</c:v>
                </c:pt>
                <c:pt idx="744">
                  <c:v>116.06524098508156</c:v>
                </c:pt>
                <c:pt idx="745">
                  <c:v>116.37231075956768</c:v>
                </c:pt>
                <c:pt idx="746">
                  <c:v>118.15266857044023</c:v>
                </c:pt>
                <c:pt idx="747">
                  <c:v>118.01885085497909</c:v>
                </c:pt>
                <c:pt idx="748">
                  <c:v>118.69699005135017</c:v>
                </c:pt>
                <c:pt idx="749">
                  <c:v>119.47145220353963</c:v>
                </c:pt>
                <c:pt idx="750">
                  <c:v>119.32535167061104</c:v>
                </c:pt>
                <c:pt idx="751">
                  <c:v>119.87031956912806</c:v>
                </c:pt>
                <c:pt idx="752">
                  <c:v>119.61690631886113</c:v>
                </c:pt>
                <c:pt idx="753">
                  <c:v>120.37068167285805</c:v>
                </c:pt>
                <c:pt idx="754">
                  <c:v>121.07467933937809</c:v>
                </c:pt>
                <c:pt idx="755">
                  <c:v>121.01067958161265</c:v>
                </c:pt>
                <c:pt idx="756">
                  <c:v>121.47871848728971</c:v>
                </c:pt>
                <c:pt idx="757">
                  <c:v>122.03273689450553</c:v>
                </c:pt>
                <c:pt idx="758">
                  <c:v>122.11936281365136</c:v>
                </c:pt>
                <c:pt idx="759">
                  <c:v>122.6811387839852</c:v>
                </c:pt>
                <c:pt idx="760">
                  <c:v>120.22264166637495</c:v>
                </c:pt>
                <c:pt idx="761">
                  <c:v>119.78046134121361</c:v>
                </c:pt>
                <c:pt idx="762">
                  <c:v>120.84906392244801</c:v>
                </c:pt>
                <c:pt idx="763">
                  <c:v>122.45164464067946</c:v>
                </c:pt>
                <c:pt idx="764">
                  <c:v>120.50126707955052</c:v>
                </c:pt>
                <c:pt idx="765">
                  <c:v>121.02102292552559</c:v>
                </c:pt>
                <c:pt idx="766">
                  <c:v>119.81989557441084</c:v>
                </c:pt>
                <c:pt idx="767">
                  <c:v>118.96721137343395</c:v>
                </c:pt>
                <c:pt idx="768">
                  <c:v>119.21997831646051</c:v>
                </c:pt>
                <c:pt idx="769">
                  <c:v>117.47129706530053</c:v>
                </c:pt>
                <c:pt idx="770">
                  <c:v>116.25982625990619</c:v>
                </c:pt>
                <c:pt idx="771">
                  <c:v>117.93804302539679</c:v>
                </c:pt>
                <c:pt idx="772">
                  <c:v>117.91024519205993</c:v>
                </c:pt>
                <c:pt idx="773">
                  <c:v>116.4026944840661</c:v>
                </c:pt>
                <c:pt idx="774">
                  <c:v>115.76916119284874</c:v>
                </c:pt>
                <c:pt idx="775">
                  <c:v>115.55001039345589</c:v>
                </c:pt>
                <c:pt idx="776">
                  <c:v>115.95146353983925</c:v>
                </c:pt>
                <c:pt idx="777">
                  <c:v>117.13966176624618</c:v>
                </c:pt>
                <c:pt idx="778">
                  <c:v>117.26313613779433</c:v>
                </c:pt>
                <c:pt idx="779">
                  <c:v>116.7104106761593</c:v>
                </c:pt>
                <c:pt idx="780">
                  <c:v>112.94864505168572</c:v>
                </c:pt>
                <c:pt idx="781">
                  <c:v>111.35705420534094</c:v>
                </c:pt>
                <c:pt idx="782">
                  <c:v>109.57604985545801</c:v>
                </c:pt>
                <c:pt idx="783">
                  <c:v>110.94719696786584</c:v>
                </c:pt>
                <c:pt idx="784">
                  <c:v>113.12318994592485</c:v>
                </c:pt>
                <c:pt idx="785">
                  <c:v>113.94872262080527</c:v>
                </c:pt>
                <c:pt idx="786">
                  <c:v>113.28028035074007</c:v>
                </c:pt>
                <c:pt idx="787">
                  <c:v>114.27712561109098</c:v>
                </c:pt>
                <c:pt idx="788">
                  <c:v>113.64488515508775</c:v>
                </c:pt>
                <c:pt idx="789">
                  <c:v>112.48771718115297</c:v>
                </c:pt>
                <c:pt idx="790">
                  <c:v>115.46984898148065</c:v>
                </c:pt>
                <c:pt idx="791">
                  <c:v>113.61773373935794</c:v>
                </c:pt>
                <c:pt idx="792">
                  <c:v>115.64956554767625</c:v>
                </c:pt>
                <c:pt idx="793">
                  <c:v>116.45376500675707</c:v>
                </c:pt>
                <c:pt idx="794">
                  <c:v>116.44471449805825</c:v>
                </c:pt>
                <c:pt idx="795">
                  <c:v>117.29804511664217</c:v>
                </c:pt>
                <c:pt idx="796">
                  <c:v>116.9618845632384</c:v>
                </c:pt>
                <c:pt idx="797">
                  <c:v>117.54305438618402</c:v>
                </c:pt>
                <c:pt idx="798">
                  <c:v>116.75630952689377</c:v>
                </c:pt>
                <c:pt idx="799">
                  <c:v>117.3775600006437</c:v>
                </c:pt>
                <c:pt idx="800">
                  <c:v>118.78296955288896</c:v>
                </c:pt>
                <c:pt idx="801">
                  <c:v>118.69957594251173</c:v>
                </c:pt>
                <c:pt idx="802">
                  <c:v>118.87088852798225</c:v>
                </c:pt>
                <c:pt idx="803">
                  <c:v>118.79848467912504</c:v>
                </c:pt>
                <c:pt idx="804">
                  <c:v>120.02999586510485</c:v>
                </c:pt>
                <c:pt idx="805">
                  <c:v>119.68866363974462</c:v>
                </c:pt>
                <c:pt idx="806">
                  <c:v>119.59428004711408</c:v>
                </c:pt>
                <c:pt idx="807">
                  <c:v>119.62466388197915</c:v>
                </c:pt>
                <c:pt idx="808">
                  <c:v>120.22199524876791</c:v>
                </c:pt>
                <c:pt idx="809">
                  <c:v>120.46312579193408</c:v>
                </c:pt>
                <c:pt idx="810">
                  <c:v>122.28873603593402</c:v>
                </c:pt>
                <c:pt idx="811">
                  <c:v>122.41867502501947</c:v>
                </c:pt>
                <c:pt idx="812">
                  <c:v>122.42901836893239</c:v>
                </c:pt>
                <c:pt idx="813">
                  <c:v>121.7075662129884</c:v>
                </c:pt>
                <c:pt idx="814">
                  <c:v>121.68817236037665</c:v>
                </c:pt>
                <c:pt idx="815">
                  <c:v>122.76065366798676</c:v>
                </c:pt>
                <c:pt idx="816">
                  <c:v>123.31790438397121</c:v>
                </c:pt>
                <c:pt idx="817">
                  <c:v>123.43232824682057</c:v>
                </c:pt>
                <c:pt idx="818">
                  <c:v>124.06327575724303</c:v>
                </c:pt>
                <c:pt idx="819">
                  <c:v>124.5513549331389</c:v>
                </c:pt>
                <c:pt idx="820">
                  <c:v>123.77818572653021</c:v>
                </c:pt>
                <c:pt idx="821">
                  <c:v>124.41495143688289</c:v>
                </c:pt>
                <c:pt idx="822">
                  <c:v>123.31984385752573</c:v>
                </c:pt>
                <c:pt idx="823">
                  <c:v>121.8568990546856</c:v>
                </c:pt>
                <c:pt idx="824">
                  <c:v>121.42570849104422</c:v>
                </c:pt>
                <c:pt idx="825">
                  <c:v>123.06384460573054</c:v>
                </c:pt>
                <c:pt idx="826">
                  <c:v>123.56356018148679</c:v>
                </c:pt>
                <c:pt idx="827">
                  <c:v>123.28364193309712</c:v>
                </c:pt>
                <c:pt idx="828">
                  <c:v>120.33447974842943</c:v>
                </c:pt>
                <c:pt idx="829">
                  <c:v>119.8308854462975</c:v>
                </c:pt>
                <c:pt idx="830">
                  <c:v>120.59371119862656</c:v>
                </c:pt>
                <c:pt idx="831">
                  <c:v>119.17214010253818</c:v>
                </c:pt>
                <c:pt idx="832">
                  <c:v>121.25051717919804</c:v>
                </c:pt>
                <c:pt idx="833">
                  <c:v>120.75985211214059</c:v>
                </c:pt>
                <c:pt idx="834">
                  <c:v>120.87944764694643</c:v>
                </c:pt>
                <c:pt idx="835">
                  <c:v>121.69075814117156</c:v>
                </c:pt>
                <c:pt idx="836">
                  <c:v>122.56930081229744</c:v>
                </c:pt>
                <c:pt idx="837">
                  <c:v>122.53956350540606</c:v>
                </c:pt>
                <c:pt idx="838">
                  <c:v>124.659314178451</c:v>
                </c:pt>
                <c:pt idx="839">
                  <c:v>125.15902975420722</c:v>
                </c:pt>
                <c:pt idx="840">
                  <c:v>125.08856537890453</c:v>
                </c:pt>
                <c:pt idx="841">
                  <c:v>125.33292823083933</c:v>
                </c:pt>
                <c:pt idx="842">
                  <c:v>126.52241929246033</c:v>
                </c:pt>
                <c:pt idx="843">
                  <c:v>126.2961574579232</c:v>
                </c:pt>
                <c:pt idx="844">
                  <c:v>127.02342781379737</c:v>
                </c:pt>
                <c:pt idx="845">
                  <c:v>127.93623293579736</c:v>
                </c:pt>
                <c:pt idx="846">
                  <c:v>127.762980987139</c:v>
                </c:pt>
                <c:pt idx="847">
                  <c:v>127.00274101560483</c:v>
                </c:pt>
                <c:pt idx="848">
                  <c:v>127.58649672971202</c:v>
                </c:pt>
                <c:pt idx="849">
                  <c:v>127.66730455929434</c:v>
                </c:pt>
                <c:pt idx="850">
                  <c:v>127.51473929846185</c:v>
                </c:pt>
                <c:pt idx="851">
                  <c:v>127.28718451834393</c:v>
                </c:pt>
                <c:pt idx="852">
                  <c:v>126.31231900176631</c:v>
                </c:pt>
                <c:pt idx="853">
                  <c:v>127.91877844637345</c:v>
                </c:pt>
                <c:pt idx="854">
                  <c:v>127.24710386753964</c:v>
                </c:pt>
                <c:pt idx="855">
                  <c:v>126.61292404834855</c:v>
                </c:pt>
                <c:pt idx="856">
                  <c:v>127.44815364953482</c:v>
                </c:pt>
                <c:pt idx="857">
                  <c:v>127.18827578173062</c:v>
                </c:pt>
                <c:pt idx="858">
                  <c:v>126.45066197157684</c:v>
                </c:pt>
                <c:pt idx="859">
                  <c:v>126.29809682111105</c:v>
                </c:pt>
                <c:pt idx="860">
                  <c:v>128.8238260052554</c:v>
                </c:pt>
                <c:pt idx="861">
                  <c:v>129.12830988857996</c:v>
                </c:pt>
                <c:pt idx="862">
                  <c:v>129.18713797438895</c:v>
                </c:pt>
                <c:pt idx="863">
                  <c:v>130.40507339732054</c:v>
                </c:pt>
                <c:pt idx="864">
                  <c:v>130.92095051691993</c:v>
                </c:pt>
                <c:pt idx="865">
                  <c:v>130.76838536645411</c:v>
                </c:pt>
                <c:pt idx="866">
                  <c:v>131.9016342334277</c:v>
                </c:pt>
                <c:pt idx="867">
                  <c:v>131.97403808228495</c:v>
                </c:pt>
                <c:pt idx="868">
                  <c:v>132.60239970154583</c:v>
                </c:pt>
                <c:pt idx="869">
                  <c:v>131.46785788899143</c:v>
                </c:pt>
                <c:pt idx="870">
                  <c:v>132.17702733783466</c:v>
                </c:pt>
                <c:pt idx="871">
                  <c:v>131.81177600551322</c:v>
                </c:pt>
                <c:pt idx="872">
                  <c:v>131.39286825933931</c:v>
                </c:pt>
                <c:pt idx="873">
                  <c:v>132.41880429860785</c:v>
                </c:pt>
                <c:pt idx="874">
                  <c:v>132.27205734807225</c:v>
                </c:pt>
                <c:pt idx="875">
                  <c:v>133.15835747194947</c:v>
                </c:pt>
                <c:pt idx="876">
                  <c:v>132.55132917885487</c:v>
                </c:pt>
                <c:pt idx="877">
                  <c:v>133.15706452636871</c:v>
                </c:pt>
                <c:pt idx="878">
                  <c:v>132.31278441648362</c:v>
                </c:pt>
                <c:pt idx="879">
                  <c:v>133.29476107857218</c:v>
                </c:pt>
                <c:pt idx="880">
                  <c:v>132.91464103762175</c:v>
                </c:pt>
                <c:pt idx="881">
                  <c:v>132.70130843815912</c:v>
                </c:pt>
                <c:pt idx="882">
                  <c:v>133.48223520788582</c:v>
                </c:pt>
                <c:pt idx="883">
                  <c:v>132.75949010636106</c:v>
                </c:pt>
                <c:pt idx="884">
                  <c:v>132.17638080986092</c:v>
                </c:pt>
                <c:pt idx="885">
                  <c:v>133.33571130839746</c:v>
                </c:pt>
                <c:pt idx="886">
                  <c:v>133.46015723777302</c:v>
                </c:pt>
                <c:pt idx="887">
                  <c:v>134.44339583240713</c:v>
                </c:pt>
                <c:pt idx="888">
                  <c:v>133.30066117057419</c:v>
                </c:pt>
                <c:pt idx="889">
                  <c:v>133.18920263951009</c:v>
                </c:pt>
                <c:pt idx="890">
                  <c:v>133.07036013651799</c:v>
                </c:pt>
                <c:pt idx="891">
                  <c:v>133.50983427084358</c:v>
                </c:pt>
                <c:pt idx="892">
                  <c:v>134.21634520725402</c:v>
                </c:pt>
                <c:pt idx="893">
                  <c:v>133.7431583584553</c:v>
                </c:pt>
                <c:pt idx="894">
                  <c:v>134.53795126594841</c:v>
                </c:pt>
                <c:pt idx="895">
                  <c:v>134.9867064649539</c:v>
                </c:pt>
                <c:pt idx="896">
                  <c:v>134.89668721206272</c:v>
                </c:pt>
                <c:pt idx="897">
                  <c:v>134.426989164182</c:v>
                </c:pt>
                <c:pt idx="898">
                  <c:v>131.78445307997274</c:v>
                </c:pt>
                <c:pt idx="899">
                  <c:v>130.91932415361828</c:v>
                </c:pt>
                <c:pt idx="900">
                  <c:v>129.56295514983717</c:v>
                </c:pt>
                <c:pt idx="901">
                  <c:v>130.49536602846214</c:v>
                </c:pt>
                <c:pt idx="902">
                  <c:v>130.94426039984302</c:v>
                </c:pt>
                <c:pt idx="903">
                  <c:v>129.99545201342684</c:v>
                </c:pt>
                <c:pt idx="904">
                  <c:v>129.39720868681445</c:v>
                </c:pt>
                <c:pt idx="905">
                  <c:v>128.45217693760091</c:v>
                </c:pt>
                <c:pt idx="906">
                  <c:v>128.23419403834771</c:v>
                </c:pt>
                <c:pt idx="907">
                  <c:v>130.33234650520978</c:v>
                </c:pt>
                <c:pt idx="908">
                  <c:v>129.00829330491447</c:v>
                </c:pt>
                <c:pt idx="909">
                  <c:v>130.26515527434495</c:v>
                </c:pt>
                <c:pt idx="910">
                  <c:v>132.46319984488179</c:v>
                </c:pt>
                <c:pt idx="911">
                  <c:v>133.23753043999633</c:v>
                </c:pt>
                <c:pt idx="912">
                  <c:v>134.20951362052719</c:v>
                </c:pt>
                <c:pt idx="913">
                  <c:v>134.40281488947156</c:v>
                </c:pt>
                <c:pt idx="914">
                  <c:v>134.40281488947156</c:v>
                </c:pt>
                <c:pt idx="915">
                  <c:v>134.40281996633857</c:v>
                </c:pt>
                <c:pt idx="916">
                  <c:v>135.9532002278751</c:v>
                </c:pt>
                <c:pt idx="917">
                  <c:v>135.69075622454389</c:v>
                </c:pt>
                <c:pt idx="918">
                  <c:v>135.99746852137437</c:v>
                </c:pt>
                <c:pt idx="919">
                  <c:v>135.99746852137437</c:v>
                </c:pt>
                <c:pt idx="920">
                  <c:v>134.26230487002564</c:v>
                </c:pt>
                <c:pt idx="921">
                  <c:v>134.96399123766795</c:v>
                </c:pt>
                <c:pt idx="922">
                  <c:v>134.83003843339841</c:v>
                </c:pt>
                <c:pt idx="923">
                  <c:v>136.28818372070532</c:v>
                </c:pt>
                <c:pt idx="924">
                  <c:v>136.49416214724178</c:v>
                </c:pt>
                <c:pt idx="925">
                  <c:v>135.82522488264567</c:v>
                </c:pt>
                <c:pt idx="926">
                  <c:v>136.40418406111985</c:v>
                </c:pt>
                <c:pt idx="927">
                  <c:v>137.00638303967938</c:v>
                </c:pt>
                <c:pt idx="928">
                  <c:v>137.21374171183544</c:v>
                </c:pt>
                <c:pt idx="929">
                  <c:v>139.18614636404067</c:v>
                </c:pt>
                <c:pt idx="930">
                  <c:v>138.75065425929719</c:v>
                </c:pt>
                <c:pt idx="931">
                  <c:v>138.99390494626249</c:v>
                </c:pt>
                <c:pt idx="932">
                  <c:v>138.85532568140385</c:v>
                </c:pt>
                <c:pt idx="933">
                  <c:v>138.74554019874432</c:v>
                </c:pt>
                <c:pt idx="934">
                  <c:v>138.62420020829614</c:v>
                </c:pt>
                <c:pt idx="935">
                  <c:v>137.39149684150851</c:v>
                </c:pt>
                <c:pt idx="936">
                  <c:v>133.74412252171558</c:v>
                </c:pt>
                <c:pt idx="937">
                  <c:v>132.95821368997758</c:v>
                </c:pt>
                <c:pt idx="938">
                  <c:v>134.05626585218536</c:v>
                </c:pt>
                <c:pt idx="939">
                  <c:v>133.26160759203404</c:v>
                </c:pt>
                <c:pt idx="940">
                  <c:v>133.65789292929449</c:v>
                </c:pt>
                <c:pt idx="941">
                  <c:v>132.97879210809666</c:v>
                </c:pt>
                <c:pt idx="942">
                  <c:v>131.11201454302451</c:v>
                </c:pt>
                <c:pt idx="943">
                  <c:v>131.06371996290702</c:v>
                </c:pt>
                <c:pt idx="944">
                  <c:v>131.17120860472303</c:v>
                </c:pt>
                <c:pt idx="945">
                  <c:v>133.45254072326381</c:v>
                </c:pt>
                <c:pt idx="946">
                  <c:v>134.46752717448155</c:v>
                </c:pt>
                <c:pt idx="947">
                  <c:v>134.42444212208952</c:v>
                </c:pt>
                <c:pt idx="948">
                  <c:v>136.28662732987476</c:v>
                </c:pt>
                <c:pt idx="949">
                  <c:v>137.03140095724257</c:v>
                </c:pt>
                <c:pt idx="950">
                  <c:v>137.24529653710704</c:v>
                </c:pt>
                <c:pt idx="951">
                  <c:v>138.13516393260716</c:v>
                </c:pt>
                <c:pt idx="952">
                  <c:v>138.29110155751704</c:v>
                </c:pt>
                <c:pt idx="953">
                  <c:v>138.15699975823816</c:v>
                </c:pt>
                <c:pt idx="954">
                  <c:v>138.25719095559825</c:v>
                </c:pt>
                <c:pt idx="955">
                  <c:v>138.13019688046347</c:v>
                </c:pt>
                <c:pt idx="956">
                  <c:v>138.65686631560382</c:v>
                </c:pt>
                <c:pt idx="957">
                  <c:v>139.65195983611198</c:v>
                </c:pt>
                <c:pt idx="958">
                  <c:v>139.68832786238431</c:v>
                </c:pt>
                <c:pt idx="959">
                  <c:v>139.18856703629189</c:v>
                </c:pt>
                <c:pt idx="960">
                  <c:v>138.70955823509613</c:v>
                </c:pt>
                <c:pt idx="961">
                  <c:v>139.33708780000501</c:v>
                </c:pt>
                <c:pt idx="962">
                  <c:v>135.34311797855631</c:v>
                </c:pt>
                <c:pt idx="963">
                  <c:v>138.68654810805842</c:v>
                </c:pt>
                <c:pt idx="964">
                  <c:v>138.77440229791432</c:v>
                </c:pt>
                <c:pt idx="965">
                  <c:v>139.39257574880531</c:v>
                </c:pt>
                <c:pt idx="966">
                  <c:v>137.4443138064419</c:v>
                </c:pt>
                <c:pt idx="967">
                  <c:v>137.1154423096269</c:v>
                </c:pt>
                <c:pt idx="968">
                  <c:v>137.11194854220861</c:v>
                </c:pt>
                <c:pt idx="969">
                  <c:v>135.72811015631117</c:v>
                </c:pt>
                <c:pt idx="970">
                  <c:v>133.86573048244713</c:v>
                </c:pt>
                <c:pt idx="971">
                  <c:v>133.10325889677353</c:v>
                </c:pt>
                <c:pt idx="972">
                  <c:v>134.99297970667919</c:v>
                </c:pt>
                <c:pt idx="973">
                  <c:v>136.13380403175944</c:v>
                </c:pt>
                <c:pt idx="974">
                  <c:v>136.1440117350306</c:v>
                </c:pt>
                <c:pt idx="975">
                  <c:v>136.47142506735449</c:v>
                </c:pt>
                <c:pt idx="976">
                  <c:v>136.65267032234561</c:v>
                </c:pt>
                <c:pt idx="977">
                  <c:v>134.85691404281098</c:v>
                </c:pt>
                <c:pt idx="978">
                  <c:v>136.65005054861524</c:v>
                </c:pt>
                <c:pt idx="979">
                  <c:v>138.16084923744535</c:v>
                </c:pt>
                <c:pt idx="980">
                  <c:v>138.27838808928934</c:v>
                </c:pt>
                <c:pt idx="981">
                  <c:v>139.82704916915182</c:v>
                </c:pt>
                <c:pt idx="982">
                  <c:v>139.75624784439472</c:v>
                </c:pt>
                <c:pt idx="983">
                  <c:v>140.91846840464518</c:v>
                </c:pt>
                <c:pt idx="984">
                  <c:v>140.90603217750149</c:v>
                </c:pt>
                <c:pt idx="985">
                  <c:v>141.52581963062664</c:v>
                </c:pt>
                <c:pt idx="986">
                  <c:v>142.47522973614707</c:v>
                </c:pt>
                <c:pt idx="987">
                  <c:v>140.67774213460427</c:v>
                </c:pt>
                <c:pt idx="988">
                  <c:v>139.95963762060279</c:v>
                </c:pt>
                <c:pt idx="989">
                  <c:v>140.43149477171838</c:v>
                </c:pt>
                <c:pt idx="990">
                  <c:v>139.36118834977751</c:v>
                </c:pt>
                <c:pt idx="991">
                  <c:v>137.63721036079434</c:v>
                </c:pt>
                <c:pt idx="992">
                  <c:v>137.97018694603253</c:v>
                </c:pt>
                <c:pt idx="993">
                  <c:v>136.29135499670346</c:v>
                </c:pt>
                <c:pt idx="994">
                  <c:v>138.50239767111913</c:v>
                </c:pt>
                <c:pt idx="995">
                  <c:v>139.25103689122844</c:v>
                </c:pt>
                <c:pt idx="996">
                  <c:v>139.25103689122844</c:v>
                </c:pt>
                <c:pt idx="997">
                  <c:v>139.25103269729485</c:v>
                </c:pt>
                <c:pt idx="998">
                  <c:v>141.26075022486472</c:v>
                </c:pt>
                <c:pt idx="999">
                  <c:v>140.42265395969932</c:v>
                </c:pt>
                <c:pt idx="1000">
                  <c:v>140.88073260418739</c:v>
                </c:pt>
                <c:pt idx="1001">
                  <c:v>139.21343319967892</c:v>
                </c:pt>
                <c:pt idx="1002">
                  <c:v>139.67680701643116</c:v>
                </c:pt>
                <c:pt idx="1003">
                  <c:v>141.46949918600765</c:v>
                </c:pt>
                <c:pt idx="1004">
                  <c:v>141.2483154324878</c:v>
                </c:pt>
                <c:pt idx="1005">
                  <c:v>141.24674325922288</c:v>
                </c:pt>
                <c:pt idx="1006">
                  <c:v>140.7703878935929</c:v>
                </c:pt>
                <c:pt idx="1007">
                  <c:v>140.55751154995875</c:v>
                </c:pt>
                <c:pt idx="1008">
                  <c:v>139.79711540958149</c:v>
                </c:pt>
                <c:pt idx="1009">
                  <c:v>140.10740281406868</c:v>
                </c:pt>
                <c:pt idx="1010">
                  <c:v>141.91398131851284</c:v>
                </c:pt>
                <c:pt idx="1011">
                  <c:v>141.15063143485102</c:v>
                </c:pt>
                <c:pt idx="1012">
                  <c:v>142.38667085508047</c:v>
                </c:pt>
                <c:pt idx="1013">
                  <c:v>142.63111261918687</c:v>
                </c:pt>
                <c:pt idx="1014">
                  <c:v>142.53799250423523</c:v>
                </c:pt>
                <c:pt idx="1015">
                  <c:v>140.46803905356839</c:v>
                </c:pt>
                <c:pt idx="1016">
                  <c:v>140.72164710101418</c:v>
                </c:pt>
                <c:pt idx="1017">
                  <c:v>140.965936228011</c:v>
                </c:pt>
                <c:pt idx="1018">
                  <c:v>140.92828386475844</c:v>
                </c:pt>
                <c:pt idx="1019">
                  <c:v>141.73603569596122</c:v>
                </c:pt>
                <c:pt idx="1020">
                  <c:v>141.93276870625337</c:v>
                </c:pt>
                <c:pt idx="1021">
                  <c:v>142.64661560508881</c:v>
                </c:pt>
                <c:pt idx="1022">
                  <c:v>144.3107640410671</c:v>
                </c:pt>
                <c:pt idx="1023">
                  <c:v>144.53690822473021</c:v>
                </c:pt>
                <c:pt idx="1024">
                  <c:v>144.70046810321634</c:v>
                </c:pt>
                <c:pt idx="1025">
                  <c:v>144.69983989611043</c:v>
                </c:pt>
                <c:pt idx="1026">
                  <c:v>144.8115705913915</c:v>
                </c:pt>
                <c:pt idx="1027">
                  <c:v>145.10371481841176</c:v>
                </c:pt>
                <c:pt idx="1028">
                  <c:v>144.5627070968755</c:v>
                </c:pt>
                <c:pt idx="1029">
                  <c:v>144.53538715123517</c:v>
                </c:pt>
                <c:pt idx="1030">
                  <c:v>145.71667818974385</c:v>
                </c:pt>
                <c:pt idx="1031">
                  <c:v>146.95188688002142</c:v>
                </c:pt>
                <c:pt idx="1032">
                  <c:v>147.4371617491087</c:v>
                </c:pt>
                <c:pt idx="1033">
                  <c:v>147.78306194072101</c:v>
                </c:pt>
                <c:pt idx="1034">
                  <c:v>146.59261179270672</c:v>
                </c:pt>
                <c:pt idx="1035">
                  <c:v>146.56688035459899</c:v>
                </c:pt>
                <c:pt idx="1036">
                  <c:v>146.25586066723272</c:v>
                </c:pt>
                <c:pt idx="1037">
                  <c:v>145.47371324209644</c:v>
                </c:pt>
                <c:pt idx="1038">
                  <c:v>146.19010950072447</c:v>
                </c:pt>
                <c:pt idx="1039">
                  <c:v>146.24724235442758</c:v>
                </c:pt>
                <c:pt idx="1040">
                  <c:v>147.2813566745738</c:v>
                </c:pt>
                <c:pt idx="1041">
                  <c:v>146.80489977160414</c:v>
                </c:pt>
                <c:pt idx="1042">
                  <c:v>145.91661602750295</c:v>
                </c:pt>
                <c:pt idx="1043">
                  <c:v>145.79497517750266</c:v>
                </c:pt>
                <c:pt idx="1044">
                  <c:v>144.32721750476179</c:v>
                </c:pt>
                <c:pt idx="1045">
                  <c:v>143.834007051112</c:v>
                </c:pt>
                <c:pt idx="1046">
                  <c:v>143.73036016283604</c:v>
                </c:pt>
                <c:pt idx="1047">
                  <c:v>143.61417010210963</c:v>
                </c:pt>
                <c:pt idx="1048">
                  <c:v>144.8137498917277</c:v>
                </c:pt>
                <c:pt idx="1049">
                  <c:v>144.79272360564727</c:v>
                </c:pt>
                <c:pt idx="1050">
                  <c:v>146.34569019981208</c:v>
                </c:pt>
                <c:pt idx="1051">
                  <c:v>145.52964376125772</c:v>
                </c:pt>
                <c:pt idx="1052">
                  <c:v>143.86913908100712</c:v>
                </c:pt>
                <c:pt idx="1053">
                  <c:v>141.65893232377704</c:v>
                </c:pt>
                <c:pt idx="1054">
                  <c:v>142.18085323278737</c:v>
                </c:pt>
                <c:pt idx="1055">
                  <c:v>140.08723396667517</c:v>
                </c:pt>
                <c:pt idx="1056">
                  <c:v>140.31329537533315</c:v>
                </c:pt>
                <c:pt idx="1057">
                  <c:v>141.56184938304449</c:v>
                </c:pt>
                <c:pt idx="1058">
                  <c:v>140.35770063387429</c:v>
                </c:pt>
                <c:pt idx="1059">
                  <c:v>142.57579838753074</c:v>
                </c:pt>
                <c:pt idx="1060">
                  <c:v>140.87561335640086</c:v>
                </c:pt>
                <c:pt idx="1061">
                  <c:v>141.00385534751359</c:v>
                </c:pt>
                <c:pt idx="1062">
                  <c:v>139.94281884321856</c:v>
                </c:pt>
                <c:pt idx="1063">
                  <c:v>141.84616618484233</c:v>
                </c:pt>
                <c:pt idx="1064">
                  <c:v>142.10905617990136</c:v>
                </c:pt>
                <c:pt idx="1065">
                  <c:v>143.35713660421649</c:v>
                </c:pt>
                <c:pt idx="1066">
                  <c:v>141.59864508017685</c:v>
                </c:pt>
                <c:pt idx="1067">
                  <c:v>141.31746346447494</c:v>
                </c:pt>
                <c:pt idx="1068">
                  <c:v>141.9840114009551</c:v>
                </c:pt>
                <c:pt idx="1069">
                  <c:v>141.1248820069755</c:v>
                </c:pt>
                <c:pt idx="1070">
                  <c:v>138.76809164188668</c:v>
                </c:pt>
                <c:pt idx="1071">
                  <c:v>136.73229027542038</c:v>
                </c:pt>
                <c:pt idx="1072">
                  <c:v>136.55262646449472</c:v>
                </c:pt>
                <c:pt idx="1073">
                  <c:v>136.47761796214144</c:v>
                </c:pt>
                <c:pt idx="1074">
                  <c:v>135.3369141574687</c:v>
                </c:pt>
                <c:pt idx="1075">
                  <c:v>133.84379223654307</c:v>
                </c:pt>
                <c:pt idx="1076">
                  <c:v>133.47511192204075</c:v>
                </c:pt>
                <c:pt idx="1077">
                  <c:v>135.40256146893711</c:v>
                </c:pt>
                <c:pt idx="1078">
                  <c:v>134.58833177619624</c:v>
                </c:pt>
                <c:pt idx="1079">
                  <c:v>135.74884352923993</c:v>
                </c:pt>
                <c:pt idx="1080">
                  <c:v>136.00558963231509</c:v>
                </c:pt>
                <c:pt idx="1081">
                  <c:v>135.03311565118696</c:v>
                </c:pt>
                <c:pt idx="1082">
                  <c:v>136.80670875753682</c:v>
                </c:pt>
                <c:pt idx="1083">
                  <c:v>137.65436321809941</c:v>
                </c:pt>
                <c:pt idx="1084">
                  <c:v>137.49480711143013</c:v>
                </c:pt>
                <c:pt idx="1085">
                  <c:v>139.02713304067197</c:v>
                </c:pt>
                <c:pt idx="1086">
                  <c:v>138.17672360720388</c:v>
                </c:pt>
                <c:pt idx="1087">
                  <c:v>140.6152344238987</c:v>
                </c:pt>
                <c:pt idx="1088">
                  <c:v>141.94580908056815</c:v>
                </c:pt>
                <c:pt idx="1089">
                  <c:v>142.02696754507238</c:v>
                </c:pt>
                <c:pt idx="1090">
                  <c:v>140.67241219683791</c:v>
                </c:pt>
                <c:pt idx="1091">
                  <c:v>141.01434989376932</c:v>
                </c:pt>
                <c:pt idx="1092">
                  <c:v>140.9893727015087</c:v>
                </c:pt>
                <c:pt idx="1093">
                  <c:v>141.27529931160714</c:v>
                </c:pt>
                <c:pt idx="1094">
                  <c:v>142.82588651065657</c:v>
                </c:pt>
                <c:pt idx="1095">
                  <c:v>145.00441814294089</c:v>
                </c:pt>
                <c:pt idx="1096">
                  <c:v>145.00576505782504</c:v>
                </c:pt>
                <c:pt idx="1097">
                  <c:v>144.75571975696852</c:v>
                </c:pt>
                <c:pt idx="1098">
                  <c:v>143.8852490836137</c:v>
                </c:pt>
                <c:pt idx="1099">
                  <c:v>143.71763256767409</c:v>
                </c:pt>
                <c:pt idx="1100">
                  <c:v>143.43747846570304</c:v>
                </c:pt>
                <c:pt idx="1101">
                  <c:v>143.2771251805506</c:v>
                </c:pt>
                <c:pt idx="1102">
                  <c:v>143.02192697007212</c:v>
                </c:pt>
                <c:pt idx="1103">
                  <c:v>142.43336346293123</c:v>
                </c:pt>
                <c:pt idx="1104">
                  <c:v>143.1898136636286</c:v>
                </c:pt>
                <c:pt idx="1105">
                  <c:v>144.4842917960427</c:v>
                </c:pt>
                <c:pt idx="1106">
                  <c:v>144.55694154184863</c:v>
                </c:pt>
                <c:pt idx="1107">
                  <c:v>143.80320702352091</c:v>
                </c:pt>
                <c:pt idx="1108">
                  <c:v>141.67680300592693</c:v>
                </c:pt>
                <c:pt idx="1109">
                  <c:v>142.87992821456652</c:v>
                </c:pt>
                <c:pt idx="1110">
                  <c:v>141.23726916323093</c:v>
                </c:pt>
                <c:pt idx="1111">
                  <c:v>141.94342924398612</c:v>
                </c:pt>
                <c:pt idx="1112">
                  <c:v>140.80656366111987</c:v>
                </c:pt>
                <c:pt idx="1113">
                  <c:v>142.16521427514357</c:v>
                </c:pt>
                <c:pt idx="1114">
                  <c:v>140.79597110925803</c:v>
                </c:pt>
                <c:pt idx="1115">
                  <c:v>137.21180908101468</c:v>
                </c:pt>
                <c:pt idx="1116">
                  <c:v>138.34377063110784</c:v>
                </c:pt>
                <c:pt idx="1117">
                  <c:v>138.68933001043223</c:v>
                </c:pt>
                <c:pt idx="1118">
                  <c:v>136.40370231058975</c:v>
                </c:pt>
                <c:pt idx="1119">
                  <c:v>135.15339258983533</c:v>
                </c:pt>
                <c:pt idx="1120">
                  <c:v>134.63439794280785</c:v>
                </c:pt>
                <c:pt idx="1121">
                  <c:v>132.4151263292114</c:v>
                </c:pt>
                <c:pt idx="1122">
                  <c:v>132.4798477746553</c:v>
                </c:pt>
                <c:pt idx="1123">
                  <c:v>132.72559109294301</c:v>
                </c:pt>
                <c:pt idx="1124">
                  <c:v>128.27964204122068</c:v>
                </c:pt>
                <c:pt idx="1125">
                  <c:v>127.54752548471038</c:v>
                </c:pt>
                <c:pt idx="1126">
                  <c:v>131.37891890510107</c:v>
                </c:pt>
                <c:pt idx="1127">
                  <c:v>130.23156186624598</c:v>
                </c:pt>
                <c:pt idx="1128">
                  <c:v>133.12918822232695</c:v>
                </c:pt>
                <c:pt idx="1129">
                  <c:v>134.02008909135833</c:v>
                </c:pt>
                <c:pt idx="1130">
                  <c:v>135.3081341711038</c:v>
                </c:pt>
                <c:pt idx="1131">
                  <c:v>134.78125680515046</c:v>
                </c:pt>
                <c:pt idx="1132">
                  <c:v>133.53020950391667</c:v>
                </c:pt>
                <c:pt idx="1133">
                  <c:v>135.3761055839841</c:v>
                </c:pt>
                <c:pt idx="1134">
                  <c:v>134.97941200039813</c:v>
                </c:pt>
                <c:pt idx="1135">
                  <c:v>135.62758355463012</c:v>
                </c:pt>
                <c:pt idx="1136">
                  <c:v>138.56083152717014</c:v>
                </c:pt>
                <c:pt idx="1137">
                  <c:v>137.37433758293636</c:v>
                </c:pt>
                <c:pt idx="1138">
                  <c:v>135.54590415942667</c:v>
                </c:pt>
                <c:pt idx="1139">
                  <c:v>137.85462752047889</c:v>
                </c:pt>
                <c:pt idx="1140">
                  <c:v>138.32671412390883</c:v>
                </c:pt>
                <c:pt idx="1141">
                  <c:v>137.02123199267385</c:v>
                </c:pt>
                <c:pt idx="1142">
                  <c:v>138.17276707232332</c:v>
                </c:pt>
                <c:pt idx="1143">
                  <c:v>138.68860688798705</c:v>
                </c:pt>
                <c:pt idx="1144">
                  <c:v>136.49052666901466</c:v>
                </c:pt>
                <c:pt idx="1145">
                  <c:v>136.92444737305996</c:v>
                </c:pt>
                <c:pt idx="1146">
                  <c:v>137.21587278193525</c:v>
                </c:pt>
                <c:pt idx="1147">
                  <c:v>138.14676159376512</c:v>
                </c:pt>
                <c:pt idx="1148">
                  <c:v>139.63421883480351</c:v>
                </c:pt>
                <c:pt idx="1149">
                  <c:v>139.78731518006919</c:v>
                </c:pt>
                <c:pt idx="1150">
                  <c:v>139.06542630319791</c:v>
                </c:pt>
                <c:pt idx="1151">
                  <c:v>142.68656933421855</c:v>
                </c:pt>
                <c:pt idx="1152">
                  <c:v>143.43719427151859</c:v>
                </c:pt>
                <c:pt idx="1153">
                  <c:v>144.147220717582</c:v>
                </c:pt>
                <c:pt idx="1154">
                  <c:v>144.14306927515597</c:v>
                </c:pt>
                <c:pt idx="1155">
                  <c:v>144.97905367402277</c:v>
                </c:pt>
                <c:pt idx="1156">
                  <c:v>145.17460079440747</c:v>
                </c:pt>
                <c:pt idx="1157">
                  <c:v>144.53054205426579</c:v>
                </c:pt>
                <c:pt idx="1158">
                  <c:v>144.84878844105026</c:v>
                </c:pt>
                <c:pt idx="1159">
                  <c:v>145.42497487758453</c:v>
                </c:pt>
                <c:pt idx="1160">
                  <c:v>143.35085618865739</c:v>
                </c:pt>
                <c:pt idx="1161">
                  <c:v>146.67542233594753</c:v>
                </c:pt>
                <c:pt idx="1162">
                  <c:v>145.57889996620196</c:v>
                </c:pt>
                <c:pt idx="1163">
                  <c:v>142.02203823833105</c:v>
                </c:pt>
                <c:pt idx="1164">
                  <c:v>141.47026590328889</c:v>
                </c:pt>
                <c:pt idx="1165">
                  <c:v>141.70179465622178</c:v>
                </c:pt>
                <c:pt idx="1166">
                  <c:v>137.91889259972757</c:v>
                </c:pt>
                <c:pt idx="1167">
                  <c:v>134.53612304200084</c:v>
                </c:pt>
                <c:pt idx="1168">
                  <c:v>137.32943688839759</c:v>
                </c:pt>
                <c:pt idx="1169">
                  <c:v>137.22941002701444</c:v>
                </c:pt>
                <c:pt idx="1170">
                  <c:v>141.42156307684587</c:v>
                </c:pt>
                <c:pt idx="1171">
                  <c:v>141.27601095591825</c:v>
                </c:pt>
                <c:pt idx="1172">
                  <c:v>142.04734399217887</c:v>
                </c:pt>
                <c:pt idx="1173">
                  <c:v>143.56549299110154</c:v>
                </c:pt>
                <c:pt idx="1174">
                  <c:v>143.30066683348818</c:v>
                </c:pt>
                <c:pt idx="1175">
                  <c:v>143.30066683348818</c:v>
                </c:pt>
                <c:pt idx="1176">
                  <c:v>143.30066495725472</c:v>
                </c:pt>
                <c:pt idx="1177">
                  <c:v>143.26402410456535</c:v>
                </c:pt>
                <c:pt idx="1178">
                  <c:v>141.44735234709057</c:v>
                </c:pt>
                <c:pt idx="1179">
                  <c:v>141.86900038740237</c:v>
                </c:pt>
                <c:pt idx="1180">
                  <c:v>141.86900038740237</c:v>
                </c:pt>
                <c:pt idx="1181">
                  <c:v>141.64334303113634</c:v>
                </c:pt>
                <c:pt idx="1182">
                  <c:v>137.24561008882662</c:v>
                </c:pt>
                <c:pt idx="1183">
                  <c:v>136.51719600311432</c:v>
                </c:pt>
                <c:pt idx="1184">
                  <c:v>137.1623893126602</c:v>
                </c:pt>
                <c:pt idx="1185">
                  <c:v>141.51890791769478</c:v>
                </c:pt>
                <c:pt idx="1186">
                  <c:v>138.50263473873392</c:v>
                </c:pt>
                <c:pt idx="1187">
                  <c:v>140.00484226496056</c:v>
                </c:pt>
                <c:pt idx="1188">
                  <c:v>142.16997748004115</c:v>
                </c:pt>
                <c:pt idx="1189">
                  <c:v>140.41656845168578</c:v>
                </c:pt>
                <c:pt idx="1190">
                  <c:v>143.22186348343112</c:v>
                </c:pt>
                <c:pt idx="1191">
                  <c:v>145.01645219392611</c:v>
                </c:pt>
                <c:pt idx="1192">
                  <c:v>146.09421973409985</c:v>
                </c:pt>
                <c:pt idx="1193">
                  <c:v>147.05806193768871</c:v>
                </c:pt>
                <c:pt idx="1194">
                  <c:v>148.1367642835875</c:v>
                </c:pt>
                <c:pt idx="1195">
                  <c:v>150.44915237003534</c:v>
                </c:pt>
                <c:pt idx="1196">
                  <c:v>153.02758164080578</c:v>
                </c:pt>
                <c:pt idx="1197">
                  <c:v>154.59610397614253</c:v>
                </c:pt>
                <c:pt idx="1198">
                  <c:v>152.81330242638398</c:v>
                </c:pt>
                <c:pt idx="1199">
                  <c:v>152.65336191259067</c:v>
                </c:pt>
                <c:pt idx="1200">
                  <c:v>153.1657463684385</c:v>
                </c:pt>
                <c:pt idx="1201">
                  <c:v>152.35190748408874</c:v>
                </c:pt>
                <c:pt idx="1202">
                  <c:v>152.92911359832001</c:v>
                </c:pt>
                <c:pt idx="1203">
                  <c:v>154.71674987058066</c:v>
                </c:pt>
                <c:pt idx="1204">
                  <c:v>155.00731806150242</c:v>
                </c:pt>
                <c:pt idx="1205">
                  <c:v>154.98251392418595</c:v>
                </c:pt>
                <c:pt idx="1206">
                  <c:v>154.61365360163904</c:v>
                </c:pt>
                <c:pt idx="1207">
                  <c:v>152.46987687632628</c:v>
                </c:pt>
                <c:pt idx="1208">
                  <c:v>154.0802100808088</c:v>
                </c:pt>
                <c:pt idx="1209">
                  <c:v>153.80063418984048</c:v>
                </c:pt>
                <c:pt idx="1210">
                  <c:v>155.8682646427622</c:v>
                </c:pt>
                <c:pt idx="1211">
                  <c:v>156.93607004551347</c:v>
                </c:pt>
                <c:pt idx="1212">
                  <c:v>156.43585042515909</c:v>
                </c:pt>
                <c:pt idx="1213">
                  <c:v>156.50573195405869</c:v>
                </c:pt>
                <c:pt idx="1214">
                  <c:v>157.92153010055304</c:v>
                </c:pt>
                <c:pt idx="1215">
                  <c:v>158.90729101514472</c:v>
                </c:pt>
                <c:pt idx="1216">
                  <c:v>159.01858454803181</c:v>
                </c:pt>
                <c:pt idx="1217">
                  <c:v>160.40407887549938</c:v>
                </c:pt>
                <c:pt idx="1218">
                  <c:v>161.37273074835542</c:v>
                </c:pt>
                <c:pt idx="1219">
                  <c:v>161.08701692520364</c:v>
                </c:pt>
                <c:pt idx="1220">
                  <c:v>162.52251132899531</c:v>
                </c:pt>
                <c:pt idx="1221">
                  <c:v>163.43876772724423</c:v>
                </c:pt>
                <c:pt idx="1222">
                  <c:v>163.32042717188352</c:v>
                </c:pt>
                <c:pt idx="1223">
                  <c:v>161.47710760181039</c:v>
                </c:pt>
                <c:pt idx="1224">
                  <c:v>162.7444485557956</c:v>
                </c:pt>
                <c:pt idx="1225">
                  <c:v>164.40926724858238</c:v>
                </c:pt>
                <c:pt idx="1226">
                  <c:v>164.65647844362849</c:v>
                </c:pt>
                <c:pt idx="1227">
                  <c:v>164.31703602681966</c:v>
                </c:pt>
                <c:pt idx="1228">
                  <c:v>162.70619811553897</c:v>
                </c:pt>
                <c:pt idx="1229">
                  <c:v>166.29320043012643</c:v>
                </c:pt>
                <c:pt idx="1230">
                  <c:v>166.18013904386223</c:v>
                </c:pt>
                <c:pt idx="1231">
                  <c:v>166.94557198812083</c:v>
                </c:pt>
                <c:pt idx="1232">
                  <c:v>169.08179919149524</c:v>
                </c:pt>
                <c:pt idx="1233">
                  <c:v>167.36233994522775</c:v>
                </c:pt>
                <c:pt idx="1234">
                  <c:v>167.13733088280219</c:v>
                </c:pt>
                <c:pt idx="1235">
                  <c:v>167.35869629986675</c:v>
                </c:pt>
                <c:pt idx="1236">
                  <c:v>169.45908391260184</c:v>
                </c:pt>
                <c:pt idx="1237">
                  <c:v>168.39314966643414</c:v>
                </c:pt>
                <c:pt idx="1238">
                  <c:v>169.70598321142845</c:v>
                </c:pt>
                <c:pt idx="1239">
                  <c:v>167.70596249979775</c:v>
                </c:pt>
                <c:pt idx="1240">
                  <c:v>166.94465086786329</c:v>
                </c:pt>
                <c:pt idx="1241">
                  <c:v>167.38359027565548</c:v>
                </c:pt>
                <c:pt idx="1242">
                  <c:v>169.74567713740859</c:v>
                </c:pt>
                <c:pt idx="1243">
                  <c:v>168.35397987178675</c:v>
                </c:pt>
                <c:pt idx="1244">
                  <c:v>169.0973118896645</c:v>
                </c:pt>
                <c:pt idx="1245">
                  <c:v>169.38371042765905</c:v>
                </c:pt>
                <c:pt idx="1246">
                  <c:v>169.38371042765905</c:v>
                </c:pt>
                <c:pt idx="1247">
                  <c:v>169.38370568189208</c:v>
                </c:pt>
                <c:pt idx="1248">
                  <c:v>171.71485433697876</c:v>
                </c:pt>
                <c:pt idx="1249">
                  <c:v>170.90390915644315</c:v>
                </c:pt>
                <c:pt idx="1250">
                  <c:v>172.84080730462986</c:v>
                </c:pt>
                <c:pt idx="1251">
                  <c:v>174.43517409354808</c:v>
                </c:pt>
                <c:pt idx="1252">
                  <c:v>174.83269553755244</c:v>
                </c:pt>
                <c:pt idx="1253">
                  <c:v>173.41205880572244</c:v>
                </c:pt>
                <c:pt idx="1254">
                  <c:v>174.08321466119051</c:v>
                </c:pt>
                <c:pt idx="1255">
                  <c:v>171.95710223234809</c:v>
                </c:pt>
                <c:pt idx="1256">
                  <c:v>168.49210177715014</c:v>
                </c:pt>
                <c:pt idx="1257">
                  <c:v>170.23293518525313</c:v>
                </c:pt>
                <c:pt idx="1258">
                  <c:v>170.92214073761559</c:v>
                </c:pt>
                <c:pt idx="1259">
                  <c:v>170.69506792876115</c:v>
                </c:pt>
                <c:pt idx="1260">
                  <c:v>169.59563077516682</c:v>
                </c:pt>
                <c:pt idx="1261">
                  <c:v>170.56012447322971</c:v>
                </c:pt>
                <c:pt idx="1262">
                  <c:v>173.02519569211739</c:v>
                </c:pt>
                <c:pt idx="1263">
                  <c:v>170.33784179874115</c:v>
                </c:pt>
                <c:pt idx="1264">
                  <c:v>165.78428479882871</c:v>
                </c:pt>
                <c:pt idx="1265">
                  <c:v>165.9093960185125</c:v>
                </c:pt>
                <c:pt idx="1266">
                  <c:v>165.89869939087748</c:v>
                </c:pt>
                <c:pt idx="1267">
                  <c:v>167.20921942966055</c:v>
                </c:pt>
                <c:pt idx="1268">
                  <c:v>163.4154959208235</c:v>
                </c:pt>
                <c:pt idx="1269">
                  <c:v>163.51429782249681</c:v>
                </c:pt>
                <c:pt idx="1270">
                  <c:v>163.88386945825482</c:v>
                </c:pt>
                <c:pt idx="1271">
                  <c:v>167.87178059079159</c:v>
                </c:pt>
                <c:pt idx="1272">
                  <c:v>167.48929362615996</c:v>
                </c:pt>
                <c:pt idx="1273">
                  <c:v>165.48980907582944</c:v>
                </c:pt>
                <c:pt idx="1274">
                  <c:v>164.95562808488643</c:v>
                </c:pt>
                <c:pt idx="1275">
                  <c:v>167.05760144598725</c:v>
                </c:pt>
                <c:pt idx="1276">
                  <c:v>166.13616642268141</c:v>
                </c:pt>
                <c:pt idx="1277">
                  <c:v>167.01814193882177</c:v>
                </c:pt>
                <c:pt idx="1278">
                  <c:v>170.43388806530893</c:v>
                </c:pt>
                <c:pt idx="1279">
                  <c:v>170.92949524164183</c:v>
                </c:pt>
                <c:pt idx="1280">
                  <c:v>171.15245578823934</c:v>
                </c:pt>
                <c:pt idx="1281">
                  <c:v>170.84731246404024</c:v>
                </c:pt>
                <c:pt idx="1282">
                  <c:v>169.8020240700292</c:v>
                </c:pt>
                <c:pt idx="1283">
                  <c:v>168.28180304717705</c:v>
                </c:pt>
                <c:pt idx="1284">
                  <c:v>171.01820874641811</c:v>
                </c:pt>
                <c:pt idx="1285">
                  <c:v>169.93189551471039</c:v>
                </c:pt>
                <c:pt idx="1286">
                  <c:v>166.62252983827005</c:v>
                </c:pt>
                <c:pt idx="1287">
                  <c:v>166.92005874492673</c:v>
                </c:pt>
                <c:pt idx="1288">
                  <c:v>166.18335027259619</c:v>
                </c:pt>
                <c:pt idx="1289">
                  <c:v>166.99173847803871</c:v>
                </c:pt>
                <c:pt idx="1290">
                  <c:v>165.61720543748933</c:v>
                </c:pt>
                <c:pt idx="1291">
                  <c:v>163.42587590647207</c:v>
                </c:pt>
                <c:pt idx="1292">
                  <c:v>161.68943961701052</c:v>
                </c:pt>
                <c:pt idx="1293">
                  <c:v>161.24376397929743</c:v>
                </c:pt>
                <c:pt idx="1294">
                  <c:v>164.31721581413089</c:v>
                </c:pt>
                <c:pt idx="1295">
                  <c:v>165.39357121271638</c:v>
                </c:pt>
                <c:pt idx="1296">
                  <c:v>163.30838230496425</c:v>
                </c:pt>
                <c:pt idx="1297">
                  <c:v>160.41364810756394</c:v>
                </c:pt>
                <c:pt idx="1298">
                  <c:v>161.23068265894676</c:v>
                </c:pt>
                <c:pt idx="1299">
                  <c:v>160.00526183711412</c:v>
                </c:pt>
                <c:pt idx="1300">
                  <c:v>161.01628766988441</c:v>
                </c:pt>
                <c:pt idx="1301">
                  <c:v>161.32619166054761</c:v>
                </c:pt>
                <c:pt idx="1302">
                  <c:v>167.11032824134836</c:v>
                </c:pt>
                <c:pt idx="1303">
                  <c:v>168.61031629376967</c:v>
                </c:pt>
                <c:pt idx="1304">
                  <c:v>167.78072411190229</c:v>
                </c:pt>
                <c:pt idx="1305">
                  <c:v>167.85235605624462</c:v>
                </c:pt>
                <c:pt idx="1306">
                  <c:v>168.42493515805347</c:v>
                </c:pt>
                <c:pt idx="1307">
                  <c:v>162.05210406487026</c:v>
                </c:pt>
                <c:pt idx="1308">
                  <c:v>160.06093851292619</c:v>
                </c:pt>
                <c:pt idx="1309">
                  <c:v>163.21871479066172</c:v>
                </c:pt>
                <c:pt idx="1310">
                  <c:v>161.76388657372871</c:v>
                </c:pt>
                <c:pt idx="1311">
                  <c:v>160.96835343695605</c:v>
                </c:pt>
                <c:pt idx="1312">
                  <c:v>157.82999341626706</c:v>
                </c:pt>
                <c:pt idx="1313">
                  <c:v>154.62344831281774</c:v>
                </c:pt>
                <c:pt idx="1314">
                  <c:v>155.87397015831868</c:v>
                </c:pt>
                <c:pt idx="1315">
                  <c:v>159.88663123813524</c:v>
                </c:pt>
                <c:pt idx="1316">
                  <c:v>164.4587556650078</c:v>
                </c:pt>
                <c:pt idx="1317">
                  <c:v>167.17008848408227</c:v>
                </c:pt>
                <c:pt idx="1318">
                  <c:v>167.7880300545921</c:v>
                </c:pt>
                <c:pt idx="1319">
                  <c:v>168.5714432751075</c:v>
                </c:pt>
                <c:pt idx="1320">
                  <c:v>170.97286007355132</c:v>
                </c:pt>
                <c:pt idx="1321">
                  <c:v>170.84491165779022</c:v>
                </c:pt>
                <c:pt idx="1322">
                  <c:v>171.79256649173436</c:v>
                </c:pt>
                <c:pt idx="1323">
                  <c:v>170.10506998596389</c:v>
                </c:pt>
                <c:pt idx="1324">
                  <c:v>169.46508201020993</c:v>
                </c:pt>
                <c:pt idx="1325">
                  <c:v>169.33778365415617</c:v>
                </c:pt>
                <c:pt idx="1326">
                  <c:v>167.75043640640988</c:v>
                </c:pt>
                <c:pt idx="1327">
                  <c:v>163.84919467748827</c:v>
                </c:pt>
                <c:pt idx="1328">
                  <c:v>165.6129617285242</c:v>
                </c:pt>
                <c:pt idx="1329">
                  <c:v>166.34172137229143</c:v>
                </c:pt>
                <c:pt idx="1330">
                  <c:v>166.79113170787122</c:v>
                </c:pt>
                <c:pt idx="1331">
                  <c:v>167.56887958629929</c:v>
                </c:pt>
                <c:pt idx="1332">
                  <c:v>169.24395454369358</c:v>
                </c:pt>
                <c:pt idx="1333">
                  <c:v>168.89655259275412</c:v>
                </c:pt>
                <c:pt idx="1334">
                  <c:v>171.09515043142551</c:v>
                </c:pt>
                <c:pt idx="1335">
                  <c:v>170.63347471631272</c:v>
                </c:pt>
                <c:pt idx="1336">
                  <c:v>169.28730127546859</c:v>
                </c:pt>
                <c:pt idx="1337">
                  <c:v>170.81449647878989</c:v>
                </c:pt>
                <c:pt idx="1338">
                  <c:v>167.68263065390661</c:v>
                </c:pt>
                <c:pt idx="1339">
                  <c:v>162.37063497693919</c:v>
                </c:pt>
                <c:pt idx="1340">
                  <c:v>164.09234857288089</c:v>
                </c:pt>
                <c:pt idx="1341">
                  <c:v>163.36831494044225</c:v>
                </c:pt>
                <c:pt idx="1342">
                  <c:v>163.56098182174702</c:v>
                </c:pt>
                <c:pt idx="1343">
                  <c:v>163.59242992244526</c:v>
                </c:pt>
                <c:pt idx="1344">
                  <c:v>160.68710692565006</c:v>
                </c:pt>
                <c:pt idx="1345">
                  <c:v>157.13607443437667</c:v>
                </c:pt>
                <c:pt idx="1346">
                  <c:v>152.36942168188307</c:v>
                </c:pt>
                <c:pt idx="1347">
                  <c:v>144.69001615849663</c:v>
                </c:pt>
                <c:pt idx="1348">
                  <c:v>151.0630188718572</c:v>
                </c:pt>
                <c:pt idx="1349">
                  <c:v>149.1107041548739</c:v>
                </c:pt>
                <c:pt idx="1350">
                  <c:v>153.87941381106276</c:v>
                </c:pt>
                <c:pt idx="1351">
                  <c:v>154.06014751652191</c:v>
                </c:pt>
                <c:pt idx="1352">
                  <c:v>153.44582222043803</c:v>
                </c:pt>
                <c:pt idx="1353">
                  <c:v>149.76582075277315</c:v>
                </c:pt>
                <c:pt idx="1354">
                  <c:v>150.13952484788939</c:v>
                </c:pt>
                <c:pt idx="1355">
                  <c:v>153.42113540289557</c:v>
                </c:pt>
                <c:pt idx="1356">
                  <c:v>149.4466981649673</c:v>
                </c:pt>
                <c:pt idx="1357">
                  <c:v>150.19155081487338</c:v>
                </c:pt>
                <c:pt idx="1358">
                  <c:v>151.97433106386393</c:v>
                </c:pt>
                <c:pt idx="1359">
                  <c:v>153.65624257448539</c:v>
                </c:pt>
                <c:pt idx="1360">
                  <c:v>151.72120531878159</c:v>
                </c:pt>
                <c:pt idx="1361">
                  <c:v>150.17002313299497</c:v>
                </c:pt>
                <c:pt idx="1362">
                  <c:v>149.49603714491673</c:v>
                </c:pt>
                <c:pt idx="1363">
                  <c:v>150.80958244458881</c:v>
                </c:pt>
                <c:pt idx="1364">
                  <c:v>152.67902106052725</c:v>
                </c:pt>
                <c:pt idx="1365">
                  <c:v>153.04175448755797</c:v>
                </c:pt>
                <c:pt idx="1366">
                  <c:v>149.24977598619665</c:v>
                </c:pt>
                <c:pt idx="1367">
                  <c:v>150.31711718671892</c:v>
                </c:pt>
                <c:pt idx="1368">
                  <c:v>145.33206434894601</c:v>
                </c:pt>
                <c:pt idx="1369">
                  <c:v>145.46507031752307</c:v>
                </c:pt>
                <c:pt idx="1370">
                  <c:v>142.60112400737978</c:v>
                </c:pt>
                <c:pt idx="1371">
                  <c:v>146.80105470706386</c:v>
                </c:pt>
                <c:pt idx="1372">
                  <c:v>143.58996713206406</c:v>
                </c:pt>
                <c:pt idx="1373">
                  <c:v>142.99933071806029</c:v>
                </c:pt>
                <c:pt idx="1374">
                  <c:v>146.34102687675403</c:v>
                </c:pt>
                <c:pt idx="1375">
                  <c:v>145.10897699104052</c:v>
                </c:pt>
                <c:pt idx="1376">
                  <c:v>146.02007694793397</c:v>
                </c:pt>
                <c:pt idx="1377">
                  <c:v>150.61308771594491</c:v>
                </c:pt>
                <c:pt idx="1378">
                  <c:v>151.99544354631641</c:v>
                </c:pt>
                <c:pt idx="1379">
                  <c:v>152.23527154200116</c:v>
                </c:pt>
                <c:pt idx="1380">
                  <c:v>152.51518603792397</c:v>
                </c:pt>
                <c:pt idx="1381">
                  <c:v>153.50940942757771</c:v>
                </c:pt>
                <c:pt idx="1382">
                  <c:v>153.19647818942533</c:v>
                </c:pt>
                <c:pt idx="1383">
                  <c:v>152.01651508273295</c:v>
                </c:pt>
                <c:pt idx="1384">
                  <c:v>150.71362745126009</c:v>
                </c:pt>
                <c:pt idx="1385">
                  <c:v>152.84519453220997</c:v>
                </c:pt>
                <c:pt idx="1386">
                  <c:v>153.70181882343306</c:v>
                </c:pt>
                <c:pt idx="1387">
                  <c:v>154.1568716551987</c:v>
                </c:pt>
                <c:pt idx="1388">
                  <c:v>153.42095219421742</c:v>
                </c:pt>
                <c:pt idx="1389">
                  <c:v>154.11001747053783</c:v>
                </c:pt>
                <c:pt idx="1390">
                  <c:v>157.50041413797447</c:v>
                </c:pt>
                <c:pt idx="1391">
                  <c:v>160.76651552654496</c:v>
                </c:pt>
                <c:pt idx="1392">
                  <c:v>160.35051042388571</c:v>
                </c:pt>
                <c:pt idx="1393">
                  <c:v>158.63847554374877</c:v>
                </c:pt>
                <c:pt idx="1394">
                  <c:v>160.42450509797567</c:v>
                </c:pt>
                <c:pt idx="1395">
                  <c:v>160.28516684150296</c:v>
                </c:pt>
                <c:pt idx="1396">
                  <c:v>160.53060488557159</c:v>
                </c:pt>
                <c:pt idx="1397">
                  <c:v>161.41091894180815</c:v>
                </c:pt>
                <c:pt idx="1398">
                  <c:v>161.69770365279351</c:v>
                </c:pt>
                <c:pt idx="1399">
                  <c:v>161.49947991984155</c:v>
                </c:pt>
                <c:pt idx="1400">
                  <c:v>161.77971238215088</c:v>
                </c:pt>
                <c:pt idx="1401">
                  <c:v>162.80344550261512</c:v>
                </c:pt>
                <c:pt idx="1402">
                  <c:v>160.43567365350683</c:v>
                </c:pt>
                <c:pt idx="1403">
                  <c:v>160.73512481651696</c:v>
                </c:pt>
                <c:pt idx="1404">
                  <c:v>161.87269442839386</c:v>
                </c:pt>
                <c:pt idx="1405">
                  <c:v>159.25427611115816</c:v>
                </c:pt>
                <c:pt idx="1406">
                  <c:v>158.10344450868595</c:v>
                </c:pt>
                <c:pt idx="1407">
                  <c:v>158.28177895302852</c:v>
                </c:pt>
                <c:pt idx="1408">
                  <c:v>162.20970601921744</c:v>
                </c:pt>
                <c:pt idx="1409">
                  <c:v>161.56987266717314</c:v>
                </c:pt>
                <c:pt idx="1410">
                  <c:v>162.60420275416612</c:v>
                </c:pt>
                <c:pt idx="1411">
                  <c:v>162.712221597482</c:v>
                </c:pt>
                <c:pt idx="1412">
                  <c:v>162.50706264349671</c:v>
                </c:pt>
                <c:pt idx="1413">
                  <c:v>160.47606013036355</c:v>
                </c:pt>
                <c:pt idx="1414">
                  <c:v>162.89822155913686</c:v>
                </c:pt>
                <c:pt idx="1415">
                  <c:v>164.71362200289889</c:v>
                </c:pt>
                <c:pt idx="1416">
                  <c:v>164.44626491672739</c:v>
                </c:pt>
                <c:pt idx="1417">
                  <c:v>165.26070242991455</c:v>
                </c:pt>
                <c:pt idx="1418">
                  <c:v>164.13859596157047</c:v>
                </c:pt>
                <c:pt idx="1419">
                  <c:v>163.65863844844876</c:v>
                </c:pt>
                <c:pt idx="1420">
                  <c:v>158.51251107931168</c:v>
                </c:pt>
                <c:pt idx="1421">
                  <c:v>158.10425482080325</c:v>
                </c:pt>
                <c:pt idx="1422">
                  <c:v>159.38223821238674</c:v>
                </c:pt>
                <c:pt idx="1423">
                  <c:v>156.57639498937382</c:v>
                </c:pt>
                <c:pt idx="1424">
                  <c:v>155.53226522470183</c:v>
                </c:pt>
                <c:pt idx="1425">
                  <c:v>155.22982356630484</c:v>
                </c:pt>
                <c:pt idx="1426">
                  <c:v>152.12766800847797</c:v>
                </c:pt>
                <c:pt idx="1427">
                  <c:v>149.33152579533783</c:v>
                </c:pt>
                <c:pt idx="1428">
                  <c:v>153.8252816064805</c:v>
                </c:pt>
                <c:pt idx="1429">
                  <c:v>154.20762730177</c:v>
                </c:pt>
                <c:pt idx="1430">
                  <c:v>156.78994103798314</c:v>
                </c:pt>
                <c:pt idx="1431">
                  <c:v>154.82187048504872</c:v>
                </c:pt>
                <c:pt idx="1432">
                  <c:v>152.78323446093864</c:v>
                </c:pt>
                <c:pt idx="1433">
                  <c:v>152.92150160884441</c:v>
                </c:pt>
                <c:pt idx="1434">
                  <c:v>156.29291344256151</c:v>
                </c:pt>
                <c:pt idx="1435">
                  <c:v>156.29291344256151</c:v>
                </c:pt>
                <c:pt idx="1436">
                  <c:v>156.29291344256151</c:v>
                </c:pt>
                <c:pt idx="1437">
                  <c:v>155.10730817078326</c:v>
                </c:pt>
                <c:pt idx="1438">
                  <c:v>157.71227554967851</c:v>
                </c:pt>
                <c:pt idx="1439">
                  <c:v>156.64991795630095</c:v>
                </c:pt>
                <c:pt idx="1440">
                  <c:v>155.78485734691745</c:v>
                </c:pt>
                <c:pt idx="1441">
                  <c:v>155.78485734691745</c:v>
                </c:pt>
                <c:pt idx="1442">
                  <c:v>151.21640713697445</c:v>
                </c:pt>
                <c:pt idx="1443">
                  <c:v>151.81047551305932</c:v>
                </c:pt>
                <c:pt idx="1444">
                  <c:v>149.87908653811681</c:v>
                </c:pt>
                <c:pt idx="1445">
                  <c:v>147.21101635141218</c:v>
                </c:pt>
                <c:pt idx="1446">
                  <c:v>145.07981436341842</c:v>
                </c:pt>
                <c:pt idx="1447">
                  <c:v>144.7747658441919</c:v>
                </c:pt>
                <c:pt idx="1448">
                  <c:v>146.6751218074954</c:v>
                </c:pt>
                <c:pt idx="1449">
                  <c:v>146.97303655604287</c:v>
                </c:pt>
                <c:pt idx="1450">
                  <c:v>144.34798807125958</c:v>
                </c:pt>
                <c:pt idx="1451">
                  <c:v>140.8381668269945</c:v>
                </c:pt>
                <c:pt idx="1452">
                  <c:v>139.88719823367668</c:v>
                </c:pt>
                <c:pt idx="1453">
                  <c:v>142.10282520861205</c:v>
                </c:pt>
                <c:pt idx="1454">
                  <c:v>137.54903820455189</c:v>
                </c:pt>
                <c:pt idx="1455">
                  <c:v>140.54009557850392</c:v>
                </c:pt>
                <c:pt idx="1456">
                  <c:v>144.28939793599878</c:v>
                </c:pt>
                <c:pt idx="1457">
                  <c:v>143.39634502719963</c:v>
                </c:pt>
                <c:pt idx="1458">
                  <c:v>144.831077459477</c:v>
                </c:pt>
                <c:pt idx="1459">
                  <c:v>145.41669649413393</c:v>
                </c:pt>
                <c:pt idx="1460">
                  <c:v>142.67877060433128</c:v>
                </c:pt>
                <c:pt idx="1461">
                  <c:v>145.92723661249985</c:v>
                </c:pt>
                <c:pt idx="1462">
                  <c:v>145.2573229339427</c:v>
                </c:pt>
                <c:pt idx="1463">
                  <c:v>142.15123743960362</c:v>
                </c:pt>
                <c:pt idx="1464">
                  <c:v>139.70943559906982</c:v>
                </c:pt>
                <c:pt idx="1465">
                  <c:v>139.84106672999431</c:v>
                </c:pt>
                <c:pt idx="1466">
                  <c:v>138.5878214764565</c:v>
                </c:pt>
                <c:pt idx="1467">
                  <c:v>133.57392408781467</c:v>
                </c:pt>
                <c:pt idx="1468">
                  <c:v>131.46128787128092</c:v>
                </c:pt>
                <c:pt idx="1469">
                  <c:v>133.80103949820514</c:v>
                </c:pt>
                <c:pt idx="1470">
                  <c:v>128.84574581992496</c:v>
                </c:pt>
                <c:pt idx="1471">
                  <c:v>132.00388796318333</c:v>
                </c:pt>
                <c:pt idx="1472">
                  <c:v>135.9390110468552</c:v>
                </c:pt>
                <c:pt idx="1473">
                  <c:v>135.43013437499323</c:v>
                </c:pt>
                <c:pt idx="1474">
                  <c:v>139.08510799209429</c:v>
                </c:pt>
                <c:pt idx="1475">
                  <c:v>139.1427809802978</c:v>
                </c:pt>
                <c:pt idx="1476">
                  <c:v>138.15403806855312</c:v>
                </c:pt>
                <c:pt idx="1477">
                  <c:v>141.01351927418409</c:v>
                </c:pt>
                <c:pt idx="1478">
                  <c:v>139.04698138324545</c:v>
                </c:pt>
                <c:pt idx="1479">
                  <c:v>135.89454674214366</c:v>
                </c:pt>
                <c:pt idx="1480">
                  <c:v>138.43655666613859</c:v>
                </c:pt>
                <c:pt idx="1481">
                  <c:v>140.62847754179282</c:v>
                </c:pt>
                <c:pt idx="1482">
                  <c:v>141.49696448455705</c:v>
                </c:pt>
                <c:pt idx="1483">
                  <c:v>144.09384838754724</c:v>
                </c:pt>
                <c:pt idx="1484">
                  <c:v>144.80838220855895</c:v>
                </c:pt>
                <c:pt idx="1485">
                  <c:v>144.56947500203171</c:v>
                </c:pt>
                <c:pt idx="1486">
                  <c:v>145.54219432827523</c:v>
                </c:pt>
                <c:pt idx="1487">
                  <c:v>144.79843585357085</c:v>
                </c:pt>
                <c:pt idx="1488">
                  <c:v>143.73399994536345</c:v>
                </c:pt>
                <c:pt idx="1489">
                  <c:v>144.40495051881865</c:v>
                </c:pt>
                <c:pt idx="1490">
                  <c:v>142.34536049879932</c:v>
                </c:pt>
                <c:pt idx="1491">
                  <c:v>147.04460051451426</c:v>
                </c:pt>
                <c:pt idx="1492">
                  <c:v>148.17370665802906</c:v>
                </c:pt>
                <c:pt idx="1493">
                  <c:v>146.96975800363802</c:v>
                </c:pt>
                <c:pt idx="1494">
                  <c:v>146.99892140382687</c:v>
                </c:pt>
                <c:pt idx="1495">
                  <c:v>146.34892504701418</c:v>
                </c:pt>
                <c:pt idx="1496">
                  <c:v>147.11891569342427</c:v>
                </c:pt>
                <c:pt idx="1497">
                  <c:v>146.80785384598866</c:v>
                </c:pt>
                <c:pt idx="1498">
                  <c:v>146.9763559441169</c:v>
                </c:pt>
                <c:pt idx="1499">
                  <c:v>146.8458950310322</c:v>
                </c:pt>
                <c:pt idx="1500">
                  <c:v>144.34683484988753</c:v>
                </c:pt>
                <c:pt idx="1501">
                  <c:v>144.34683484988753</c:v>
                </c:pt>
                <c:pt idx="1502">
                  <c:v>144.34400394471066</c:v>
                </c:pt>
                <c:pt idx="1503">
                  <c:v>145.20119541026915</c:v>
                </c:pt>
                <c:pt idx="1504">
                  <c:v>147.21841147037424</c:v>
                </c:pt>
                <c:pt idx="1505">
                  <c:v>145.40535587695871</c:v>
                </c:pt>
                <c:pt idx="1506">
                  <c:v>143.33125926136631</c:v>
                </c:pt>
                <c:pt idx="1507">
                  <c:v>143.62542231557933</c:v>
                </c:pt>
                <c:pt idx="1508">
                  <c:v>140.53662366368698</c:v>
                </c:pt>
                <c:pt idx="1509">
                  <c:v>141.32660855741298</c:v>
                </c:pt>
                <c:pt idx="1510">
                  <c:v>139.81051370301864</c:v>
                </c:pt>
                <c:pt idx="1511">
                  <c:v>141.76465587138279</c:v>
                </c:pt>
                <c:pt idx="1512">
                  <c:v>142.39505794970449</c:v>
                </c:pt>
                <c:pt idx="1513">
                  <c:v>143.06347936046839</c:v>
                </c:pt>
                <c:pt idx="1514">
                  <c:v>147.14653528458331</c:v>
                </c:pt>
                <c:pt idx="1515">
                  <c:v>147.9563304443804</c:v>
                </c:pt>
                <c:pt idx="1516">
                  <c:v>147.55754530196378</c:v>
                </c:pt>
                <c:pt idx="1517">
                  <c:v>148.10215428805833</c:v>
                </c:pt>
                <c:pt idx="1518">
                  <c:v>150.38015796845781</c:v>
                </c:pt>
                <c:pt idx="1519">
                  <c:v>151.3956042072376</c:v>
                </c:pt>
                <c:pt idx="1520">
                  <c:v>151.24364132770941</c:v>
                </c:pt>
                <c:pt idx="1521">
                  <c:v>150.77793800157829</c:v>
                </c:pt>
                <c:pt idx="1522">
                  <c:v>149.68822691109168</c:v>
                </c:pt>
                <c:pt idx="1523">
                  <c:v>150.02938850957457</c:v>
                </c:pt>
                <c:pt idx="1524">
                  <c:v>150.73225072375703</c:v>
                </c:pt>
                <c:pt idx="1525">
                  <c:v>150.85311150210859</c:v>
                </c:pt>
                <c:pt idx="1526">
                  <c:v>147.15090006578936</c:v>
                </c:pt>
                <c:pt idx="1527">
                  <c:v>147.61687787383761</c:v>
                </c:pt>
                <c:pt idx="1528">
                  <c:v>145.00538352023455</c:v>
                </c:pt>
                <c:pt idx="1529">
                  <c:v>143.59103680586423</c:v>
                </c:pt>
                <c:pt idx="1530">
                  <c:v>143.96759663865885</c:v>
                </c:pt>
                <c:pt idx="1531">
                  <c:v>143.88474967441581</c:v>
                </c:pt>
                <c:pt idx="1532">
                  <c:v>144.59662586592816</c:v>
                </c:pt>
                <c:pt idx="1533">
                  <c:v>145.8217548782759</c:v>
                </c:pt>
                <c:pt idx="1534">
                  <c:v>144.84575479229406</c:v>
                </c:pt>
                <c:pt idx="1535">
                  <c:v>143.96036221357352</c:v>
                </c:pt>
                <c:pt idx="1536">
                  <c:v>144.77390630853822</c:v>
                </c:pt>
                <c:pt idx="1537">
                  <c:v>144.70329724252645</c:v>
                </c:pt>
                <c:pt idx="1538">
                  <c:v>144.11381890602837</c:v>
                </c:pt>
                <c:pt idx="1539">
                  <c:v>144.90230833132759</c:v>
                </c:pt>
                <c:pt idx="1540">
                  <c:v>143.40595476383339</c:v>
                </c:pt>
                <c:pt idx="1541">
                  <c:v>145.39000067203261</c:v>
                </c:pt>
                <c:pt idx="1542">
                  <c:v>144.50771370113947</c:v>
                </c:pt>
                <c:pt idx="1543">
                  <c:v>147.75652250819616</c:v>
                </c:pt>
                <c:pt idx="1544">
                  <c:v>149.84583007947225</c:v>
                </c:pt>
                <c:pt idx="1545">
                  <c:v>150.55350372878866</c:v>
                </c:pt>
                <c:pt idx="1546">
                  <c:v>150.76472081985247</c:v>
                </c:pt>
                <c:pt idx="1547">
                  <c:v>151.2441114897388</c:v>
                </c:pt>
                <c:pt idx="1548">
                  <c:v>150.3135717676974</c:v>
                </c:pt>
                <c:pt idx="1549">
                  <c:v>149.32384692365807</c:v>
                </c:pt>
                <c:pt idx="1550">
                  <c:v>149.43458829207731</c:v>
                </c:pt>
                <c:pt idx="1551">
                  <c:v>147.86601849907092</c:v>
                </c:pt>
                <c:pt idx="1552">
                  <c:v>148.25018038834054</c:v>
                </c:pt>
                <c:pt idx="1553">
                  <c:v>150.12873805068205</c:v>
                </c:pt>
                <c:pt idx="1554">
                  <c:v>149.14559050855365</c:v>
                </c:pt>
                <c:pt idx="1555">
                  <c:v>147.71065632599704</c:v>
                </c:pt>
                <c:pt idx="1556">
                  <c:v>143.98550219667763</c:v>
                </c:pt>
                <c:pt idx="1557">
                  <c:v>141.19181873229115</c:v>
                </c:pt>
                <c:pt idx="1558">
                  <c:v>138.58763319091142</c:v>
                </c:pt>
                <c:pt idx="1559">
                  <c:v>139.90876807562438</c:v>
                </c:pt>
                <c:pt idx="1560">
                  <c:v>139.08873596538766</c:v>
                </c:pt>
                <c:pt idx="1561">
                  <c:v>140.67259783358284</c:v>
                </c:pt>
                <c:pt idx="1562">
                  <c:v>145.34623178773123</c:v>
                </c:pt>
                <c:pt idx="1563">
                  <c:v>146.17760594990995</c:v>
                </c:pt>
                <c:pt idx="1564">
                  <c:v>146.61934370471033</c:v>
                </c:pt>
                <c:pt idx="1565">
                  <c:v>149.34554986781404</c:v>
                </c:pt>
                <c:pt idx="1566">
                  <c:v>138.02064559588524</c:v>
                </c:pt>
                <c:pt idx="1567">
                  <c:v>133.32909736475088</c:v>
                </c:pt>
                <c:pt idx="1568">
                  <c:v>136.38247791633029</c:v>
                </c:pt>
                <c:pt idx="1569">
                  <c:v>139.78560659359573</c:v>
                </c:pt>
                <c:pt idx="1570">
                  <c:v>141.27213631310948</c:v>
                </c:pt>
                <c:pt idx="1571">
                  <c:v>142.5584896924826</c:v>
                </c:pt>
                <c:pt idx="1572">
                  <c:v>141.43740069450212</c:v>
                </c:pt>
                <c:pt idx="1573">
                  <c:v>138.95813543846089</c:v>
                </c:pt>
                <c:pt idx="1574">
                  <c:v>136.60942104434335</c:v>
                </c:pt>
                <c:pt idx="1575">
                  <c:v>137.55868072008769</c:v>
                </c:pt>
                <c:pt idx="1576">
                  <c:v>140.40849159778114</c:v>
                </c:pt>
                <c:pt idx="1577">
                  <c:v>142.76849782700421</c:v>
                </c:pt>
                <c:pt idx="1578">
                  <c:v>144.85796542995701</c:v>
                </c:pt>
                <c:pt idx="1579">
                  <c:v>144.60541822697749</c:v>
                </c:pt>
                <c:pt idx="1580">
                  <c:v>146.16831793212961</c:v>
                </c:pt>
                <c:pt idx="1581">
                  <c:v>145.87028178024124</c:v>
                </c:pt>
                <c:pt idx="1582">
                  <c:v>145.8051523092052</c:v>
                </c:pt>
                <c:pt idx="1583">
                  <c:v>145.1029732647321</c:v>
                </c:pt>
                <c:pt idx="1584">
                  <c:v>146.76354250948674</c:v>
                </c:pt>
                <c:pt idx="1585">
                  <c:v>146.75606141488598</c:v>
                </c:pt>
                <c:pt idx="1586">
                  <c:v>146.97339160563172</c:v>
                </c:pt>
                <c:pt idx="1587">
                  <c:v>147.21795620784576</c:v>
                </c:pt>
                <c:pt idx="1588">
                  <c:v>147.53116755661563</c:v>
                </c:pt>
                <c:pt idx="1589">
                  <c:v>148.61184458303782</c:v>
                </c:pt>
                <c:pt idx="1590">
                  <c:v>147.22461771952865</c:v>
                </c:pt>
                <c:pt idx="1591">
                  <c:v>148.49003873486058</c:v>
                </c:pt>
                <c:pt idx="1592">
                  <c:v>147.56183348869837</c:v>
                </c:pt>
                <c:pt idx="1593">
                  <c:v>144.76852780943548</c:v>
                </c:pt>
                <c:pt idx="1594">
                  <c:v>144.8285759988207</c:v>
                </c:pt>
                <c:pt idx="1595">
                  <c:v>145.88986082813122</c:v>
                </c:pt>
                <c:pt idx="1596">
                  <c:v>148.00957154844033</c:v>
                </c:pt>
                <c:pt idx="1597">
                  <c:v>148.47849316677249</c:v>
                </c:pt>
                <c:pt idx="1598">
                  <c:v>150.65646192902165</c:v>
                </c:pt>
                <c:pt idx="1599">
                  <c:v>150.27416402250182</c:v>
                </c:pt>
                <c:pt idx="1600">
                  <c:v>151.7581728568247</c:v>
                </c:pt>
                <c:pt idx="1601">
                  <c:v>151.60325325411179</c:v>
                </c:pt>
                <c:pt idx="1602">
                  <c:v>151.81200221525469</c:v>
                </c:pt>
                <c:pt idx="1603">
                  <c:v>150.47276200884383</c:v>
                </c:pt>
                <c:pt idx="1604">
                  <c:v>148.83764122204593</c:v>
                </c:pt>
                <c:pt idx="1605">
                  <c:v>149.71089898500824</c:v>
                </c:pt>
                <c:pt idx="1606">
                  <c:v>148.57766678340235</c:v>
                </c:pt>
                <c:pt idx="1607">
                  <c:v>148.30070812773093</c:v>
                </c:pt>
                <c:pt idx="1608">
                  <c:v>149.80737071510259</c:v>
                </c:pt>
                <c:pt idx="1609">
                  <c:v>150.30393686746208</c:v>
                </c:pt>
                <c:pt idx="1610">
                  <c:v>149.29459964479727</c:v>
                </c:pt>
                <c:pt idx="1611">
                  <c:v>150.28341153571296</c:v>
                </c:pt>
                <c:pt idx="1612">
                  <c:v>149.77810886784093</c:v>
                </c:pt>
                <c:pt idx="1613">
                  <c:v>150.95078247647788</c:v>
                </c:pt>
                <c:pt idx="1614">
                  <c:v>150.49920696749615</c:v>
                </c:pt>
                <c:pt idx="1615">
                  <c:v>150.43686270983412</c:v>
                </c:pt>
                <c:pt idx="1616">
                  <c:v>153.18099926345818</c:v>
                </c:pt>
                <c:pt idx="1617">
                  <c:v>153.20475480700915</c:v>
                </c:pt>
                <c:pt idx="1618">
                  <c:v>152.72299412317474</c:v>
                </c:pt>
                <c:pt idx="1619">
                  <c:v>153.73648753403253</c:v>
                </c:pt>
                <c:pt idx="1620">
                  <c:v>153.24282049345419</c:v>
                </c:pt>
                <c:pt idx="1621">
                  <c:v>151.52356388039934</c:v>
                </c:pt>
                <c:pt idx="1622">
                  <c:v>149.7319927051262</c:v>
                </c:pt>
                <c:pt idx="1623">
                  <c:v>148.32188362955401</c:v>
                </c:pt>
                <c:pt idx="1624">
                  <c:v>147.93606303954741</c:v>
                </c:pt>
                <c:pt idx="1625">
                  <c:v>148.50941305257109</c:v>
                </c:pt>
                <c:pt idx="1626">
                  <c:v>146.92006154603291</c:v>
                </c:pt>
                <c:pt idx="1627">
                  <c:v>148.55564344479296</c:v>
                </c:pt>
                <c:pt idx="1628">
                  <c:v>148.48536890016879</c:v>
                </c:pt>
                <c:pt idx="1629">
                  <c:v>149.28752657578869</c:v>
                </c:pt>
                <c:pt idx="1630">
                  <c:v>152.34233869349089</c:v>
                </c:pt>
                <c:pt idx="1631">
                  <c:v>151.46910443862998</c:v>
                </c:pt>
                <c:pt idx="1632">
                  <c:v>148.93327427578785</c:v>
                </c:pt>
                <c:pt idx="1633">
                  <c:v>148.6982954606394</c:v>
                </c:pt>
                <c:pt idx="1634">
                  <c:v>149.76976327108616</c:v>
                </c:pt>
                <c:pt idx="1635">
                  <c:v>149.84956400477222</c:v>
                </c:pt>
                <c:pt idx="1636">
                  <c:v>150.52087801568354</c:v>
                </c:pt>
                <c:pt idx="1637">
                  <c:v>150.42591643278354</c:v>
                </c:pt>
                <c:pt idx="1638">
                  <c:v>151.71310252870867</c:v>
                </c:pt>
                <c:pt idx="1639">
                  <c:v>151.32706760662199</c:v>
                </c:pt>
                <c:pt idx="1640">
                  <c:v>151.06949805779536</c:v>
                </c:pt>
                <c:pt idx="1641">
                  <c:v>149.68581826880782</c:v>
                </c:pt>
                <c:pt idx="1642">
                  <c:v>151.30903435436193</c:v>
                </c:pt>
                <c:pt idx="1643">
                  <c:v>150.65275780272353</c:v>
                </c:pt>
                <c:pt idx="1644">
                  <c:v>150.1481600467956</c:v>
                </c:pt>
                <c:pt idx="1645">
                  <c:v>148.67441575458068</c:v>
                </c:pt>
                <c:pt idx="1646">
                  <c:v>150.95641581222984</c:v>
                </c:pt>
                <c:pt idx="1647">
                  <c:v>150.26763936549415</c:v>
                </c:pt>
                <c:pt idx="1648">
                  <c:v>152.1839075543252</c:v>
                </c:pt>
                <c:pt idx="1649">
                  <c:v>152.67949685125697</c:v>
                </c:pt>
                <c:pt idx="1650">
                  <c:v>153.38609332183941</c:v>
                </c:pt>
                <c:pt idx="1651">
                  <c:v>153.41738370856112</c:v>
                </c:pt>
                <c:pt idx="1652">
                  <c:v>154.1769470220197</c:v>
                </c:pt>
                <c:pt idx="1653">
                  <c:v>153.70377025384806</c:v>
                </c:pt>
                <c:pt idx="1654">
                  <c:v>153.3424325968781</c:v>
                </c:pt>
                <c:pt idx="1655">
                  <c:v>153.56536682577641</c:v>
                </c:pt>
                <c:pt idx="1656">
                  <c:v>153.45387998090814</c:v>
                </c:pt>
                <c:pt idx="1657">
                  <c:v>152.51479901334278</c:v>
                </c:pt>
                <c:pt idx="1658">
                  <c:v>150.8946316553729</c:v>
                </c:pt>
                <c:pt idx="1659">
                  <c:v>148.77721692101699</c:v>
                </c:pt>
                <c:pt idx="1660">
                  <c:v>148.43962974917437</c:v>
                </c:pt>
                <c:pt idx="1661">
                  <c:v>147.41141541360471</c:v>
                </c:pt>
                <c:pt idx="1662">
                  <c:v>149.90800273373927</c:v>
                </c:pt>
                <c:pt idx="1663">
                  <c:v>150.49676971451959</c:v>
                </c:pt>
                <c:pt idx="1664">
                  <c:v>151.90674220933232</c:v>
                </c:pt>
                <c:pt idx="1665">
                  <c:v>151.02570131829424</c:v>
                </c:pt>
                <c:pt idx="1666">
                  <c:v>150.38587120777319</c:v>
                </c:pt>
                <c:pt idx="1667">
                  <c:v>150.49859269737456</c:v>
                </c:pt>
                <c:pt idx="1668">
                  <c:v>151.25356237966756</c:v>
                </c:pt>
                <c:pt idx="1669">
                  <c:v>150.43204259013868</c:v>
                </c:pt>
                <c:pt idx="1670">
                  <c:v>151.13272651536309</c:v>
                </c:pt>
                <c:pt idx="1671">
                  <c:v>150.38311044671403</c:v>
                </c:pt>
                <c:pt idx="1672">
                  <c:v>150.84534171576115</c:v>
                </c:pt>
                <c:pt idx="1673">
                  <c:v>151.53768217925642</c:v>
                </c:pt>
                <c:pt idx="1674">
                  <c:v>151.06517449471551</c:v>
                </c:pt>
                <c:pt idx="1675">
                  <c:v>151.43995862331226</c:v>
                </c:pt>
                <c:pt idx="1676">
                  <c:v>151.78224071819142</c:v>
                </c:pt>
                <c:pt idx="1677">
                  <c:v>150.34767638250517</c:v>
                </c:pt>
                <c:pt idx="1678">
                  <c:v>151.27925675962618</c:v>
                </c:pt>
                <c:pt idx="1679">
                  <c:v>152.04174841177326</c:v>
                </c:pt>
                <c:pt idx="1680">
                  <c:v>151.02930665157962</c:v>
                </c:pt>
                <c:pt idx="1681">
                  <c:v>150.28889635877673</c:v>
                </c:pt>
                <c:pt idx="1682">
                  <c:v>151.82132482192185</c:v>
                </c:pt>
                <c:pt idx="1683">
                  <c:v>153.99207019967761</c:v>
                </c:pt>
                <c:pt idx="1684">
                  <c:v>156.04075969455158</c:v>
                </c:pt>
                <c:pt idx="1685">
                  <c:v>158.03094782002307</c:v>
                </c:pt>
                <c:pt idx="1686">
                  <c:v>158.65482763587121</c:v>
                </c:pt>
                <c:pt idx="1687">
                  <c:v>158.59930545016553</c:v>
                </c:pt>
                <c:pt idx="1688">
                  <c:v>160.23675461242075</c:v>
                </c:pt>
                <c:pt idx="1689">
                  <c:v>159.17023199087365</c:v>
                </c:pt>
                <c:pt idx="1690">
                  <c:v>160.88941166959944</c:v>
                </c:pt>
                <c:pt idx="1691">
                  <c:v>161.36569215940324</c:v>
                </c:pt>
                <c:pt idx="1692">
                  <c:v>161.36274471096027</c:v>
                </c:pt>
                <c:pt idx="1693">
                  <c:v>162.30409486331726</c:v>
                </c:pt>
                <c:pt idx="1694">
                  <c:v>162.12056269816887</c:v>
                </c:pt>
                <c:pt idx="1695">
                  <c:v>161.93320103836379</c:v>
                </c:pt>
                <c:pt idx="1696">
                  <c:v>162.29623224566791</c:v>
                </c:pt>
                <c:pt idx="1697">
                  <c:v>162.29623224566791</c:v>
                </c:pt>
                <c:pt idx="1698">
                  <c:v>162.59165336269939</c:v>
                </c:pt>
                <c:pt idx="1699">
                  <c:v>162.44102452720651</c:v>
                </c:pt>
                <c:pt idx="1700">
                  <c:v>162.12464950504679</c:v>
                </c:pt>
                <c:pt idx="1701">
                  <c:v>162.59853272380408</c:v>
                </c:pt>
                <c:pt idx="1702">
                  <c:v>163.85287545371455</c:v>
                </c:pt>
                <c:pt idx="1703">
                  <c:v>164.24506432977563</c:v>
                </c:pt>
                <c:pt idx="1704">
                  <c:v>164.13573595328012</c:v>
                </c:pt>
                <c:pt idx="1705">
                  <c:v>164.19477880676877</c:v>
                </c:pt>
                <c:pt idx="1706">
                  <c:v>164.36045718483007</c:v>
                </c:pt>
                <c:pt idx="1707">
                  <c:v>163.74045132000685</c:v>
                </c:pt>
                <c:pt idx="1708">
                  <c:v>163.69680643157827</c:v>
                </c:pt>
                <c:pt idx="1709">
                  <c:v>163.98110775189625</c:v>
                </c:pt>
                <c:pt idx="1710">
                  <c:v>162.78887452001206</c:v>
                </c:pt>
                <c:pt idx="1711">
                  <c:v>164.57600854786091</c:v>
                </c:pt>
                <c:pt idx="1712">
                  <c:v>163.2869297044578</c:v>
                </c:pt>
                <c:pt idx="1713">
                  <c:v>162.82309318934387</c:v>
                </c:pt>
                <c:pt idx="1714">
                  <c:v>163.18343421997358</c:v>
                </c:pt>
                <c:pt idx="1715">
                  <c:v>163.2863327998127</c:v>
                </c:pt>
                <c:pt idx="1716">
                  <c:v>163.60556197892197</c:v>
                </c:pt>
                <c:pt idx="1717">
                  <c:v>162.51294008981233</c:v>
                </c:pt>
                <c:pt idx="1718">
                  <c:v>163.13656195136463</c:v>
                </c:pt>
                <c:pt idx="1719">
                  <c:v>165.17184239528783</c:v>
                </c:pt>
                <c:pt idx="1720">
                  <c:v>164.96946435085087</c:v>
                </c:pt>
                <c:pt idx="1721">
                  <c:v>164.45516722154949</c:v>
                </c:pt>
                <c:pt idx="1722">
                  <c:v>162.41082881818258</c:v>
                </c:pt>
                <c:pt idx="1723">
                  <c:v>160.98570247166128</c:v>
                </c:pt>
                <c:pt idx="1724">
                  <c:v>162.20543603788616</c:v>
                </c:pt>
                <c:pt idx="1725">
                  <c:v>162.51112077213418</c:v>
                </c:pt>
                <c:pt idx="1726">
                  <c:v>163.34236135916461</c:v>
                </c:pt>
                <c:pt idx="1727">
                  <c:v>161.5526371600242</c:v>
                </c:pt>
                <c:pt idx="1728">
                  <c:v>161.59378453628898</c:v>
                </c:pt>
                <c:pt idx="1729">
                  <c:v>161.79313925560544</c:v>
                </c:pt>
                <c:pt idx="1730">
                  <c:v>163.42139309272642</c:v>
                </c:pt>
                <c:pt idx="1731">
                  <c:v>163.3808142120032</c:v>
                </c:pt>
                <c:pt idx="1732">
                  <c:v>164.97863001946226</c:v>
                </c:pt>
                <c:pt idx="1733">
                  <c:v>165.18961571984292</c:v>
                </c:pt>
                <c:pt idx="1734">
                  <c:v>165.74967897299331</c:v>
                </c:pt>
                <c:pt idx="1735">
                  <c:v>165.30220241390882</c:v>
                </c:pt>
                <c:pt idx="1736">
                  <c:v>165.14496757657741</c:v>
                </c:pt>
                <c:pt idx="1737">
                  <c:v>165.30406595430014</c:v>
                </c:pt>
                <c:pt idx="1738">
                  <c:v>166.40843592010981</c:v>
                </c:pt>
                <c:pt idx="1739">
                  <c:v>166.36528158027613</c:v>
                </c:pt>
                <c:pt idx="1740">
                  <c:v>166.01340670568104</c:v>
                </c:pt>
                <c:pt idx="1741">
                  <c:v>164.52830074208208</c:v>
                </c:pt>
                <c:pt idx="1742">
                  <c:v>164.835107907751</c:v>
                </c:pt>
                <c:pt idx="1743">
                  <c:v>165.22633801228724</c:v>
                </c:pt>
                <c:pt idx="1744">
                  <c:v>168.37071625066292</c:v>
                </c:pt>
                <c:pt idx="1745">
                  <c:v>168.22481221228861</c:v>
                </c:pt>
                <c:pt idx="1746">
                  <c:v>168.8447698210409</c:v>
                </c:pt>
                <c:pt idx="1747">
                  <c:v>168.10258837305864</c:v>
                </c:pt>
                <c:pt idx="1748">
                  <c:v>167.90709752725346</c:v>
                </c:pt>
                <c:pt idx="1749">
                  <c:v>168.09916595937898</c:v>
                </c:pt>
                <c:pt idx="1750">
                  <c:v>169.04641746975076</c:v>
                </c:pt>
                <c:pt idx="1751">
                  <c:v>169.41440611998507</c:v>
                </c:pt>
                <c:pt idx="1752">
                  <c:v>169.57524538763244</c:v>
                </c:pt>
                <c:pt idx="1753">
                  <c:v>168.98445995295691</c:v>
                </c:pt>
                <c:pt idx="1754">
                  <c:v>169.52981265589148</c:v>
                </c:pt>
                <c:pt idx="1755">
                  <c:v>170.89218739579567</c:v>
                </c:pt>
                <c:pt idx="1756">
                  <c:v>171.38005002137047</c:v>
                </c:pt>
                <c:pt idx="1757">
                  <c:v>170.91145185421144</c:v>
                </c:pt>
                <c:pt idx="1758">
                  <c:v>170.21321132998548</c:v>
                </c:pt>
                <c:pt idx="1759">
                  <c:v>169.68645664035441</c:v>
                </c:pt>
                <c:pt idx="1760">
                  <c:v>171.2105469856651</c:v>
                </c:pt>
                <c:pt idx="1761">
                  <c:v>171.17492062297887</c:v>
                </c:pt>
                <c:pt idx="1762">
                  <c:v>170.76328337084277</c:v>
                </c:pt>
                <c:pt idx="1763">
                  <c:v>172.16599877249701</c:v>
                </c:pt>
                <c:pt idx="1764">
                  <c:v>172.56982195151571</c:v>
                </c:pt>
                <c:pt idx="1765">
                  <c:v>173.27224659416279</c:v>
                </c:pt>
                <c:pt idx="1766">
                  <c:v>174.16006577641511</c:v>
                </c:pt>
                <c:pt idx="1767">
                  <c:v>173.07830432813478</c:v>
                </c:pt>
                <c:pt idx="1768">
                  <c:v>173.46326728862056</c:v>
                </c:pt>
                <c:pt idx="1769">
                  <c:v>173.21711335140529</c:v>
                </c:pt>
                <c:pt idx="1770">
                  <c:v>173.92554807318353</c:v>
                </c:pt>
                <c:pt idx="1771">
                  <c:v>174.21942098734888</c:v>
                </c:pt>
                <c:pt idx="1772">
                  <c:v>173.66059050990509</c:v>
                </c:pt>
                <c:pt idx="1773">
                  <c:v>173.09689853482658</c:v>
                </c:pt>
                <c:pt idx="1774">
                  <c:v>173.09890214269569</c:v>
                </c:pt>
                <c:pt idx="1775">
                  <c:v>172.29411583713613</c:v>
                </c:pt>
                <c:pt idx="1776">
                  <c:v>172.29411583713613</c:v>
                </c:pt>
                <c:pt idx="1777">
                  <c:v>172.29219817808331</c:v>
                </c:pt>
                <c:pt idx="1778">
                  <c:v>170.49703507514988</c:v>
                </c:pt>
                <c:pt idx="1779">
                  <c:v>171.29518653525159</c:v>
                </c:pt>
                <c:pt idx="1780">
                  <c:v>172.13374091087471</c:v>
                </c:pt>
                <c:pt idx="1781">
                  <c:v>172.03800532538162</c:v>
                </c:pt>
                <c:pt idx="1782">
                  <c:v>178.25275961231097</c:v>
                </c:pt>
                <c:pt idx="1783">
                  <c:v>178.6720445885127</c:v>
                </c:pt>
                <c:pt idx="1784">
                  <c:v>178.80691285332199</c:v>
                </c:pt>
                <c:pt idx="1785">
                  <c:v>178.19251775914643</c:v>
                </c:pt>
                <c:pt idx="1786">
                  <c:v>178.13377846199307</c:v>
                </c:pt>
                <c:pt idx="1787">
                  <c:v>178.13386278531468</c:v>
                </c:pt>
                <c:pt idx="1788">
                  <c:v>179.47226239578987</c:v>
                </c:pt>
                <c:pt idx="1789">
                  <c:v>179.63210473954396</c:v>
                </c:pt>
                <c:pt idx="1790">
                  <c:v>181.97278418792305</c:v>
                </c:pt>
                <c:pt idx="1791">
                  <c:v>183.63117655482378</c:v>
                </c:pt>
                <c:pt idx="1792">
                  <c:v>182.98182033351844</c:v>
                </c:pt>
                <c:pt idx="1793">
                  <c:v>183.37111231319747</c:v>
                </c:pt>
                <c:pt idx="1794">
                  <c:v>183.37867772931972</c:v>
                </c:pt>
                <c:pt idx="1795">
                  <c:v>182.39073456498048</c:v>
                </c:pt>
                <c:pt idx="1796">
                  <c:v>183.126240704449</c:v>
                </c:pt>
                <c:pt idx="1797">
                  <c:v>183.69413151175215</c:v>
                </c:pt>
                <c:pt idx="1798">
                  <c:v>183.87140370417305</c:v>
                </c:pt>
                <c:pt idx="1799">
                  <c:v>181.05559144095338</c:v>
                </c:pt>
                <c:pt idx="1800">
                  <c:v>180.00342289904913</c:v>
                </c:pt>
                <c:pt idx="1801">
                  <c:v>181.45798926196809</c:v>
                </c:pt>
                <c:pt idx="1802">
                  <c:v>181.2055532516861</c:v>
                </c:pt>
                <c:pt idx="1803">
                  <c:v>182.07240269415698</c:v>
                </c:pt>
                <c:pt idx="1804">
                  <c:v>182.00475119070381</c:v>
                </c:pt>
                <c:pt idx="1805">
                  <c:v>181.95799405071847</c:v>
                </c:pt>
                <c:pt idx="1806">
                  <c:v>181.78929347510334</c:v>
                </c:pt>
                <c:pt idx="1807">
                  <c:v>181.57360449270737</c:v>
                </c:pt>
                <c:pt idx="1808">
                  <c:v>181.13793004765193</c:v>
                </c:pt>
                <c:pt idx="1809">
                  <c:v>180.91936511905556</c:v>
                </c:pt>
                <c:pt idx="1810">
                  <c:v>181.94436772208721</c:v>
                </c:pt>
                <c:pt idx="1811">
                  <c:v>183.03315645802289</c:v>
                </c:pt>
                <c:pt idx="1812">
                  <c:v>182.41564783009795</c:v>
                </c:pt>
                <c:pt idx="1813">
                  <c:v>181.35087277882349</c:v>
                </c:pt>
                <c:pt idx="1814">
                  <c:v>181.355027591446</c:v>
                </c:pt>
                <c:pt idx="1815">
                  <c:v>181.78579681543695</c:v>
                </c:pt>
                <c:pt idx="1816">
                  <c:v>182.92925811803025</c:v>
                </c:pt>
                <c:pt idx="1817">
                  <c:v>180.97553020484781</c:v>
                </c:pt>
                <c:pt idx="1818">
                  <c:v>181.86187616866312</c:v>
                </c:pt>
                <c:pt idx="1819">
                  <c:v>181.55940282124055</c:v>
                </c:pt>
                <c:pt idx="1820">
                  <c:v>180.44481759264963</c:v>
                </c:pt>
                <c:pt idx="1821">
                  <c:v>181.55203171798385</c:v>
                </c:pt>
                <c:pt idx="1822">
                  <c:v>183.20707533438613</c:v>
                </c:pt>
                <c:pt idx="1823">
                  <c:v>182.23594541328077</c:v>
                </c:pt>
                <c:pt idx="1824">
                  <c:v>181.94410347650353</c:v>
                </c:pt>
                <c:pt idx="1825">
                  <c:v>181.77345537502333</c:v>
                </c:pt>
                <c:pt idx="1826">
                  <c:v>181.04126880901396</c:v>
                </c:pt>
                <c:pt idx="1827">
                  <c:v>181.86005618132083</c:v>
                </c:pt>
                <c:pt idx="1828">
                  <c:v>180.48292440387715</c:v>
                </c:pt>
                <c:pt idx="1829">
                  <c:v>180.45024139263865</c:v>
                </c:pt>
                <c:pt idx="1830">
                  <c:v>177.34878063573814</c:v>
                </c:pt>
                <c:pt idx="1831">
                  <c:v>176.34068652677661</c:v>
                </c:pt>
                <c:pt idx="1832">
                  <c:v>178.67941506897793</c:v>
                </c:pt>
                <c:pt idx="1833">
                  <c:v>178.17914804142572</c:v>
                </c:pt>
                <c:pt idx="1834">
                  <c:v>178.33365864633859</c:v>
                </c:pt>
                <c:pt idx="1835">
                  <c:v>177.54188561137633</c:v>
                </c:pt>
                <c:pt idx="1836">
                  <c:v>177.52786341196824</c:v>
                </c:pt>
                <c:pt idx="1837">
                  <c:v>178.30378121975167</c:v>
                </c:pt>
                <c:pt idx="1838">
                  <c:v>177.64869292303172</c:v>
                </c:pt>
                <c:pt idx="1839">
                  <c:v>180.131627437666</c:v>
                </c:pt>
                <c:pt idx="1840">
                  <c:v>180.8184908118468</c:v>
                </c:pt>
                <c:pt idx="1841">
                  <c:v>180.88547796989155</c:v>
                </c:pt>
                <c:pt idx="1842">
                  <c:v>180.65886837861436</c:v>
                </c:pt>
                <c:pt idx="1843">
                  <c:v>178.83301930041765</c:v>
                </c:pt>
                <c:pt idx="1844">
                  <c:v>179.81506364933861</c:v>
                </c:pt>
                <c:pt idx="1845">
                  <c:v>179.60165189651016</c:v>
                </c:pt>
                <c:pt idx="1846">
                  <c:v>177.21904416076427</c:v>
                </c:pt>
                <c:pt idx="1847">
                  <c:v>177.12395252277057</c:v>
                </c:pt>
                <c:pt idx="1848">
                  <c:v>178.02677425685209</c:v>
                </c:pt>
                <c:pt idx="1849">
                  <c:v>179.0919525858537</c:v>
                </c:pt>
                <c:pt idx="1850">
                  <c:v>179.13901442405333</c:v>
                </c:pt>
                <c:pt idx="1851">
                  <c:v>177.63139279048286</c:v>
                </c:pt>
                <c:pt idx="1852">
                  <c:v>176.9151341849203</c:v>
                </c:pt>
                <c:pt idx="1853">
                  <c:v>178.26129838241087</c:v>
                </c:pt>
                <c:pt idx="1854">
                  <c:v>177.4850508813625</c:v>
                </c:pt>
                <c:pt idx="1855">
                  <c:v>177.96563629837539</c:v>
                </c:pt>
                <c:pt idx="1856">
                  <c:v>179.9384103865128</c:v>
                </c:pt>
                <c:pt idx="1857">
                  <c:v>179.93917175819192</c:v>
                </c:pt>
                <c:pt idx="1858">
                  <c:v>180.37564181813389</c:v>
                </c:pt>
                <c:pt idx="1859">
                  <c:v>178.27391044745181</c:v>
                </c:pt>
                <c:pt idx="1860">
                  <c:v>176.68740367975067</c:v>
                </c:pt>
                <c:pt idx="1861">
                  <c:v>175.19840266130916</c:v>
                </c:pt>
                <c:pt idx="1862">
                  <c:v>177.4142133094384</c:v>
                </c:pt>
                <c:pt idx="1863">
                  <c:v>177.85825875506768</c:v>
                </c:pt>
                <c:pt idx="1864">
                  <c:v>179.13239355203618</c:v>
                </c:pt>
                <c:pt idx="1865">
                  <c:v>178.15025801127712</c:v>
                </c:pt>
                <c:pt idx="1866">
                  <c:v>177.19818359544246</c:v>
                </c:pt>
                <c:pt idx="1867">
                  <c:v>176.21713341135276</c:v>
                </c:pt>
                <c:pt idx="1868">
                  <c:v>177.73599072624339</c:v>
                </c:pt>
                <c:pt idx="1869">
                  <c:v>176.95578441846831</c:v>
                </c:pt>
                <c:pt idx="1870">
                  <c:v>177.11806691058035</c:v>
                </c:pt>
                <c:pt idx="1871">
                  <c:v>176.81209362685715</c:v>
                </c:pt>
                <c:pt idx="1872">
                  <c:v>175.97968213486277</c:v>
                </c:pt>
                <c:pt idx="1873">
                  <c:v>174.07404792809257</c:v>
                </c:pt>
                <c:pt idx="1874">
                  <c:v>175.05756721425806</c:v>
                </c:pt>
                <c:pt idx="1875">
                  <c:v>176.0995509258766</c:v>
                </c:pt>
                <c:pt idx="1876">
                  <c:v>177.15159103236232</c:v>
                </c:pt>
                <c:pt idx="1877">
                  <c:v>176.43237055730637</c:v>
                </c:pt>
                <c:pt idx="1878">
                  <c:v>176.10073635082361</c:v>
                </c:pt>
                <c:pt idx="1879">
                  <c:v>176.56558775535987</c:v>
                </c:pt>
                <c:pt idx="1880">
                  <c:v>177.08848275385455</c:v>
                </c:pt>
                <c:pt idx="1881">
                  <c:v>177.22478163591248</c:v>
                </c:pt>
                <c:pt idx="1882">
                  <c:v>179.56492392528881</c:v>
                </c:pt>
                <c:pt idx="1883">
                  <c:v>180.40370448671814</c:v>
                </c:pt>
                <c:pt idx="1884">
                  <c:v>180.69363572615816</c:v>
                </c:pt>
                <c:pt idx="1885">
                  <c:v>180.74758718627751</c:v>
                </c:pt>
                <c:pt idx="1886">
                  <c:v>180.23786360939766</c:v>
                </c:pt>
                <c:pt idx="1887">
                  <c:v>180.93778505154836</c:v>
                </c:pt>
                <c:pt idx="1888">
                  <c:v>181.09602183491469</c:v>
                </c:pt>
                <c:pt idx="1889">
                  <c:v>180.79902564151348</c:v>
                </c:pt>
                <c:pt idx="1890">
                  <c:v>181.31478809097888</c:v>
                </c:pt>
                <c:pt idx="1891">
                  <c:v>181.41332202716526</c:v>
                </c:pt>
                <c:pt idx="1892">
                  <c:v>181.19010850343801</c:v>
                </c:pt>
                <c:pt idx="1893">
                  <c:v>181.25980901876326</c:v>
                </c:pt>
                <c:pt idx="1894">
                  <c:v>182.22201904603224</c:v>
                </c:pt>
                <c:pt idx="1895">
                  <c:v>182.66423102885744</c:v>
                </c:pt>
                <c:pt idx="1896">
                  <c:v>183.91664752143893</c:v>
                </c:pt>
                <c:pt idx="1897">
                  <c:v>184.44571603613826</c:v>
                </c:pt>
                <c:pt idx="1898">
                  <c:v>184.68739546513598</c:v>
                </c:pt>
                <c:pt idx="1899">
                  <c:v>184.12520156070519</c:v>
                </c:pt>
                <c:pt idx="1900">
                  <c:v>184.97506023238091</c:v>
                </c:pt>
                <c:pt idx="1901">
                  <c:v>184.40710982242098</c:v>
                </c:pt>
                <c:pt idx="1902">
                  <c:v>184.75895827316282</c:v>
                </c:pt>
                <c:pt idx="1903">
                  <c:v>184.34182052092766</c:v>
                </c:pt>
                <c:pt idx="1904">
                  <c:v>184.91479564349618</c:v>
                </c:pt>
                <c:pt idx="1905">
                  <c:v>184.96028908369738</c:v>
                </c:pt>
                <c:pt idx="1906">
                  <c:v>185.01708115859222</c:v>
                </c:pt>
                <c:pt idx="1907">
                  <c:v>185.00556410396715</c:v>
                </c:pt>
                <c:pt idx="1908">
                  <c:v>185.04675843036603</c:v>
                </c:pt>
                <c:pt idx="1909">
                  <c:v>185.75928793822584</c:v>
                </c:pt>
                <c:pt idx="1910">
                  <c:v>184.77969039104266</c:v>
                </c:pt>
                <c:pt idx="1911">
                  <c:v>185.13907605253345</c:v>
                </c:pt>
                <c:pt idx="1912">
                  <c:v>185.30697760812797</c:v>
                </c:pt>
                <c:pt idx="1913">
                  <c:v>185.43760152908234</c:v>
                </c:pt>
                <c:pt idx="1914">
                  <c:v>184.50850364520522</c:v>
                </c:pt>
                <c:pt idx="1915">
                  <c:v>186.81784804292334</c:v>
                </c:pt>
                <c:pt idx="1916">
                  <c:v>187.41150305609696</c:v>
                </c:pt>
                <c:pt idx="1917">
                  <c:v>187.89717995037213</c:v>
                </c:pt>
                <c:pt idx="1918">
                  <c:v>188.38159000985257</c:v>
                </c:pt>
                <c:pt idx="1919">
                  <c:v>189.61643071434204</c:v>
                </c:pt>
                <c:pt idx="1920">
                  <c:v>189.34213622266179</c:v>
                </c:pt>
                <c:pt idx="1921">
                  <c:v>189.39152312991422</c:v>
                </c:pt>
                <c:pt idx="1922">
                  <c:v>189.14065850289577</c:v>
                </c:pt>
                <c:pt idx="1923">
                  <c:v>188.13651389023428</c:v>
                </c:pt>
                <c:pt idx="1924">
                  <c:v>188.09918242464306</c:v>
                </c:pt>
                <c:pt idx="1925">
                  <c:v>186.08617453970106</c:v>
                </c:pt>
                <c:pt idx="1926">
                  <c:v>185.25696874276269</c:v>
                </c:pt>
                <c:pt idx="1927">
                  <c:v>184.24272192232704</c:v>
                </c:pt>
                <c:pt idx="1928">
                  <c:v>183.41066826602665</c:v>
                </c:pt>
                <c:pt idx="1929">
                  <c:v>182.72097964232196</c:v>
                </c:pt>
                <c:pt idx="1930">
                  <c:v>183.90125331023083</c:v>
                </c:pt>
                <c:pt idx="1931">
                  <c:v>183.07722177564747</c:v>
                </c:pt>
                <c:pt idx="1932">
                  <c:v>183.8809198992854</c:v>
                </c:pt>
                <c:pt idx="1933">
                  <c:v>184.72527138361505</c:v>
                </c:pt>
                <c:pt idx="1934">
                  <c:v>183.87183236200252</c:v>
                </c:pt>
                <c:pt idx="1935">
                  <c:v>184.29617169814441</c:v>
                </c:pt>
                <c:pt idx="1936">
                  <c:v>184.6455976854711</c:v>
                </c:pt>
                <c:pt idx="1937">
                  <c:v>183.79683461664081</c:v>
                </c:pt>
                <c:pt idx="1938">
                  <c:v>184.78828520678633</c:v>
                </c:pt>
                <c:pt idx="1939">
                  <c:v>185.095054319323</c:v>
                </c:pt>
                <c:pt idx="1940">
                  <c:v>184.54042011631643</c:v>
                </c:pt>
                <c:pt idx="1941">
                  <c:v>182.58406972861522</c:v>
                </c:pt>
                <c:pt idx="1942">
                  <c:v>184.83560224825342</c:v>
                </c:pt>
                <c:pt idx="1943">
                  <c:v>184.78689061083602</c:v>
                </c:pt>
                <c:pt idx="1944">
                  <c:v>184.42226529658475</c:v>
                </c:pt>
                <c:pt idx="1945">
                  <c:v>185.01970628701778</c:v>
                </c:pt>
                <c:pt idx="1946">
                  <c:v>186.05409622206568</c:v>
                </c:pt>
                <c:pt idx="1947">
                  <c:v>185.68385576729656</c:v>
                </c:pt>
                <c:pt idx="1948">
                  <c:v>186.54705987335939</c:v>
                </c:pt>
                <c:pt idx="1949">
                  <c:v>185.64208414369892</c:v>
                </c:pt>
                <c:pt idx="1950">
                  <c:v>184.50610864171375</c:v>
                </c:pt>
                <c:pt idx="1951">
                  <c:v>184.44513666075051</c:v>
                </c:pt>
                <c:pt idx="1952">
                  <c:v>186.83132993056782</c:v>
                </c:pt>
                <c:pt idx="1953">
                  <c:v>186.01449171653965</c:v>
                </c:pt>
                <c:pt idx="1954">
                  <c:v>184.62187971648595</c:v>
                </c:pt>
                <c:pt idx="1955">
                  <c:v>185.42917056811689</c:v>
                </c:pt>
                <c:pt idx="1956">
                  <c:v>184.80075684604623</c:v>
                </c:pt>
                <c:pt idx="1957">
                  <c:v>184.80075684604623</c:v>
                </c:pt>
                <c:pt idx="1958">
                  <c:v>184.79142136819141</c:v>
                </c:pt>
                <c:pt idx="1959">
                  <c:v>184.78012063065944</c:v>
                </c:pt>
                <c:pt idx="1960">
                  <c:v>183.83475444665089</c:v>
                </c:pt>
                <c:pt idx="1961">
                  <c:v>182.90494572569997</c:v>
                </c:pt>
                <c:pt idx="1962">
                  <c:v>182.90494572569997</c:v>
                </c:pt>
                <c:pt idx="1963">
                  <c:v>182.51412603384691</c:v>
                </c:pt>
                <c:pt idx="1964">
                  <c:v>183.75451047532255</c:v>
                </c:pt>
                <c:pt idx="1965">
                  <c:v>186.54787442452158</c:v>
                </c:pt>
                <c:pt idx="1966">
                  <c:v>188.46939758507031</c:v>
                </c:pt>
                <c:pt idx="1967">
                  <c:v>188.96832875811029</c:v>
                </c:pt>
                <c:pt idx="1968">
                  <c:v>189.76089041570265</c:v>
                </c:pt>
                <c:pt idx="1969">
                  <c:v>189.03120687702881</c:v>
                </c:pt>
                <c:pt idx="1970">
                  <c:v>188.46593727209299</c:v>
                </c:pt>
                <c:pt idx="1971">
                  <c:v>189.16423658429753</c:v>
                </c:pt>
                <c:pt idx="1972">
                  <c:v>189.03650997122631</c:v>
                </c:pt>
                <c:pt idx="1973">
                  <c:v>189.52518618868814</c:v>
                </c:pt>
                <c:pt idx="1974">
                  <c:v>189.154041276909</c:v>
                </c:pt>
                <c:pt idx="1975">
                  <c:v>189.66870711888441</c:v>
                </c:pt>
                <c:pt idx="1976">
                  <c:v>191.07078594304099</c:v>
                </c:pt>
                <c:pt idx="1977">
                  <c:v>191.731330765942</c:v>
                </c:pt>
                <c:pt idx="1978">
                  <c:v>191.95255118826711</c:v>
                </c:pt>
                <c:pt idx="1979">
                  <c:v>190.34302925040038</c:v>
                </c:pt>
                <c:pt idx="1980">
                  <c:v>189.59538326212001</c:v>
                </c:pt>
                <c:pt idx="1981">
                  <c:v>190.56787443518189</c:v>
                </c:pt>
                <c:pt idx="1982">
                  <c:v>190.20527807690573</c:v>
                </c:pt>
                <c:pt idx="1983">
                  <c:v>188.54378395058185</c:v>
                </c:pt>
                <c:pt idx="1984">
                  <c:v>188.69804959421484</c:v>
                </c:pt>
              </c:numCache>
            </c:numRef>
          </c:val>
          <c:smooth val="0"/>
          <c:extLst xmlns:c16r2="http://schemas.microsoft.com/office/drawing/2015/06/chart">
            <c:ext xmlns:c16="http://schemas.microsoft.com/office/drawing/2014/chart" uri="{C3380CC4-5D6E-409C-BE32-E72D297353CC}">
              <c16:uniqueId val="{00000002-7127-4EE7-81B7-88A877082DDF}"/>
            </c:ext>
          </c:extLst>
        </c:ser>
        <c:dLbls>
          <c:showLegendKey val="0"/>
          <c:showVal val="0"/>
          <c:showCatName val="0"/>
          <c:showSerName val="0"/>
          <c:showPercent val="0"/>
          <c:showBubbleSize val="0"/>
        </c:dLbls>
        <c:marker val="1"/>
        <c:smooth val="0"/>
        <c:axId val="235446656"/>
        <c:axId val="235448192"/>
      </c:lineChart>
      <c:dateAx>
        <c:axId val="235446656"/>
        <c:scaling>
          <c:orientation val="minMax"/>
        </c:scaling>
        <c:delete val="0"/>
        <c:axPos val="b"/>
        <c:numFmt formatCode="[$-409]mmm\-yy;@" sourceLinked="0"/>
        <c:majorTickMark val="out"/>
        <c:minorTickMark val="none"/>
        <c:tickLblPos val="low"/>
        <c:spPr>
          <a:ln>
            <a:solidFill>
              <a:srgbClr val="767A7E"/>
            </a:solidFill>
          </a:ln>
        </c:spPr>
        <c:crossAx val="235448192"/>
        <c:crosses val="autoZero"/>
        <c:auto val="1"/>
        <c:lblOffset val="100"/>
        <c:baseTimeUnit val="days"/>
      </c:dateAx>
      <c:valAx>
        <c:axId val="235448192"/>
        <c:scaling>
          <c:orientation val="minMax"/>
          <c:max val="220"/>
          <c:min val="70"/>
        </c:scaling>
        <c:delete val="0"/>
        <c:axPos val="l"/>
        <c:majorGridlines>
          <c:spPr>
            <a:ln>
              <a:solidFill>
                <a:srgbClr val="F2F2F2"/>
              </a:solidFill>
            </a:ln>
          </c:spPr>
        </c:majorGridlines>
        <c:numFmt formatCode="General" sourceLinked="0"/>
        <c:majorTickMark val="out"/>
        <c:minorTickMark val="none"/>
        <c:tickLblPos val="nextTo"/>
        <c:spPr>
          <a:ln>
            <a:solidFill>
              <a:srgbClr val="767A7E"/>
            </a:solidFill>
          </a:ln>
        </c:spPr>
        <c:crossAx val="235446656"/>
        <c:crosses val="autoZero"/>
        <c:crossBetween val="between"/>
      </c:valAx>
      <c:valAx>
        <c:axId val="235449728"/>
        <c:scaling>
          <c:orientation val="minMax"/>
        </c:scaling>
        <c:delete val="0"/>
        <c:axPos val="r"/>
        <c:numFmt formatCode="General" sourceLinked="0"/>
        <c:majorTickMark val="out"/>
        <c:minorTickMark val="none"/>
        <c:tickLblPos val="nextTo"/>
        <c:crossAx val="472552576"/>
        <c:crosses val="max"/>
        <c:crossBetween val="between"/>
      </c:valAx>
      <c:dateAx>
        <c:axId val="472552576"/>
        <c:scaling>
          <c:orientation val="minMax"/>
        </c:scaling>
        <c:delete val="1"/>
        <c:axPos val="b"/>
        <c:numFmt formatCode="m/d/yyyy" sourceLinked="1"/>
        <c:majorTickMark val="out"/>
        <c:minorTickMark val="none"/>
        <c:tickLblPos val="nextTo"/>
        <c:crossAx val="235449728"/>
        <c:crosses val="autoZero"/>
        <c:auto val="1"/>
        <c:lblOffset val="100"/>
        <c:baseTimeUnit val="days"/>
      </c:dateAx>
    </c:plotArea>
    <c:legend>
      <c:legendPos val="b"/>
      <c:layout>
        <c:manualLayout>
          <c:xMode val="edge"/>
          <c:yMode val="edge"/>
          <c:x val="0"/>
          <c:y val="0.83904156439866406"/>
          <c:w val="0.99867999807794161"/>
          <c:h val="0.12689145508925817"/>
        </c:manualLayout>
      </c:layout>
      <c:overlay val="0"/>
    </c:legend>
    <c:plotVisOnly val="1"/>
    <c:dispBlanksAs val="gap"/>
    <c:showDLblsOverMax val="0"/>
  </c:chart>
  <c:spPr>
    <a:ln w="9525">
      <a:noFill/>
    </a:ln>
  </c:spPr>
  <c:txPr>
    <a:bodyPr/>
    <a:lstStyle/>
    <a:p>
      <a:pPr>
        <a:defRPr>
          <a:solidFill>
            <a:srgbClr val="003C64"/>
          </a:solidFill>
        </a:defRPr>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layoutTarget val="inner"/>
          <c:xMode val="edge"/>
          <c:yMode val="edge"/>
          <c:x val="0.39147700001656555"/>
          <c:y val="1.0561484562545582E-2"/>
          <c:w val="0.56113238697396561"/>
          <c:h val="0.83611219651910484"/>
        </c:manualLayout>
      </c:layout>
      <c:barChart>
        <c:barDir val="bar"/>
        <c:grouping val="clustered"/>
        <c:varyColors val="0"/>
        <c:ser>
          <c:idx val="1"/>
          <c:order val="0"/>
          <c:tx>
            <c:strRef>
              <c:f>'EURO RISK PARITY'!$N$22</c:f>
              <c:strCache>
                <c:ptCount val="1"/>
                <c:pt idx="0">
                  <c:v>MSCI EMU</c:v>
                </c:pt>
              </c:strCache>
            </c:strRef>
          </c:tx>
          <c:spPr>
            <a:solidFill>
              <a:srgbClr val="00A0E3"/>
            </a:solidFill>
            <a:ln>
              <a:noFill/>
              <a:round/>
            </a:ln>
            <a:effectLst/>
            <a:extLst>
              <a:ext uri="{91240B29-F687-4F45-9708-019B960494DF}">
                <a14:hiddenLine xmlns:a14="http://schemas.microsoft.com/office/drawing/2010/main">
                  <a:noFill/>
                  <a:round/>
                </a14:hiddenLine>
              </a:ext>
            </a:extLst>
          </c:spPr>
          <c:invertIfNegative val="0"/>
          <c:cat>
            <c:strRef>
              <c:f>'EURO RISK PARITY'!$L$23:$L$33</c:f>
              <c:strCache>
                <c:ptCount val="11"/>
                <c:pt idx="0">
                  <c:v>Real Estate</c:v>
                </c:pt>
                <c:pt idx="1">
                  <c:v>Financials</c:v>
                </c:pt>
                <c:pt idx="2">
                  <c:v>Information Technology</c:v>
                </c:pt>
                <c:pt idx="3">
                  <c:v>Materials</c:v>
                </c:pt>
                <c:pt idx="4">
                  <c:v>Consumer Discretionary</c:v>
                </c:pt>
                <c:pt idx="5">
                  <c:v>Industrials</c:v>
                </c:pt>
                <c:pt idx="6">
                  <c:v>Health Care</c:v>
                </c:pt>
                <c:pt idx="7">
                  <c:v>Telecommunication Services</c:v>
                </c:pt>
                <c:pt idx="8">
                  <c:v>Utilities</c:v>
                </c:pt>
                <c:pt idx="9">
                  <c:v>Energy</c:v>
                </c:pt>
                <c:pt idx="10">
                  <c:v>Consumer Staples</c:v>
                </c:pt>
              </c:strCache>
            </c:strRef>
          </c:cat>
          <c:val>
            <c:numRef>
              <c:f>'EURO RISK PARITY'!$N$23:$N$33</c:f>
              <c:numCache>
                <c:formatCode>0\.0%</c:formatCode>
                <c:ptCount val="11"/>
                <c:pt idx="0">
                  <c:v>1.7472600327111971E-2</c:v>
                </c:pt>
                <c:pt idx="1">
                  <c:v>0.21083213476622134</c:v>
                </c:pt>
                <c:pt idx="2">
                  <c:v>8.1868434342126109E-2</c:v>
                </c:pt>
                <c:pt idx="3">
                  <c:v>8.8264889184486078E-2</c:v>
                </c:pt>
                <c:pt idx="4">
                  <c:v>0.14082856628197188</c:v>
                </c:pt>
                <c:pt idx="5">
                  <c:v>0.15052501886902844</c:v>
                </c:pt>
                <c:pt idx="6">
                  <c:v>7.7847579941774339E-2</c:v>
                </c:pt>
                <c:pt idx="7">
                  <c:v>3.7208303909225207E-2</c:v>
                </c:pt>
                <c:pt idx="8">
                  <c:v>4.808378927301294E-2</c:v>
                </c:pt>
                <c:pt idx="9">
                  <c:v>5.0393234053671458E-2</c:v>
                </c:pt>
                <c:pt idx="10">
                  <c:v>9.6675449051370294E-2</c:v>
                </c:pt>
              </c:numCache>
            </c:numRef>
          </c:val>
        </c:ser>
        <c:ser>
          <c:idx val="0"/>
          <c:order val="1"/>
          <c:tx>
            <c:strRef>
              <c:f>'EURO RISK PARITY'!$M$22</c:f>
              <c:strCache>
                <c:ptCount val="1"/>
                <c:pt idx="0">
                  <c:v>Amundi Fds Eq Euro Risk Parity</c:v>
                </c:pt>
              </c:strCache>
            </c:strRef>
          </c:tx>
          <c:spPr>
            <a:solidFill>
              <a:srgbClr val="003C64"/>
            </a:solidFill>
            <a:ln>
              <a:noFill/>
              <a:round/>
            </a:ln>
            <a:effectLst/>
            <a:extLst>
              <a:ext uri="{91240B29-F687-4F45-9708-019B960494DF}">
                <a14:hiddenLine xmlns:a14="http://schemas.microsoft.com/office/drawing/2010/main">
                  <a:noFill/>
                  <a:round/>
                </a14:hiddenLine>
              </a:ext>
            </a:extLst>
          </c:spPr>
          <c:invertIfNegative val="0"/>
          <c:cat>
            <c:strRef>
              <c:f>'EURO RISK PARITY'!$L$23:$L$33</c:f>
              <c:strCache>
                <c:ptCount val="11"/>
                <c:pt idx="0">
                  <c:v>Real Estate</c:v>
                </c:pt>
                <c:pt idx="1">
                  <c:v>Financials</c:v>
                </c:pt>
                <c:pt idx="2">
                  <c:v>Information Technology</c:v>
                </c:pt>
                <c:pt idx="3">
                  <c:v>Materials</c:v>
                </c:pt>
                <c:pt idx="4">
                  <c:v>Consumer Discretionary</c:v>
                </c:pt>
                <c:pt idx="5">
                  <c:v>Industrials</c:v>
                </c:pt>
                <c:pt idx="6">
                  <c:v>Health Care</c:v>
                </c:pt>
                <c:pt idx="7">
                  <c:v>Telecommunication Services</c:v>
                </c:pt>
                <c:pt idx="8">
                  <c:v>Utilities</c:v>
                </c:pt>
                <c:pt idx="9">
                  <c:v>Energy</c:v>
                </c:pt>
                <c:pt idx="10">
                  <c:v>Consumer Staples</c:v>
                </c:pt>
              </c:strCache>
            </c:strRef>
          </c:cat>
          <c:val>
            <c:numRef>
              <c:f>'EURO RISK PARITY'!$M$23:$M$33</c:f>
              <c:numCache>
                <c:formatCode>0\.0%</c:formatCode>
                <c:ptCount val="11"/>
                <c:pt idx="0">
                  <c:v>1.6292070035470507E-2</c:v>
                </c:pt>
                <c:pt idx="1">
                  <c:v>7.9695433921110823E-2</c:v>
                </c:pt>
                <c:pt idx="2">
                  <c:v>8.9546741480672057E-2</c:v>
                </c:pt>
                <c:pt idx="3">
                  <c:v>9.0185340752186469E-2</c:v>
                </c:pt>
                <c:pt idx="4">
                  <c:v>9.3675002358673681E-2</c:v>
                </c:pt>
                <c:pt idx="5">
                  <c:v>9.5214857618600449E-2</c:v>
                </c:pt>
                <c:pt idx="6">
                  <c:v>0.10180859932501723</c:v>
                </c:pt>
                <c:pt idx="7">
                  <c:v>0.10324179566329654</c:v>
                </c:pt>
                <c:pt idx="8">
                  <c:v>0.10473750473298586</c:v>
                </c:pt>
                <c:pt idx="9">
                  <c:v>0.10500380734034562</c:v>
                </c:pt>
                <c:pt idx="10">
                  <c:v>0.12059874140304527</c:v>
                </c:pt>
              </c:numCache>
            </c:numRef>
          </c:val>
        </c:ser>
        <c:dLbls>
          <c:showLegendKey val="0"/>
          <c:showVal val="0"/>
          <c:showCatName val="0"/>
          <c:showSerName val="0"/>
          <c:showPercent val="0"/>
          <c:showBubbleSize val="0"/>
        </c:dLbls>
        <c:gapWidth val="150"/>
        <c:axId val="494686976"/>
        <c:axId val="494688512"/>
      </c:barChart>
      <c:catAx>
        <c:axId val="494686976"/>
        <c:scaling>
          <c:orientation val="minMax"/>
        </c:scaling>
        <c:delete val="0"/>
        <c:axPos val="l"/>
        <c:numFmt formatCode="0\.0%" sourceLinked="1"/>
        <c:majorTickMark val="out"/>
        <c:minorTickMark val="none"/>
        <c:tickLblPos val="low"/>
        <c:spPr>
          <a:ln>
            <a:solidFill>
              <a:srgbClr val="003C64"/>
            </a:solidFill>
          </a:ln>
        </c:spPr>
        <c:txPr>
          <a:bodyPr/>
          <a:lstStyle/>
          <a:p>
            <a:pPr>
              <a:defRPr sz="900" b="0" i="0" u="none">
                <a:solidFill>
                  <a:srgbClr val="003C64"/>
                </a:solidFill>
                <a:latin typeface="Arial"/>
                <a:ea typeface="Arial"/>
                <a:cs typeface="Arial"/>
              </a:defRPr>
            </a:pPr>
            <a:endParaRPr lang="en-US"/>
          </a:p>
        </c:txPr>
        <c:crossAx val="494688512"/>
        <c:crosses val="autoZero"/>
        <c:auto val="1"/>
        <c:lblAlgn val="ctr"/>
        <c:lblOffset val="100"/>
        <c:noMultiLvlLbl val="0"/>
      </c:catAx>
      <c:valAx>
        <c:axId val="494688512"/>
        <c:scaling>
          <c:orientation val="minMax"/>
        </c:scaling>
        <c:delete val="0"/>
        <c:axPos val="b"/>
        <c:majorGridlines>
          <c:spPr>
            <a:ln w="3175">
              <a:solidFill>
                <a:srgbClr val="FFFFFF"/>
              </a:solidFill>
            </a:ln>
          </c:spPr>
        </c:majorGridlines>
        <c:numFmt formatCode="0.0%" sourceLinked="0"/>
        <c:majorTickMark val="out"/>
        <c:minorTickMark val="none"/>
        <c:tickLblPos val="nextTo"/>
        <c:spPr>
          <a:ln>
            <a:solidFill>
              <a:srgbClr val="003C64"/>
            </a:solidFill>
          </a:ln>
        </c:spPr>
        <c:txPr>
          <a:bodyPr/>
          <a:lstStyle/>
          <a:p>
            <a:pPr>
              <a:defRPr sz="800" b="0" i="0" u="none">
                <a:solidFill>
                  <a:srgbClr val="003C64"/>
                </a:solidFill>
                <a:latin typeface="Arial"/>
                <a:ea typeface="Arial"/>
                <a:cs typeface="Arial"/>
              </a:defRPr>
            </a:pPr>
            <a:endParaRPr lang="en-US"/>
          </a:p>
        </c:txPr>
        <c:crossAx val="494686976"/>
        <c:crosses val="autoZero"/>
        <c:crossBetween val="between"/>
      </c:valAx>
    </c:plotArea>
    <c:legend>
      <c:legendPos val="b"/>
      <c:legendEntry>
        <c:idx val="0"/>
        <c:txPr>
          <a:bodyPr/>
          <a:lstStyle/>
          <a:p>
            <a:pPr>
              <a:defRPr sz="900" b="0" i="0" u="none">
                <a:solidFill>
                  <a:srgbClr val="003C64"/>
                </a:solidFill>
                <a:latin typeface="Arial"/>
                <a:ea typeface="Arial"/>
                <a:cs typeface="Arial"/>
              </a:defRPr>
            </a:pPr>
            <a:endParaRPr lang="en-US"/>
          </a:p>
        </c:txPr>
      </c:legendEntry>
      <c:legendEntry>
        <c:idx val="1"/>
        <c:txPr>
          <a:bodyPr/>
          <a:lstStyle/>
          <a:p>
            <a:pPr>
              <a:defRPr sz="900" b="0" i="0" u="none">
                <a:solidFill>
                  <a:srgbClr val="00A0E3"/>
                </a:solidFill>
                <a:latin typeface="Arial"/>
                <a:ea typeface="Arial"/>
                <a:cs typeface="Arial"/>
              </a:defRPr>
            </a:pPr>
            <a:endParaRPr lang="en-US"/>
          </a:p>
        </c:txPr>
      </c:legendEntry>
      <c:layout>
        <c:manualLayout>
          <c:xMode val="edge"/>
          <c:yMode val="edge"/>
          <c:x val="0"/>
          <c:y val="0.94605147285558322"/>
          <c:w val="0.98616539272991388"/>
          <c:h val="5.1975051975051978E-2"/>
        </c:manualLayout>
      </c:layout>
      <c:overlay val="0"/>
      <c:txPr>
        <a:bodyPr/>
        <a:lstStyle/>
        <a:p>
          <a:pPr>
            <a:defRPr sz="900" b="0" i="0" u="none">
              <a:latin typeface="Arial"/>
              <a:ea typeface="Arial"/>
              <a:cs typeface="Arial"/>
            </a:defRPr>
          </a:pPr>
          <a:endParaRPr lang="en-US"/>
        </a:p>
      </c:txPr>
    </c:legend>
    <c:plotVisOnly val="1"/>
    <c:dispBlanksAs val="gap"/>
    <c:showDLblsOverMax val="0"/>
  </c:chart>
  <c:spPr>
    <a:ln w="6350">
      <a:noFill/>
    </a:ln>
  </c:spPr>
  <c:txPr>
    <a:bodyPr/>
    <a:lstStyle/>
    <a:p>
      <a:pPr>
        <a:defRPr sz="9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142563696726161E-2"/>
          <c:y val="4.4404512442219844E-2"/>
          <c:w val="0.88519266633951788"/>
          <c:h val="0.75864412550450844"/>
        </c:manualLayout>
      </c:layout>
      <c:barChart>
        <c:barDir val="col"/>
        <c:grouping val="clustered"/>
        <c:varyColors val="0"/>
        <c:ser>
          <c:idx val="0"/>
          <c:order val="0"/>
          <c:tx>
            <c:strRef>
              <c:f>'Amundi Fds Europe MinVar BRUT'!$AN$58</c:f>
              <c:strCache>
                <c:ptCount val="1"/>
                <c:pt idx="0">
                  <c:v>Participation</c:v>
                </c:pt>
              </c:strCache>
            </c:strRef>
          </c:tx>
          <c:spPr>
            <a:solidFill>
              <a:srgbClr val="003C64"/>
            </a:solidFill>
            <a:ln>
              <a:noFill/>
              <a:round/>
            </a:ln>
            <a:effectLst/>
            <a:extLst>
              <a:ext uri="{91240B29-F687-4F45-9708-019B960494DF}">
                <a14:hiddenLine xmlns:a14="http://schemas.microsoft.com/office/drawing/2010/main">
                  <a:noFill/>
                  <a:round/>
                </a14:hiddenLine>
              </a:ext>
            </a:extLst>
          </c:spPr>
          <c:invertIfNegative val="0"/>
          <c:dLbls>
            <c:numFmt formatCode="0.0%" sourceLinked="0"/>
            <c:dLblPos val="outEnd"/>
            <c:showLegendKey val="0"/>
            <c:showVal val="1"/>
            <c:showCatName val="0"/>
            <c:showSerName val="0"/>
            <c:showPercent val="0"/>
            <c:showBubbleSize val="0"/>
            <c:showLeaderLines val="0"/>
          </c:dLbls>
          <c:cat>
            <c:strRef>
              <c:f>'Amundi Fds Europe MinVar BRUT'!$AG$59:$AG$60</c:f>
              <c:strCache>
                <c:ptCount val="2"/>
                <c:pt idx="0">
                  <c:v>Bear participation</c:v>
                </c:pt>
                <c:pt idx="1">
                  <c:v>Bull participation</c:v>
                </c:pt>
              </c:strCache>
            </c:strRef>
          </c:cat>
          <c:val>
            <c:numRef>
              <c:f>'Amundi Fds Europe MinVar BRUT'!$AN$59:$AN$60</c:f>
              <c:numCache>
                <c:formatCode>0\.000000000000000%</c:formatCode>
                <c:ptCount val="2"/>
                <c:pt idx="0">
                  <c:v>0.53124492725095873</c:v>
                </c:pt>
                <c:pt idx="1">
                  <c:v>0.83281383196944181</c:v>
                </c:pt>
              </c:numCache>
            </c:numRef>
          </c:val>
          <c:extLst xmlns:c16r2="http://schemas.microsoft.com/office/drawing/2015/06/chart">
            <c:ext xmlns:c16="http://schemas.microsoft.com/office/drawing/2014/chart" uri="{C3380CC4-5D6E-409C-BE32-E72D297353CC}">
              <c16:uniqueId val="{00000000-1A7F-445D-B9A7-03F8D33948D7}"/>
            </c:ext>
          </c:extLst>
        </c:ser>
        <c:dLbls>
          <c:dLblPos val="outEnd"/>
          <c:showLegendKey val="0"/>
          <c:showVal val="1"/>
          <c:showCatName val="0"/>
          <c:showSerName val="0"/>
          <c:showPercent val="0"/>
          <c:showBubbleSize val="0"/>
        </c:dLbls>
        <c:gapWidth val="237"/>
        <c:axId val="215433216"/>
        <c:axId val="215435904"/>
      </c:barChart>
      <c:catAx>
        <c:axId val="215433216"/>
        <c:scaling>
          <c:orientation val="minMax"/>
        </c:scaling>
        <c:delete val="0"/>
        <c:axPos val="b"/>
        <c:numFmt formatCode="General" sourceLinked="1"/>
        <c:majorTickMark val="out"/>
        <c:minorTickMark val="none"/>
        <c:tickLblPos val="low"/>
        <c:spPr>
          <a:ln>
            <a:solidFill>
              <a:srgbClr val="767A7E"/>
            </a:solidFill>
          </a:ln>
        </c:spPr>
        <c:txPr>
          <a:bodyPr/>
          <a:lstStyle/>
          <a:p>
            <a:pPr algn="ctr">
              <a:defRPr/>
            </a:pPr>
            <a:endParaRPr lang="en-US"/>
          </a:p>
        </c:txPr>
        <c:crossAx val="215435904"/>
        <c:crosses val="autoZero"/>
        <c:auto val="1"/>
        <c:lblAlgn val="ctr"/>
        <c:lblOffset val="100"/>
        <c:noMultiLvlLbl val="0"/>
      </c:catAx>
      <c:valAx>
        <c:axId val="215435904"/>
        <c:scaling>
          <c:orientation val="minMax"/>
          <c:max val="1"/>
        </c:scaling>
        <c:delete val="0"/>
        <c:axPos val="l"/>
        <c:numFmt formatCode="0%" sourceLinked="0"/>
        <c:majorTickMark val="out"/>
        <c:minorTickMark val="none"/>
        <c:tickLblPos val="nextTo"/>
        <c:spPr>
          <a:ln>
            <a:solidFill>
              <a:srgbClr val="767A7E"/>
            </a:solidFill>
          </a:ln>
        </c:spPr>
        <c:txPr>
          <a:bodyPr/>
          <a:lstStyle/>
          <a:p>
            <a:pPr algn="ctr">
              <a:defRPr/>
            </a:pPr>
            <a:endParaRPr lang="en-US"/>
          </a:p>
        </c:txPr>
        <c:crossAx val="215433216"/>
        <c:crosses val="autoZero"/>
        <c:crossBetween val="between"/>
        <c:majorUnit val="0.2"/>
      </c:valAx>
    </c:plotArea>
    <c:plotVisOnly val="1"/>
    <c:dispBlanksAs val="gap"/>
    <c:showDLblsOverMax val="0"/>
  </c:chart>
  <c:spPr>
    <a:ln w="25400">
      <a:noFill/>
    </a:ln>
  </c:spPr>
  <c:txPr>
    <a:bodyPr/>
    <a:lstStyle/>
    <a:p>
      <a:pPr>
        <a:defRPr>
          <a:solidFill>
            <a:srgbClr val="003C64"/>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xMode val="edge"/>
          <c:yMode val="edge"/>
          <c:x val="1.3834570842724785E-2"/>
          <c:y val="2.5749967812540235E-2"/>
          <c:w val="0.98616542915727523"/>
          <c:h val="0.86906141367323286"/>
        </c:manualLayout>
      </c:layout>
      <c:barChart>
        <c:barDir val="bar"/>
        <c:grouping val="clustered"/>
        <c:varyColors val="0"/>
        <c:ser>
          <c:idx val="1"/>
          <c:order val="0"/>
          <c:tx>
            <c:strRef>
              <c:f>'EURO RISK PARITY'!$M$37</c:f>
              <c:strCache>
                <c:ptCount val="1"/>
                <c:pt idx="0">
                  <c:v>Amundi Fds Eq Euro Risk Parity</c:v>
                </c:pt>
              </c:strCache>
            </c:strRef>
          </c:tx>
          <c:spPr>
            <a:solidFill>
              <a:schemeClr val="tx1"/>
            </a:solidFill>
            <a:ln>
              <a:noFill/>
              <a:round/>
            </a:ln>
            <a:effectLst/>
            <a:extLst>
              <a:ext uri="{91240B29-F687-4F45-9708-019B960494DF}">
                <a14:hiddenLine xmlns:a14="http://schemas.microsoft.com/office/drawing/2010/main">
                  <a:noFill/>
                  <a:round/>
                </a14:hiddenLine>
              </a:ext>
            </a:extLst>
          </c:spPr>
          <c:invertIfNegative val="0"/>
          <c:cat>
            <c:strRef>
              <c:f>'EURO RISK PARITY'!$L$38:$L$47</c:f>
              <c:strCache>
                <c:ptCount val="10"/>
                <c:pt idx="0">
                  <c:v>France</c:v>
                </c:pt>
                <c:pt idx="1">
                  <c:v>Germany</c:v>
                </c:pt>
                <c:pt idx="2">
                  <c:v>Spain</c:v>
                </c:pt>
                <c:pt idx="3">
                  <c:v>Italy</c:v>
                </c:pt>
                <c:pt idx="4">
                  <c:v>Netherlands</c:v>
                </c:pt>
                <c:pt idx="5">
                  <c:v>Finland</c:v>
                </c:pt>
                <c:pt idx="6">
                  <c:v>Belgium</c:v>
                </c:pt>
                <c:pt idx="7">
                  <c:v>Portugal</c:v>
                </c:pt>
                <c:pt idx="8">
                  <c:v>Austria</c:v>
                </c:pt>
                <c:pt idx="9">
                  <c:v>Ireland</c:v>
                </c:pt>
              </c:strCache>
            </c:strRef>
          </c:cat>
          <c:val>
            <c:numRef>
              <c:f>'EURO RISK PARITY'!$M$38:$M$47</c:f>
              <c:numCache>
                <c:formatCode>0\.0%</c:formatCode>
                <c:ptCount val="10"/>
                <c:pt idx="0">
                  <c:v>0.29201918035165136</c:v>
                </c:pt>
                <c:pt idx="1">
                  <c:v>0.24816655984257291</c:v>
                </c:pt>
                <c:pt idx="2">
                  <c:v>9.9649838661017953E-2</c:v>
                </c:pt>
                <c:pt idx="3">
                  <c:v>9.9453033221683695E-2</c:v>
                </c:pt>
                <c:pt idx="4">
                  <c:v>9.940673434694898E-2</c:v>
                </c:pt>
                <c:pt idx="5">
                  <c:v>5.6404764592607612E-2</c:v>
                </c:pt>
                <c:pt idx="6">
                  <c:v>4.8005100644623225E-2</c:v>
                </c:pt>
                <c:pt idx="7">
                  <c:v>2.2541462833874027E-2</c:v>
                </c:pt>
                <c:pt idx="8">
                  <c:v>1.9089462180720686E-2</c:v>
                </c:pt>
                <c:pt idx="9">
                  <c:v>1.5263863324299661E-2</c:v>
                </c:pt>
              </c:numCache>
            </c:numRef>
          </c:val>
        </c:ser>
        <c:ser>
          <c:idx val="0"/>
          <c:order val="1"/>
          <c:tx>
            <c:strRef>
              <c:f>'EURO RISK PARITY'!$N$37</c:f>
              <c:strCache>
                <c:ptCount val="1"/>
                <c:pt idx="0">
                  <c:v>MSCI EMU</c:v>
                </c:pt>
              </c:strCache>
            </c:strRef>
          </c:tx>
          <c:spPr>
            <a:solidFill>
              <a:schemeClr val="accent1"/>
            </a:solidFill>
            <a:ln>
              <a:noFill/>
              <a:round/>
            </a:ln>
            <a:effectLst/>
            <a:extLst>
              <a:ext uri="{91240B29-F687-4F45-9708-019B960494DF}">
                <a14:hiddenLine xmlns:a14="http://schemas.microsoft.com/office/drawing/2010/main">
                  <a:noFill/>
                  <a:round/>
                </a14:hiddenLine>
              </a:ext>
            </a:extLst>
          </c:spPr>
          <c:invertIfNegative val="0"/>
          <c:cat>
            <c:strRef>
              <c:f>'EURO RISK PARITY'!$L$38:$L$47</c:f>
              <c:strCache>
                <c:ptCount val="10"/>
                <c:pt idx="0">
                  <c:v>France</c:v>
                </c:pt>
                <c:pt idx="1">
                  <c:v>Germany</c:v>
                </c:pt>
                <c:pt idx="2">
                  <c:v>Spain</c:v>
                </c:pt>
                <c:pt idx="3">
                  <c:v>Italy</c:v>
                </c:pt>
                <c:pt idx="4">
                  <c:v>Netherlands</c:v>
                </c:pt>
                <c:pt idx="5">
                  <c:v>Finland</c:v>
                </c:pt>
                <c:pt idx="6">
                  <c:v>Belgium</c:v>
                </c:pt>
                <c:pt idx="7">
                  <c:v>Portugal</c:v>
                </c:pt>
                <c:pt idx="8">
                  <c:v>Austria</c:v>
                </c:pt>
                <c:pt idx="9">
                  <c:v>Ireland</c:v>
                </c:pt>
              </c:strCache>
            </c:strRef>
          </c:cat>
          <c:val>
            <c:numRef>
              <c:f>'EURO RISK PARITY'!$N$38:$N$47</c:f>
              <c:numCache>
                <c:formatCode>0\.0%</c:formatCode>
                <c:ptCount val="10"/>
                <c:pt idx="0">
                  <c:v>0.32725098120090274</c:v>
                </c:pt>
                <c:pt idx="1">
                  <c:v>0.29984586208608732</c:v>
                </c:pt>
                <c:pt idx="2">
                  <c:v>0.10002274612317975</c:v>
                </c:pt>
                <c:pt idx="3">
                  <c:v>7.4662590669101511E-2</c:v>
                </c:pt>
                <c:pt idx="4">
                  <c:v>0.10893142606404999</c:v>
                </c:pt>
                <c:pt idx="5">
                  <c:v>2.8630307909658842E-2</c:v>
                </c:pt>
                <c:pt idx="6">
                  <c:v>3.3447529944951995E-2</c:v>
                </c:pt>
                <c:pt idx="7">
                  <c:v>4.5049277106901679E-3</c:v>
                </c:pt>
                <c:pt idx="8">
                  <c:v>8.2218181605845861E-3</c:v>
                </c:pt>
                <c:pt idx="9">
                  <c:v>1.4481810130793207E-2</c:v>
                </c:pt>
              </c:numCache>
            </c:numRef>
          </c:val>
        </c:ser>
        <c:dLbls>
          <c:showLegendKey val="0"/>
          <c:showVal val="0"/>
          <c:showCatName val="0"/>
          <c:showSerName val="0"/>
          <c:showPercent val="0"/>
          <c:showBubbleSize val="0"/>
        </c:dLbls>
        <c:gapWidth val="150"/>
        <c:axId val="494603648"/>
        <c:axId val="494605440"/>
      </c:barChart>
      <c:catAx>
        <c:axId val="494603648"/>
        <c:scaling>
          <c:orientation val="maxMin"/>
        </c:scaling>
        <c:delete val="0"/>
        <c:axPos val="l"/>
        <c:numFmt formatCode="General" sourceLinked="1"/>
        <c:majorTickMark val="out"/>
        <c:minorTickMark val="none"/>
        <c:tickLblPos val="low"/>
        <c:spPr>
          <a:ln>
            <a:solidFill>
              <a:srgbClr val="003C64"/>
            </a:solidFill>
          </a:ln>
        </c:spPr>
        <c:txPr>
          <a:bodyPr/>
          <a:lstStyle/>
          <a:p>
            <a:pPr>
              <a:defRPr sz="900" b="0" i="0" u="none">
                <a:solidFill>
                  <a:srgbClr val="003C64"/>
                </a:solidFill>
                <a:latin typeface="Arial"/>
                <a:ea typeface="Arial"/>
                <a:cs typeface="Arial"/>
              </a:defRPr>
            </a:pPr>
            <a:endParaRPr lang="en-US"/>
          </a:p>
        </c:txPr>
        <c:crossAx val="494605440"/>
        <c:crosses val="autoZero"/>
        <c:auto val="1"/>
        <c:lblAlgn val="ctr"/>
        <c:lblOffset val="100"/>
        <c:noMultiLvlLbl val="0"/>
      </c:catAx>
      <c:valAx>
        <c:axId val="494605440"/>
        <c:scaling>
          <c:orientation val="minMax"/>
        </c:scaling>
        <c:delete val="0"/>
        <c:axPos val="t"/>
        <c:majorGridlines>
          <c:spPr>
            <a:ln w="3175">
              <a:solidFill>
                <a:srgbClr val="FFFFFF"/>
              </a:solidFill>
            </a:ln>
          </c:spPr>
        </c:majorGridlines>
        <c:numFmt formatCode="0%" sourceLinked="0"/>
        <c:majorTickMark val="out"/>
        <c:minorTickMark val="none"/>
        <c:tickLblPos val="nextTo"/>
        <c:spPr>
          <a:ln>
            <a:solidFill>
              <a:srgbClr val="003C64"/>
            </a:solidFill>
          </a:ln>
        </c:spPr>
        <c:txPr>
          <a:bodyPr/>
          <a:lstStyle/>
          <a:p>
            <a:pPr>
              <a:defRPr sz="900" b="0" i="0" u="none">
                <a:solidFill>
                  <a:srgbClr val="003C64"/>
                </a:solidFill>
                <a:latin typeface="Arial"/>
                <a:ea typeface="Arial"/>
                <a:cs typeface="Arial"/>
              </a:defRPr>
            </a:pPr>
            <a:endParaRPr lang="en-US"/>
          </a:p>
        </c:txPr>
        <c:crossAx val="494603648"/>
        <c:crosses val="autoZero"/>
        <c:crossBetween val="between"/>
      </c:valAx>
    </c:plotArea>
    <c:legend>
      <c:legendPos val="b"/>
      <c:legendEntry>
        <c:idx val="0"/>
        <c:txPr>
          <a:bodyPr/>
          <a:lstStyle/>
          <a:p>
            <a:pPr>
              <a:defRPr sz="900" b="0" i="0" u="none">
                <a:solidFill>
                  <a:srgbClr val="003C64"/>
                </a:solidFill>
                <a:latin typeface="Arial"/>
                <a:ea typeface="Arial"/>
                <a:cs typeface="Arial"/>
              </a:defRPr>
            </a:pPr>
            <a:endParaRPr lang="en-US"/>
          </a:p>
        </c:txPr>
      </c:legendEntry>
      <c:legendEntry>
        <c:idx val="1"/>
        <c:txPr>
          <a:bodyPr/>
          <a:lstStyle/>
          <a:p>
            <a:pPr>
              <a:defRPr sz="900" b="0" i="0" u="none">
                <a:solidFill>
                  <a:srgbClr val="00A0E3"/>
                </a:solidFill>
                <a:latin typeface="Arial"/>
                <a:ea typeface="Arial"/>
                <a:cs typeface="Arial"/>
              </a:defRPr>
            </a:pPr>
            <a:endParaRPr lang="en-US"/>
          </a:p>
        </c:txPr>
      </c:legendEntry>
      <c:layout>
        <c:manualLayout>
          <c:xMode val="edge"/>
          <c:yMode val="edge"/>
          <c:x val="1.3834570842724785E-2"/>
          <c:y val="0.94818883444899627"/>
          <c:w val="0.98616542915727523"/>
          <c:h val="5.1811165551003693E-2"/>
        </c:manualLayout>
      </c:layout>
      <c:overlay val="0"/>
      <c:txPr>
        <a:bodyPr/>
        <a:lstStyle/>
        <a:p>
          <a:pPr>
            <a:defRPr sz="900" b="0" i="0" u="none">
              <a:latin typeface="Arial"/>
              <a:ea typeface="Arial"/>
              <a:cs typeface="Arial"/>
            </a:defRPr>
          </a:pPr>
          <a:endParaRPr lang="en-US"/>
        </a:p>
      </c:txPr>
    </c:legend>
    <c:plotVisOnly val="1"/>
    <c:dispBlanksAs val="gap"/>
    <c:showDLblsOverMax val="0"/>
  </c:chart>
  <c:spPr>
    <a:ln w="25400">
      <a:noFill/>
    </a:ln>
  </c:spPr>
  <c:txPr>
    <a:bodyPr/>
    <a:lstStyle/>
    <a:p>
      <a:pPr>
        <a:defRPr sz="9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xMode val="edge"/>
          <c:yMode val="edge"/>
          <c:x val="1.2678288431061807E-2"/>
          <c:y val="2.0600504712365453E-2"/>
          <c:w val="0.98732171156893822"/>
          <c:h val="0.7982695576041613"/>
        </c:manualLayout>
      </c:layout>
      <c:barChart>
        <c:barDir val="col"/>
        <c:grouping val="clustered"/>
        <c:varyColors val="0"/>
        <c:ser>
          <c:idx val="0"/>
          <c:order val="0"/>
          <c:tx>
            <c:strRef>
              <c:f>'ETF GLOBAL SB USD'!$P$58</c:f>
              <c:strCache>
                <c:ptCount val="1"/>
                <c:pt idx="0">
                  <c:v>Amundi ETF Global MBMS SciBeta - USD</c:v>
                </c:pt>
              </c:strCache>
            </c:strRef>
          </c:tx>
          <c:spPr>
            <a:solidFill>
              <a:srgbClr val="003C64"/>
            </a:solidFill>
            <a:ln>
              <a:noFill/>
              <a:round/>
            </a:ln>
            <a:effectLst/>
            <a:extLst>
              <a:ext uri="{91240B29-F687-4F45-9708-019B960494DF}">
                <a14:hiddenLine xmlns:a14="http://schemas.microsoft.com/office/drawing/2010/main">
                  <a:noFill/>
                  <a:round/>
                </a14:hiddenLine>
              </a:ext>
            </a:extLst>
          </c:spPr>
          <c:invertIfNegative val="0"/>
          <c:dLbls>
            <c:dLbl>
              <c:idx val="4"/>
              <c:layout>
                <c:manualLayout>
                  <c:x val="-6.3391442155310198E-3"/>
                  <c:y val="1.0300252356182727E-2"/>
                </c:manualLayout>
              </c:layout>
              <c:showLegendKey val="0"/>
              <c:showVal val="1"/>
              <c:showCatName val="0"/>
              <c:showSerName val="0"/>
              <c:showPercent val="0"/>
              <c:showBubbleSize val="0"/>
            </c:dLbl>
            <c:numFmt formatCode="0.0%" sourceLinked="0"/>
            <c:spPr>
              <a:noFill/>
              <a:ln>
                <a:noFill/>
              </a:ln>
              <a:effectLst/>
            </c:spPr>
            <c:txPr>
              <a:bodyPr/>
              <a:lstStyle/>
              <a:p>
                <a:pPr>
                  <a:defRPr sz="900" b="0" i="0">
                    <a:solidFill>
                      <a:srgbClr val="003C64"/>
                    </a:solidFill>
                    <a:latin typeface="Arial(Corps)"/>
                    <a:ea typeface="Arial(Corps)"/>
                    <a:cs typeface="Arial(Corp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ETF GLOBAL SB USD'!$O$59:$O$63</c:f>
              <c:strCache>
                <c:ptCount val="5"/>
                <c:pt idx="0">
                  <c:v>2014 (since 05/27/14)</c:v>
                </c:pt>
                <c:pt idx="1">
                  <c:v>2015</c:v>
                </c:pt>
                <c:pt idx="2">
                  <c:v>2016</c:v>
                </c:pt>
                <c:pt idx="3">
                  <c:v>2017</c:v>
                </c:pt>
                <c:pt idx="4">
                  <c:v>YTD</c:v>
                </c:pt>
              </c:strCache>
            </c:strRef>
          </c:cat>
          <c:val>
            <c:numRef>
              <c:f>'ETF GLOBAL SB USD'!$P$59:$P$63</c:f>
              <c:numCache>
                <c:formatCode>0\.0%</c:formatCode>
                <c:ptCount val="5"/>
                <c:pt idx="0">
                  <c:v>1.6839843583700054E-2</c:v>
                </c:pt>
                <c:pt idx="1">
                  <c:v>1.7192786361887702E-2</c:v>
                </c:pt>
                <c:pt idx="2">
                  <c:v>6.3865191625184892E-2</c:v>
                </c:pt>
                <c:pt idx="3">
                  <c:v>0.21516793352962171</c:v>
                </c:pt>
                <c:pt idx="4">
                  <c:v>4.2250777820486807E-2</c:v>
                </c:pt>
              </c:numCache>
            </c:numRef>
          </c:val>
          <c:extLst xmlns:c16r2="http://schemas.microsoft.com/office/drawing/2015/06/chart">
            <c:ext xmlns:c16="http://schemas.microsoft.com/office/drawing/2014/chart" uri="{C3380CC4-5D6E-409C-BE32-E72D297353CC}">
              <c16:uniqueId val="{00000000-51D0-4812-918D-3F708612AA10}"/>
            </c:ext>
          </c:extLst>
        </c:ser>
        <c:ser>
          <c:idx val="1"/>
          <c:order val="1"/>
          <c:tx>
            <c:strRef>
              <c:f>'ETF GLOBAL SB USD'!$R$58</c:f>
              <c:strCache>
                <c:ptCount val="1"/>
                <c:pt idx="0">
                  <c:v>MSCI World Index</c:v>
                </c:pt>
              </c:strCache>
            </c:strRef>
          </c:tx>
          <c:spPr>
            <a:solidFill>
              <a:srgbClr val="00A0E3"/>
            </a:solidFill>
            <a:ln>
              <a:noFill/>
              <a:round/>
            </a:ln>
            <a:effectLst/>
            <a:extLst>
              <a:ext uri="{91240B29-F687-4F45-9708-019B960494DF}">
                <a14:hiddenLine xmlns:a14="http://schemas.microsoft.com/office/drawing/2010/main">
                  <a:noFill/>
                  <a:round/>
                </a14:hiddenLine>
              </a:ext>
            </a:extLst>
          </c:spPr>
          <c:invertIfNegative val="0"/>
          <c:dLbls>
            <c:dLbl>
              <c:idx val="0"/>
              <c:layout>
                <c:manualLayout>
                  <c:x val="2.2187004754358176E-2"/>
                  <c:y val="0"/>
                </c:manualLayout>
              </c:layout>
              <c:showLegendKey val="0"/>
              <c:showVal val="1"/>
              <c:showCatName val="0"/>
              <c:showSerName val="0"/>
              <c:showPercent val="0"/>
              <c:showBubbleSize val="0"/>
            </c:dLbl>
            <c:dLbl>
              <c:idx val="2"/>
              <c:layout>
                <c:manualLayout>
                  <c:x val="1.2678288431061807E-2"/>
                  <c:y val="0"/>
                </c:manualLayout>
              </c:layout>
              <c:showLegendKey val="0"/>
              <c:showVal val="1"/>
              <c:showCatName val="0"/>
              <c:showSerName val="0"/>
              <c:showPercent val="0"/>
              <c:showBubbleSize val="0"/>
            </c:dLbl>
            <c:dLbl>
              <c:idx val="3"/>
              <c:layout>
                <c:manualLayout>
                  <c:x val="3.1695721077654518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51D0-4812-918D-3F708612AA10}"/>
                </c:ext>
              </c:extLst>
            </c:dLbl>
            <c:dLbl>
              <c:idx val="4"/>
              <c:layout>
                <c:manualLayout>
                  <c:x val="1.9017432646592711E-2"/>
                  <c:y val="4.7208944604080936E-17"/>
                </c:manualLayout>
              </c:layout>
              <c:showLegendKey val="0"/>
              <c:showVal val="1"/>
              <c:showCatName val="0"/>
              <c:showSerName val="0"/>
              <c:showPercent val="0"/>
              <c:showBubbleSize val="0"/>
            </c:dLbl>
            <c:numFmt formatCode="0.0%" sourceLinked="0"/>
            <c:spPr>
              <a:noFill/>
              <a:ln>
                <a:noFill/>
              </a:ln>
              <a:effectLst/>
            </c:spPr>
            <c:txPr>
              <a:bodyPr/>
              <a:lstStyle/>
              <a:p>
                <a:pPr>
                  <a:defRPr sz="900" b="0" i="0">
                    <a:solidFill>
                      <a:srgbClr val="00A0E3"/>
                    </a:solidFill>
                    <a:latin typeface="Arial(Corps)"/>
                    <a:ea typeface="Arial(Corps)"/>
                    <a:cs typeface="Arial(Corp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ETF GLOBAL SB USD'!$O$59:$O$63</c:f>
              <c:strCache>
                <c:ptCount val="5"/>
                <c:pt idx="0">
                  <c:v>2014 (since 05/27/14)</c:v>
                </c:pt>
                <c:pt idx="1">
                  <c:v>2015</c:v>
                </c:pt>
                <c:pt idx="2">
                  <c:v>2016</c:v>
                </c:pt>
                <c:pt idx="3">
                  <c:v>2017</c:v>
                </c:pt>
                <c:pt idx="4">
                  <c:v>YTD</c:v>
                </c:pt>
              </c:strCache>
            </c:strRef>
          </c:cat>
          <c:val>
            <c:numRef>
              <c:f>'ETF GLOBAL SB USD'!$R$59:$R$63</c:f>
              <c:numCache>
                <c:formatCode>0\.0%</c:formatCode>
                <c:ptCount val="5"/>
                <c:pt idx="0">
                  <c:v>1.0644816452853423E-2</c:v>
                </c:pt>
                <c:pt idx="1">
                  <c:v>-8.7123857874837896E-3</c:v>
                </c:pt>
                <c:pt idx="2">
                  <c:v>7.5105025674436554E-2</c:v>
                </c:pt>
                <c:pt idx="3">
                  <c:v>0.22400321328436701</c:v>
                </c:pt>
                <c:pt idx="4">
                  <c:v>5.2800205170341785E-2</c:v>
                </c:pt>
              </c:numCache>
            </c:numRef>
          </c:val>
          <c:extLst xmlns:c16r2="http://schemas.microsoft.com/office/drawing/2015/06/chart">
            <c:ext xmlns:c16="http://schemas.microsoft.com/office/drawing/2014/chart" uri="{C3380CC4-5D6E-409C-BE32-E72D297353CC}">
              <c16:uniqueId val="{00000002-51D0-4812-918D-3F708612AA10}"/>
            </c:ext>
          </c:extLst>
        </c:ser>
        <c:dLbls>
          <c:showLegendKey val="0"/>
          <c:showVal val="0"/>
          <c:showCatName val="0"/>
          <c:showSerName val="0"/>
          <c:showPercent val="0"/>
          <c:showBubbleSize val="0"/>
        </c:dLbls>
        <c:gapWidth val="150"/>
        <c:axId val="494845312"/>
        <c:axId val="495338624"/>
      </c:barChart>
      <c:catAx>
        <c:axId val="494845312"/>
        <c:scaling>
          <c:orientation val="minMax"/>
        </c:scaling>
        <c:delete val="0"/>
        <c:axPos val="b"/>
        <c:numFmt formatCode="General" sourceLinked="0"/>
        <c:majorTickMark val="out"/>
        <c:minorTickMark val="none"/>
        <c:tickLblPos val="low"/>
        <c:spPr>
          <a:ln>
            <a:solidFill>
              <a:srgbClr val="003C64"/>
            </a:solidFill>
          </a:ln>
        </c:spPr>
        <c:txPr>
          <a:bodyPr/>
          <a:lstStyle/>
          <a:p>
            <a:pPr>
              <a:defRPr sz="900" b="0" i="0" u="none">
                <a:solidFill>
                  <a:srgbClr val="003C64"/>
                </a:solidFill>
                <a:latin typeface="Arial(Corps)"/>
                <a:ea typeface="Arial(Corps)"/>
                <a:cs typeface="Arial(Corps)"/>
              </a:defRPr>
            </a:pPr>
            <a:endParaRPr lang="en-US"/>
          </a:p>
        </c:txPr>
        <c:crossAx val="495338624"/>
        <c:crosses val="autoZero"/>
        <c:auto val="1"/>
        <c:lblAlgn val="ctr"/>
        <c:lblOffset val="100"/>
        <c:noMultiLvlLbl val="0"/>
      </c:catAx>
      <c:valAx>
        <c:axId val="495338624"/>
        <c:scaling>
          <c:orientation val="minMax"/>
        </c:scaling>
        <c:delete val="1"/>
        <c:axPos val="l"/>
        <c:numFmt formatCode="0\.0%" sourceLinked="1"/>
        <c:majorTickMark val="none"/>
        <c:minorTickMark val="none"/>
        <c:tickLblPos val="nextTo"/>
        <c:crossAx val="494845312"/>
        <c:crosses val="autoZero"/>
        <c:crossBetween val="between"/>
      </c:valAx>
      <c:spPr>
        <a:ln>
          <a:noFill/>
        </a:ln>
      </c:spPr>
    </c:plotArea>
    <c:legend>
      <c:legendPos val="b"/>
      <c:legendEntry>
        <c:idx val="0"/>
        <c:txPr>
          <a:bodyPr/>
          <a:lstStyle/>
          <a:p>
            <a:pPr>
              <a:defRPr lang="en-US" sz="900" b="0" i="0" u="none" strike="noStrike" kern="1200" baseline="0">
                <a:solidFill>
                  <a:srgbClr val="003C64"/>
                </a:solidFill>
                <a:latin typeface="Arial"/>
                <a:ea typeface="Arial"/>
                <a:cs typeface="Arial"/>
              </a:defRPr>
            </a:pPr>
            <a:endParaRPr lang="en-US"/>
          </a:p>
        </c:txPr>
      </c:legendEntry>
      <c:legendEntry>
        <c:idx val="1"/>
        <c:txPr>
          <a:bodyPr/>
          <a:lstStyle/>
          <a:p>
            <a:pPr>
              <a:defRPr lang="en-US" sz="900" b="0" i="0" u="none" strike="noStrike" kern="1200" baseline="0">
                <a:solidFill>
                  <a:srgbClr val="003C64"/>
                </a:solidFill>
                <a:latin typeface="Arial"/>
                <a:ea typeface="Arial"/>
                <a:cs typeface="Arial"/>
              </a:defRPr>
            </a:pPr>
            <a:endParaRPr lang="en-US"/>
          </a:p>
        </c:txPr>
      </c:legendEntry>
      <c:layout>
        <c:manualLayout>
          <c:xMode val="edge"/>
          <c:yMode val="edge"/>
          <c:x val="1.2678288431061807E-2"/>
          <c:y val="0.8034196837822527"/>
          <c:w val="0.98732171156893822"/>
          <c:h val="0.10300252356182726"/>
        </c:manualLayout>
      </c:layout>
      <c:overlay val="0"/>
      <c:txPr>
        <a:bodyPr/>
        <a:lstStyle/>
        <a:p>
          <a:pPr>
            <a:defRPr lang="en-US" sz="900" b="0" i="0" u="none" strike="noStrike" kern="1200" baseline="0">
              <a:solidFill>
                <a:srgbClr val="003C64"/>
              </a:solidFill>
              <a:latin typeface="Arial"/>
              <a:ea typeface="Arial"/>
              <a:cs typeface="Arial"/>
            </a:defRPr>
          </a:pPr>
          <a:endParaRPr lang="en-US"/>
        </a:p>
      </c:txPr>
    </c:legend>
    <c:plotVisOnly val="1"/>
    <c:dispBlanksAs val="gap"/>
    <c:showDLblsOverMax val="0"/>
  </c:chart>
  <c:spPr>
    <a:ln w="25400">
      <a:noFill/>
    </a:ln>
  </c:sp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2"/>
          <c:order val="2"/>
          <c:tx>
            <c:v>Excess return</c:v>
          </c:tx>
          <c:spPr>
            <a:solidFill>
              <a:schemeClr val="bg1">
                <a:lumMod val="95000"/>
              </a:schemeClr>
            </a:solidFill>
            <a:ln>
              <a:noFill/>
            </a:ln>
          </c:spPr>
          <c:cat>
            <c:numRef>
              <c:f>'ETF GLOBAL SB USD'!$C$5:$C$966</c:f>
              <c:numCache>
                <c:formatCode>m/d/yyyy</c:formatCode>
                <c:ptCount val="962"/>
                <c:pt idx="0">
                  <c:v>41786</c:v>
                </c:pt>
                <c:pt idx="1">
                  <c:v>41787</c:v>
                </c:pt>
                <c:pt idx="2">
                  <c:v>41788</c:v>
                </c:pt>
                <c:pt idx="3">
                  <c:v>41789</c:v>
                </c:pt>
                <c:pt idx="4">
                  <c:v>41792</c:v>
                </c:pt>
                <c:pt idx="5">
                  <c:v>41793</c:v>
                </c:pt>
                <c:pt idx="6">
                  <c:v>41794</c:v>
                </c:pt>
                <c:pt idx="7">
                  <c:v>41795</c:v>
                </c:pt>
                <c:pt idx="8">
                  <c:v>41796</c:v>
                </c:pt>
                <c:pt idx="9">
                  <c:v>41799</c:v>
                </c:pt>
                <c:pt idx="10">
                  <c:v>41800</c:v>
                </c:pt>
                <c:pt idx="11">
                  <c:v>41801</c:v>
                </c:pt>
                <c:pt idx="12">
                  <c:v>41802</c:v>
                </c:pt>
                <c:pt idx="13">
                  <c:v>41803</c:v>
                </c:pt>
                <c:pt idx="14">
                  <c:v>41806</c:v>
                </c:pt>
                <c:pt idx="15">
                  <c:v>41807</c:v>
                </c:pt>
                <c:pt idx="16">
                  <c:v>41808</c:v>
                </c:pt>
                <c:pt idx="17">
                  <c:v>41809</c:v>
                </c:pt>
                <c:pt idx="18">
                  <c:v>41810</c:v>
                </c:pt>
                <c:pt idx="19">
                  <c:v>41813</c:v>
                </c:pt>
                <c:pt idx="20">
                  <c:v>41814</c:v>
                </c:pt>
                <c:pt idx="21">
                  <c:v>41815</c:v>
                </c:pt>
                <c:pt idx="22">
                  <c:v>41816</c:v>
                </c:pt>
                <c:pt idx="23">
                  <c:v>41817</c:v>
                </c:pt>
                <c:pt idx="24">
                  <c:v>41820</c:v>
                </c:pt>
                <c:pt idx="25">
                  <c:v>41821</c:v>
                </c:pt>
                <c:pt idx="26">
                  <c:v>41822</c:v>
                </c:pt>
                <c:pt idx="27">
                  <c:v>41823</c:v>
                </c:pt>
                <c:pt idx="28">
                  <c:v>41824</c:v>
                </c:pt>
                <c:pt idx="29">
                  <c:v>41827</c:v>
                </c:pt>
                <c:pt idx="30">
                  <c:v>41828</c:v>
                </c:pt>
                <c:pt idx="31">
                  <c:v>41829</c:v>
                </c:pt>
                <c:pt idx="32">
                  <c:v>41830</c:v>
                </c:pt>
                <c:pt idx="33">
                  <c:v>41831</c:v>
                </c:pt>
                <c:pt idx="34">
                  <c:v>41834</c:v>
                </c:pt>
                <c:pt idx="35">
                  <c:v>41835</c:v>
                </c:pt>
                <c:pt idx="36">
                  <c:v>41836</c:v>
                </c:pt>
                <c:pt idx="37">
                  <c:v>41837</c:v>
                </c:pt>
                <c:pt idx="38">
                  <c:v>41838</c:v>
                </c:pt>
                <c:pt idx="39">
                  <c:v>41841</c:v>
                </c:pt>
                <c:pt idx="40">
                  <c:v>41842</c:v>
                </c:pt>
                <c:pt idx="41">
                  <c:v>41843</c:v>
                </c:pt>
                <c:pt idx="42">
                  <c:v>41844</c:v>
                </c:pt>
                <c:pt idx="43">
                  <c:v>41845</c:v>
                </c:pt>
                <c:pt idx="44">
                  <c:v>41848</c:v>
                </c:pt>
                <c:pt idx="45">
                  <c:v>41849</c:v>
                </c:pt>
                <c:pt idx="46">
                  <c:v>41850</c:v>
                </c:pt>
                <c:pt idx="47">
                  <c:v>41851</c:v>
                </c:pt>
                <c:pt idx="48">
                  <c:v>41852</c:v>
                </c:pt>
                <c:pt idx="49">
                  <c:v>41855</c:v>
                </c:pt>
                <c:pt idx="50">
                  <c:v>41856</c:v>
                </c:pt>
                <c:pt idx="51">
                  <c:v>41857</c:v>
                </c:pt>
                <c:pt idx="52">
                  <c:v>41858</c:v>
                </c:pt>
                <c:pt idx="53">
                  <c:v>41859</c:v>
                </c:pt>
                <c:pt idx="54">
                  <c:v>41862</c:v>
                </c:pt>
                <c:pt idx="55">
                  <c:v>41863</c:v>
                </c:pt>
                <c:pt idx="56">
                  <c:v>41864</c:v>
                </c:pt>
                <c:pt idx="57">
                  <c:v>41865</c:v>
                </c:pt>
                <c:pt idx="58">
                  <c:v>41866</c:v>
                </c:pt>
                <c:pt idx="59">
                  <c:v>41869</c:v>
                </c:pt>
                <c:pt idx="60">
                  <c:v>41870</c:v>
                </c:pt>
                <c:pt idx="61">
                  <c:v>41871</c:v>
                </c:pt>
                <c:pt idx="62">
                  <c:v>41872</c:v>
                </c:pt>
                <c:pt idx="63">
                  <c:v>41873</c:v>
                </c:pt>
                <c:pt idx="64">
                  <c:v>41876</c:v>
                </c:pt>
                <c:pt idx="65">
                  <c:v>41877</c:v>
                </c:pt>
                <c:pt idx="66">
                  <c:v>41878</c:v>
                </c:pt>
                <c:pt idx="67">
                  <c:v>41879</c:v>
                </c:pt>
                <c:pt idx="68">
                  <c:v>41880</c:v>
                </c:pt>
                <c:pt idx="69">
                  <c:v>41883</c:v>
                </c:pt>
                <c:pt idx="70">
                  <c:v>41884</c:v>
                </c:pt>
                <c:pt idx="71">
                  <c:v>41885</c:v>
                </c:pt>
                <c:pt idx="72">
                  <c:v>41886</c:v>
                </c:pt>
                <c:pt idx="73">
                  <c:v>41887</c:v>
                </c:pt>
                <c:pt idx="74">
                  <c:v>41890</c:v>
                </c:pt>
                <c:pt idx="75">
                  <c:v>41891</c:v>
                </c:pt>
                <c:pt idx="76">
                  <c:v>41892</c:v>
                </c:pt>
                <c:pt idx="77">
                  <c:v>41893</c:v>
                </c:pt>
                <c:pt idx="78">
                  <c:v>41894</c:v>
                </c:pt>
                <c:pt idx="79">
                  <c:v>41897</c:v>
                </c:pt>
                <c:pt idx="80">
                  <c:v>41898</c:v>
                </c:pt>
                <c:pt idx="81">
                  <c:v>41899</c:v>
                </c:pt>
                <c:pt idx="82">
                  <c:v>41900</c:v>
                </c:pt>
                <c:pt idx="83">
                  <c:v>41901</c:v>
                </c:pt>
                <c:pt idx="84">
                  <c:v>41904</c:v>
                </c:pt>
                <c:pt idx="85">
                  <c:v>41905</c:v>
                </c:pt>
                <c:pt idx="86">
                  <c:v>41906</c:v>
                </c:pt>
                <c:pt idx="87">
                  <c:v>41907</c:v>
                </c:pt>
                <c:pt idx="88">
                  <c:v>41908</c:v>
                </c:pt>
                <c:pt idx="89">
                  <c:v>41911</c:v>
                </c:pt>
                <c:pt idx="90">
                  <c:v>41912</c:v>
                </c:pt>
                <c:pt idx="91">
                  <c:v>41913</c:v>
                </c:pt>
                <c:pt idx="92">
                  <c:v>41914</c:v>
                </c:pt>
                <c:pt idx="93">
                  <c:v>41915</c:v>
                </c:pt>
                <c:pt idx="94">
                  <c:v>41918</c:v>
                </c:pt>
                <c:pt idx="95">
                  <c:v>41919</c:v>
                </c:pt>
                <c:pt idx="96">
                  <c:v>41920</c:v>
                </c:pt>
                <c:pt idx="97">
                  <c:v>41921</c:v>
                </c:pt>
                <c:pt idx="98">
                  <c:v>41922</c:v>
                </c:pt>
                <c:pt idx="99">
                  <c:v>41925</c:v>
                </c:pt>
                <c:pt idx="100">
                  <c:v>41926</c:v>
                </c:pt>
                <c:pt idx="101">
                  <c:v>41927</c:v>
                </c:pt>
                <c:pt idx="102">
                  <c:v>41928</c:v>
                </c:pt>
                <c:pt idx="103">
                  <c:v>41929</c:v>
                </c:pt>
                <c:pt idx="104">
                  <c:v>41932</c:v>
                </c:pt>
                <c:pt idx="105">
                  <c:v>41933</c:v>
                </c:pt>
                <c:pt idx="106">
                  <c:v>41934</c:v>
                </c:pt>
                <c:pt idx="107">
                  <c:v>41935</c:v>
                </c:pt>
                <c:pt idx="108">
                  <c:v>41936</c:v>
                </c:pt>
                <c:pt idx="109">
                  <c:v>41939</c:v>
                </c:pt>
                <c:pt idx="110">
                  <c:v>41940</c:v>
                </c:pt>
                <c:pt idx="111">
                  <c:v>41941</c:v>
                </c:pt>
                <c:pt idx="112">
                  <c:v>41942</c:v>
                </c:pt>
                <c:pt idx="113">
                  <c:v>41943</c:v>
                </c:pt>
                <c:pt idx="114">
                  <c:v>41946</c:v>
                </c:pt>
                <c:pt idx="115">
                  <c:v>41947</c:v>
                </c:pt>
                <c:pt idx="116">
                  <c:v>41948</c:v>
                </c:pt>
                <c:pt idx="117">
                  <c:v>41949</c:v>
                </c:pt>
                <c:pt idx="118">
                  <c:v>41950</c:v>
                </c:pt>
                <c:pt idx="119">
                  <c:v>41953</c:v>
                </c:pt>
                <c:pt idx="120">
                  <c:v>41954</c:v>
                </c:pt>
                <c:pt idx="121">
                  <c:v>41955</c:v>
                </c:pt>
                <c:pt idx="122">
                  <c:v>41956</c:v>
                </c:pt>
                <c:pt idx="123">
                  <c:v>41957</c:v>
                </c:pt>
                <c:pt idx="124">
                  <c:v>41960</c:v>
                </c:pt>
                <c:pt idx="125">
                  <c:v>41961</c:v>
                </c:pt>
                <c:pt idx="126">
                  <c:v>41962</c:v>
                </c:pt>
                <c:pt idx="127">
                  <c:v>41963</c:v>
                </c:pt>
                <c:pt idx="128">
                  <c:v>41964</c:v>
                </c:pt>
                <c:pt idx="129">
                  <c:v>41967</c:v>
                </c:pt>
                <c:pt idx="130">
                  <c:v>41968</c:v>
                </c:pt>
                <c:pt idx="131">
                  <c:v>41969</c:v>
                </c:pt>
                <c:pt idx="132">
                  <c:v>41970</c:v>
                </c:pt>
                <c:pt idx="133">
                  <c:v>41971</c:v>
                </c:pt>
                <c:pt idx="134">
                  <c:v>41974</c:v>
                </c:pt>
                <c:pt idx="135">
                  <c:v>41975</c:v>
                </c:pt>
                <c:pt idx="136">
                  <c:v>41976</c:v>
                </c:pt>
                <c:pt idx="137">
                  <c:v>41977</c:v>
                </c:pt>
                <c:pt idx="138">
                  <c:v>41978</c:v>
                </c:pt>
                <c:pt idx="139">
                  <c:v>41981</c:v>
                </c:pt>
                <c:pt idx="140">
                  <c:v>41982</c:v>
                </c:pt>
                <c:pt idx="141">
                  <c:v>41983</c:v>
                </c:pt>
                <c:pt idx="142">
                  <c:v>41984</c:v>
                </c:pt>
                <c:pt idx="143">
                  <c:v>41985</c:v>
                </c:pt>
                <c:pt idx="144">
                  <c:v>41988</c:v>
                </c:pt>
                <c:pt idx="145">
                  <c:v>41989</c:v>
                </c:pt>
                <c:pt idx="146">
                  <c:v>41990</c:v>
                </c:pt>
                <c:pt idx="147">
                  <c:v>41991</c:v>
                </c:pt>
                <c:pt idx="148">
                  <c:v>41992</c:v>
                </c:pt>
                <c:pt idx="149">
                  <c:v>41995</c:v>
                </c:pt>
                <c:pt idx="150">
                  <c:v>41996</c:v>
                </c:pt>
                <c:pt idx="151">
                  <c:v>41997</c:v>
                </c:pt>
                <c:pt idx="152">
                  <c:v>41998</c:v>
                </c:pt>
                <c:pt idx="153">
                  <c:v>41999</c:v>
                </c:pt>
                <c:pt idx="154">
                  <c:v>42002</c:v>
                </c:pt>
                <c:pt idx="155">
                  <c:v>42003</c:v>
                </c:pt>
                <c:pt idx="156">
                  <c:v>42004</c:v>
                </c:pt>
                <c:pt idx="157">
                  <c:v>42005</c:v>
                </c:pt>
                <c:pt idx="158">
                  <c:v>42006</c:v>
                </c:pt>
                <c:pt idx="159">
                  <c:v>42009</c:v>
                </c:pt>
                <c:pt idx="160">
                  <c:v>42010</c:v>
                </c:pt>
                <c:pt idx="161">
                  <c:v>42011</c:v>
                </c:pt>
                <c:pt idx="162">
                  <c:v>42012</c:v>
                </c:pt>
                <c:pt idx="163">
                  <c:v>42013</c:v>
                </c:pt>
                <c:pt idx="164">
                  <c:v>42016</c:v>
                </c:pt>
                <c:pt idx="165">
                  <c:v>42017</c:v>
                </c:pt>
                <c:pt idx="166">
                  <c:v>42018</c:v>
                </c:pt>
                <c:pt idx="167">
                  <c:v>42019</c:v>
                </c:pt>
                <c:pt idx="168">
                  <c:v>42020</c:v>
                </c:pt>
                <c:pt idx="169">
                  <c:v>42023</c:v>
                </c:pt>
                <c:pt idx="170">
                  <c:v>42024</c:v>
                </c:pt>
                <c:pt idx="171">
                  <c:v>42025</c:v>
                </c:pt>
                <c:pt idx="172">
                  <c:v>42026</c:v>
                </c:pt>
                <c:pt idx="173">
                  <c:v>42027</c:v>
                </c:pt>
                <c:pt idx="174">
                  <c:v>42030</c:v>
                </c:pt>
                <c:pt idx="175">
                  <c:v>42031</c:v>
                </c:pt>
                <c:pt idx="176">
                  <c:v>42032</c:v>
                </c:pt>
                <c:pt idx="177">
                  <c:v>42033</c:v>
                </c:pt>
                <c:pt idx="178">
                  <c:v>42034</c:v>
                </c:pt>
                <c:pt idx="179">
                  <c:v>42037</c:v>
                </c:pt>
                <c:pt idx="180">
                  <c:v>42038</c:v>
                </c:pt>
                <c:pt idx="181">
                  <c:v>42039</c:v>
                </c:pt>
                <c:pt idx="182">
                  <c:v>42040</c:v>
                </c:pt>
                <c:pt idx="183">
                  <c:v>42041</c:v>
                </c:pt>
                <c:pt idx="184">
                  <c:v>42044</c:v>
                </c:pt>
                <c:pt idx="185">
                  <c:v>42045</c:v>
                </c:pt>
                <c:pt idx="186">
                  <c:v>42046</c:v>
                </c:pt>
                <c:pt idx="187">
                  <c:v>42047</c:v>
                </c:pt>
                <c:pt idx="188">
                  <c:v>42048</c:v>
                </c:pt>
                <c:pt idx="189">
                  <c:v>42051</c:v>
                </c:pt>
                <c:pt idx="190">
                  <c:v>42052</c:v>
                </c:pt>
                <c:pt idx="191">
                  <c:v>42053</c:v>
                </c:pt>
                <c:pt idx="192">
                  <c:v>42054</c:v>
                </c:pt>
                <c:pt idx="193">
                  <c:v>42055</c:v>
                </c:pt>
                <c:pt idx="194">
                  <c:v>42058</c:v>
                </c:pt>
                <c:pt idx="195">
                  <c:v>42059</c:v>
                </c:pt>
                <c:pt idx="196">
                  <c:v>42060</c:v>
                </c:pt>
                <c:pt idx="197">
                  <c:v>42061</c:v>
                </c:pt>
                <c:pt idx="198">
                  <c:v>42062</c:v>
                </c:pt>
                <c:pt idx="199">
                  <c:v>42065</c:v>
                </c:pt>
                <c:pt idx="200">
                  <c:v>42066</c:v>
                </c:pt>
                <c:pt idx="201">
                  <c:v>42067</c:v>
                </c:pt>
                <c:pt idx="202">
                  <c:v>42068</c:v>
                </c:pt>
                <c:pt idx="203">
                  <c:v>42069</c:v>
                </c:pt>
                <c:pt idx="204">
                  <c:v>42072</c:v>
                </c:pt>
                <c:pt idx="205">
                  <c:v>42073</c:v>
                </c:pt>
                <c:pt idx="206">
                  <c:v>42074</c:v>
                </c:pt>
                <c:pt idx="207">
                  <c:v>42075</c:v>
                </c:pt>
                <c:pt idx="208">
                  <c:v>42076</c:v>
                </c:pt>
                <c:pt idx="209">
                  <c:v>42079</c:v>
                </c:pt>
                <c:pt idx="210">
                  <c:v>42080</c:v>
                </c:pt>
                <c:pt idx="211">
                  <c:v>42081</c:v>
                </c:pt>
                <c:pt idx="212">
                  <c:v>42082</c:v>
                </c:pt>
                <c:pt idx="213">
                  <c:v>42083</c:v>
                </c:pt>
                <c:pt idx="214">
                  <c:v>42086</c:v>
                </c:pt>
                <c:pt idx="215">
                  <c:v>42087</c:v>
                </c:pt>
                <c:pt idx="216">
                  <c:v>42088</c:v>
                </c:pt>
                <c:pt idx="217">
                  <c:v>42089</c:v>
                </c:pt>
                <c:pt idx="218">
                  <c:v>42090</c:v>
                </c:pt>
                <c:pt idx="219">
                  <c:v>42093</c:v>
                </c:pt>
                <c:pt idx="220">
                  <c:v>42094</c:v>
                </c:pt>
                <c:pt idx="221">
                  <c:v>42095</c:v>
                </c:pt>
                <c:pt idx="222">
                  <c:v>42096</c:v>
                </c:pt>
                <c:pt idx="223">
                  <c:v>42097</c:v>
                </c:pt>
                <c:pt idx="224">
                  <c:v>42100</c:v>
                </c:pt>
                <c:pt idx="225">
                  <c:v>42101</c:v>
                </c:pt>
                <c:pt idx="226">
                  <c:v>42102</c:v>
                </c:pt>
                <c:pt idx="227">
                  <c:v>42103</c:v>
                </c:pt>
                <c:pt idx="228">
                  <c:v>42104</c:v>
                </c:pt>
                <c:pt idx="229">
                  <c:v>42107</c:v>
                </c:pt>
                <c:pt idx="230">
                  <c:v>42108</c:v>
                </c:pt>
                <c:pt idx="231">
                  <c:v>42109</c:v>
                </c:pt>
                <c:pt idx="232">
                  <c:v>42110</c:v>
                </c:pt>
                <c:pt idx="233">
                  <c:v>42111</c:v>
                </c:pt>
                <c:pt idx="234">
                  <c:v>42114</c:v>
                </c:pt>
                <c:pt idx="235">
                  <c:v>42115</c:v>
                </c:pt>
                <c:pt idx="236">
                  <c:v>42116</c:v>
                </c:pt>
                <c:pt idx="237">
                  <c:v>42117</c:v>
                </c:pt>
                <c:pt idx="238">
                  <c:v>42118</c:v>
                </c:pt>
                <c:pt idx="239">
                  <c:v>42121</c:v>
                </c:pt>
                <c:pt idx="240">
                  <c:v>42122</c:v>
                </c:pt>
                <c:pt idx="241">
                  <c:v>42123</c:v>
                </c:pt>
                <c:pt idx="242">
                  <c:v>42124</c:v>
                </c:pt>
                <c:pt idx="243">
                  <c:v>42125</c:v>
                </c:pt>
                <c:pt idx="244">
                  <c:v>42128</c:v>
                </c:pt>
                <c:pt idx="245">
                  <c:v>42129</c:v>
                </c:pt>
                <c:pt idx="246">
                  <c:v>42130</c:v>
                </c:pt>
                <c:pt idx="247">
                  <c:v>42131</c:v>
                </c:pt>
                <c:pt idx="248">
                  <c:v>42132</c:v>
                </c:pt>
                <c:pt idx="249">
                  <c:v>42135</c:v>
                </c:pt>
                <c:pt idx="250">
                  <c:v>42136</c:v>
                </c:pt>
                <c:pt idx="251">
                  <c:v>42137</c:v>
                </c:pt>
                <c:pt idx="252">
                  <c:v>42138</c:v>
                </c:pt>
                <c:pt idx="253">
                  <c:v>42139</c:v>
                </c:pt>
                <c:pt idx="254">
                  <c:v>42142</c:v>
                </c:pt>
                <c:pt idx="255">
                  <c:v>42143</c:v>
                </c:pt>
                <c:pt idx="256">
                  <c:v>42144</c:v>
                </c:pt>
                <c:pt idx="257">
                  <c:v>42145</c:v>
                </c:pt>
                <c:pt idx="258">
                  <c:v>42146</c:v>
                </c:pt>
                <c:pt idx="259">
                  <c:v>42149</c:v>
                </c:pt>
                <c:pt idx="260">
                  <c:v>42150</c:v>
                </c:pt>
                <c:pt idx="261">
                  <c:v>42151</c:v>
                </c:pt>
                <c:pt idx="262">
                  <c:v>42152</c:v>
                </c:pt>
                <c:pt idx="263">
                  <c:v>42153</c:v>
                </c:pt>
                <c:pt idx="264">
                  <c:v>42156</c:v>
                </c:pt>
                <c:pt idx="265">
                  <c:v>42157</c:v>
                </c:pt>
                <c:pt idx="266">
                  <c:v>42158</c:v>
                </c:pt>
                <c:pt idx="267">
                  <c:v>42159</c:v>
                </c:pt>
                <c:pt idx="268">
                  <c:v>42160</c:v>
                </c:pt>
                <c:pt idx="269">
                  <c:v>42163</c:v>
                </c:pt>
                <c:pt idx="270">
                  <c:v>42164</c:v>
                </c:pt>
                <c:pt idx="271">
                  <c:v>42165</c:v>
                </c:pt>
                <c:pt idx="272">
                  <c:v>42166</c:v>
                </c:pt>
                <c:pt idx="273">
                  <c:v>42167</c:v>
                </c:pt>
                <c:pt idx="274">
                  <c:v>42170</c:v>
                </c:pt>
                <c:pt idx="275">
                  <c:v>42171</c:v>
                </c:pt>
                <c:pt idx="276">
                  <c:v>42172</c:v>
                </c:pt>
                <c:pt idx="277">
                  <c:v>42173</c:v>
                </c:pt>
                <c:pt idx="278">
                  <c:v>42174</c:v>
                </c:pt>
                <c:pt idx="279">
                  <c:v>42177</c:v>
                </c:pt>
                <c:pt idx="280">
                  <c:v>42178</c:v>
                </c:pt>
                <c:pt idx="281">
                  <c:v>42179</c:v>
                </c:pt>
                <c:pt idx="282">
                  <c:v>42180</c:v>
                </c:pt>
                <c:pt idx="283">
                  <c:v>42181</c:v>
                </c:pt>
                <c:pt idx="284">
                  <c:v>42184</c:v>
                </c:pt>
                <c:pt idx="285">
                  <c:v>42185</c:v>
                </c:pt>
                <c:pt idx="286">
                  <c:v>42186</c:v>
                </c:pt>
                <c:pt idx="287">
                  <c:v>42187</c:v>
                </c:pt>
                <c:pt idx="288">
                  <c:v>42188</c:v>
                </c:pt>
                <c:pt idx="289">
                  <c:v>42191</c:v>
                </c:pt>
                <c:pt idx="290">
                  <c:v>42192</c:v>
                </c:pt>
                <c:pt idx="291">
                  <c:v>42193</c:v>
                </c:pt>
                <c:pt idx="292">
                  <c:v>42194</c:v>
                </c:pt>
                <c:pt idx="293">
                  <c:v>42195</c:v>
                </c:pt>
                <c:pt idx="294">
                  <c:v>42198</c:v>
                </c:pt>
                <c:pt idx="295">
                  <c:v>42199</c:v>
                </c:pt>
                <c:pt idx="296">
                  <c:v>42200</c:v>
                </c:pt>
                <c:pt idx="297">
                  <c:v>42201</c:v>
                </c:pt>
                <c:pt idx="298">
                  <c:v>42202</c:v>
                </c:pt>
                <c:pt idx="299">
                  <c:v>42205</c:v>
                </c:pt>
                <c:pt idx="300">
                  <c:v>42206</c:v>
                </c:pt>
                <c:pt idx="301">
                  <c:v>42207</c:v>
                </c:pt>
                <c:pt idx="302">
                  <c:v>42208</c:v>
                </c:pt>
                <c:pt idx="303">
                  <c:v>42209</c:v>
                </c:pt>
                <c:pt idx="304">
                  <c:v>42212</c:v>
                </c:pt>
                <c:pt idx="305">
                  <c:v>42213</c:v>
                </c:pt>
                <c:pt idx="306">
                  <c:v>42214</c:v>
                </c:pt>
                <c:pt idx="307">
                  <c:v>42215</c:v>
                </c:pt>
                <c:pt idx="308">
                  <c:v>42216</c:v>
                </c:pt>
                <c:pt idx="309">
                  <c:v>42219</c:v>
                </c:pt>
                <c:pt idx="310">
                  <c:v>42220</c:v>
                </c:pt>
                <c:pt idx="311">
                  <c:v>42221</c:v>
                </c:pt>
                <c:pt idx="312">
                  <c:v>42222</c:v>
                </c:pt>
                <c:pt idx="313">
                  <c:v>42223</c:v>
                </c:pt>
                <c:pt idx="314">
                  <c:v>42226</c:v>
                </c:pt>
                <c:pt idx="315">
                  <c:v>42227</c:v>
                </c:pt>
                <c:pt idx="316">
                  <c:v>42228</c:v>
                </c:pt>
                <c:pt idx="317">
                  <c:v>42229</c:v>
                </c:pt>
                <c:pt idx="318">
                  <c:v>42230</c:v>
                </c:pt>
                <c:pt idx="319">
                  <c:v>42233</c:v>
                </c:pt>
                <c:pt idx="320">
                  <c:v>42234</c:v>
                </c:pt>
                <c:pt idx="321">
                  <c:v>42235</c:v>
                </c:pt>
                <c:pt idx="322">
                  <c:v>42236</c:v>
                </c:pt>
                <c:pt idx="323">
                  <c:v>42237</c:v>
                </c:pt>
                <c:pt idx="324">
                  <c:v>42240</c:v>
                </c:pt>
                <c:pt idx="325">
                  <c:v>42241</c:v>
                </c:pt>
                <c:pt idx="326">
                  <c:v>42242</c:v>
                </c:pt>
                <c:pt idx="327">
                  <c:v>42243</c:v>
                </c:pt>
                <c:pt idx="328">
                  <c:v>42244</c:v>
                </c:pt>
                <c:pt idx="329">
                  <c:v>42247</c:v>
                </c:pt>
                <c:pt idx="330">
                  <c:v>42248</c:v>
                </c:pt>
                <c:pt idx="331">
                  <c:v>42249</c:v>
                </c:pt>
                <c:pt idx="332">
                  <c:v>42250</c:v>
                </c:pt>
                <c:pt idx="333">
                  <c:v>42251</c:v>
                </c:pt>
                <c:pt idx="334">
                  <c:v>42254</c:v>
                </c:pt>
                <c:pt idx="335">
                  <c:v>42255</c:v>
                </c:pt>
                <c:pt idx="336">
                  <c:v>42256</c:v>
                </c:pt>
                <c:pt idx="337">
                  <c:v>42257</c:v>
                </c:pt>
                <c:pt idx="338">
                  <c:v>42258</c:v>
                </c:pt>
                <c:pt idx="339">
                  <c:v>42261</c:v>
                </c:pt>
                <c:pt idx="340">
                  <c:v>42262</c:v>
                </c:pt>
                <c:pt idx="341">
                  <c:v>42263</c:v>
                </c:pt>
                <c:pt idx="342">
                  <c:v>42264</c:v>
                </c:pt>
                <c:pt idx="343">
                  <c:v>42265</c:v>
                </c:pt>
                <c:pt idx="344">
                  <c:v>42268</c:v>
                </c:pt>
                <c:pt idx="345">
                  <c:v>42269</c:v>
                </c:pt>
                <c:pt idx="346">
                  <c:v>42270</c:v>
                </c:pt>
                <c:pt idx="347">
                  <c:v>42271</c:v>
                </c:pt>
                <c:pt idx="348">
                  <c:v>42272</c:v>
                </c:pt>
                <c:pt idx="349">
                  <c:v>42275</c:v>
                </c:pt>
                <c:pt idx="350">
                  <c:v>42276</c:v>
                </c:pt>
                <c:pt idx="351">
                  <c:v>42277</c:v>
                </c:pt>
                <c:pt idx="352">
                  <c:v>42278</c:v>
                </c:pt>
                <c:pt idx="353">
                  <c:v>42279</c:v>
                </c:pt>
                <c:pt idx="354">
                  <c:v>42282</c:v>
                </c:pt>
                <c:pt idx="355">
                  <c:v>42283</c:v>
                </c:pt>
                <c:pt idx="356">
                  <c:v>42284</c:v>
                </c:pt>
                <c:pt idx="357">
                  <c:v>42285</c:v>
                </c:pt>
                <c:pt idx="358">
                  <c:v>42286</c:v>
                </c:pt>
                <c:pt idx="359">
                  <c:v>42289</c:v>
                </c:pt>
                <c:pt idx="360">
                  <c:v>42290</c:v>
                </c:pt>
                <c:pt idx="361">
                  <c:v>42291</c:v>
                </c:pt>
                <c:pt idx="362">
                  <c:v>42292</c:v>
                </c:pt>
                <c:pt idx="363">
                  <c:v>42293</c:v>
                </c:pt>
                <c:pt idx="364">
                  <c:v>42296</c:v>
                </c:pt>
                <c:pt idx="365">
                  <c:v>42297</c:v>
                </c:pt>
                <c:pt idx="366">
                  <c:v>42298</c:v>
                </c:pt>
                <c:pt idx="367">
                  <c:v>42299</c:v>
                </c:pt>
                <c:pt idx="368">
                  <c:v>42300</c:v>
                </c:pt>
                <c:pt idx="369">
                  <c:v>42303</c:v>
                </c:pt>
                <c:pt idx="370">
                  <c:v>42304</c:v>
                </c:pt>
                <c:pt idx="371">
                  <c:v>42305</c:v>
                </c:pt>
                <c:pt idx="372">
                  <c:v>42306</c:v>
                </c:pt>
                <c:pt idx="373">
                  <c:v>42307</c:v>
                </c:pt>
                <c:pt idx="374">
                  <c:v>42310</c:v>
                </c:pt>
                <c:pt idx="375">
                  <c:v>42311</c:v>
                </c:pt>
                <c:pt idx="376">
                  <c:v>42312</c:v>
                </c:pt>
                <c:pt idx="377">
                  <c:v>42313</c:v>
                </c:pt>
                <c:pt idx="378">
                  <c:v>42314</c:v>
                </c:pt>
                <c:pt idx="379">
                  <c:v>42317</c:v>
                </c:pt>
                <c:pt idx="380">
                  <c:v>42318</c:v>
                </c:pt>
                <c:pt idx="381">
                  <c:v>42319</c:v>
                </c:pt>
                <c:pt idx="382">
                  <c:v>42320</c:v>
                </c:pt>
                <c:pt idx="383">
                  <c:v>42321</c:v>
                </c:pt>
                <c:pt idx="384">
                  <c:v>42324</c:v>
                </c:pt>
                <c:pt idx="385">
                  <c:v>42325</c:v>
                </c:pt>
                <c:pt idx="386">
                  <c:v>42326</c:v>
                </c:pt>
                <c:pt idx="387">
                  <c:v>42327</c:v>
                </c:pt>
                <c:pt idx="388">
                  <c:v>42328</c:v>
                </c:pt>
                <c:pt idx="389">
                  <c:v>42331</c:v>
                </c:pt>
                <c:pt idx="390">
                  <c:v>42332</c:v>
                </c:pt>
                <c:pt idx="391">
                  <c:v>42333</c:v>
                </c:pt>
                <c:pt idx="392">
                  <c:v>42334</c:v>
                </c:pt>
                <c:pt idx="393">
                  <c:v>42335</c:v>
                </c:pt>
                <c:pt idx="394">
                  <c:v>42338</c:v>
                </c:pt>
                <c:pt idx="395">
                  <c:v>42339</c:v>
                </c:pt>
                <c:pt idx="396">
                  <c:v>42340</c:v>
                </c:pt>
                <c:pt idx="397">
                  <c:v>42341</c:v>
                </c:pt>
                <c:pt idx="398">
                  <c:v>42342</c:v>
                </c:pt>
                <c:pt idx="399">
                  <c:v>42345</c:v>
                </c:pt>
                <c:pt idx="400">
                  <c:v>42346</c:v>
                </c:pt>
                <c:pt idx="401">
                  <c:v>42347</c:v>
                </c:pt>
                <c:pt idx="402">
                  <c:v>42348</c:v>
                </c:pt>
                <c:pt idx="403">
                  <c:v>42349</c:v>
                </c:pt>
                <c:pt idx="404">
                  <c:v>42352</c:v>
                </c:pt>
                <c:pt idx="405">
                  <c:v>42353</c:v>
                </c:pt>
                <c:pt idx="406">
                  <c:v>42354</c:v>
                </c:pt>
                <c:pt idx="407">
                  <c:v>42355</c:v>
                </c:pt>
                <c:pt idx="408">
                  <c:v>42356</c:v>
                </c:pt>
                <c:pt idx="409">
                  <c:v>42359</c:v>
                </c:pt>
                <c:pt idx="410">
                  <c:v>42360</c:v>
                </c:pt>
                <c:pt idx="411">
                  <c:v>42361</c:v>
                </c:pt>
                <c:pt idx="412">
                  <c:v>42362</c:v>
                </c:pt>
                <c:pt idx="413">
                  <c:v>42363</c:v>
                </c:pt>
                <c:pt idx="414">
                  <c:v>42366</c:v>
                </c:pt>
                <c:pt idx="415">
                  <c:v>42367</c:v>
                </c:pt>
                <c:pt idx="416">
                  <c:v>42368</c:v>
                </c:pt>
                <c:pt idx="417">
                  <c:v>42369</c:v>
                </c:pt>
                <c:pt idx="418">
                  <c:v>42370</c:v>
                </c:pt>
                <c:pt idx="419">
                  <c:v>42373</c:v>
                </c:pt>
                <c:pt idx="420">
                  <c:v>42374</c:v>
                </c:pt>
                <c:pt idx="421">
                  <c:v>42375</c:v>
                </c:pt>
                <c:pt idx="422">
                  <c:v>42376</c:v>
                </c:pt>
                <c:pt idx="423">
                  <c:v>42377</c:v>
                </c:pt>
                <c:pt idx="424">
                  <c:v>42380</c:v>
                </c:pt>
                <c:pt idx="425">
                  <c:v>42381</c:v>
                </c:pt>
                <c:pt idx="426">
                  <c:v>42382</c:v>
                </c:pt>
                <c:pt idx="427">
                  <c:v>42383</c:v>
                </c:pt>
                <c:pt idx="428">
                  <c:v>42384</c:v>
                </c:pt>
                <c:pt idx="429">
                  <c:v>42387</c:v>
                </c:pt>
                <c:pt idx="430">
                  <c:v>42388</c:v>
                </c:pt>
                <c:pt idx="431">
                  <c:v>42389</c:v>
                </c:pt>
                <c:pt idx="432">
                  <c:v>42390</c:v>
                </c:pt>
                <c:pt idx="433">
                  <c:v>42391</c:v>
                </c:pt>
                <c:pt idx="434">
                  <c:v>42394</c:v>
                </c:pt>
                <c:pt idx="435">
                  <c:v>42395</c:v>
                </c:pt>
                <c:pt idx="436">
                  <c:v>42396</c:v>
                </c:pt>
                <c:pt idx="437">
                  <c:v>42397</c:v>
                </c:pt>
                <c:pt idx="438">
                  <c:v>42398</c:v>
                </c:pt>
                <c:pt idx="439">
                  <c:v>42401</c:v>
                </c:pt>
                <c:pt idx="440">
                  <c:v>42402</c:v>
                </c:pt>
                <c:pt idx="441">
                  <c:v>42403</c:v>
                </c:pt>
                <c:pt idx="442">
                  <c:v>42404</c:v>
                </c:pt>
                <c:pt idx="443">
                  <c:v>42405</c:v>
                </c:pt>
                <c:pt idx="444">
                  <c:v>42408</c:v>
                </c:pt>
                <c:pt idx="445">
                  <c:v>42409</c:v>
                </c:pt>
                <c:pt idx="446">
                  <c:v>42410</c:v>
                </c:pt>
                <c:pt idx="447">
                  <c:v>42411</c:v>
                </c:pt>
                <c:pt idx="448">
                  <c:v>42412</c:v>
                </c:pt>
                <c:pt idx="449">
                  <c:v>42415</c:v>
                </c:pt>
                <c:pt idx="450">
                  <c:v>42416</c:v>
                </c:pt>
                <c:pt idx="451">
                  <c:v>42417</c:v>
                </c:pt>
                <c:pt idx="452">
                  <c:v>42418</c:v>
                </c:pt>
                <c:pt idx="453">
                  <c:v>42419</c:v>
                </c:pt>
                <c:pt idx="454">
                  <c:v>42422</c:v>
                </c:pt>
                <c:pt idx="455">
                  <c:v>42423</c:v>
                </c:pt>
                <c:pt idx="456">
                  <c:v>42424</c:v>
                </c:pt>
                <c:pt idx="457">
                  <c:v>42425</c:v>
                </c:pt>
                <c:pt idx="458">
                  <c:v>42426</c:v>
                </c:pt>
                <c:pt idx="459">
                  <c:v>42429</c:v>
                </c:pt>
                <c:pt idx="460">
                  <c:v>42430</c:v>
                </c:pt>
                <c:pt idx="461">
                  <c:v>42431</c:v>
                </c:pt>
                <c:pt idx="462">
                  <c:v>42432</c:v>
                </c:pt>
                <c:pt idx="463">
                  <c:v>42433</c:v>
                </c:pt>
                <c:pt idx="464">
                  <c:v>42436</c:v>
                </c:pt>
                <c:pt idx="465">
                  <c:v>42437</c:v>
                </c:pt>
                <c:pt idx="466">
                  <c:v>42438</c:v>
                </c:pt>
                <c:pt idx="467">
                  <c:v>42439</c:v>
                </c:pt>
                <c:pt idx="468">
                  <c:v>42440</c:v>
                </c:pt>
                <c:pt idx="469">
                  <c:v>42443</c:v>
                </c:pt>
                <c:pt idx="470">
                  <c:v>42444</c:v>
                </c:pt>
                <c:pt idx="471">
                  <c:v>42445</c:v>
                </c:pt>
                <c:pt idx="472">
                  <c:v>42446</c:v>
                </c:pt>
                <c:pt idx="473">
                  <c:v>42447</c:v>
                </c:pt>
                <c:pt idx="474">
                  <c:v>42450</c:v>
                </c:pt>
                <c:pt idx="475">
                  <c:v>42451</c:v>
                </c:pt>
                <c:pt idx="476">
                  <c:v>42452</c:v>
                </c:pt>
                <c:pt idx="477">
                  <c:v>42453</c:v>
                </c:pt>
                <c:pt idx="478">
                  <c:v>42454</c:v>
                </c:pt>
                <c:pt idx="479">
                  <c:v>42457</c:v>
                </c:pt>
                <c:pt idx="480">
                  <c:v>42458</c:v>
                </c:pt>
                <c:pt idx="481">
                  <c:v>42459</c:v>
                </c:pt>
                <c:pt idx="482">
                  <c:v>42460</c:v>
                </c:pt>
                <c:pt idx="483">
                  <c:v>42461</c:v>
                </c:pt>
                <c:pt idx="484">
                  <c:v>42464</c:v>
                </c:pt>
                <c:pt idx="485">
                  <c:v>42465</c:v>
                </c:pt>
                <c:pt idx="486">
                  <c:v>42466</c:v>
                </c:pt>
                <c:pt idx="487">
                  <c:v>42467</c:v>
                </c:pt>
                <c:pt idx="488">
                  <c:v>42468</c:v>
                </c:pt>
                <c:pt idx="489">
                  <c:v>42471</c:v>
                </c:pt>
                <c:pt idx="490">
                  <c:v>42472</c:v>
                </c:pt>
                <c:pt idx="491">
                  <c:v>42473</c:v>
                </c:pt>
                <c:pt idx="492">
                  <c:v>42474</c:v>
                </c:pt>
                <c:pt idx="493">
                  <c:v>42475</c:v>
                </c:pt>
                <c:pt idx="494">
                  <c:v>42478</c:v>
                </c:pt>
                <c:pt idx="495">
                  <c:v>42479</c:v>
                </c:pt>
                <c:pt idx="496">
                  <c:v>42480</c:v>
                </c:pt>
                <c:pt idx="497">
                  <c:v>42481</c:v>
                </c:pt>
                <c:pt idx="498">
                  <c:v>42482</c:v>
                </c:pt>
                <c:pt idx="499">
                  <c:v>42485</c:v>
                </c:pt>
                <c:pt idx="500">
                  <c:v>42486</c:v>
                </c:pt>
                <c:pt idx="501">
                  <c:v>42487</c:v>
                </c:pt>
                <c:pt idx="502">
                  <c:v>42488</c:v>
                </c:pt>
                <c:pt idx="503">
                  <c:v>42489</c:v>
                </c:pt>
                <c:pt idx="504">
                  <c:v>42492</c:v>
                </c:pt>
                <c:pt idx="505">
                  <c:v>42493</c:v>
                </c:pt>
                <c:pt idx="506">
                  <c:v>42494</c:v>
                </c:pt>
                <c:pt idx="507">
                  <c:v>42495</c:v>
                </c:pt>
                <c:pt idx="508">
                  <c:v>42496</c:v>
                </c:pt>
                <c:pt idx="509">
                  <c:v>42499</c:v>
                </c:pt>
                <c:pt idx="510">
                  <c:v>42500</c:v>
                </c:pt>
                <c:pt idx="511">
                  <c:v>42501</c:v>
                </c:pt>
                <c:pt idx="512">
                  <c:v>42502</c:v>
                </c:pt>
                <c:pt idx="513">
                  <c:v>42503</c:v>
                </c:pt>
                <c:pt idx="514">
                  <c:v>42506</c:v>
                </c:pt>
                <c:pt idx="515">
                  <c:v>42507</c:v>
                </c:pt>
                <c:pt idx="516">
                  <c:v>42508</c:v>
                </c:pt>
                <c:pt idx="517">
                  <c:v>42509</c:v>
                </c:pt>
                <c:pt idx="518">
                  <c:v>42510</c:v>
                </c:pt>
                <c:pt idx="519">
                  <c:v>42513</c:v>
                </c:pt>
                <c:pt idx="520">
                  <c:v>42514</c:v>
                </c:pt>
                <c:pt idx="521">
                  <c:v>42515</c:v>
                </c:pt>
                <c:pt idx="522">
                  <c:v>42516</c:v>
                </c:pt>
                <c:pt idx="523">
                  <c:v>42517</c:v>
                </c:pt>
                <c:pt idx="524">
                  <c:v>42520</c:v>
                </c:pt>
                <c:pt idx="525">
                  <c:v>42521</c:v>
                </c:pt>
                <c:pt idx="526">
                  <c:v>42522</c:v>
                </c:pt>
                <c:pt idx="527">
                  <c:v>42523</c:v>
                </c:pt>
                <c:pt idx="528">
                  <c:v>42524</c:v>
                </c:pt>
                <c:pt idx="529">
                  <c:v>42527</c:v>
                </c:pt>
                <c:pt idx="530">
                  <c:v>42528</c:v>
                </c:pt>
                <c:pt idx="531">
                  <c:v>42529</c:v>
                </c:pt>
                <c:pt idx="532">
                  <c:v>42530</c:v>
                </c:pt>
                <c:pt idx="533">
                  <c:v>42531</c:v>
                </c:pt>
                <c:pt idx="534">
                  <c:v>42534</c:v>
                </c:pt>
                <c:pt idx="535">
                  <c:v>42535</c:v>
                </c:pt>
                <c:pt idx="536">
                  <c:v>42536</c:v>
                </c:pt>
                <c:pt idx="537">
                  <c:v>42537</c:v>
                </c:pt>
                <c:pt idx="538">
                  <c:v>42538</c:v>
                </c:pt>
                <c:pt idx="539">
                  <c:v>42541</c:v>
                </c:pt>
                <c:pt idx="540">
                  <c:v>42542</c:v>
                </c:pt>
                <c:pt idx="541">
                  <c:v>42543</c:v>
                </c:pt>
                <c:pt idx="542">
                  <c:v>42544</c:v>
                </c:pt>
                <c:pt idx="543">
                  <c:v>42545</c:v>
                </c:pt>
                <c:pt idx="544">
                  <c:v>42548</c:v>
                </c:pt>
                <c:pt idx="545">
                  <c:v>42549</c:v>
                </c:pt>
                <c:pt idx="546">
                  <c:v>42550</c:v>
                </c:pt>
                <c:pt idx="547">
                  <c:v>42551</c:v>
                </c:pt>
                <c:pt idx="548">
                  <c:v>42552</c:v>
                </c:pt>
                <c:pt idx="549">
                  <c:v>42555</c:v>
                </c:pt>
                <c:pt idx="550">
                  <c:v>42556</c:v>
                </c:pt>
                <c:pt idx="551">
                  <c:v>42557</c:v>
                </c:pt>
                <c:pt idx="552">
                  <c:v>42558</c:v>
                </c:pt>
                <c:pt idx="553">
                  <c:v>42559</c:v>
                </c:pt>
                <c:pt idx="554">
                  <c:v>42562</c:v>
                </c:pt>
                <c:pt idx="555">
                  <c:v>42563</c:v>
                </c:pt>
                <c:pt idx="556">
                  <c:v>42564</c:v>
                </c:pt>
                <c:pt idx="557">
                  <c:v>42565</c:v>
                </c:pt>
                <c:pt idx="558">
                  <c:v>42566</c:v>
                </c:pt>
                <c:pt idx="559">
                  <c:v>42569</c:v>
                </c:pt>
                <c:pt idx="560">
                  <c:v>42570</c:v>
                </c:pt>
                <c:pt idx="561">
                  <c:v>42571</c:v>
                </c:pt>
                <c:pt idx="562">
                  <c:v>42572</c:v>
                </c:pt>
                <c:pt idx="563">
                  <c:v>42573</c:v>
                </c:pt>
                <c:pt idx="564">
                  <c:v>42576</c:v>
                </c:pt>
                <c:pt idx="565">
                  <c:v>42577</c:v>
                </c:pt>
                <c:pt idx="566">
                  <c:v>42578</c:v>
                </c:pt>
                <c:pt idx="567">
                  <c:v>42579</c:v>
                </c:pt>
                <c:pt idx="568">
                  <c:v>42580</c:v>
                </c:pt>
                <c:pt idx="569">
                  <c:v>42583</c:v>
                </c:pt>
                <c:pt idx="570">
                  <c:v>42584</c:v>
                </c:pt>
                <c:pt idx="571">
                  <c:v>42585</c:v>
                </c:pt>
                <c:pt idx="572">
                  <c:v>42586</c:v>
                </c:pt>
                <c:pt idx="573">
                  <c:v>42587</c:v>
                </c:pt>
                <c:pt idx="574">
                  <c:v>42590</c:v>
                </c:pt>
                <c:pt idx="575">
                  <c:v>42591</c:v>
                </c:pt>
                <c:pt idx="576">
                  <c:v>42592</c:v>
                </c:pt>
                <c:pt idx="577">
                  <c:v>42593</c:v>
                </c:pt>
                <c:pt idx="578">
                  <c:v>42594</c:v>
                </c:pt>
                <c:pt idx="579">
                  <c:v>42597</c:v>
                </c:pt>
                <c:pt idx="580">
                  <c:v>42598</c:v>
                </c:pt>
                <c:pt idx="581">
                  <c:v>42599</c:v>
                </c:pt>
                <c:pt idx="582">
                  <c:v>42600</c:v>
                </c:pt>
                <c:pt idx="583">
                  <c:v>42601</c:v>
                </c:pt>
                <c:pt idx="584">
                  <c:v>42604</c:v>
                </c:pt>
                <c:pt idx="585">
                  <c:v>42605</c:v>
                </c:pt>
                <c:pt idx="586">
                  <c:v>42606</c:v>
                </c:pt>
                <c:pt idx="587">
                  <c:v>42607</c:v>
                </c:pt>
                <c:pt idx="588">
                  <c:v>42608</c:v>
                </c:pt>
                <c:pt idx="589">
                  <c:v>42611</c:v>
                </c:pt>
                <c:pt idx="590">
                  <c:v>42612</c:v>
                </c:pt>
                <c:pt idx="591">
                  <c:v>42613</c:v>
                </c:pt>
                <c:pt idx="592">
                  <c:v>42614</c:v>
                </c:pt>
                <c:pt idx="593">
                  <c:v>42615</c:v>
                </c:pt>
                <c:pt idx="594">
                  <c:v>42618</c:v>
                </c:pt>
                <c:pt idx="595">
                  <c:v>42619</c:v>
                </c:pt>
                <c:pt idx="596">
                  <c:v>42620</c:v>
                </c:pt>
                <c:pt idx="597">
                  <c:v>42621</c:v>
                </c:pt>
                <c:pt idx="598">
                  <c:v>42622</c:v>
                </c:pt>
                <c:pt idx="599">
                  <c:v>42625</c:v>
                </c:pt>
                <c:pt idx="600">
                  <c:v>42626</c:v>
                </c:pt>
                <c:pt idx="601">
                  <c:v>42627</c:v>
                </c:pt>
                <c:pt idx="602">
                  <c:v>42628</c:v>
                </c:pt>
                <c:pt idx="603">
                  <c:v>42629</c:v>
                </c:pt>
                <c:pt idx="604">
                  <c:v>42632</c:v>
                </c:pt>
                <c:pt idx="605">
                  <c:v>42633</c:v>
                </c:pt>
                <c:pt idx="606">
                  <c:v>42634</c:v>
                </c:pt>
                <c:pt idx="607">
                  <c:v>42635</c:v>
                </c:pt>
                <c:pt idx="608">
                  <c:v>42636</c:v>
                </c:pt>
                <c:pt idx="609">
                  <c:v>42639</c:v>
                </c:pt>
                <c:pt idx="610">
                  <c:v>42640</c:v>
                </c:pt>
                <c:pt idx="611">
                  <c:v>42641</c:v>
                </c:pt>
                <c:pt idx="612">
                  <c:v>42642</c:v>
                </c:pt>
                <c:pt idx="613">
                  <c:v>42643</c:v>
                </c:pt>
                <c:pt idx="614">
                  <c:v>42646</c:v>
                </c:pt>
                <c:pt idx="615">
                  <c:v>42647</c:v>
                </c:pt>
                <c:pt idx="616">
                  <c:v>42648</c:v>
                </c:pt>
                <c:pt idx="617">
                  <c:v>42649</c:v>
                </c:pt>
                <c:pt idx="618">
                  <c:v>42650</c:v>
                </c:pt>
                <c:pt idx="619">
                  <c:v>42653</c:v>
                </c:pt>
                <c:pt idx="620">
                  <c:v>42654</c:v>
                </c:pt>
                <c:pt idx="621">
                  <c:v>42655</c:v>
                </c:pt>
                <c:pt idx="622">
                  <c:v>42656</c:v>
                </c:pt>
                <c:pt idx="623">
                  <c:v>42657</c:v>
                </c:pt>
                <c:pt idx="624">
                  <c:v>42660</c:v>
                </c:pt>
                <c:pt idx="625">
                  <c:v>42661</c:v>
                </c:pt>
                <c:pt idx="626">
                  <c:v>42662</c:v>
                </c:pt>
                <c:pt idx="627">
                  <c:v>42663</c:v>
                </c:pt>
                <c:pt idx="628">
                  <c:v>42664</c:v>
                </c:pt>
                <c:pt idx="629">
                  <c:v>42667</c:v>
                </c:pt>
                <c:pt idx="630">
                  <c:v>42668</c:v>
                </c:pt>
                <c:pt idx="631">
                  <c:v>42669</c:v>
                </c:pt>
                <c:pt idx="632">
                  <c:v>42670</c:v>
                </c:pt>
                <c:pt idx="633">
                  <c:v>42671</c:v>
                </c:pt>
                <c:pt idx="634">
                  <c:v>42674</c:v>
                </c:pt>
                <c:pt idx="635">
                  <c:v>42675</c:v>
                </c:pt>
                <c:pt idx="636">
                  <c:v>42676</c:v>
                </c:pt>
                <c:pt idx="637">
                  <c:v>42677</c:v>
                </c:pt>
                <c:pt idx="638">
                  <c:v>42678</c:v>
                </c:pt>
                <c:pt idx="639">
                  <c:v>42681</c:v>
                </c:pt>
                <c:pt idx="640">
                  <c:v>42682</c:v>
                </c:pt>
                <c:pt idx="641">
                  <c:v>42683</c:v>
                </c:pt>
                <c:pt idx="642">
                  <c:v>42684</c:v>
                </c:pt>
                <c:pt idx="643">
                  <c:v>42685</c:v>
                </c:pt>
                <c:pt idx="644">
                  <c:v>42688</c:v>
                </c:pt>
                <c:pt idx="645">
                  <c:v>42689</c:v>
                </c:pt>
                <c:pt idx="646">
                  <c:v>42690</c:v>
                </c:pt>
                <c:pt idx="647">
                  <c:v>42691</c:v>
                </c:pt>
                <c:pt idx="648">
                  <c:v>42692</c:v>
                </c:pt>
                <c:pt idx="649">
                  <c:v>42695</c:v>
                </c:pt>
                <c:pt idx="650">
                  <c:v>42696</c:v>
                </c:pt>
                <c:pt idx="651">
                  <c:v>42697</c:v>
                </c:pt>
                <c:pt idx="652">
                  <c:v>42698</c:v>
                </c:pt>
                <c:pt idx="653">
                  <c:v>42699</c:v>
                </c:pt>
                <c:pt idx="654">
                  <c:v>42702</c:v>
                </c:pt>
                <c:pt idx="655">
                  <c:v>42703</c:v>
                </c:pt>
                <c:pt idx="656">
                  <c:v>42704</c:v>
                </c:pt>
                <c:pt idx="657">
                  <c:v>42705</c:v>
                </c:pt>
                <c:pt idx="658">
                  <c:v>42706</c:v>
                </c:pt>
                <c:pt idx="659">
                  <c:v>42709</c:v>
                </c:pt>
                <c:pt idx="660">
                  <c:v>42710</c:v>
                </c:pt>
                <c:pt idx="661">
                  <c:v>42711</c:v>
                </c:pt>
                <c:pt idx="662">
                  <c:v>42712</c:v>
                </c:pt>
                <c:pt idx="663">
                  <c:v>42713</c:v>
                </c:pt>
                <c:pt idx="664">
                  <c:v>42716</c:v>
                </c:pt>
                <c:pt idx="665">
                  <c:v>42717</c:v>
                </c:pt>
                <c:pt idx="666">
                  <c:v>42718</c:v>
                </c:pt>
                <c:pt idx="667">
                  <c:v>42719</c:v>
                </c:pt>
                <c:pt idx="668">
                  <c:v>42720</c:v>
                </c:pt>
                <c:pt idx="669">
                  <c:v>42723</c:v>
                </c:pt>
                <c:pt idx="670">
                  <c:v>42724</c:v>
                </c:pt>
                <c:pt idx="671">
                  <c:v>42725</c:v>
                </c:pt>
                <c:pt idx="672">
                  <c:v>42726</c:v>
                </c:pt>
                <c:pt idx="673">
                  <c:v>42727</c:v>
                </c:pt>
                <c:pt idx="674">
                  <c:v>42730</c:v>
                </c:pt>
                <c:pt idx="675">
                  <c:v>42731</c:v>
                </c:pt>
                <c:pt idx="676">
                  <c:v>42732</c:v>
                </c:pt>
                <c:pt idx="677">
                  <c:v>42733</c:v>
                </c:pt>
                <c:pt idx="678">
                  <c:v>42734</c:v>
                </c:pt>
                <c:pt idx="679">
                  <c:v>42737</c:v>
                </c:pt>
                <c:pt idx="680">
                  <c:v>42738</c:v>
                </c:pt>
                <c:pt idx="681">
                  <c:v>42739</c:v>
                </c:pt>
                <c:pt idx="682">
                  <c:v>42740</c:v>
                </c:pt>
                <c:pt idx="683">
                  <c:v>42741</c:v>
                </c:pt>
                <c:pt idx="684">
                  <c:v>42744</c:v>
                </c:pt>
                <c:pt idx="685">
                  <c:v>42745</c:v>
                </c:pt>
                <c:pt idx="686">
                  <c:v>42746</c:v>
                </c:pt>
                <c:pt idx="687">
                  <c:v>42747</c:v>
                </c:pt>
                <c:pt idx="688">
                  <c:v>42748</c:v>
                </c:pt>
                <c:pt idx="689">
                  <c:v>42751</c:v>
                </c:pt>
                <c:pt idx="690">
                  <c:v>42752</c:v>
                </c:pt>
                <c:pt idx="691">
                  <c:v>42753</c:v>
                </c:pt>
                <c:pt idx="692">
                  <c:v>42754</c:v>
                </c:pt>
                <c:pt idx="693">
                  <c:v>42755</c:v>
                </c:pt>
                <c:pt idx="694">
                  <c:v>42758</c:v>
                </c:pt>
                <c:pt idx="695">
                  <c:v>42759</c:v>
                </c:pt>
                <c:pt idx="696">
                  <c:v>42760</c:v>
                </c:pt>
                <c:pt idx="697">
                  <c:v>42761</c:v>
                </c:pt>
                <c:pt idx="698">
                  <c:v>42762</c:v>
                </c:pt>
                <c:pt idx="699">
                  <c:v>42765</c:v>
                </c:pt>
                <c:pt idx="700">
                  <c:v>42766</c:v>
                </c:pt>
                <c:pt idx="701">
                  <c:v>42767</c:v>
                </c:pt>
                <c:pt idx="702">
                  <c:v>42768</c:v>
                </c:pt>
                <c:pt idx="703">
                  <c:v>42769</c:v>
                </c:pt>
                <c:pt idx="704">
                  <c:v>42772</c:v>
                </c:pt>
                <c:pt idx="705">
                  <c:v>42773</c:v>
                </c:pt>
                <c:pt idx="706">
                  <c:v>42774</c:v>
                </c:pt>
                <c:pt idx="707">
                  <c:v>42775</c:v>
                </c:pt>
                <c:pt idx="708">
                  <c:v>42776</c:v>
                </c:pt>
                <c:pt idx="709">
                  <c:v>42779</c:v>
                </c:pt>
                <c:pt idx="710">
                  <c:v>42780</c:v>
                </c:pt>
                <c:pt idx="711">
                  <c:v>42781</c:v>
                </c:pt>
                <c:pt idx="712">
                  <c:v>42782</c:v>
                </c:pt>
                <c:pt idx="713">
                  <c:v>42783</c:v>
                </c:pt>
                <c:pt idx="714">
                  <c:v>42786</c:v>
                </c:pt>
                <c:pt idx="715">
                  <c:v>42787</c:v>
                </c:pt>
                <c:pt idx="716">
                  <c:v>42788</c:v>
                </c:pt>
                <c:pt idx="717">
                  <c:v>42789</c:v>
                </c:pt>
                <c:pt idx="718">
                  <c:v>42790</c:v>
                </c:pt>
                <c:pt idx="719">
                  <c:v>42793</c:v>
                </c:pt>
                <c:pt idx="720">
                  <c:v>42794</c:v>
                </c:pt>
                <c:pt idx="721">
                  <c:v>42795</c:v>
                </c:pt>
                <c:pt idx="722">
                  <c:v>42796</c:v>
                </c:pt>
                <c:pt idx="723">
                  <c:v>42797</c:v>
                </c:pt>
                <c:pt idx="724">
                  <c:v>42800</c:v>
                </c:pt>
                <c:pt idx="725">
                  <c:v>42801</c:v>
                </c:pt>
                <c:pt idx="726">
                  <c:v>42802</c:v>
                </c:pt>
                <c:pt idx="727">
                  <c:v>42803</c:v>
                </c:pt>
                <c:pt idx="728">
                  <c:v>42804</c:v>
                </c:pt>
                <c:pt idx="729">
                  <c:v>42807</c:v>
                </c:pt>
                <c:pt idx="730">
                  <c:v>42808</c:v>
                </c:pt>
                <c:pt idx="731">
                  <c:v>42809</c:v>
                </c:pt>
                <c:pt idx="732">
                  <c:v>42810</c:v>
                </c:pt>
                <c:pt idx="733">
                  <c:v>42811</c:v>
                </c:pt>
                <c:pt idx="734">
                  <c:v>42814</c:v>
                </c:pt>
                <c:pt idx="735">
                  <c:v>42815</c:v>
                </c:pt>
                <c:pt idx="736">
                  <c:v>42816</c:v>
                </c:pt>
                <c:pt idx="737">
                  <c:v>42817</c:v>
                </c:pt>
                <c:pt idx="738">
                  <c:v>42818</c:v>
                </c:pt>
                <c:pt idx="739">
                  <c:v>42821</c:v>
                </c:pt>
                <c:pt idx="740">
                  <c:v>42822</c:v>
                </c:pt>
                <c:pt idx="741">
                  <c:v>42823</c:v>
                </c:pt>
                <c:pt idx="742">
                  <c:v>42824</c:v>
                </c:pt>
                <c:pt idx="743">
                  <c:v>42825</c:v>
                </c:pt>
                <c:pt idx="744">
                  <c:v>42828</c:v>
                </c:pt>
                <c:pt idx="745">
                  <c:v>42829</c:v>
                </c:pt>
                <c:pt idx="746">
                  <c:v>42830</c:v>
                </c:pt>
                <c:pt idx="747">
                  <c:v>42831</c:v>
                </c:pt>
                <c:pt idx="748">
                  <c:v>42832</c:v>
                </c:pt>
                <c:pt idx="749">
                  <c:v>42835</c:v>
                </c:pt>
                <c:pt idx="750">
                  <c:v>42836</c:v>
                </c:pt>
                <c:pt idx="751">
                  <c:v>42837</c:v>
                </c:pt>
                <c:pt idx="752">
                  <c:v>42838</c:v>
                </c:pt>
                <c:pt idx="753">
                  <c:v>42839</c:v>
                </c:pt>
                <c:pt idx="754">
                  <c:v>42842</c:v>
                </c:pt>
                <c:pt idx="755">
                  <c:v>42843</c:v>
                </c:pt>
                <c:pt idx="756">
                  <c:v>42844</c:v>
                </c:pt>
                <c:pt idx="757">
                  <c:v>42845</c:v>
                </c:pt>
                <c:pt idx="758">
                  <c:v>42846</c:v>
                </c:pt>
                <c:pt idx="759">
                  <c:v>42849</c:v>
                </c:pt>
                <c:pt idx="760">
                  <c:v>42850</c:v>
                </c:pt>
                <c:pt idx="761">
                  <c:v>42851</c:v>
                </c:pt>
                <c:pt idx="762">
                  <c:v>42852</c:v>
                </c:pt>
                <c:pt idx="763">
                  <c:v>42853</c:v>
                </c:pt>
                <c:pt idx="764">
                  <c:v>42856</c:v>
                </c:pt>
                <c:pt idx="765">
                  <c:v>42857</c:v>
                </c:pt>
                <c:pt idx="766">
                  <c:v>42858</c:v>
                </c:pt>
                <c:pt idx="767">
                  <c:v>42859</c:v>
                </c:pt>
                <c:pt idx="768">
                  <c:v>42860</c:v>
                </c:pt>
                <c:pt idx="769">
                  <c:v>42863</c:v>
                </c:pt>
                <c:pt idx="770">
                  <c:v>42864</c:v>
                </c:pt>
                <c:pt idx="771">
                  <c:v>42865</c:v>
                </c:pt>
                <c:pt idx="772">
                  <c:v>42866</c:v>
                </c:pt>
                <c:pt idx="773">
                  <c:v>42867</c:v>
                </c:pt>
                <c:pt idx="774">
                  <c:v>42870</c:v>
                </c:pt>
                <c:pt idx="775">
                  <c:v>42871</c:v>
                </c:pt>
                <c:pt idx="776">
                  <c:v>42872</c:v>
                </c:pt>
                <c:pt idx="777">
                  <c:v>42873</c:v>
                </c:pt>
                <c:pt idx="778">
                  <c:v>42874</c:v>
                </c:pt>
                <c:pt idx="779">
                  <c:v>42877</c:v>
                </c:pt>
                <c:pt idx="780">
                  <c:v>42878</c:v>
                </c:pt>
                <c:pt idx="781">
                  <c:v>42879</c:v>
                </c:pt>
                <c:pt idx="782">
                  <c:v>42880</c:v>
                </c:pt>
                <c:pt idx="783">
                  <c:v>42881</c:v>
                </c:pt>
                <c:pt idx="784">
                  <c:v>42884</c:v>
                </c:pt>
                <c:pt idx="785">
                  <c:v>42885</c:v>
                </c:pt>
                <c:pt idx="786">
                  <c:v>42886</c:v>
                </c:pt>
                <c:pt idx="787">
                  <c:v>42887</c:v>
                </c:pt>
                <c:pt idx="788">
                  <c:v>42888</c:v>
                </c:pt>
                <c:pt idx="789">
                  <c:v>42891</c:v>
                </c:pt>
                <c:pt idx="790">
                  <c:v>42892</c:v>
                </c:pt>
                <c:pt idx="791">
                  <c:v>42893</c:v>
                </c:pt>
                <c:pt idx="792">
                  <c:v>42894</c:v>
                </c:pt>
                <c:pt idx="793">
                  <c:v>42895</c:v>
                </c:pt>
                <c:pt idx="794">
                  <c:v>42898</c:v>
                </c:pt>
                <c:pt idx="795">
                  <c:v>42899</c:v>
                </c:pt>
                <c:pt idx="796">
                  <c:v>42900</c:v>
                </c:pt>
                <c:pt idx="797">
                  <c:v>42901</c:v>
                </c:pt>
                <c:pt idx="798">
                  <c:v>42902</c:v>
                </c:pt>
                <c:pt idx="799">
                  <c:v>42905</c:v>
                </c:pt>
                <c:pt idx="800">
                  <c:v>42906</c:v>
                </c:pt>
                <c:pt idx="801">
                  <c:v>42907</c:v>
                </c:pt>
                <c:pt idx="802">
                  <c:v>42908</c:v>
                </c:pt>
                <c:pt idx="803">
                  <c:v>42909</c:v>
                </c:pt>
                <c:pt idx="804">
                  <c:v>42912</c:v>
                </c:pt>
                <c:pt idx="805">
                  <c:v>42913</c:v>
                </c:pt>
                <c:pt idx="806">
                  <c:v>42914</c:v>
                </c:pt>
                <c:pt idx="807">
                  <c:v>42915</c:v>
                </c:pt>
                <c:pt idx="808">
                  <c:v>42916</c:v>
                </c:pt>
                <c:pt idx="809">
                  <c:v>42919</c:v>
                </c:pt>
                <c:pt idx="810">
                  <c:v>42920</c:v>
                </c:pt>
                <c:pt idx="811">
                  <c:v>42921</c:v>
                </c:pt>
                <c:pt idx="812">
                  <c:v>42922</c:v>
                </c:pt>
                <c:pt idx="813">
                  <c:v>42923</c:v>
                </c:pt>
                <c:pt idx="814">
                  <c:v>42926</c:v>
                </c:pt>
                <c:pt idx="815">
                  <c:v>42927</c:v>
                </c:pt>
                <c:pt idx="816">
                  <c:v>42928</c:v>
                </c:pt>
                <c:pt idx="817">
                  <c:v>42929</c:v>
                </c:pt>
                <c:pt idx="818">
                  <c:v>42930</c:v>
                </c:pt>
                <c:pt idx="819">
                  <c:v>42933</c:v>
                </c:pt>
                <c:pt idx="820">
                  <c:v>42934</c:v>
                </c:pt>
                <c:pt idx="821">
                  <c:v>42935</c:v>
                </c:pt>
                <c:pt idx="822">
                  <c:v>42936</c:v>
                </c:pt>
                <c:pt idx="823">
                  <c:v>42937</c:v>
                </c:pt>
                <c:pt idx="824">
                  <c:v>42940</c:v>
                </c:pt>
                <c:pt idx="825">
                  <c:v>42941</c:v>
                </c:pt>
                <c:pt idx="826">
                  <c:v>42942</c:v>
                </c:pt>
                <c:pt idx="827">
                  <c:v>42943</c:v>
                </c:pt>
                <c:pt idx="828">
                  <c:v>42944</c:v>
                </c:pt>
                <c:pt idx="829">
                  <c:v>42947</c:v>
                </c:pt>
                <c:pt idx="830">
                  <c:v>42948</c:v>
                </c:pt>
                <c:pt idx="831">
                  <c:v>42949</c:v>
                </c:pt>
                <c:pt idx="832">
                  <c:v>42950</c:v>
                </c:pt>
                <c:pt idx="833">
                  <c:v>42951</c:v>
                </c:pt>
                <c:pt idx="834">
                  <c:v>42954</c:v>
                </c:pt>
                <c:pt idx="835">
                  <c:v>42955</c:v>
                </c:pt>
                <c:pt idx="836">
                  <c:v>42956</c:v>
                </c:pt>
                <c:pt idx="837">
                  <c:v>42957</c:v>
                </c:pt>
                <c:pt idx="838">
                  <c:v>42958</c:v>
                </c:pt>
                <c:pt idx="839">
                  <c:v>42961</c:v>
                </c:pt>
                <c:pt idx="840">
                  <c:v>42962</c:v>
                </c:pt>
                <c:pt idx="841">
                  <c:v>42963</c:v>
                </c:pt>
                <c:pt idx="842">
                  <c:v>42964</c:v>
                </c:pt>
                <c:pt idx="843">
                  <c:v>42965</c:v>
                </c:pt>
                <c:pt idx="844">
                  <c:v>42968</c:v>
                </c:pt>
                <c:pt idx="845">
                  <c:v>42969</c:v>
                </c:pt>
                <c:pt idx="846">
                  <c:v>42970</c:v>
                </c:pt>
                <c:pt idx="847">
                  <c:v>42971</c:v>
                </c:pt>
                <c:pt idx="848">
                  <c:v>42972</c:v>
                </c:pt>
                <c:pt idx="849">
                  <c:v>42975</c:v>
                </c:pt>
                <c:pt idx="850">
                  <c:v>42976</c:v>
                </c:pt>
                <c:pt idx="851">
                  <c:v>42977</c:v>
                </c:pt>
                <c:pt idx="852">
                  <c:v>42978</c:v>
                </c:pt>
                <c:pt idx="853">
                  <c:v>42979</c:v>
                </c:pt>
                <c:pt idx="854">
                  <c:v>42982</c:v>
                </c:pt>
                <c:pt idx="855">
                  <c:v>42983</c:v>
                </c:pt>
                <c:pt idx="856">
                  <c:v>42984</c:v>
                </c:pt>
                <c:pt idx="857">
                  <c:v>42985</c:v>
                </c:pt>
                <c:pt idx="858">
                  <c:v>42986</c:v>
                </c:pt>
                <c:pt idx="859">
                  <c:v>42989</c:v>
                </c:pt>
                <c:pt idx="860">
                  <c:v>42990</c:v>
                </c:pt>
                <c:pt idx="861">
                  <c:v>42991</c:v>
                </c:pt>
                <c:pt idx="862">
                  <c:v>42992</c:v>
                </c:pt>
                <c:pt idx="863">
                  <c:v>42993</c:v>
                </c:pt>
                <c:pt idx="864">
                  <c:v>42996</c:v>
                </c:pt>
                <c:pt idx="865">
                  <c:v>42997</c:v>
                </c:pt>
                <c:pt idx="866">
                  <c:v>42998</c:v>
                </c:pt>
                <c:pt idx="867">
                  <c:v>42999</c:v>
                </c:pt>
                <c:pt idx="868">
                  <c:v>43000</c:v>
                </c:pt>
                <c:pt idx="869">
                  <c:v>43003</c:v>
                </c:pt>
                <c:pt idx="870">
                  <c:v>43004</c:v>
                </c:pt>
                <c:pt idx="871">
                  <c:v>43005</c:v>
                </c:pt>
                <c:pt idx="872">
                  <c:v>43006</c:v>
                </c:pt>
                <c:pt idx="873">
                  <c:v>43007</c:v>
                </c:pt>
                <c:pt idx="874">
                  <c:v>43010</c:v>
                </c:pt>
                <c:pt idx="875">
                  <c:v>43011</c:v>
                </c:pt>
                <c:pt idx="876">
                  <c:v>43012</c:v>
                </c:pt>
                <c:pt idx="877">
                  <c:v>43013</c:v>
                </c:pt>
                <c:pt idx="878">
                  <c:v>43014</c:v>
                </c:pt>
                <c:pt idx="879">
                  <c:v>43017</c:v>
                </c:pt>
                <c:pt idx="880">
                  <c:v>43018</c:v>
                </c:pt>
                <c:pt idx="881">
                  <c:v>43019</c:v>
                </c:pt>
                <c:pt idx="882">
                  <c:v>43020</c:v>
                </c:pt>
                <c:pt idx="883">
                  <c:v>43021</c:v>
                </c:pt>
                <c:pt idx="884">
                  <c:v>43024</c:v>
                </c:pt>
                <c:pt idx="885">
                  <c:v>43025</c:v>
                </c:pt>
                <c:pt idx="886">
                  <c:v>43026</c:v>
                </c:pt>
                <c:pt idx="887">
                  <c:v>43027</c:v>
                </c:pt>
                <c:pt idx="888">
                  <c:v>43028</c:v>
                </c:pt>
                <c:pt idx="889">
                  <c:v>43031</c:v>
                </c:pt>
                <c:pt idx="890">
                  <c:v>43032</c:v>
                </c:pt>
                <c:pt idx="891">
                  <c:v>43033</c:v>
                </c:pt>
                <c:pt idx="892">
                  <c:v>43034</c:v>
                </c:pt>
                <c:pt idx="893">
                  <c:v>43035</c:v>
                </c:pt>
                <c:pt idx="894">
                  <c:v>43038</c:v>
                </c:pt>
                <c:pt idx="895">
                  <c:v>43039</c:v>
                </c:pt>
                <c:pt idx="896">
                  <c:v>43040</c:v>
                </c:pt>
                <c:pt idx="897">
                  <c:v>43041</c:v>
                </c:pt>
                <c:pt idx="898">
                  <c:v>43042</c:v>
                </c:pt>
                <c:pt idx="899">
                  <c:v>43045</c:v>
                </c:pt>
                <c:pt idx="900">
                  <c:v>43046</c:v>
                </c:pt>
                <c:pt idx="901">
                  <c:v>43047</c:v>
                </c:pt>
                <c:pt idx="902">
                  <c:v>43048</c:v>
                </c:pt>
                <c:pt idx="903">
                  <c:v>43049</c:v>
                </c:pt>
                <c:pt idx="904">
                  <c:v>43052</c:v>
                </c:pt>
                <c:pt idx="905">
                  <c:v>43053</c:v>
                </c:pt>
                <c:pt idx="906">
                  <c:v>43054</c:v>
                </c:pt>
                <c:pt idx="907">
                  <c:v>43055</c:v>
                </c:pt>
                <c:pt idx="908">
                  <c:v>43056</c:v>
                </c:pt>
                <c:pt idx="909">
                  <c:v>43059</c:v>
                </c:pt>
                <c:pt idx="910">
                  <c:v>43060</c:v>
                </c:pt>
                <c:pt idx="911">
                  <c:v>43061</c:v>
                </c:pt>
                <c:pt idx="912">
                  <c:v>43062</c:v>
                </c:pt>
                <c:pt idx="913">
                  <c:v>43063</c:v>
                </c:pt>
                <c:pt idx="914">
                  <c:v>43066</c:v>
                </c:pt>
                <c:pt idx="915">
                  <c:v>43067</c:v>
                </c:pt>
                <c:pt idx="916">
                  <c:v>43068</c:v>
                </c:pt>
                <c:pt idx="917">
                  <c:v>43069</c:v>
                </c:pt>
                <c:pt idx="918">
                  <c:v>43070</c:v>
                </c:pt>
                <c:pt idx="919">
                  <c:v>43073</c:v>
                </c:pt>
                <c:pt idx="920">
                  <c:v>43074</c:v>
                </c:pt>
                <c:pt idx="921">
                  <c:v>43075</c:v>
                </c:pt>
                <c:pt idx="922">
                  <c:v>43076</c:v>
                </c:pt>
                <c:pt idx="923">
                  <c:v>43077</c:v>
                </c:pt>
                <c:pt idx="924">
                  <c:v>43080</c:v>
                </c:pt>
                <c:pt idx="925">
                  <c:v>43081</c:v>
                </c:pt>
                <c:pt idx="926">
                  <c:v>43082</c:v>
                </c:pt>
                <c:pt idx="927">
                  <c:v>43083</c:v>
                </c:pt>
                <c:pt idx="928">
                  <c:v>43084</c:v>
                </c:pt>
                <c:pt idx="929">
                  <c:v>43087</c:v>
                </c:pt>
                <c:pt idx="930">
                  <c:v>43088</c:v>
                </c:pt>
                <c:pt idx="931">
                  <c:v>43089</c:v>
                </c:pt>
                <c:pt idx="932">
                  <c:v>43090</c:v>
                </c:pt>
                <c:pt idx="933">
                  <c:v>43091</c:v>
                </c:pt>
                <c:pt idx="934">
                  <c:v>43094</c:v>
                </c:pt>
                <c:pt idx="935">
                  <c:v>43095</c:v>
                </c:pt>
                <c:pt idx="936">
                  <c:v>43096</c:v>
                </c:pt>
                <c:pt idx="937">
                  <c:v>43097</c:v>
                </c:pt>
                <c:pt idx="938">
                  <c:v>43098</c:v>
                </c:pt>
                <c:pt idx="939">
                  <c:v>43101</c:v>
                </c:pt>
                <c:pt idx="940">
                  <c:v>43102</c:v>
                </c:pt>
                <c:pt idx="941">
                  <c:v>43103</c:v>
                </c:pt>
                <c:pt idx="942">
                  <c:v>43104</c:v>
                </c:pt>
                <c:pt idx="943">
                  <c:v>43105</c:v>
                </c:pt>
                <c:pt idx="944">
                  <c:v>43108</c:v>
                </c:pt>
                <c:pt idx="945">
                  <c:v>43109</c:v>
                </c:pt>
                <c:pt idx="946">
                  <c:v>43110</c:v>
                </c:pt>
                <c:pt idx="947">
                  <c:v>43111</c:v>
                </c:pt>
                <c:pt idx="948">
                  <c:v>43112</c:v>
                </c:pt>
                <c:pt idx="949">
                  <c:v>43115</c:v>
                </c:pt>
                <c:pt idx="950">
                  <c:v>43116</c:v>
                </c:pt>
                <c:pt idx="951">
                  <c:v>43117</c:v>
                </c:pt>
                <c:pt idx="952">
                  <c:v>43118</c:v>
                </c:pt>
                <c:pt idx="953">
                  <c:v>43119</c:v>
                </c:pt>
                <c:pt idx="954">
                  <c:v>43122</c:v>
                </c:pt>
                <c:pt idx="955">
                  <c:v>43123</c:v>
                </c:pt>
                <c:pt idx="956">
                  <c:v>43124</c:v>
                </c:pt>
                <c:pt idx="957">
                  <c:v>43125</c:v>
                </c:pt>
                <c:pt idx="958">
                  <c:v>43126</c:v>
                </c:pt>
                <c:pt idx="959">
                  <c:v>43129</c:v>
                </c:pt>
                <c:pt idx="960">
                  <c:v>43130</c:v>
                </c:pt>
                <c:pt idx="961">
                  <c:v>43131</c:v>
                </c:pt>
              </c:numCache>
            </c:numRef>
          </c:cat>
          <c:val>
            <c:numRef>
              <c:f>'ETF GLOBAL SB USD'!$M$6:$M$966</c:f>
              <c:numCache>
                <c:formatCode>0.00%</c:formatCode>
                <c:ptCount val="961"/>
                <c:pt idx="0">
                  <c:v>0.14661722453863035</c:v>
                </c:pt>
                <c:pt idx="1">
                  <c:v>8.5312772934543091E-2</c:v>
                </c:pt>
                <c:pt idx="2">
                  <c:v>9.132083430181126E-2</c:v>
                </c:pt>
                <c:pt idx="3">
                  <c:v>0.19610910573426565</c:v>
                </c:pt>
                <c:pt idx="4">
                  <c:v>0.21577764734455229</c:v>
                </c:pt>
                <c:pt idx="5">
                  <c:v>0.29998910329494777</c:v>
                </c:pt>
                <c:pt idx="6">
                  <c:v>0.22849534687702544</c:v>
                </c:pt>
                <c:pt idx="7">
                  <c:v>0.32628276680519264</c:v>
                </c:pt>
                <c:pt idx="8">
                  <c:v>0.26179542992109361</c:v>
                </c:pt>
                <c:pt idx="9">
                  <c:v>0.13892985695380844</c:v>
                </c:pt>
                <c:pt idx="10">
                  <c:v>8.6721611521340947E-2</c:v>
                </c:pt>
                <c:pt idx="11">
                  <c:v>0.19277089969682493</c:v>
                </c:pt>
                <c:pt idx="12">
                  <c:v>0.10378621736361993</c:v>
                </c:pt>
                <c:pt idx="13">
                  <c:v>6.0148667807666811E-2</c:v>
                </c:pt>
                <c:pt idx="14">
                  <c:v>0.13136326349538763</c:v>
                </c:pt>
                <c:pt idx="15">
                  <c:v>0.15687812116783562</c:v>
                </c:pt>
                <c:pt idx="16">
                  <c:v>0.12003132175972553</c:v>
                </c:pt>
                <c:pt idx="17">
                  <c:v>5.6409185569080478E-2</c:v>
                </c:pt>
                <c:pt idx="18">
                  <c:v>-1.8699021040674779E-2</c:v>
                </c:pt>
                <c:pt idx="19">
                  <c:v>-2.1590552487481318E-2</c:v>
                </c:pt>
                <c:pt idx="20">
                  <c:v>-6.5173216462582673E-2</c:v>
                </c:pt>
                <c:pt idx="21">
                  <c:v>0.11638601358880862</c:v>
                </c:pt>
                <c:pt idx="22">
                  <c:v>0.13745273964367755</c:v>
                </c:pt>
                <c:pt idx="23">
                  <c:v>0.30528508170320379</c:v>
                </c:pt>
                <c:pt idx="24">
                  <c:v>0.17953274775345562</c:v>
                </c:pt>
                <c:pt idx="25">
                  <c:v>2.0362308114684424E-2</c:v>
                </c:pt>
                <c:pt idx="26">
                  <c:v>-8.0928471844629257E-2</c:v>
                </c:pt>
                <c:pt idx="27">
                  <c:v>-9.6547199361893377E-2</c:v>
                </c:pt>
                <c:pt idx="28">
                  <c:v>-0.16028941836651711</c:v>
                </c:pt>
                <c:pt idx="29">
                  <c:v>-6.0212237449803752E-2</c:v>
                </c:pt>
                <c:pt idx="30">
                  <c:v>-0.17869109061851418</c:v>
                </c:pt>
                <c:pt idx="31">
                  <c:v>-9.7296506957221141E-2</c:v>
                </c:pt>
                <c:pt idx="32">
                  <c:v>-0.14780986533737916</c:v>
                </c:pt>
                <c:pt idx="33">
                  <c:v>-0.28952805800230408</c:v>
                </c:pt>
                <c:pt idx="34">
                  <c:v>-0.26753723395053441</c:v>
                </c:pt>
                <c:pt idx="35">
                  <c:v>-0.30149437655427391</c:v>
                </c:pt>
                <c:pt idx="36">
                  <c:v>-0.17521147150270622</c:v>
                </c:pt>
                <c:pt idx="37">
                  <c:v>-0.25921278804676717</c:v>
                </c:pt>
                <c:pt idx="38">
                  <c:v>-0.25405853968973702</c:v>
                </c:pt>
                <c:pt idx="39">
                  <c:v>-0.30406041840649323</c:v>
                </c:pt>
                <c:pt idx="40">
                  <c:v>-0.34074071506910286</c:v>
                </c:pt>
                <c:pt idx="41">
                  <c:v>-0.29501811617954843</c:v>
                </c:pt>
                <c:pt idx="42">
                  <c:v>-0.21106654929990043</c:v>
                </c:pt>
                <c:pt idx="43">
                  <c:v>-0.17250266270423253</c:v>
                </c:pt>
                <c:pt idx="44">
                  <c:v>-0.24855453737207256</c:v>
                </c:pt>
                <c:pt idx="45">
                  <c:v>-0.35731779062044211</c:v>
                </c:pt>
                <c:pt idx="46">
                  <c:v>-0.20688482417702403</c:v>
                </c:pt>
                <c:pt idx="47">
                  <c:v>-8.3688553957685485E-2</c:v>
                </c:pt>
                <c:pt idx="48">
                  <c:v>-0.13113865515754242</c:v>
                </c:pt>
                <c:pt idx="49">
                  <c:v>-0.13777007630008598</c:v>
                </c:pt>
                <c:pt idx="50">
                  <c:v>-0.27234990617631638</c:v>
                </c:pt>
                <c:pt idx="51">
                  <c:v>-0.27648515500516169</c:v>
                </c:pt>
                <c:pt idx="52">
                  <c:v>-0.23406631391402755</c:v>
                </c:pt>
                <c:pt idx="53">
                  <c:v>-9.3522722588957663E-2</c:v>
                </c:pt>
                <c:pt idx="54">
                  <c:v>-2.4841988664888959E-2</c:v>
                </c:pt>
                <c:pt idx="55">
                  <c:v>-0.10209451508994505</c:v>
                </c:pt>
                <c:pt idx="56">
                  <c:v>-6.3749074765382829E-2</c:v>
                </c:pt>
                <c:pt idx="57">
                  <c:v>4.2050807036773108E-2</c:v>
                </c:pt>
                <c:pt idx="58">
                  <c:v>-8.0402103220535537E-2</c:v>
                </c:pt>
                <c:pt idx="59">
                  <c:v>-0.11973665222735974</c:v>
                </c:pt>
                <c:pt idx="60">
                  <c:v>-9.9030088175055653E-2</c:v>
                </c:pt>
                <c:pt idx="61">
                  <c:v>-0.21976411948564589</c:v>
                </c:pt>
                <c:pt idx="62">
                  <c:v>-0.14074614779215722</c:v>
                </c:pt>
                <c:pt idx="63">
                  <c:v>-0.22611805569411558</c:v>
                </c:pt>
                <c:pt idx="64">
                  <c:v>-0.26980138088887884</c:v>
                </c:pt>
                <c:pt idx="65">
                  <c:v>-0.13249871805410862</c:v>
                </c:pt>
                <c:pt idx="66">
                  <c:v>-2.5643187155637293E-2</c:v>
                </c:pt>
                <c:pt idx="67">
                  <c:v>-8.5435955347534787E-2</c:v>
                </c:pt>
                <c:pt idx="68">
                  <c:v>-9.9442602016623027E-2</c:v>
                </c:pt>
                <c:pt idx="69">
                  <c:v>-0.1474059632901259</c:v>
                </c:pt>
                <c:pt idx="70">
                  <c:v>-0.11170756301299889</c:v>
                </c:pt>
                <c:pt idx="71">
                  <c:v>-0.11550010002972044</c:v>
                </c:pt>
                <c:pt idx="72">
                  <c:v>-9.0453989304876359E-2</c:v>
                </c:pt>
                <c:pt idx="73">
                  <c:v>-0.14782843368931253</c:v>
                </c:pt>
                <c:pt idx="74">
                  <c:v>-0.16014177873016422</c:v>
                </c:pt>
                <c:pt idx="75">
                  <c:v>-0.30651729810060147</c:v>
                </c:pt>
                <c:pt idx="76">
                  <c:v>-0.34247965819022852</c:v>
                </c:pt>
                <c:pt idx="77">
                  <c:v>-0.41896206554915238</c:v>
                </c:pt>
                <c:pt idx="78">
                  <c:v>-0.54294210127550002</c:v>
                </c:pt>
                <c:pt idx="79">
                  <c:v>-0.66728587489276947</c:v>
                </c:pt>
                <c:pt idx="80">
                  <c:v>-0.65277367499010097</c:v>
                </c:pt>
                <c:pt idx="81">
                  <c:v>-0.83564633103107155</c:v>
                </c:pt>
                <c:pt idx="82">
                  <c:v>-0.90997259189916235</c:v>
                </c:pt>
                <c:pt idx="83">
                  <c:v>-0.87111671698448845</c:v>
                </c:pt>
                <c:pt idx="84">
                  <c:v>-0.92647757326062674</c:v>
                </c:pt>
                <c:pt idx="85">
                  <c:v>-1.0590113126076943</c:v>
                </c:pt>
                <c:pt idx="86">
                  <c:v>-0.82083675978201143</c:v>
                </c:pt>
                <c:pt idx="87">
                  <c:v>-0.92613364218419747</c:v>
                </c:pt>
                <c:pt idx="88">
                  <c:v>-0.83113300597631223</c:v>
                </c:pt>
                <c:pt idx="89">
                  <c:v>-0.89120632136558697</c:v>
                </c:pt>
                <c:pt idx="90">
                  <c:v>-0.78766498792214179</c:v>
                </c:pt>
                <c:pt idx="91">
                  <c:v>-0.27820944403066505</c:v>
                </c:pt>
                <c:pt idx="92">
                  <c:v>-0.74820438470561612</c:v>
                </c:pt>
                <c:pt idx="93">
                  <c:v>-0.74972563050990004</c:v>
                </c:pt>
                <c:pt idx="94">
                  <c:v>-0.61050885342990568</c:v>
                </c:pt>
                <c:pt idx="95">
                  <c:v>-0.74185316992172545</c:v>
                </c:pt>
                <c:pt idx="96">
                  <c:v>-0.73680159579269855</c:v>
                </c:pt>
                <c:pt idx="97">
                  <c:v>-0.6055448454718686</c:v>
                </c:pt>
                <c:pt idx="98">
                  <c:v>-0.64871672887501575</c:v>
                </c:pt>
                <c:pt idx="99">
                  <c:v>-0.42908325278442305</c:v>
                </c:pt>
                <c:pt idx="100">
                  <c:v>-0.23762874728409145</c:v>
                </c:pt>
                <c:pt idx="101">
                  <c:v>-9.0948725943192699E-2</c:v>
                </c:pt>
                <c:pt idx="102">
                  <c:v>-0.29722087395495578</c:v>
                </c:pt>
                <c:pt idx="103">
                  <c:v>-0.12456918948664963</c:v>
                </c:pt>
                <c:pt idx="104">
                  <c:v>-9.209837418627842E-2</c:v>
                </c:pt>
                <c:pt idx="105">
                  <c:v>6.0137346398946079E-2</c:v>
                </c:pt>
                <c:pt idx="106">
                  <c:v>-0.119104151624569</c:v>
                </c:pt>
                <c:pt idx="107">
                  <c:v>-0.11748590406099879</c:v>
                </c:pt>
                <c:pt idx="108">
                  <c:v>-7.3753386909572782E-2</c:v>
                </c:pt>
                <c:pt idx="109">
                  <c:v>-0.10113202674453703</c:v>
                </c:pt>
                <c:pt idx="110">
                  <c:v>-0.14159239035635096</c:v>
                </c:pt>
                <c:pt idx="111">
                  <c:v>-0.17578667358745292</c:v>
                </c:pt>
                <c:pt idx="112">
                  <c:v>-0.37729994940826828</c:v>
                </c:pt>
                <c:pt idx="113">
                  <c:v>-0.27173799130662246</c:v>
                </c:pt>
                <c:pt idx="114">
                  <c:v>-0.28144261341257959</c:v>
                </c:pt>
                <c:pt idx="115">
                  <c:v>-0.21069907697479096</c:v>
                </c:pt>
                <c:pt idx="116">
                  <c:v>-0.31384855390322741</c:v>
                </c:pt>
                <c:pt idx="117">
                  <c:v>-0.35029474318476161</c:v>
                </c:pt>
                <c:pt idx="118">
                  <c:v>-0.31514611765364009</c:v>
                </c:pt>
                <c:pt idx="119">
                  <c:v>-0.33686773855788488</c:v>
                </c:pt>
                <c:pt idx="120">
                  <c:v>-0.39578801708289291</c:v>
                </c:pt>
                <c:pt idx="121">
                  <c:v>-0.46572416296301355</c:v>
                </c:pt>
                <c:pt idx="122">
                  <c:v>-0.44457392153118747</c:v>
                </c:pt>
                <c:pt idx="123">
                  <c:v>-0.31351665188142874</c:v>
                </c:pt>
                <c:pt idx="124">
                  <c:v>-0.29290329934021031</c:v>
                </c:pt>
                <c:pt idx="125">
                  <c:v>-0.26507868063637829</c:v>
                </c:pt>
                <c:pt idx="126">
                  <c:v>-0.25723015578245167</c:v>
                </c:pt>
                <c:pt idx="127">
                  <c:v>-0.40372661893661643</c:v>
                </c:pt>
                <c:pt idx="128">
                  <c:v>-0.36655699341108061</c:v>
                </c:pt>
                <c:pt idx="129">
                  <c:v>-0.3458431218258653</c:v>
                </c:pt>
                <c:pt idx="130">
                  <c:v>-0.38251983922776844</c:v>
                </c:pt>
                <c:pt idx="131">
                  <c:v>-0.33072506165530058</c:v>
                </c:pt>
                <c:pt idx="132">
                  <c:v>-0.23296742523420733</c:v>
                </c:pt>
                <c:pt idx="133">
                  <c:v>-0.21644993561753267</c:v>
                </c:pt>
                <c:pt idx="134">
                  <c:v>-0.33297585219808923</c:v>
                </c:pt>
                <c:pt idx="135">
                  <c:v>-0.18770995147474423</c:v>
                </c:pt>
                <c:pt idx="136">
                  <c:v>-0.17571438980330356</c:v>
                </c:pt>
                <c:pt idx="137">
                  <c:v>-0.23937096645052236</c:v>
                </c:pt>
                <c:pt idx="138">
                  <c:v>-0.14109441135600775</c:v>
                </c:pt>
                <c:pt idx="139">
                  <c:v>-5.705797396464618E-2</c:v>
                </c:pt>
                <c:pt idx="140">
                  <c:v>0.12796491831839774</c:v>
                </c:pt>
                <c:pt idx="141">
                  <c:v>0.16135573066063102</c:v>
                </c:pt>
                <c:pt idx="142">
                  <c:v>0.458867494649283</c:v>
                </c:pt>
                <c:pt idx="143">
                  <c:v>0.74800422724372595</c:v>
                </c:pt>
                <c:pt idx="144">
                  <c:v>0.79643841663704507</c:v>
                </c:pt>
                <c:pt idx="145">
                  <c:v>0.71466894794647828</c:v>
                </c:pt>
                <c:pt idx="146">
                  <c:v>0.41730661178335993</c:v>
                </c:pt>
                <c:pt idx="147">
                  <c:v>0.36043717863256575</c:v>
                </c:pt>
                <c:pt idx="148">
                  <c:v>0.39600494883629267</c:v>
                </c:pt>
                <c:pt idx="149">
                  <c:v>0.43010097433253236</c:v>
                </c:pt>
                <c:pt idx="150">
                  <c:v>0.52799534901245693</c:v>
                </c:pt>
                <c:pt idx="151">
                  <c:v>0.55397339696887116</c:v>
                </c:pt>
                <c:pt idx="152">
                  <c:v>0.33097812676167848</c:v>
                </c:pt>
                <c:pt idx="153">
                  <c:v>0.48871508008264186</c:v>
                </c:pt>
                <c:pt idx="154">
                  <c:v>0.59685086855394331</c:v>
                </c:pt>
                <c:pt idx="155">
                  <c:v>0.61950271308467109</c:v>
                </c:pt>
                <c:pt idx="156">
                  <c:v>0.61901833914141946</c:v>
                </c:pt>
                <c:pt idx="157">
                  <c:v>0.7486262048253991</c:v>
                </c:pt>
                <c:pt idx="158">
                  <c:v>1.1257377345226161</c:v>
                </c:pt>
                <c:pt idx="159">
                  <c:v>1.2647143557263831</c:v>
                </c:pt>
                <c:pt idx="160">
                  <c:v>1.2340726456586992</c:v>
                </c:pt>
                <c:pt idx="161">
                  <c:v>1.0285345302355182</c:v>
                </c:pt>
                <c:pt idx="162">
                  <c:v>1.2861605612169029</c:v>
                </c:pt>
                <c:pt idx="163">
                  <c:v>1.2986280502809961</c:v>
                </c:pt>
                <c:pt idx="164">
                  <c:v>1.3780269081317726</c:v>
                </c:pt>
                <c:pt idx="165">
                  <c:v>1.6708746363859603</c:v>
                </c:pt>
                <c:pt idx="166">
                  <c:v>1.8368815633957354</c:v>
                </c:pt>
                <c:pt idx="167">
                  <c:v>1.6589256987166294</c:v>
                </c:pt>
                <c:pt idx="168">
                  <c:v>1.7134836124092061</c:v>
                </c:pt>
                <c:pt idx="169">
                  <c:v>1.5887346389016557</c:v>
                </c:pt>
                <c:pt idx="170">
                  <c:v>1.6105359681051539</c:v>
                </c:pt>
                <c:pt idx="171">
                  <c:v>1.4248032136874826</c:v>
                </c:pt>
                <c:pt idx="172">
                  <c:v>1.4997577438786749</c:v>
                </c:pt>
                <c:pt idx="173">
                  <c:v>1.5984646595617704</c:v>
                </c:pt>
                <c:pt idx="174">
                  <c:v>1.9765415318552044</c:v>
                </c:pt>
                <c:pt idx="175">
                  <c:v>2.1860460691308816</c:v>
                </c:pt>
                <c:pt idx="176">
                  <c:v>2.1509753062251065</c:v>
                </c:pt>
                <c:pt idx="177">
                  <c:v>2.0637912484829712</c:v>
                </c:pt>
                <c:pt idx="178">
                  <c:v>1.7778987629006906</c:v>
                </c:pt>
                <c:pt idx="179">
                  <c:v>1.5959611134696132</c:v>
                </c:pt>
                <c:pt idx="180">
                  <c:v>1.6184532287224727</c:v>
                </c:pt>
                <c:pt idx="181">
                  <c:v>1.6739070557788835</c:v>
                </c:pt>
                <c:pt idx="182">
                  <c:v>1.3356356485784175</c:v>
                </c:pt>
                <c:pt idx="183">
                  <c:v>1.132779913447024</c:v>
                </c:pt>
                <c:pt idx="184">
                  <c:v>1.2501960624204287</c:v>
                </c:pt>
                <c:pt idx="185">
                  <c:v>1.2073754506203187</c:v>
                </c:pt>
                <c:pt idx="186">
                  <c:v>1.1271407814300858</c:v>
                </c:pt>
                <c:pt idx="187">
                  <c:v>0.85216145918565189</c:v>
                </c:pt>
                <c:pt idx="188">
                  <c:v>0.78994505942199567</c:v>
                </c:pt>
                <c:pt idx="189">
                  <c:v>0.75542345898061569</c:v>
                </c:pt>
                <c:pt idx="190">
                  <c:v>1.0375748954627824</c:v>
                </c:pt>
                <c:pt idx="191">
                  <c:v>1.0233962260695364</c:v>
                </c:pt>
                <c:pt idx="192">
                  <c:v>0.99319399100326677</c:v>
                </c:pt>
                <c:pt idx="193">
                  <c:v>1.1355860863335607</c:v>
                </c:pt>
                <c:pt idx="194">
                  <c:v>1.0006924280222478</c:v>
                </c:pt>
                <c:pt idx="195">
                  <c:v>1.0313730266278185</c:v>
                </c:pt>
                <c:pt idx="196">
                  <c:v>0.88985435191079887</c:v>
                </c:pt>
                <c:pt idx="197">
                  <c:v>0.97255627099308128</c:v>
                </c:pt>
                <c:pt idx="198">
                  <c:v>0.86977595733925739</c:v>
                </c:pt>
                <c:pt idx="199">
                  <c:v>0.96837486172785248</c:v>
                </c:pt>
                <c:pt idx="200">
                  <c:v>0.87385784567766223</c:v>
                </c:pt>
                <c:pt idx="201">
                  <c:v>1.0107206681232981</c:v>
                </c:pt>
                <c:pt idx="202">
                  <c:v>0.94344995956885214</c:v>
                </c:pt>
                <c:pt idx="203">
                  <c:v>0.87859595534406765</c:v>
                </c:pt>
                <c:pt idx="204">
                  <c:v>1.1523929712334393</c:v>
                </c:pt>
                <c:pt idx="205">
                  <c:v>1.1846567831488954</c:v>
                </c:pt>
                <c:pt idx="206">
                  <c:v>1.1762838746825821</c:v>
                </c:pt>
                <c:pt idx="207">
                  <c:v>1.2474673307173845</c:v>
                </c:pt>
                <c:pt idx="208">
                  <c:v>1.1717762862936354</c:v>
                </c:pt>
                <c:pt idx="209">
                  <c:v>1.1914842067703404</c:v>
                </c:pt>
                <c:pt idx="210">
                  <c:v>1.1876916708687872</c:v>
                </c:pt>
                <c:pt idx="211">
                  <c:v>1.2814405631362433</c:v>
                </c:pt>
                <c:pt idx="212">
                  <c:v>1.2027199952161283</c:v>
                </c:pt>
                <c:pt idx="213">
                  <c:v>1.2877271438986355</c:v>
                </c:pt>
                <c:pt idx="214">
                  <c:v>1.3769233805839747</c:v>
                </c:pt>
                <c:pt idx="215">
                  <c:v>1.5254041151598443</c:v>
                </c:pt>
                <c:pt idx="216">
                  <c:v>1.3799597656815763</c:v>
                </c:pt>
                <c:pt idx="217">
                  <c:v>1.5435170591119061</c:v>
                </c:pt>
                <c:pt idx="218">
                  <c:v>1.5188013574198465</c:v>
                </c:pt>
                <c:pt idx="219">
                  <c:v>1.7404581430001258</c:v>
                </c:pt>
                <c:pt idx="220">
                  <c:v>1.7541843650210609</c:v>
                </c:pt>
                <c:pt idx="221">
                  <c:v>1.8710435669078578</c:v>
                </c:pt>
                <c:pt idx="222">
                  <c:v>1.8167367089371282</c:v>
                </c:pt>
                <c:pt idx="223">
                  <c:v>0.97087022237217013</c:v>
                </c:pt>
                <c:pt idx="224">
                  <c:v>1.7905485658014157</c:v>
                </c:pt>
                <c:pt idx="225">
                  <c:v>1.9957132350964315</c:v>
                </c:pt>
                <c:pt idx="226">
                  <c:v>1.850630066371707</c:v>
                </c:pt>
                <c:pt idx="227">
                  <c:v>1.7549846686570447</c:v>
                </c:pt>
                <c:pt idx="228">
                  <c:v>1.7456432862660307</c:v>
                </c:pt>
                <c:pt idx="229">
                  <c:v>1.8051018300557331</c:v>
                </c:pt>
                <c:pt idx="230">
                  <c:v>1.5924152900628599</c:v>
                </c:pt>
                <c:pt idx="231">
                  <c:v>1.6728014434042393</c:v>
                </c:pt>
                <c:pt idx="232">
                  <c:v>1.7301777218166876</c:v>
                </c:pt>
                <c:pt idx="233">
                  <c:v>1.5181832266579676</c:v>
                </c:pt>
                <c:pt idx="234">
                  <c:v>1.6401062502455801</c:v>
                </c:pt>
                <c:pt idx="235">
                  <c:v>1.4695026901324724</c:v>
                </c:pt>
                <c:pt idx="236">
                  <c:v>1.4599906262502742</c:v>
                </c:pt>
                <c:pt idx="237">
                  <c:v>1.3870613973619186</c:v>
                </c:pt>
                <c:pt idx="238">
                  <c:v>1.2933906196206806</c:v>
                </c:pt>
                <c:pt idx="239">
                  <c:v>1.2598031217474812</c:v>
                </c:pt>
                <c:pt idx="240">
                  <c:v>1.197328142640643</c:v>
                </c:pt>
                <c:pt idx="241">
                  <c:v>1.3752331785568401</c:v>
                </c:pt>
                <c:pt idx="242">
                  <c:v>0.83906174104133413</c:v>
                </c:pt>
                <c:pt idx="243">
                  <c:v>1.3316421921504258</c:v>
                </c:pt>
                <c:pt idx="244">
                  <c:v>1.2322123683575228</c:v>
                </c:pt>
                <c:pt idx="245">
                  <c:v>1.2656369821970941</c:v>
                </c:pt>
                <c:pt idx="246">
                  <c:v>1.3568383475840022</c:v>
                </c:pt>
                <c:pt idx="247">
                  <c:v>1.1797876906893094</c:v>
                </c:pt>
                <c:pt idx="248">
                  <c:v>1.3835676857064101</c:v>
                </c:pt>
                <c:pt idx="249">
                  <c:v>1.3947916352678362</c:v>
                </c:pt>
                <c:pt idx="250">
                  <c:v>1.4982574549889733</c:v>
                </c:pt>
                <c:pt idx="251">
                  <c:v>1.4148631434498355</c:v>
                </c:pt>
                <c:pt idx="252">
                  <c:v>1.6155908046625882</c:v>
                </c:pt>
                <c:pt idx="253">
                  <c:v>1.6111336369036451</c:v>
                </c:pt>
                <c:pt idx="254">
                  <c:v>1.6300054421510595</c:v>
                </c:pt>
                <c:pt idx="255">
                  <c:v>1.5172069406188911</c:v>
                </c:pt>
                <c:pt idx="256">
                  <c:v>1.2786399336252003</c:v>
                </c:pt>
                <c:pt idx="257">
                  <c:v>1.4131063133003607</c:v>
                </c:pt>
                <c:pt idx="258">
                  <c:v>1.3781426222031712</c:v>
                </c:pt>
                <c:pt idx="259">
                  <c:v>1.4271829177899775</c:v>
                </c:pt>
                <c:pt idx="260">
                  <c:v>1.189800923401819</c:v>
                </c:pt>
                <c:pt idx="261">
                  <c:v>1.2171336644321968</c:v>
                </c:pt>
                <c:pt idx="262">
                  <c:v>1.4749215657727603</c:v>
                </c:pt>
                <c:pt idx="263">
                  <c:v>1.513645187658696</c:v>
                </c:pt>
                <c:pt idx="264">
                  <c:v>1.4625013237846503</c:v>
                </c:pt>
                <c:pt idx="265">
                  <c:v>1.2377396068867625</c:v>
                </c:pt>
                <c:pt idx="266">
                  <c:v>1.3299072415823758</c:v>
                </c:pt>
                <c:pt idx="267">
                  <c:v>1.3029185067236995</c:v>
                </c:pt>
                <c:pt idx="268">
                  <c:v>1.3440868517935911</c:v>
                </c:pt>
                <c:pt idx="269">
                  <c:v>1.3055584201751032</c:v>
                </c:pt>
                <c:pt idx="270">
                  <c:v>1.1234259811090936</c:v>
                </c:pt>
                <c:pt idx="271">
                  <c:v>1.1696259836921428</c:v>
                </c:pt>
                <c:pt idx="272">
                  <c:v>1.2690830171772092</c:v>
                </c:pt>
                <c:pt idx="273">
                  <c:v>1.2859306269916999</c:v>
                </c:pt>
                <c:pt idx="274">
                  <c:v>1.2198852504477173</c:v>
                </c:pt>
                <c:pt idx="275">
                  <c:v>1.2838211624042231</c:v>
                </c:pt>
                <c:pt idx="276">
                  <c:v>1.298187168269564</c:v>
                </c:pt>
                <c:pt idx="277">
                  <c:v>1.3225317650467758</c:v>
                </c:pt>
                <c:pt idx="278">
                  <c:v>1.0356653585040618</c:v>
                </c:pt>
                <c:pt idx="279">
                  <c:v>0.94184055300819125</c:v>
                </c:pt>
                <c:pt idx="280">
                  <c:v>0.91250851686422152</c:v>
                </c:pt>
                <c:pt idx="281">
                  <c:v>0.98680534345129445</c:v>
                </c:pt>
                <c:pt idx="282">
                  <c:v>1.0715402149410949</c:v>
                </c:pt>
                <c:pt idx="283">
                  <c:v>1.2446811895422911</c:v>
                </c:pt>
                <c:pt idx="284">
                  <c:v>1.2996812176144914</c:v>
                </c:pt>
                <c:pt idx="285">
                  <c:v>1.3895776800544724</c:v>
                </c:pt>
                <c:pt idx="286">
                  <c:v>1.3488564748643768</c:v>
                </c:pt>
                <c:pt idx="287">
                  <c:v>1.3529413750609791</c:v>
                </c:pt>
                <c:pt idx="288">
                  <c:v>1.3704813728760286</c:v>
                </c:pt>
                <c:pt idx="289">
                  <c:v>1.4489390042136421</c:v>
                </c:pt>
                <c:pt idx="290">
                  <c:v>1.5020880837471111</c:v>
                </c:pt>
                <c:pt idx="291">
                  <c:v>1.4599440506467403</c:v>
                </c:pt>
                <c:pt idx="292">
                  <c:v>1.3157371045029151</c:v>
                </c:pt>
                <c:pt idx="293">
                  <c:v>1.1849592140326308</c:v>
                </c:pt>
                <c:pt idx="294">
                  <c:v>1.0409580780168994</c:v>
                </c:pt>
                <c:pt idx="295">
                  <c:v>1.0447820566756718</c:v>
                </c:pt>
                <c:pt idx="296">
                  <c:v>0.91991414023395635</c:v>
                </c:pt>
                <c:pt idx="297">
                  <c:v>0.67760957355945095</c:v>
                </c:pt>
                <c:pt idx="298">
                  <c:v>0.5338719308470985</c:v>
                </c:pt>
                <c:pt idx="299">
                  <c:v>0.60255386802859334</c:v>
                </c:pt>
                <c:pt idx="300">
                  <c:v>0.97928863336711913</c:v>
                </c:pt>
                <c:pt idx="301">
                  <c:v>1.0688141791879389</c:v>
                </c:pt>
                <c:pt idx="302">
                  <c:v>1.3375771770286775</c:v>
                </c:pt>
                <c:pt idx="303">
                  <c:v>1.2956337048482283</c:v>
                </c:pt>
                <c:pt idx="304">
                  <c:v>1.198214604525603</c:v>
                </c:pt>
                <c:pt idx="305">
                  <c:v>1.1687628761656867</c:v>
                </c:pt>
                <c:pt idx="306">
                  <c:v>1.0759772722546614</c:v>
                </c:pt>
                <c:pt idx="307">
                  <c:v>1.3206416662790588</c:v>
                </c:pt>
                <c:pt idx="308">
                  <c:v>1.4367489496767547</c:v>
                </c:pt>
                <c:pt idx="309">
                  <c:v>1.5836373863375997</c:v>
                </c:pt>
                <c:pt idx="310">
                  <c:v>1.5830939244365823</c:v>
                </c:pt>
                <c:pt idx="311">
                  <c:v>1.7448583242185549</c:v>
                </c:pt>
                <c:pt idx="312">
                  <c:v>1.7768889771747922</c:v>
                </c:pt>
                <c:pt idx="313">
                  <c:v>1.7219932352629002</c:v>
                </c:pt>
                <c:pt idx="314">
                  <c:v>1.9612088586986403</c:v>
                </c:pt>
                <c:pt idx="315">
                  <c:v>2.169343559012944</c:v>
                </c:pt>
                <c:pt idx="316">
                  <c:v>2.2459087524942305</c:v>
                </c:pt>
                <c:pt idx="317">
                  <c:v>2.4073812895569375</c:v>
                </c:pt>
                <c:pt idx="318">
                  <c:v>2.4374182553956985</c:v>
                </c:pt>
                <c:pt idx="319">
                  <c:v>2.5552884586557099</c:v>
                </c:pt>
                <c:pt idx="320">
                  <c:v>2.6758952406557484</c:v>
                </c:pt>
                <c:pt idx="321">
                  <c:v>2.8270541628226766</c:v>
                </c:pt>
                <c:pt idx="322">
                  <c:v>3.1870600637428055</c:v>
                </c:pt>
                <c:pt idx="323">
                  <c:v>3.2839303220559231</c:v>
                </c:pt>
                <c:pt idx="324">
                  <c:v>3.0772064999090389</c:v>
                </c:pt>
                <c:pt idx="325">
                  <c:v>2.792253654290505</c:v>
                </c:pt>
                <c:pt idx="326">
                  <c:v>2.6301061970997779</c:v>
                </c:pt>
                <c:pt idx="327">
                  <c:v>2.6707624855553007</c:v>
                </c:pt>
                <c:pt idx="328">
                  <c:v>2.7569016854136521</c:v>
                </c:pt>
                <c:pt idx="329">
                  <c:v>2.9909299057962642</c:v>
                </c:pt>
                <c:pt idx="330">
                  <c:v>2.7502294922384039</c:v>
                </c:pt>
                <c:pt idx="331">
                  <c:v>2.9007402233012698</c:v>
                </c:pt>
                <c:pt idx="332">
                  <c:v>3.0206994984753663</c:v>
                </c:pt>
                <c:pt idx="333">
                  <c:v>2.9847846576308967</c:v>
                </c:pt>
                <c:pt idx="334">
                  <c:v>2.7875531972549794</c:v>
                </c:pt>
                <c:pt idx="335">
                  <c:v>2.8043363048114571</c:v>
                </c:pt>
                <c:pt idx="336">
                  <c:v>2.8548341026448441</c:v>
                </c:pt>
                <c:pt idx="337">
                  <c:v>2.93735090457875</c:v>
                </c:pt>
                <c:pt idx="338">
                  <c:v>3.0160198047417168</c:v>
                </c:pt>
                <c:pt idx="339">
                  <c:v>2.8462737522091857</c:v>
                </c:pt>
                <c:pt idx="340">
                  <c:v>2.7110609164900836</c:v>
                </c:pt>
                <c:pt idx="341">
                  <c:v>2.8922082017927551</c:v>
                </c:pt>
                <c:pt idx="342">
                  <c:v>3.19434139254885</c:v>
                </c:pt>
                <c:pt idx="343">
                  <c:v>3.2294539754553</c:v>
                </c:pt>
                <c:pt idx="344">
                  <c:v>3.2864797626766205</c:v>
                </c:pt>
                <c:pt idx="345">
                  <c:v>3.4392332017846456</c:v>
                </c:pt>
                <c:pt idx="346">
                  <c:v>3.5564609026557861</c:v>
                </c:pt>
                <c:pt idx="347">
                  <c:v>3.6396121314757295</c:v>
                </c:pt>
                <c:pt idx="348">
                  <c:v>3.8504355201774416</c:v>
                </c:pt>
                <c:pt idx="349">
                  <c:v>3.7542619694661994</c:v>
                </c:pt>
                <c:pt idx="350">
                  <c:v>3.66975628055215</c:v>
                </c:pt>
                <c:pt idx="351">
                  <c:v>3.6132079347469528</c:v>
                </c:pt>
                <c:pt idx="352">
                  <c:v>3.5106112337212068</c:v>
                </c:pt>
                <c:pt idx="353">
                  <c:v>3.4076852344129094</c:v>
                </c:pt>
                <c:pt idx="354">
                  <c:v>3.2003621129915274</c:v>
                </c:pt>
                <c:pt idx="355">
                  <c:v>2.957874273405011</c:v>
                </c:pt>
                <c:pt idx="356">
                  <c:v>2.8948539971042493</c:v>
                </c:pt>
                <c:pt idx="357">
                  <c:v>2.7856637881145758</c:v>
                </c:pt>
                <c:pt idx="358">
                  <c:v>2.8521369401840104</c:v>
                </c:pt>
                <c:pt idx="359">
                  <c:v>2.9504652204307433</c:v>
                </c:pt>
                <c:pt idx="360">
                  <c:v>2.9769737973122119</c:v>
                </c:pt>
                <c:pt idx="361">
                  <c:v>2.874398735175447</c:v>
                </c:pt>
                <c:pt idx="362">
                  <c:v>2.7800177182769943</c:v>
                </c:pt>
                <c:pt idx="363">
                  <c:v>2.9266162890585719</c:v>
                </c:pt>
                <c:pt idx="364">
                  <c:v>3.123359187208564</c:v>
                </c:pt>
                <c:pt idx="365">
                  <c:v>3.1199085055166194</c:v>
                </c:pt>
                <c:pt idx="366">
                  <c:v>2.8353447651442849</c:v>
                </c:pt>
                <c:pt idx="367">
                  <c:v>2.29652116395674</c:v>
                </c:pt>
                <c:pt idx="368">
                  <c:v>2.360854995057764</c:v>
                </c:pt>
                <c:pt idx="369">
                  <c:v>2.3196990776045254</c:v>
                </c:pt>
                <c:pt idx="370">
                  <c:v>2.1524413640076432</c:v>
                </c:pt>
                <c:pt idx="371">
                  <c:v>2.1756276692331511</c:v>
                </c:pt>
                <c:pt idx="372">
                  <c:v>2.3607984303281171</c:v>
                </c:pt>
                <c:pt idx="373">
                  <c:v>2.2736783536228558</c:v>
                </c:pt>
                <c:pt idx="374">
                  <c:v>1.9739710237950874</c:v>
                </c:pt>
                <c:pt idx="375">
                  <c:v>1.9012819021896377</c:v>
                </c:pt>
                <c:pt idx="376">
                  <c:v>2.0442593121083519</c:v>
                </c:pt>
                <c:pt idx="377">
                  <c:v>1.8071622840787143</c:v>
                </c:pt>
                <c:pt idx="378">
                  <c:v>1.8036239902474023</c:v>
                </c:pt>
                <c:pt idx="379">
                  <c:v>1.935341784148136</c:v>
                </c:pt>
                <c:pt idx="380">
                  <c:v>2.0020771637320252</c:v>
                </c:pt>
                <c:pt idx="381">
                  <c:v>2.1175144838947944</c:v>
                </c:pt>
                <c:pt idx="382">
                  <c:v>2.2625596378401553</c:v>
                </c:pt>
                <c:pt idx="383">
                  <c:v>2.2285556228910508</c:v>
                </c:pt>
                <c:pt idx="384">
                  <c:v>2.1729068548164889</c:v>
                </c:pt>
                <c:pt idx="385">
                  <c:v>2.0209781969719103</c:v>
                </c:pt>
                <c:pt idx="386">
                  <c:v>2.1140050657676852</c:v>
                </c:pt>
                <c:pt idx="387">
                  <c:v>2.1638188174664776</c:v>
                </c:pt>
                <c:pt idx="388">
                  <c:v>2.2851391897460047</c:v>
                </c:pt>
                <c:pt idx="389">
                  <c:v>2.2400451698358097</c:v>
                </c:pt>
                <c:pt idx="390">
                  <c:v>2.3271208938190568</c:v>
                </c:pt>
                <c:pt idx="391">
                  <c:v>2.2920679436369795</c:v>
                </c:pt>
                <c:pt idx="392">
                  <c:v>2.4199814116376075</c:v>
                </c:pt>
                <c:pt idx="393">
                  <c:v>2.5279093358373927</c:v>
                </c:pt>
                <c:pt idx="394">
                  <c:v>2.5363210335022188</c:v>
                </c:pt>
                <c:pt idx="395">
                  <c:v>2.5706590104472156</c:v>
                </c:pt>
                <c:pt idx="396">
                  <c:v>2.8187710222209432</c:v>
                </c:pt>
                <c:pt idx="397">
                  <c:v>2.8172849024784767</c:v>
                </c:pt>
                <c:pt idx="398">
                  <c:v>2.9613482116950678</c:v>
                </c:pt>
                <c:pt idx="399">
                  <c:v>3.0119248348328966</c:v>
                </c:pt>
                <c:pt idx="400">
                  <c:v>2.9521823118743669</c:v>
                </c:pt>
                <c:pt idx="401">
                  <c:v>2.8223278278390609</c:v>
                </c:pt>
                <c:pt idx="402">
                  <c:v>3.0447649826667771</c:v>
                </c:pt>
                <c:pt idx="403">
                  <c:v>3.0050036129951678</c:v>
                </c:pt>
                <c:pt idx="404">
                  <c:v>2.9407974915925053</c:v>
                </c:pt>
                <c:pt idx="405">
                  <c:v>2.8198204255049433</c:v>
                </c:pt>
                <c:pt idx="406">
                  <c:v>2.9462171241349182</c:v>
                </c:pt>
                <c:pt idx="407">
                  <c:v>3.1976314946441988</c:v>
                </c:pt>
                <c:pt idx="408">
                  <c:v>3.162468211996071</c:v>
                </c:pt>
                <c:pt idx="409">
                  <c:v>3.1244555613666449</c:v>
                </c:pt>
                <c:pt idx="410">
                  <c:v>2.9707376947892925</c:v>
                </c:pt>
                <c:pt idx="411">
                  <c:v>2.9517324653589725</c:v>
                </c:pt>
                <c:pt idx="412">
                  <c:v>2.9938097080958528</c:v>
                </c:pt>
                <c:pt idx="413">
                  <c:v>3.0571427886845726</c:v>
                </c:pt>
                <c:pt idx="414">
                  <c:v>3.0326791730459774</c:v>
                </c:pt>
                <c:pt idx="415">
                  <c:v>3.1233945377077106</c:v>
                </c:pt>
                <c:pt idx="416">
                  <c:v>3.2482464860894567</c:v>
                </c:pt>
                <c:pt idx="417">
                  <c:v>3.2482464860894567</c:v>
                </c:pt>
                <c:pt idx="418">
                  <c:v>3.3769680989193205</c:v>
                </c:pt>
                <c:pt idx="419">
                  <c:v>3.4682553763643966</c:v>
                </c:pt>
                <c:pt idx="420">
                  <c:v>3.5764091783593557</c:v>
                </c:pt>
                <c:pt idx="421">
                  <c:v>3.993516278243078</c:v>
                </c:pt>
                <c:pt idx="422">
                  <c:v>4.0019413753254156</c:v>
                </c:pt>
                <c:pt idx="423">
                  <c:v>4.0070736233810891</c:v>
                </c:pt>
                <c:pt idx="424">
                  <c:v>3.8347133681901084</c:v>
                </c:pt>
                <c:pt idx="425">
                  <c:v>3.9444643607754273</c:v>
                </c:pt>
                <c:pt idx="426">
                  <c:v>3.4655893242790228</c:v>
                </c:pt>
                <c:pt idx="427">
                  <c:v>3.8545324613455705</c:v>
                </c:pt>
                <c:pt idx="428">
                  <c:v>3.6951306783158344</c:v>
                </c:pt>
                <c:pt idx="429">
                  <c:v>3.655784035310532</c:v>
                </c:pt>
                <c:pt idx="430">
                  <c:v>3.6231609458371992</c:v>
                </c:pt>
                <c:pt idx="431">
                  <c:v>3.3743399585275711</c:v>
                </c:pt>
                <c:pt idx="432">
                  <c:v>3.365306793627866</c:v>
                </c:pt>
                <c:pt idx="433">
                  <c:v>3.6120901332988495</c:v>
                </c:pt>
                <c:pt idx="434">
                  <c:v>3.6135640271135401</c:v>
                </c:pt>
                <c:pt idx="435">
                  <c:v>3.8206932539263931</c:v>
                </c:pt>
                <c:pt idx="436">
                  <c:v>3.6369855056428406</c:v>
                </c:pt>
                <c:pt idx="437">
                  <c:v>3.6530740357690945</c:v>
                </c:pt>
                <c:pt idx="438">
                  <c:v>3.9884330191637076</c:v>
                </c:pt>
                <c:pt idx="439">
                  <c:v>4.2420697036330068</c:v>
                </c:pt>
                <c:pt idx="440">
                  <c:v>4.4224032767641432</c:v>
                </c:pt>
                <c:pt idx="441">
                  <c:v>4.1408590044654545</c:v>
                </c:pt>
                <c:pt idx="442">
                  <c:v>4.2685782851696104</c:v>
                </c:pt>
                <c:pt idx="443">
                  <c:v>4.0457043317774577</c:v>
                </c:pt>
                <c:pt idx="444">
                  <c:v>4.1373943777287963</c:v>
                </c:pt>
                <c:pt idx="445">
                  <c:v>4.214287606610668</c:v>
                </c:pt>
                <c:pt idx="446">
                  <c:v>4.374492675158848</c:v>
                </c:pt>
                <c:pt idx="447">
                  <c:v>4.0951042476356605</c:v>
                </c:pt>
                <c:pt idx="448">
                  <c:v>4.1560555583779859</c:v>
                </c:pt>
                <c:pt idx="449">
                  <c:v>4.0990547846527363</c:v>
                </c:pt>
                <c:pt idx="450">
                  <c:v>3.9115004131434148</c:v>
                </c:pt>
                <c:pt idx="451">
                  <c:v>4.2503276298775745</c:v>
                </c:pt>
                <c:pt idx="452">
                  <c:v>4.4016944990365516</c:v>
                </c:pt>
                <c:pt idx="453">
                  <c:v>4.3583318035196044</c:v>
                </c:pt>
                <c:pt idx="454">
                  <c:v>4.5965480467424698</c:v>
                </c:pt>
                <c:pt idx="455">
                  <c:v>4.8288335255225263</c:v>
                </c:pt>
                <c:pt idx="456">
                  <c:v>4.8895838754642398</c:v>
                </c:pt>
                <c:pt idx="457">
                  <c:v>4.696002961570926</c:v>
                </c:pt>
                <c:pt idx="458">
                  <c:v>4.7652132607795039</c:v>
                </c:pt>
                <c:pt idx="459">
                  <c:v>4.5797107957269816</c:v>
                </c:pt>
                <c:pt idx="460">
                  <c:v>4.3568726821363555</c:v>
                </c:pt>
                <c:pt idx="461">
                  <c:v>4.436860905098456</c:v>
                </c:pt>
                <c:pt idx="462">
                  <c:v>4.3341767927613546</c:v>
                </c:pt>
                <c:pt idx="463">
                  <c:v>4.2889072821886032</c:v>
                </c:pt>
                <c:pt idx="464">
                  <c:v>4.3531951645536253</c:v>
                </c:pt>
                <c:pt idx="465">
                  <c:v>4.2763680872259044</c:v>
                </c:pt>
                <c:pt idx="466">
                  <c:v>4.4544147806896603</c:v>
                </c:pt>
                <c:pt idx="467">
                  <c:v>4.4853505160237006</c:v>
                </c:pt>
                <c:pt idx="468">
                  <c:v>4.5047436429981502</c:v>
                </c:pt>
                <c:pt idx="469">
                  <c:v>4.5838322237788276</c:v>
                </c:pt>
                <c:pt idx="470">
                  <c:v>4.6781406758210125</c:v>
                </c:pt>
                <c:pt idx="471">
                  <c:v>4.8215862554560118</c:v>
                </c:pt>
                <c:pt idx="472">
                  <c:v>4.742178268590223</c:v>
                </c:pt>
                <c:pt idx="473">
                  <c:v>4.6211578063595908</c:v>
                </c:pt>
                <c:pt idx="474">
                  <c:v>4.6645614166046556</c:v>
                </c:pt>
                <c:pt idx="475">
                  <c:v>4.723562483754705</c:v>
                </c:pt>
                <c:pt idx="476">
                  <c:v>4.7789738998923497</c:v>
                </c:pt>
                <c:pt idx="477">
                  <c:v>4.688167916864515</c:v>
                </c:pt>
                <c:pt idx="478">
                  <c:v>4.4507277196830159</c:v>
                </c:pt>
                <c:pt idx="479">
                  <c:v>4.9846218344959539</c:v>
                </c:pt>
                <c:pt idx="480">
                  <c:v>4.9932734185146757</c:v>
                </c:pt>
                <c:pt idx="481">
                  <c:v>5.0339546930514985</c:v>
                </c:pt>
                <c:pt idx="482">
                  <c:v>5.0444642038770837</c:v>
                </c:pt>
                <c:pt idx="483">
                  <c:v>5.0152074913213767</c:v>
                </c:pt>
                <c:pt idx="484">
                  <c:v>5.0885691088987102</c:v>
                </c:pt>
                <c:pt idx="485">
                  <c:v>4.9117817000727371</c:v>
                </c:pt>
                <c:pt idx="486">
                  <c:v>5.0385592211213464</c:v>
                </c:pt>
                <c:pt idx="487">
                  <c:v>5.0818834838974425</c:v>
                </c:pt>
                <c:pt idx="488">
                  <c:v>5.1115484904844806</c:v>
                </c:pt>
                <c:pt idx="489">
                  <c:v>4.8160903734212468</c:v>
                </c:pt>
                <c:pt idx="490">
                  <c:v>4.4790187705536368</c:v>
                </c:pt>
                <c:pt idx="491">
                  <c:v>4.2266694309666377</c:v>
                </c:pt>
                <c:pt idx="492">
                  <c:v>4.3292201065424791</c:v>
                </c:pt>
                <c:pt idx="493">
                  <c:v>4.348768774192763</c:v>
                </c:pt>
                <c:pt idx="494">
                  <c:v>4.2931966519272038</c:v>
                </c:pt>
                <c:pt idx="495">
                  <c:v>4.0002078721544478</c:v>
                </c:pt>
                <c:pt idx="496">
                  <c:v>3.6250591295572292</c:v>
                </c:pt>
                <c:pt idx="497">
                  <c:v>3.763437021594811</c:v>
                </c:pt>
                <c:pt idx="498">
                  <c:v>3.9284109663890519</c:v>
                </c:pt>
                <c:pt idx="499">
                  <c:v>4.1739685167976006</c:v>
                </c:pt>
                <c:pt idx="500">
                  <c:v>4.4639512814687237</c:v>
                </c:pt>
                <c:pt idx="501">
                  <c:v>4.583661730624442</c:v>
                </c:pt>
                <c:pt idx="502">
                  <c:v>4.7988776012564358</c:v>
                </c:pt>
                <c:pt idx="503">
                  <c:v>4.8579580974141408</c:v>
                </c:pt>
                <c:pt idx="504">
                  <c:v>5.0081801619238036</c:v>
                </c:pt>
                <c:pt idx="505">
                  <c:v>5.1991802965563068</c:v>
                </c:pt>
                <c:pt idx="506">
                  <c:v>5.1315982583913495</c:v>
                </c:pt>
                <c:pt idx="507">
                  <c:v>5.2000959146262034</c:v>
                </c:pt>
                <c:pt idx="508">
                  <c:v>5.265496353194294</c:v>
                </c:pt>
                <c:pt idx="509">
                  <c:v>5.1191519822644125</c:v>
                </c:pt>
                <c:pt idx="510">
                  <c:v>5.1083376831241338</c:v>
                </c:pt>
                <c:pt idx="511">
                  <c:v>5.1562307714434752</c:v>
                </c:pt>
                <c:pt idx="512">
                  <c:v>5.1929669537082219</c:v>
                </c:pt>
                <c:pt idx="513">
                  <c:v>5.0887280103885075</c:v>
                </c:pt>
                <c:pt idx="514">
                  <c:v>5.1433215265546437</c:v>
                </c:pt>
                <c:pt idx="515">
                  <c:v>4.9782859710338982</c:v>
                </c:pt>
                <c:pt idx="516">
                  <c:v>5.0343549669242407</c:v>
                </c:pt>
                <c:pt idx="517">
                  <c:v>5.0506123348248053</c:v>
                </c:pt>
                <c:pt idx="518">
                  <c:v>5.1396457984399433</c:v>
                </c:pt>
                <c:pt idx="519">
                  <c:v>5.0225057760193295</c:v>
                </c:pt>
                <c:pt idx="520">
                  <c:v>4.6310604458085436</c:v>
                </c:pt>
                <c:pt idx="521">
                  <c:v>4.7245279980721904</c:v>
                </c:pt>
                <c:pt idx="522">
                  <c:v>4.6896272727295667</c:v>
                </c:pt>
                <c:pt idx="523">
                  <c:v>4.656312870954622</c:v>
                </c:pt>
                <c:pt idx="524">
                  <c:v>4.7669895244481353</c:v>
                </c:pt>
                <c:pt idx="525">
                  <c:v>4.8438769926116692</c:v>
                </c:pt>
                <c:pt idx="526">
                  <c:v>4.9208721792681445</c:v>
                </c:pt>
                <c:pt idx="527">
                  <c:v>5.1468317043231337</c:v>
                </c:pt>
                <c:pt idx="528">
                  <c:v>4.9634559101540674</c:v>
                </c:pt>
                <c:pt idx="529">
                  <c:v>5.0386482765149765</c:v>
                </c:pt>
                <c:pt idx="530">
                  <c:v>5.1238507066183985</c:v>
                </c:pt>
                <c:pt idx="531">
                  <c:v>5.2889628156492847</c:v>
                </c:pt>
                <c:pt idx="532">
                  <c:v>5.2177849407737824</c:v>
                </c:pt>
                <c:pt idx="533">
                  <c:v>5.1132412762907364</c:v>
                </c:pt>
                <c:pt idx="534">
                  <c:v>5.0301800698080825</c:v>
                </c:pt>
                <c:pt idx="535">
                  <c:v>5.1226708823018186</c:v>
                </c:pt>
                <c:pt idx="536">
                  <c:v>4.9711943259235483</c:v>
                </c:pt>
                <c:pt idx="537">
                  <c:v>5.0172025068529251</c:v>
                </c:pt>
                <c:pt idx="538">
                  <c:v>5.0373583621207274</c:v>
                </c:pt>
                <c:pt idx="539">
                  <c:v>4.964885231941409</c:v>
                </c:pt>
                <c:pt idx="540">
                  <c:v>4.95159379636236</c:v>
                </c:pt>
                <c:pt idx="541">
                  <c:v>4.8247386241158097</c:v>
                </c:pt>
                <c:pt idx="542">
                  <c:v>5.10993012313115</c:v>
                </c:pt>
                <c:pt idx="543">
                  <c:v>4.9867333416422213</c:v>
                </c:pt>
                <c:pt idx="544">
                  <c:v>4.9948601250543305</c:v>
                </c:pt>
                <c:pt idx="545">
                  <c:v>4.941712189548781</c:v>
                </c:pt>
                <c:pt idx="546">
                  <c:v>5.1223592082865395</c:v>
                </c:pt>
                <c:pt idx="547">
                  <c:v>5.160276874644282</c:v>
                </c:pt>
                <c:pt idx="548">
                  <c:v>5.1083808783268125</c:v>
                </c:pt>
                <c:pt idx="549">
                  <c:v>5.1173945967546075</c:v>
                </c:pt>
                <c:pt idx="550">
                  <c:v>5.1084385228850948</c:v>
                </c:pt>
                <c:pt idx="551">
                  <c:v>4.9350202036613666</c:v>
                </c:pt>
                <c:pt idx="552">
                  <c:v>4.9692488007053441</c:v>
                </c:pt>
                <c:pt idx="553">
                  <c:v>4.9344895914707365</c:v>
                </c:pt>
                <c:pt idx="554">
                  <c:v>4.6281162212416405</c:v>
                </c:pt>
                <c:pt idx="555">
                  <c:v>4.7102002988994229</c:v>
                </c:pt>
                <c:pt idx="556">
                  <c:v>4.5551815605288084</c:v>
                </c:pt>
                <c:pt idx="557">
                  <c:v>4.3669347606869167</c:v>
                </c:pt>
                <c:pt idx="558">
                  <c:v>4.3465715154833902</c:v>
                </c:pt>
                <c:pt idx="559">
                  <c:v>4.4942113731217717</c:v>
                </c:pt>
                <c:pt idx="560">
                  <c:v>4.3093397504415378</c:v>
                </c:pt>
                <c:pt idx="561">
                  <c:v>4.2743682116017681</c:v>
                </c:pt>
                <c:pt idx="562">
                  <c:v>4.4374073456752399</c:v>
                </c:pt>
                <c:pt idx="563">
                  <c:v>4.5274227758572465</c:v>
                </c:pt>
                <c:pt idx="564">
                  <c:v>4.6224551714267648</c:v>
                </c:pt>
                <c:pt idx="565">
                  <c:v>4.3037083739780684</c:v>
                </c:pt>
                <c:pt idx="566">
                  <c:v>4.566538420663278</c:v>
                </c:pt>
                <c:pt idx="567">
                  <c:v>4.6379839008388046</c:v>
                </c:pt>
                <c:pt idx="568">
                  <c:v>4.5747800913690213</c:v>
                </c:pt>
                <c:pt idx="569">
                  <c:v>4.5843272051219799</c:v>
                </c:pt>
                <c:pt idx="570">
                  <c:v>4.3829901713887836</c:v>
                </c:pt>
                <c:pt idx="571">
                  <c:v>4.3176479376027146</c:v>
                </c:pt>
                <c:pt idx="572">
                  <c:v>4.0925212752586333</c:v>
                </c:pt>
                <c:pt idx="573">
                  <c:v>4.0287791962170729</c:v>
                </c:pt>
                <c:pt idx="574">
                  <c:v>3.9825932761365408</c:v>
                </c:pt>
                <c:pt idx="575">
                  <c:v>4.1314784861994838</c:v>
                </c:pt>
                <c:pt idx="576">
                  <c:v>4.0402315282289436</c:v>
                </c:pt>
                <c:pt idx="577">
                  <c:v>4.1502012108463759</c:v>
                </c:pt>
                <c:pt idx="578">
                  <c:v>3.9998047470520959</c:v>
                </c:pt>
                <c:pt idx="579">
                  <c:v>3.8383790706944581</c:v>
                </c:pt>
                <c:pt idx="580">
                  <c:v>3.7793433364731186</c:v>
                </c:pt>
                <c:pt idx="581">
                  <c:v>3.9756660180082264</c:v>
                </c:pt>
                <c:pt idx="582">
                  <c:v>3.9534761800863407</c:v>
                </c:pt>
                <c:pt idx="583">
                  <c:v>4.0951243193063789</c:v>
                </c:pt>
                <c:pt idx="584">
                  <c:v>4.1312081493496322</c:v>
                </c:pt>
                <c:pt idx="585">
                  <c:v>4.0473057635293088</c:v>
                </c:pt>
                <c:pt idx="586">
                  <c:v>4.1262207379060953</c:v>
                </c:pt>
                <c:pt idx="587">
                  <c:v>3.9107985879761884</c:v>
                </c:pt>
                <c:pt idx="588">
                  <c:v>3.9429688026160363</c:v>
                </c:pt>
                <c:pt idx="589">
                  <c:v>3.7817289990849758</c:v>
                </c:pt>
                <c:pt idx="590">
                  <c:v>3.8400086057928888</c:v>
                </c:pt>
                <c:pt idx="591">
                  <c:v>3.8925588250275922</c:v>
                </c:pt>
                <c:pt idx="592">
                  <c:v>3.9154199527561957</c:v>
                </c:pt>
                <c:pt idx="593">
                  <c:v>3.9617085153349905</c:v>
                </c:pt>
                <c:pt idx="594">
                  <c:v>4.0831005693849391</c:v>
                </c:pt>
                <c:pt idx="595">
                  <c:v>4.1396717449937341</c:v>
                </c:pt>
                <c:pt idx="596">
                  <c:v>4.0361788856616982</c:v>
                </c:pt>
                <c:pt idx="597">
                  <c:v>3.7669375718307805</c:v>
                </c:pt>
                <c:pt idx="598">
                  <c:v>3.8000364790205481</c:v>
                </c:pt>
                <c:pt idx="599">
                  <c:v>3.7960370713806952</c:v>
                </c:pt>
                <c:pt idx="600">
                  <c:v>3.6943609571014662</c:v>
                </c:pt>
                <c:pt idx="601">
                  <c:v>3.6691966261542177</c:v>
                </c:pt>
                <c:pt idx="602">
                  <c:v>3.7660718191117581</c:v>
                </c:pt>
                <c:pt idx="603">
                  <c:v>3.9640767058084236</c:v>
                </c:pt>
                <c:pt idx="604">
                  <c:v>3.8661646401177734</c:v>
                </c:pt>
                <c:pt idx="605">
                  <c:v>3.9906524898602385</c:v>
                </c:pt>
                <c:pt idx="606">
                  <c:v>4.0475308407042974</c:v>
                </c:pt>
                <c:pt idx="607">
                  <c:v>4.1057271641133468</c:v>
                </c:pt>
                <c:pt idx="608">
                  <c:v>4.2814003998766736</c:v>
                </c:pt>
                <c:pt idx="609">
                  <c:v>4.1011946303013218</c:v>
                </c:pt>
                <c:pt idx="610">
                  <c:v>4.0422891565637116</c:v>
                </c:pt>
                <c:pt idx="611">
                  <c:v>3.9028924387730655</c:v>
                </c:pt>
                <c:pt idx="612">
                  <c:v>3.9143172077017425</c:v>
                </c:pt>
                <c:pt idx="613">
                  <c:v>3.7358520277431353</c:v>
                </c:pt>
                <c:pt idx="614">
                  <c:v>3.3861842378434233</c:v>
                </c:pt>
                <c:pt idx="615">
                  <c:v>3.0819742149884775</c:v>
                </c:pt>
                <c:pt idx="616">
                  <c:v>2.9773298177120324</c:v>
                </c:pt>
                <c:pt idx="617">
                  <c:v>2.8025594090912023</c:v>
                </c:pt>
                <c:pt idx="618">
                  <c:v>2.7388218743021326</c:v>
                </c:pt>
                <c:pt idx="619">
                  <c:v>2.7243244286755299</c:v>
                </c:pt>
                <c:pt idx="620">
                  <c:v>2.8736303658395883</c:v>
                </c:pt>
                <c:pt idx="621">
                  <c:v>3.1185917515816755</c:v>
                </c:pt>
                <c:pt idx="622">
                  <c:v>2.9842020753108613</c:v>
                </c:pt>
                <c:pt idx="623">
                  <c:v>3.0154626212568587</c:v>
                </c:pt>
                <c:pt idx="624">
                  <c:v>3.0900830569760558</c:v>
                </c:pt>
                <c:pt idx="625">
                  <c:v>3.1680391419736793</c:v>
                </c:pt>
                <c:pt idx="626">
                  <c:v>3.092778654606704</c:v>
                </c:pt>
                <c:pt idx="627">
                  <c:v>3.00058192458755</c:v>
                </c:pt>
                <c:pt idx="628">
                  <c:v>2.9603420635480973</c:v>
                </c:pt>
                <c:pt idx="629">
                  <c:v>2.8870243673274842</c:v>
                </c:pt>
                <c:pt idx="630">
                  <c:v>2.924659624494538</c:v>
                </c:pt>
                <c:pt idx="631">
                  <c:v>2.6301995427176905</c:v>
                </c:pt>
                <c:pt idx="632">
                  <c:v>2.9311395121173263</c:v>
                </c:pt>
                <c:pt idx="633">
                  <c:v>3.3534848501894174</c:v>
                </c:pt>
                <c:pt idx="634">
                  <c:v>3.2361559157961608</c:v>
                </c:pt>
                <c:pt idx="635">
                  <c:v>3.326965490883552</c:v>
                </c:pt>
                <c:pt idx="636">
                  <c:v>3.4855316211934593</c:v>
                </c:pt>
                <c:pt idx="637">
                  <c:v>3.4861577006254265</c:v>
                </c:pt>
                <c:pt idx="638">
                  <c:v>3.1892514003855865</c:v>
                </c:pt>
                <c:pt idx="639">
                  <c:v>3.1929230025496054</c:v>
                </c:pt>
                <c:pt idx="640">
                  <c:v>2.7599558095938477</c:v>
                </c:pt>
                <c:pt idx="641">
                  <c:v>2.4455026455569424</c:v>
                </c:pt>
                <c:pt idx="642">
                  <c:v>2.356450969123415</c:v>
                </c:pt>
                <c:pt idx="643">
                  <c:v>2.6095057387355638</c:v>
                </c:pt>
                <c:pt idx="644">
                  <c:v>2.6485511164907365</c:v>
                </c:pt>
                <c:pt idx="645">
                  <c:v>2.5312503510948545</c:v>
                </c:pt>
                <c:pt idx="646">
                  <c:v>2.5636363980452472</c:v>
                </c:pt>
                <c:pt idx="647">
                  <c:v>2.6441472211421058</c:v>
                </c:pt>
                <c:pt idx="648">
                  <c:v>2.4959850271918782</c:v>
                </c:pt>
                <c:pt idx="649">
                  <c:v>2.6627304532573106</c:v>
                </c:pt>
                <c:pt idx="650">
                  <c:v>2.614320846942789</c:v>
                </c:pt>
                <c:pt idx="651">
                  <c:v>2.5681541509503631</c:v>
                </c:pt>
                <c:pt idx="652">
                  <c:v>2.6263815484775392</c:v>
                </c:pt>
                <c:pt idx="653">
                  <c:v>2.7667464903805836</c:v>
                </c:pt>
                <c:pt idx="654">
                  <c:v>2.8663620913015961</c:v>
                </c:pt>
                <c:pt idx="655">
                  <c:v>2.5998225027947797</c:v>
                </c:pt>
                <c:pt idx="656">
                  <c:v>2.5190658585333665</c:v>
                </c:pt>
                <c:pt idx="657">
                  <c:v>2.6651823712384726</c:v>
                </c:pt>
                <c:pt idx="658">
                  <c:v>2.6066240428399112</c:v>
                </c:pt>
                <c:pt idx="659">
                  <c:v>2.6315841880527842</c:v>
                </c:pt>
                <c:pt idx="660">
                  <c:v>2.5906728846734381</c:v>
                </c:pt>
                <c:pt idx="661">
                  <c:v>2.5983900288270831</c:v>
                </c:pt>
                <c:pt idx="662">
                  <c:v>2.3903145623876441</c:v>
                </c:pt>
                <c:pt idx="663">
                  <c:v>2.3181761393453684</c:v>
                </c:pt>
                <c:pt idx="664">
                  <c:v>2.1933285453865352</c:v>
                </c:pt>
                <c:pt idx="665">
                  <c:v>1.9603816936251377</c:v>
                </c:pt>
                <c:pt idx="666">
                  <c:v>1.7360927913440349</c:v>
                </c:pt>
                <c:pt idx="667">
                  <c:v>1.8995693055923226</c:v>
                </c:pt>
                <c:pt idx="668">
                  <c:v>1.9464585897800646</c:v>
                </c:pt>
                <c:pt idx="669">
                  <c:v>1.9117828578020948</c:v>
                </c:pt>
                <c:pt idx="670">
                  <c:v>1.9273078696173798</c:v>
                </c:pt>
                <c:pt idx="671">
                  <c:v>1.8974093136454258</c:v>
                </c:pt>
                <c:pt idx="672">
                  <c:v>1.9991542024566513</c:v>
                </c:pt>
                <c:pt idx="673">
                  <c:v>2.0401150699910033</c:v>
                </c:pt>
                <c:pt idx="674">
                  <c:v>2.0562970800273348</c:v>
                </c:pt>
                <c:pt idx="675">
                  <c:v>1.9645178150674667</c:v>
                </c:pt>
                <c:pt idx="676">
                  <c:v>2.167610214886551</c:v>
                </c:pt>
                <c:pt idx="677">
                  <c:v>2.3296451856304117</c:v>
                </c:pt>
                <c:pt idx="678">
                  <c:v>2.3743309407996804</c:v>
                </c:pt>
                <c:pt idx="679">
                  <c:v>2.1234326534630696</c:v>
                </c:pt>
                <c:pt idx="680">
                  <c:v>2.2443852482036704</c:v>
                </c:pt>
                <c:pt idx="681">
                  <c:v>2.1899079804918387</c:v>
                </c:pt>
                <c:pt idx="682">
                  <c:v>2.0461761188114735</c:v>
                </c:pt>
                <c:pt idx="683">
                  <c:v>1.7988529902291361</c:v>
                </c:pt>
                <c:pt idx="684">
                  <c:v>1.8280080724105687</c:v>
                </c:pt>
                <c:pt idx="685">
                  <c:v>1.8110780610918766</c:v>
                </c:pt>
                <c:pt idx="686">
                  <c:v>1.8831476448096254</c:v>
                </c:pt>
                <c:pt idx="687">
                  <c:v>1.8079186815308219</c:v>
                </c:pt>
                <c:pt idx="688">
                  <c:v>1.8279585210027136</c:v>
                </c:pt>
                <c:pt idx="689">
                  <c:v>1.9940028847290705</c:v>
                </c:pt>
                <c:pt idx="690">
                  <c:v>2.0791552946548109</c:v>
                </c:pt>
                <c:pt idx="691">
                  <c:v>1.9430720892948301</c:v>
                </c:pt>
                <c:pt idx="692">
                  <c:v>1.9526646183014833</c:v>
                </c:pt>
                <c:pt idx="693">
                  <c:v>2.060988256603153</c:v>
                </c:pt>
                <c:pt idx="694">
                  <c:v>2.140035623362138</c:v>
                </c:pt>
                <c:pt idx="695">
                  <c:v>1.9362603060286148</c:v>
                </c:pt>
                <c:pt idx="696">
                  <c:v>1.893888737256745</c:v>
                </c:pt>
                <c:pt idx="697">
                  <c:v>1.8282853581120548</c:v>
                </c:pt>
                <c:pt idx="698">
                  <c:v>1.9095734634764483</c:v>
                </c:pt>
                <c:pt idx="699">
                  <c:v>2.2818580763697156</c:v>
                </c:pt>
                <c:pt idx="700">
                  <c:v>2.0821293474061235</c:v>
                </c:pt>
                <c:pt idx="701">
                  <c:v>2.233870809860278</c:v>
                </c:pt>
                <c:pt idx="702">
                  <c:v>2.1512786242569462</c:v>
                </c:pt>
                <c:pt idx="703">
                  <c:v>2.1032304462021187</c:v>
                </c:pt>
                <c:pt idx="704">
                  <c:v>2.1613838658306435</c:v>
                </c:pt>
                <c:pt idx="705">
                  <c:v>2.2901490376578977</c:v>
                </c:pt>
                <c:pt idx="706">
                  <c:v>2.247111041037698</c:v>
                </c:pt>
                <c:pt idx="707">
                  <c:v>2.3018363019012043</c:v>
                </c:pt>
                <c:pt idx="708">
                  <c:v>2.1976526013392998</c:v>
                </c:pt>
                <c:pt idx="709">
                  <c:v>2.0934469683823096</c:v>
                </c:pt>
                <c:pt idx="710">
                  <c:v>1.9118796517136758</c:v>
                </c:pt>
                <c:pt idx="711">
                  <c:v>1.9572081699459289</c:v>
                </c:pt>
                <c:pt idx="712">
                  <c:v>1.8916106728271416</c:v>
                </c:pt>
                <c:pt idx="713">
                  <c:v>1.9357910850559676</c:v>
                </c:pt>
                <c:pt idx="714">
                  <c:v>1.916333517037188</c:v>
                </c:pt>
                <c:pt idx="715">
                  <c:v>1.8273061072783463</c:v>
                </c:pt>
                <c:pt idx="716">
                  <c:v>1.911955430156965</c:v>
                </c:pt>
                <c:pt idx="717">
                  <c:v>2.0289970287203687</c:v>
                </c:pt>
                <c:pt idx="718">
                  <c:v>2.0445846146373015</c:v>
                </c:pt>
                <c:pt idx="719">
                  <c:v>2.1269572368632197</c:v>
                </c:pt>
                <c:pt idx="720">
                  <c:v>1.8032380308936666</c:v>
                </c:pt>
                <c:pt idx="721">
                  <c:v>1.7172232169174322</c:v>
                </c:pt>
                <c:pt idx="722">
                  <c:v>1.6023677552812075</c:v>
                </c:pt>
                <c:pt idx="723">
                  <c:v>1.5647010673677215</c:v>
                </c:pt>
                <c:pt idx="724">
                  <c:v>1.4812278439336808</c:v>
                </c:pt>
                <c:pt idx="725">
                  <c:v>1.3330300816059406</c:v>
                </c:pt>
                <c:pt idx="726">
                  <c:v>1.2484294868833956</c:v>
                </c:pt>
                <c:pt idx="727">
                  <c:v>1.2403179269456928</c:v>
                </c:pt>
                <c:pt idx="728">
                  <c:v>1.3503729032020999</c:v>
                </c:pt>
                <c:pt idx="729">
                  <c:v>1.3210906422215629</c:v>
                </c:pt>
                <c:pt idx="730">
                  <c:v>1.3968379584732986</c:v>
                </c:pt>
                <c:pt idx="731">
                  <c:v>1.3793181321000816</c:v>
                </c:pt>
                <c:pt idx="732">
                  <c:v>1.5394127013814938</c:v>
                </c:pt>
                <c:pt idx="733">
                  <c:v>1.4880283040683366</c:v>
                </c:pt>
                <c:pt idx="734">
                  <c:v>1.5915580901929047</c:v>
                </c:pt>
                <c:pt idx="735">
                  <c:v>1.6358166731409796</c:v>
                </c:pt>
                <c:pt idx="736">
                  <c:v>1.7362909912974089</c:v>
                </c:pt>
                <c:pt idx="737">
                  <c:v>1.7891759349558924</c:v>
                </c:pt>
                <c:pt idx="738">
                  <c:v>1.7440128532625465</c:v>
                </c:pt>
                <c:pt idx="739">
                  <c:v>1.6996107679084957</c:v>
                </c:pt>
                <c:pt idx="740">
                  <c:v>1.5848869898304798</c:v>
                </c:pt>
                <c:pt idx="741">
                  <c:v>1.5664227931764003</c:v>
                </c:pt>
                <c:pt idx="742">
                  <c:v>1.7296549249277575</c:v>
                </c:pt>
                <c:pt idx="743">
                  <c:v>1.7513149214655357</c:v>
                </c:pt>
                <c:pt idx="744">
                  <c:v>1.7147455481700575</c:v>
                </c:pt>
                <c:pt idx="745">
                  <c:v>1.8002658743324957</c:v>
                </c:pt>
                <c:pt idx="746">
                  <c:v>1.9251156113602974</c:v>
                </c:pt>
                <c:pt idx="747">
                  <c:v>1.9375091956801498</c:v>
                </c:pt>
                <c:pt idx="748">
                  <c:v>1.9976453481495042</c:v>
                </c:pt>
                <c:pt idx="749">
                  <c:v>2.1553722994736404</c:v>
                </c:pt>
                <c:pt idx="750">
                  <c:v>2.1606166731036041</c:v>
                </c:pt>
                <c:pt idx="751">
                  <c:v>2.2627187222828695</c:v>
                </c:pt>
                <c:pt idx="752">
                  <c:v>2.3149742821606054</c:v>
                </c:pt>
                <c:pt idx="753">
                  <c:v>1.4579505079028507</c:v>
                </c:pt>
                <c:pt idx="754">
                  <c:v>2.3589582078616189</c:v>
                </c:pt>
                <c:pt idx="755">
                  <c:v>2.4962050439827834</c:v>
                </c:pt>
                <c:pt idx="756">
                  <c:v>2.4004120119264059</c:v>
                </c:pt>
                <c:pt idx="757">
                  <c:v>2.4155561693437164</c:v>
                </c:pt>
                <c:pt idx="758">
                  <c:v>2.2686719009510767</c:v>
                </c:pt>
                <c:pt idx="759">
                  <c:v>2.1903238625432522</c:v>
                </c:pt>
                <c:pt idx="760">
                  <c:v>2.2530057319271037</c:v>
                </c:pt>
                <c:pt idx="761">
                  <c:v>2.2433426314314033</c:v>
                </c:pt>
                <c:pt idx="762">
                  <c:v>2.124265206196057</c:v>
                </c:pt>
                <c:pt idx="763">
                  <c:v>1.8623086518868917</c:v>
                </c:pt>
                <c:pt idx="764">
                  <c:v>2.1340280397944582</c:v>
                </c:pt>
                <c:pt idx="765">
                  <c:v>1.9248784358735946</c:v>
                </c:pt>
                <c:pt idx="766">
                  <c:v>1.9768532030617649</c:v>
                </c:pt>
                <c:pt idx="767">
                  <c:v>2.0214618578737316</c:v>
                </c:pt>
                <c:pt idx="768">
                  <c:v>1.900612706714</c:v>
                </c:pt>
                <c:pt idx="769">
                  <c:v>1.8450564518557968</c:v>
                </c:pt>
                <c:pt idx="770">
                  <c:v>1.9963808242097372</c:v>
                </c:pt>
                <c:pt idx="771">
                  <c:v>1.845406806481023</c:v>
                </c:pt>
                <c:pt idx="772">
                  <c:v>1.7323090931566725</c:v>
                </c:pt>
                <c:pt idx="773">
                  <c:v>1.8382956232580057</c:v>
                </c:pt>
                <c:pt idx="774">
                  <c:v>1.6523228210352414</c:v>
                </c:pt>
                <c:pt idx="775">
                  <c:v>2.0338601726285219</c:v>
                </c:pt>
                <c:pt idx="776">
                  <c:v>2.0276360774359006</c:v>
                </c:pt>
                <c:pt idx="777">
                  <c:v>2.0578674397139451</c:v>
                </c:pt>
                <c:pt idx="778">
                  <c:v>2.1346461000128869</c:v>
                </c:pt>
                <c:pt idx="779">
                  <c:v>2.2501498204641734</c:v>
                </c:pt>
                <c:pt idx="780">
                  <c:v>2.2927398518533408</c:v>
                </c:pt>
                <c:pt idx="781">
                  <c:v>2.402428680134804</c:v>
                </c:pt>
                <c:pt idx="782">
                  <c:v>2.3834105534857031</c:v>
                </c:pt>
                <c:pt idx="783">
                  <c:v>2.355962500221338</c:v>
                </c:pt>
                <c:pt idx="784">
                  <c:v>2.3560442164228732</c:v>
                </c:pt>
                <c:pt idx="785">
                  <c:v>2.4992424738525614</c:v>
                </c:pt>
                <c:pt idx="786">
                  <c:v>2.7541517339093673</c:v>
                </c:pt>
                <c:pt idx="787">
                  <c:v>2.5472835546870272</c:v>
                </c:pt>
                <c:pt idx="788">
                  <c:v>2.4656297353010217</c:v>
                </c:pt>
                <c:pt idx="789">
                  <c:v>2.4659691527802892</c:v>
                </c:pt>
                <c:pt idx="790">
                  <c:v>2.6222606443626688</c:v>
                </c:pt>
                <c:pt idx="791">
                  <c:v>2.5354637124410004</c:v>
                </c:pt>
                <c:pt idx="792">
                  <c:v>2.7432087525921247</c:v>
                </c:pt>
                <c:pt idx="793">
                  <c:v>2.7684593294007556</c:v>
                </c:pt>
                <c:pt idx="794">
                  <c:v>2.832053792511914</c:v>
                </c:pt>
                <c:pt idx="795">
                  <c:v>2.9710759817076138</c:v>
                </c:pt>
                <c:pt idx="796">
                  <c:v>2.9211794642221207</c:v>
                </c:pt>
                <c:pt idx="797">
                  <c:v>2.8802715105721148</c:v>
                </c:pt>
                <c:pt idx="798">
                  <c:v>2.6483566694665228</c:v>
                </c:pt>
                <c:pt idx="799">
                  <c:v>2.6126518282728739</c:v>
                </c:pt>
                <c:pt idx="800">
                  <c:v>2.4800680101250663</c:v>
                </c:pt>
                <c:pt idx="801">
                  <c:v>2.3358843502614803</c:v>
                </c:pt>
                <c:pt idx="802">
                  <c:v>2.300932140508209</c:v>
                </c:pt>
                <c:pt idx="803">
                  <c:v>2.3865752314843434</c:v>
                </c:pt>
                <c:pt idx="804">
                  <c:v>2.4923534700118779</c:v>
                </c:pt>
                <c:pt idx="805">
                  <c:v>2.3048363729354406</c:v>
                </c:pt>
                <c:pt idx="806">
                  <c:v>2.5143820881703931</c:v>
                </c:pt>
                <c:pt idx="807">
                  <c:v>2.6919806899350789</c:v>
                </c:pt>
                <c:pt idx="808">
                  <c:v>2.7672476112014124</c:v>
                </c:pt>
                <c:pt idx="809">
                  <c:v>2.7635572609856922</c:v>
                </c:pt>
                <c:pt idx="810">
                  <c:v>2.6804289109841761</c:v>
                </c:pt>
                <c:pt idx="811">
                  <c:v>2.7338814142419352</c:v>
                </c:pt>
                <c:pt idx="812">
                  <c:v>2.7145606166671428</c:v>
                </c:pt>
                <c:pt idx="813">
                  <c:v>2.6139403821539418</c:v>
                </c:pt>
                <c:pt idx="814">
                  <c:v>2.5757677721365013</c:v>
                </c:pt>
                <c:pt idx="815">
                  <c:v>2.4501320911171263</c:v>
                </c:pt>
                <c:pt idx="816">
                  <c:v>2.5089386667910674</c:v>
                </c:pt>
                <c:pt idx="817">
                  <c:v>2.4794818408443007</c:v>
                </c:pt>
                <c:pt idx="818">
                  <c:v>2.6631999157867625</c:v>
                </c:pt>
                <c:pt idx="819">
                  <c:v>2.5252575393923848</c:v>
                </c:pt>
                <c:pt idx="820">
                  <c:v>2.4582774499203595</c:v>
                </c:pt>
                <c:pt idx="821">
                  <c:v>2.3794657917136419</c:v>
                </c:pt>
                <c:pt idx="822">
                  <c:v>2.5487331534957747</c:v>
                </c:pt>
                <c:pt idx="823">
                  <c:v>2.5132563573739191</c:v>
                </c:pt>
                <c:pt idx="824">
                  <c:v>2.5070224635185525</c:v>
                </c:pt>
                <c:pt idx="825">
                  <c:v>2.3502375214384159</c:v>
                </c:pt>
                <c:pt idx="826">
                  <c:v>2.3468015879238777</c:v>
                </c:pt>
                <c:pt idx="827">
                  <c:v>2.4750989977260645</c:v>
                </c:pt>
                <c:pt idx="828">
                  <c:v>2.6360762944049441</c:v>
                </c:pt>
                <c:pt idx="829">
                  <c:v>2.6534670096771293</c:v>
                </c:pt>
                <c:pt idx="830">
                  <c:v>2.5591813994100931</c:v>
                </c:pt>
                <c:pt idx="831">
                  <c:v>2.5880714335879134</c:v>
                </c:pt>
                <c:pt idx="832">
                  <c:v>2.5067130507878659</c:v>
                </c:pt>
                <c:pt idx="833">
                  <c:v>2.4793719210146605</c:v>
                </c:pt>
                <c:pt idx="834">
                  <c:v>2.4611273273651904</c:v>
                </c:pt>
                <c:pt idx="835">
                  <c:v>2.4589230265932258</c:v>
                </c:pt>
                <c:pt idx="836">
                  <c:v>2.6547606026721979</c:v>
                </c:pt>
                <c:pt idx="837">
                  <c:v>2.4909494078480208</c:v>
                </c:pt>
                <c:pt idx="838">
                  <c:v>2.4894092764579199</c:v>
                </c:pt>
                <c:pt idx="839">
                  <c:v>2.4565074027682101</c:v>
                </c:pt>
                <c:pt idx="840">
                  <c:v>2.5266300143561153</c:v>
                </c:pt>
                <c:pt idx="841">
                  <c:v>2.6962659049120816</c:v>
                </c:pt>
                <c:pt idx="842">
                  <c:v>2.7208814146837739</c:v>
                </c:pt>
                <c:pt idx="843">
                  <c:v>2.7972568582110995</c:v>
                </c:pt>
                <c:pt idx="844">
                  <c:v>2.6419920970584485</c:v>
                </c:pt>
                <c:pt idx="845">
                  <c:v>2.721504347565471</c:v>
                </c:pt>
                <c:pt idx="846">
                  <c:v>2.7026288783204961</c:v>
                </c:pt>
                <c:pt idx="847">
                  <c:v>2.7573547672291312</c:v>
                </c:pt>
                <c:pt idx="848">
                  <c:v>2.6587265872733212</c:v>
                </c:pt>
                <c:pt idx="849">
                  <c:v>2.4505637461605403</c:v>
                </c:pt>
                <c:pt idx="850">
                  <c:v>2.4152046042872684</c:v>
                </c:pt>
                <c:pt idx="851">
                  <c:v>2.3815695097311504</c:v>
                </c:pt>
                <c:pt idx="852">
                  <c:v>2.4124847989270961</c:v>
                </c:pt>
                <c:pt idx="853">
                  <c:v>2.3883364569651064</c:v>
                </c:pt>
                <c:pt idx="854">
                  <c:v>2.3543112212406356</c:v>
                </c:pt>
                <c:pt idx="855">
                  <c:v>2.2173098002341618</c:v>
                </c:pt>
                <c:pt idx="856">
                  <c:v>2.091877368496057</c:v>
                </c:pt>
                <c:pt idx="857">
                  <c:v>2.4747534429069731</c:v>
                </c:pt>
                <c:pt idx="858">
                  <c:v>2.4497427385520325</c:v>
                </c:pt>
                <c:pt idx="859">
                  <c:v>2.2872150799835964</c:v>
                </c:pt>
                <c:pt idx="860">
                  <c:v>2.1185227616661138</c:v>
                </c:pt>
                <c:pt idx="861">
                  <c:v>2.1400456704708688</c:v>
                </c:pt>
                <c:pt idx="862">
                  <c:v>2.1535152586602635</c:v>
                </c:pt>
                <c:pt idx="863">
                  <c:v>2.1241170225612791</c:v>
                </c:pt>
                <c:pt idx="864">
                  <c:v>1.891156021953833</c:v>
                </c:pt>
                <c:pt idx="865">
                  <c:v>1.89037741435736</c:v>
                </c:pt>
                <c:pt idx="866">
                  <c:v>1.8637277185039522</c:v>
                </c:pt>
                <c:pt idx="867">
                  <c:v>1.8458779673560457</c:v>
                </c:pt>
                <c:pt idx="868">
                  <c:v>2.0044049959146264</c:v>
                </c:pt>
                <c:pt idx="869">
                  <c:v>2.022193156091376</c:v>
                </c:pt>
                <c:pt idx="870">
                  <c:v>1.8622884435655607</c:v>
                </c:pt>
                <c:pt idx="871">
                  <c:v>1.9560367747960754</c:v>
                </c:pt>
                <c:pt idx="872">
                  <c:v>1.9482012657879437</c:v>
                </c:pt>
                <c:pt idx="873">
                  <c:v>1.9206374585920116</c:v>
                </c:pt>
                <c:pt idx="874">
                  <c:v>1.9066256984151693</c:v>
                </c:pt>
                <c:pt idx="875">
                  <c:v>2.0057040614629358</c:v>
                </c:pt>
                <c:pt idx="876">
                  <c:v>1.8843532646880305</c:v>
                </c:pt>
                <c:pt idx="877">
                  <c:v>1.7360317141700676</c:v>
                </c:pt>
                <c:pt idx="878">
                  <c:v>1.6229366417118172</c:v>
                </c:pt>
                <c:pt idx="879">
                  <c:v>1.7246956977812857</c:v>
                </c:pt>
                <c:pt idx="880">
                  <c:v>1.6450916480124107</c:v>
                </c:pt>
                <c:pt idx="881">
                  <c:v>1.8273715613564292</c:v>
                </c:pt>
                <c:pt idx="882">
                  <c:v>1.7914975105625786</c:v>
                </c:pt>
                <c:pt idx="883">
                  <c:v>1.6363841008987379</c:v>
                </c:pt>
                <c:pt idx="884">
                  <c:v>1.5506999538392279</c:v>
                </c:pt>
                <c:pt idx="885">
                  <c:v>1.56916567493397</c:v>
                </c:pt>
                <c:pt idx="886">
                  <c:v>1.6665406383660724</c:v>
                </c:pt>
                <c:pt idx="887">
                  <c:v>1.8432099328137355</c:v>
                </c:pt>
                <c:pt idx="888">
                  <c:v>1.9837541545403781</c:v>
                </c:pt>
                <c:pt idx="889">
                  <c:v>1.955714137675983</c:v>
                </c:pt>
                <c:pt idx="890">
                  <c:v>1.9555918485035448</c:v>
                </c:pt>
                <c:pt idx="891">
                  <c:v>2.1076105249389201</c:v>
                </c:pt>
                <c:pt idx="892">
                  <c:v>1.675043966482761</c:v>
                </c:pt>
                <c:pt idx="893">
                  <c:v>1.5771704208876685</c:v>
                </c:pt>
                <c:pt idx="894">
                  <c:v>1.6297370817064376</c:v>
                </c:pt>
                <c:pt idx="895">
                  <c:v>1.5193487961793011</c:v>
                </c:pt>
                <c:pt idx="896">
                  <c:v>1.5653530614519156</c:v>
                </c:pt>
                <c:pt idx="897">
                  <c:v>1.4598333101133392</c:v>
                </c:pt>
                <c:pt idx="898">
                  <c:v>1.4710380107615464</c:v>
                </c:pt>
                <c:pt idx="899">
                  <c:v>1.4922155584309849</c:v>
                </c:pt>
                <c:pt idx="900">
                  <c:v>1.3803409368099437</c:v>
                </c:pt>
                <c:pt idx="901">
                  <c:v>1.5031405975706491</c:v>
                </c:pt>
                <c:pt idx="902">
                  <c:v>1.4930928254355109</c:v>
                </c:pt>
                <c:pt idx="903">
                  <c:v>1.5993568618050489</c:v>
                </c:pt>
                <c:pt idx="904">
                  <c:v>1.9849628836888229</c:v>
                </c:pt>
                <c:pt idx="905">
                  <c:v>1.9120133404764914</c:v>
                </c:pt>
                <c:pt idx="906">
                  <c:v>1.9089429207309223</c:v>
                </c:pt>
                <c:pt idx="907">
                  <c:v>2.0594830786380527</c:v>
                </c:pt>
                <c:pt idx="908">
                  <c:v>2.0724969067097021</c:v>
                </c:pt>
                <c:pt idx="909">
                  <c:v>1.7895332306272564</c:v>
                </c:pt>
                <c:pt idx="910">
                  <c:v>1.7737663680024696</c:v>
                </c:pt>
                <c:pt idx="911">
                  <c:v>1.8052443982888917</c:v>
                </c:pt>
                <c:pt idx="912">
                  <c:v>1.6459378770633748</c:v>
                </c:pt>
                <c:pt idx="913">
                  <c:v>1.6342557924040193</c:v>
                </c:pt>
                <c:pt idx="914">
                  <c:v>1.6778039313944362</c:v>
                </c:pt>
                <c:pt idx="915">
                  <c:v>2.2484556969804146</c:v>
                </c:pt>
                <c:pt idx="916">
                  <c:v>2.3028813530437446</c:v>
                </c:pt>
                <c:pt idx="917">
                  <c:v>2.315963383908894</c:v>
                </c:pt>
                <c:pt idx="918">
                  <c:v>2.4420121694000159</c:v>
                </c:pt>
                <c:pt idx="919">
                  <c:v>2.2767293551528383</c:v>
                </c:pt>
                <c:pt idx="920">
                  <c:v>2.1324725252669054</c:v>
                </c:pt>
                <c:pt idx="921">
                  <c:v>2.2145499808406441</c:v>
                </c:pt>
                <c:pt idx="922">
                  <c:v>2.2899843136146103</c:v>
                </c:pt>
                <c:pt idx="923">
                  <c:v>2.0537416698587379</c:v>
                </c:pt>
                <c:pt idx="924">
                  <c:v>1.8051208936913667</c:v>
                </c:pt>
                <c:pt idx="925">
                  <c:v>1.6674532543278815</c:v>
                </c:pt>
                <c:pt idx="926">
                  <c:v>1.6658705393787159</c:v>
                </c:pt>
                <c:pt idx="927">
                  <c:v>1.619086152751521</c:v>
                </c:pt>
                <c:pt idx="928">
                  <c:v>1.5567286334116375</c:v>
                </c:pt>
                <c:pt idx="929">
                  <c:v>1.5540613658068025</c:v>
                </c:pt>
                <c:pt idx="930">
                  <c:v>1.5882654319982805</c:v>
                </c:pt>
                <c:pt idx="931">
                  <c:v>1.3866217665922989</c:v>
                </c:pt>
                <c:pt idx="932">
                  <c:v>1.5196377561987902</c:v>
                </c:pt>
                <c:pt idx="933">
                  <c:v>1.4976307627771348</c:v>
                </c:pt>
                <c:pt idx="934">
                  <c:v>1.5345849467809103</c:v>
                </c:pt>
                <c:pt idx="935">
                  <c:v>1.7120211257659435</c:v>
                </c:pt>
                <c:pt idx="936">
                  <c:v>1.8656884353136149</c:v>
                </c:pt>
                <c:pt idx="937">
                  <c:v>1.8792772657407113</c:v>
                </c:pt>
                <c:pt idx="938">
                  <c:v>1.8792772657407113</c:v>
                </c:pt>
                <c:pt idx="939">
                  <c:v>1.6051538191599946</c:v>
                </c:pt>
                <c:pt idx="940">
                  <c:v>1.4864900065812208</c:v>
                </c:pt>
                <c:pt idx="941">
                  <c:v>1.2757949214753239</c:v>
                </c:pt>
                <c:pt idx="942">
                  <c:v>1.1062808300087568</c:v>
                </c:pt>
                <c:pt idx="943">
                  <c:v>1.1946708444485807</c:v>
                </c:pt>
                <c:pt idx="944">
                  <c:v>1.1334441176896632</c:v>
                </c:pt>
                <c:pt idx="945">
                  <c:v>0.99881223588224088</c:v>
                </c:pt>
                <c:pt idx="946">
                  <c:v>0.93787110530058726</c:v>
                </c:pt>
                <c:pt idx="947">
                  <c:v>0.75395039949211196</c:v>
                </c:pt>
                <c:pt idx="948">
                  <c:v>0.7155574794284405</c:v>
                </c:pt>
                <c:pt idx="949">
                  <c:v>0.64635785923636035</c:v>
                </c:pt>
                <c:pt idx="950">
                  <c:v>0.6540156930888088</c:v>
                </c:pt>
                <c:pt idx="951">
                  <c:v>0.48155539079237997</c:v>
                </c:pt>
                <c:pt idx="952">
                  <c:v>0.58376468111461577</c:v>
                </c:pt>
                <c:pt idx="953">
                  <c:v>0.42767790384874615</c:v>
                </c:pt>
                <c:pt idx="954">
                  <c:v>0.44130722696991143</c:v>
                </c:pt>
                <c:pt idx="955">
                  <c:v>0.58323135887420108</c:v>
                </c:pt>
                <c:pt idx="956">
                  <c:v>0.6439675789138164</c:v>
                </c:pt>
                <c:pt idx="957">
                  <c:v>0.39526682405960401</c:v>
                </c:pt>
                <c:pt idx="958">
                  <c:v>0.28835465243039948</c:v>
                </c:pt>
                <c:pt idx="959">
                  <c:v>0.45434899046509258</c:v>
                </c:pt>
                <c:pt idx="960">
                  <c:v>0.56789136574897725</c:v>
                </c:pt>
              </c:numCache>
            </c:numRef>
          </c:val>
          <c:extLst xmlns:c16r2="http://schemas.microsoft.com/office/drawing/2015/06/chart">
            <c:ext xmlns:c16="http://schemas.microsoft.com/office/drawing/2014/chart" uri="{C3380CC4-5D6E-409C-BE32-E72D297353CC}">
              <c16:uniqueId val="{00000000-7127-4EE7-81B7-88A877082DDF}"/>
            </c:ext>
          </c:extLst>
        </c:ser>
        <c:dLbls>
          <c:showLegendKey val="0"/>
          <c:showVal val="0"/>
          <c:showCatName val="0"/>
          <c:showSerName val="0"/>
          <c:showPercent val="0"/>
          <c:showBubbleSize val="0"/>
        </c:dLbls>
        <c:axId val="495737472"/>
        <c:axId val="495735936"/>
      </c:areaChart>
      <c:lineChart>
        <c:grouping val="standard"/>
        <c:varyColors val="0"/>
        <c:ser>
          <c:idx val="0"/>
          <c:order val="0"/>
          <c:tx>
            <c:v>Gross performance</c:v>
          </c:tx>
          <c:spPr>
            <a:ln w="28575">
              <a:solidFill>
                <a:srgbClr val="001C4B"/>
              </a:solidFill>
              <a:prstDash val="solid"/>
            </a:ln>
          </c:spPr>
          <c:marker>
            <c:symbol val="none"/>
          </c:marker>
          <c:cat>
            <c:numRef>
              <c:f>'ETF GLOBAL SB USD'!$C$5:$C$966</c:f>
              <c:numCache>
                <c:formatCode>m/d/yyyy</c:formatCode>
                <c:ptCount val="962"/>
                <c:pt idx="0">
                  <c:v>41786</c:v>
                </c:pt>
                <c:pt idx="1">
                  <c:v>41787</c:v>
                </c:pt>
                <c:pt idx="2">
                  <c:v>41788</c:v>
                </c:pt>
                <c:pt idx="3">
                  <c:v>41789</c:v>
                </c:pt>
                <c:pt idx="4">
                  <c:v>41792</c:v>
                </c:pt>
                <c:pt idx="5">
                  <c:v>41793</c:v>
                </c:pt>
                <c:pt idx="6">
                  <c:v>41794</c:v>
                </c:pt>
                <c:pt idx="7">
                  <c:v>41795</c:v>
                </c:pt>
                <c:pt idx="8">
                  <c:v>41796</c:v>
                </c:pt>
                <c:pt idx="9">
                  <c:v>41799</c:v>
                </c:pt>
                <c:pt idx="10">
                  <c:v>41800</c:v>
                </c:pt>
                <c:pt idx="11">
                  <c:v>41801</c:v>
                </c:pt>
                <c:pt idx="12">
                  <c:v>41802</c:v>
                </c:pt>
                <c:pt idx="13">
                  <c:v>41803</c:v>
                </c:pt>
                <c:pt idx="14">
                  <c:v>41806</c:v>
                </c:pt>
                <c:pt idx="15">
                  <c:v>41807</c:v>
                </c:pt>
                <c:pt idx="16">
                  <c:v>41808</c:v>
                </c:pt>
                <c:pt idx="17">
                  <c:v>41809</c:v>
                </c:pt>
                <c:pt idx="18">
                  <c:v>41810</c:v>
                </c:pt>
                <c:pt idx="19">
                  <c:v>41813</c:v>
                </c:pt>
                <c:pt idx="20">
                  <c:v>41814</c:v>
                </c:pt>
                <c:pt idx="21">
                  <c:v>41815</c:v>
                </c:pt>
                <c:pt idx="22">
                  <c:v>41816</c:v>
                </c:pt>
                <c:pt idx="23">
                  <c:v>41817</c:v>
                </c:pt>
                <c:pt idx="24">
                  <c:v>41820</c:v>
                </c:pt>
                <c:pt idx="25">
                  <c:v>41821</c:v>
                </c:pt>
                <c:pt idx="26">
                  <c:v>41822</c:v>
                </c:pt>
                <c:pt idx="27">
                  <c:v>41823</c:v>
                </c:pt>
                <c:pt idx="28">
                  <c:v>41824</c:v>
                </c:pt>
                <c:pt idx="29">
                  <c:v>41827</c:v>
                </c:pt>
                <c:pt idx="30">
                  <c:v>41828</c:v>
                </c:pt>
                <c:pt idx="31">
                  <c:v>41829</c:v>
                </c:pt>
                <c:pt idx="32">
                  <c:v>41830</c:v>
                </c:pt>
                <c:pt idx="33">
                  <c:v>41831</c:v>
                </c:pt>
                <c:pt idx="34">
                  <c:v>41834</c:v>
                </c:pt>
                <c:pt idx="35">
                  <c:v>41835</c:v>
                </c:pt>
                <c:pt idx="36">
                  <c:v>41836</c:v>
                </c:pt>
                <c:pt idx="37">
                  <c:v>41837</c:v>
                </c:pt>
                <c:pt idx="38">
                  <c:v>41838</c:v>
                </c:pt>
                <c:pt idx="39">
                  <c:v>41841</c:v>
                </c:pt>
                <c:pt idx="40">
                  <c:v>41842</c:v>
                </c:pt>
                <c:pt idx="41">
                  <c:v>41843</c:v>
                </c:pt>
                <c:pt idx="42">
                  <c:v>41844</c:v>
                </c:pt>
                <c:pt idx="43">
                  <c:v>41845</c:v>
                </c:pt>
                <c:pt idx="44">
                  <c:v>41848</c:v>
                </c:pt>
                <c:pt idx="45">
                  <c:v>41849</c:v>
                </c:pt>
                <c:pt idx="46">
                  <c:v>41850</c:v>
                </c:pt>
                <c:pt idx="47">
                  <c:v>41851</c:v>
                </c:pt>
                <c:pt idx="48">
                  <c:v>41852</c:v>
                </c:pt>
                <c:pt idx="49">
                  <c:v>41855</c:v>
                </c:pt>
                <c:pt idx="50">
                  <c:v>41856</c:v>
                </c:pt>
                <c:pt idx="51">
                  <c:v>41857</c:v>
                </c:pt>
                <c:pt idx="52">
                  <c:v>41858</c:v>
                </c:pt>
                <c:pt idx="53">
                  <c:v>41859</c:v>
                </c:pt>
                <c:pt idx="54">
                  <c:v>41862</c:v>
                </c:pt>
                <c:pt idx="55">
                  <c:v>41863</c:v>
                </c:pt>
                <c:pt idx="56">
                  <c:v>41864</c:v>
                </c:pt>
                <c:pt idx="57">
                  <c:v>41865</c:v>
                </c:pt>
                <c:pt idx="58">
                  <c:v>41866</c:v>
                </c:pt>
                <c:pt idx="59">
                  <c:v>41869</c:v>
                </c:pt>
                <c:pt idx="60">
                  <c:v>41870</c:v>
                </c:pt>
                <c:pt idx="61">
                  <c:v>41871</c:v>
                </c:pt>
                <c:pt idx="62">
                  <c:v>41872</c:v>
                </c:pt>
                <c:pt idx="63">
                  <c:v>41873</c:v>
                </c:pt>
                <c:pt idx="64">
                  <c:v>41876</c:v>
                </c:pt>
                <c:pt idx="65">
                  <c:v>41877</c:v>
                </c:pt>
                <c:pt idx="66">
                  <c:v>41878</c:v>
                </c:pt>
                <c:pt idx="67">
                  <c:v>41879</c:v>
                </c:pt>
                <c:pt idx="68">
                  <c:v>41880</c:v>
                </c:pt>
                <c:pt idx="69">
                  <c:v>41883</c:v>
                </c:pt>
                <c:pt idx="70">
                  <c:v>41884</c:v>
                </c:pt>
                <c:pt idx="71">
                  <c:v>41885</c:v>
                </c:pt>
                <c:pt idx="72">
                  <c:v>41886</c:v>
                </c:pt>
                <c:pt idx="73">
                  <c:v>41887</c:v>
                </c:pt>
                <c:pt idx="74">
                  <c:v>41890</c:v>
                </c:pt>
                <c:pt idx="75">
                  <c:v>41891</c:v>
                </c:pt>
                <c:pt idx="76">
                  <c:v>41892</c:v>
                </c:pt>
                <c:pt idx="77">
                  <c:v>41893</c:v>
                </c:pt>
                <c:pt idx="78">
                  <c:v>41894</c:v>
                </c:pt>
                <c:pt idx="79">
                  <c:v>41897</c:v>
                </c:pt>
                <c:pt idx="80">
                  <c:v>41898</c:v>
                </c:pt>
                <c:pt idx="81">
                  <c:v>41899</c:v>
                </c:pt>
                <c:pt idx="82">
                  <c:v>41900</c:v>
                </c:pt>
                <c:pt idx="83">
                  <c:v>41901</c:v>
                </c:pt>
                <c:pt idx="84">
                  <c:v>41904</c:v>
                </c:pt>
                <c:pt idx="85">
                  <c:v>41905</c:v>
                </c:pt>
                <c:pt idx="86">
                  <c:v>41906</c:v>
                </c:pt>
                <c:pt idx="87">
                  <c:v>41907</c:v>
                </c:pt>
                <c:pt idx="88">
                  <c:v>41908</c:v>
                </c:pt>
                <c:pt idx="89">
                  <c:v>41911</c:v>
                </c:pt>
                <c:pt idx="90">
                  <c:v>41912</c:v>
                </c:pt>
                <c:pt idx="91">
                  <c:v>41913</c:v>
                </c:pt>
                <c:pt idx="92">
                  <c:v>41914</c:v>
                </c:pt>
                <c:pt idx="93">
                  <c:v>41915</c:v>
                </c:pt>
                <c:pt idx="94">
                  <c:v>41918</c:v>
                </c:pt>
                <c:pt idx="95">
                  <c:v>41919</c:v>
                </c:pt>
                <c:pt idx="96">
                  <c:v>41920</c:v>
                </c:pt>
                <c:pt idx="97">
                  <c:v>41921</c:v>
                </c:pt>
                <c:pt idx="98">
                  <c:v>41922</c:v>
                </c:pt>
                <c:pt idx="99">
                  <c:v>41925</c:v>
                </c:pt>
                <c:pt idx="100">
                  <c:v>41926</c:v>
                </c:pt>
                <c:pt idx="101">
                  <c:v>41927</c:v>
                </c:pt>
                <c:pt idx="102">
                  <c:v>41928</c:v>
                </c:pt>
                <c:pt idx="103">
                  <c:v>41929</c:v>
                </c:pt>
                <c:pt idx="104">
                  <c:v>41932</c:v>
                </c:pt>
                <c:pt idx="105">
                  <c:v>41933</c:v>
                </c:pt>
                <c:pt idx="106">
                  <c:v>41934</c:v>
                </c:pt>
                <c:pt idx="107">
                  <c:v>41935</c:v>
                </c:pt>
                <c:pt idx="108">
                  <c:v>41936</c:v>
                </c:pt>
                <c:pt idx="109">
                  <c:v>41939</c:v>
                </c:pt>
                <c:pt idx="110">
                  <c:v>41940</c:v>
                </c:pt>
                <c:pt idx="111">
                  <c:v>41941</c:v>
                </c:pt>
                <c:pt idx="112">
                  <c:v>41942</c:v>
                </c:pt>
                <c:pt idx="113">
                  <c:v>41943</c:v>
                </c:pt>
                <c:pt idx="114">
                  <c:v>41946</c:v>
                </c:pt>
                <c:pt idx="115">
                  <c:v>41947</c:v>
                </c:pt>
                <c:pt idx="116">
                  <c:v>41948</c:v>
                </c:pt>
                <c:pt idx="117">
                  <c:v>41949</c:v>
                </c:pt>
                <c:pt idx="118">
                  <c:v>41950</c:v>
                </c:pt>
                <c:pt idx="119">
                  <c:v>41953</c:v>
                </c:pt>
                <c:pt idx="120">
                  <c:v>41954</c:v>
                </c:pt>
                <c:pt idx="121">
                  <c:v>41955</c:v>
                </c:pt>
                <c:pt idx="122">
                  <c:v>41956</c:v>
                </c:pt>
                <c:pt idx="123">
                  <c:v>41957</c:v>
                </c:pt>
                <c:pt idx="124">
                  <c:v>41960</c:v>
                </c:pt>
                <c:pt idx="125">
                  <c:v>41961</c:v>
                </c:pt>
                <c:pt idx="126">
                  <c:v>41962</c:v>
                </c:pt>
                <c:pt idx="127">
                  <c:v>41963</c:v>
                </c:pt>
                <c:pt idx="128">
                  <c:v>41964</c:v>
                </c:pt>
                <c:pt idx="129">
                  <c:v>41967</c:v>
                </c:pt>
                <c:pt idx="130">
                  <c:v>41968</c:v>
                </c:pt>
                <c:pt idx="131">
                  <c:v>41969</c:v>
                </c:pt>
                <c:pt idx="132">
                  <c:v>41970</c:v>
                </c:pt>
                <c:pt idx="133">
                  <c:v>41971</c:v>
                </c:pt>
                <c:pt idx="134">
                  <c:v>41974</c:v>
                </c:pt>
                <c:pt idx="135">
                  <c:v>41975</c:v>
                </c:pt>
                <c:pt idx="136">
                  <c:v>41976</c:v>
                </c:pt>
                <c:pt idx="137">
                  <c:v>41977</c:v>
                </c:pt>
                <c:pt idx="138">
                  <c:v>41978</c:v>
                </c:pt>
                <c:pt idx="139">
                  <c:v>41981</c:v>
                </c:pt>
                <c:pt idx="140">
                  <c:v>41982</c:v>
                </c:pt>
                <c:pt idx="141">
                  <c:v>41983</c:v>
                </c:pt>
                <c:pt idx="142">
                  <c:v>41984</c:v>
                </c:pt>
                <c:pt idx="143">
                  <c:v>41985</c:v>
                </c:pt>
                <c:pt idx="144">
                  <c:v>41988</c:v>
                </c:pt>
                <c:pt idx="145">
                  <c:v>41989</c:v>
                </c:pt>
                <c:pt idx="146">
                  <c:v>41990</c:v>
                </c:pt>
                <c:pt idx="147">
                  <c:v>41991</c:v>
                </c:pt>
                <c:pt idx="148">
                  <c:v>41992</c:v>
                </c:pt>
                <c:pt idx="149">
                  <c:v>41995</c:v>
                </c:pt>
                <c:pt idx="150">
                  <c:v>41996</c:v>
                </c:pt>
                <c:pt idx="151">
                  <c:v>41997</c:v>
                </c:pt>
                <c:pt idx="152">
                  <c:v>41998</c:v>
                </c:pt>
                <c:pt idx="153">
                  <c:v>41999</c:v>
                </c:pt>
                <c:pt idx="154">
                  <c:v>42002</c:v>
                </c:pt>
                <c:pt idx="155">
                  <c:v>42003</c:v>
                </c:pt>
                <c:pt idx="156">
                  <c:v>42004</c:v>
                </c:pt>
                <c:pt idx="157">
                  <c:v>42005</c:v>
                </c:pt>
                <c:pt idx="158">
                  <c:v>42006</c:v>
                </c:pt>
                <c:pt idx="159">
                  <c:v>42009</c:v>
                </c:pt>
                <c:pt idx="160">
                  <c:v>42010</c:v>
                </c:pt>
                <c:pt idx="161">
                  <c:v>42011</c:v>
                </c:pt>
                <c:pt idx="162">
                  <c:v>42012</c:v>
                </c:pt>
                <c:pt idx="163">
                  <c:v>42013</c:v>
                </c:pt>
                <c:pt idx="164">
                  <c:v>42016</c:v>
                </c:pt>
                <c:pt idx="165">
                  <c:v>42017</c:v>
                </c:pt>
                <c:pt idx="166">
                  <c:v>42018</c:v>
                </c:pt>
                <c:pt idx="167">
                  <c:v>42019</c:v>
                </c:pt>
                <c:pt idx="168">
                  <c:v>42020</c:v>
                </c:pt>
                <c:pt idx="169">
                  <c:v>42023</c:v>
                </c:pt>
                <c:pt idx="170">
                  <c:v>42024</c:v>
                </c:pt>
                <c:pt idx="171">
                  <c:v>42025</c:v>
                </c:pt>
                <c:pt idx="172">
                  <c:v>42026</c:v>
                </c:pt>
                <c:pt idx="173">
                  <c:v>42027</c:v>
                </c:pt>
                <c:pt idx="174">
                  <c:v>42030</c:v>
                </c:pt>
                <c:pt idx="175">
                  <c:v>42031</c:v>
                </c:pt>
                <c:pt idx="176">
                  <c:v>42032</c:v>
                </c:pt>
                <c:pt idx="177">
                  <c:v>42033</c:v>
                </c:pt>
                <c:pt idx="178">
                  <c:v>42034</c:v>
                </c:pt>
                <c:pt idx="179">
                  <c:v>42037</c:v>
                </c:pt>
                <c:pt idx="180">
                  <c:v>42038</c:v>
                </c:pt>
                <c:pt idx="181">
                  <c:v>42039</c:v>
                </c:pt>
                <c:pt idx="182">
                  <c:v>42040</c:v>
                </c:pt>
                <c:pt idx="183">
                  <c:v>42041</c:v>
                </c:pt>
                <c:pt idx="184">
                  <c:v>42044</c:v>
                </c:pt>
                <c:pt idx="185">
                  <c:v>42045</c:v>
                </c:pt>
                <c:pt idx="186">
                  <c:v>42046</c:v>
                </c:pt>
                <c:pt idx="187">
                  <c:v>42047</c:v>
                </c:pt>
                <c:pt idx="188">
                  <c:v>42048</c:v>
                </c:pt>
                <c:pt idx="189">
                  <c:v>42051</c:v>
                </c:pt>
                <c:pt idx="190">
                  <c:v>42052</c:v>
                </c:pt>
                <c:pt idx="191">
                  <c:v>42053</c:v>
                </c:pt>
                <c:pt idx="192">
                  <c:v>42054</c:v>
                </c:pt>
                <c:pt idx="193">
                  <c:v>42055</c:v>
                </c:pt>
                <c:pt idx="194">
                  <c:v>42058</c:v>
                </c:pt>
                <c:pt idx="195">
                  <c:v>42059</c:v>
                </c:pt>
                <c:pt idx="196">
                  <c:v>42060</c:v>
                </c:pt>
                <c:pt idx="197">
                  <c:v>42061</c:v>
                </c:pt>
                <c:pt idx="198">
                  <c:v>42062</c:v>
                </c:pt>
                <c:pt idx="199">
                  <c:v>42065</c:v>
                </c:pt>
                <c:pt idx="200">
                  <c:v>42066</c:v>
                </c:pt>
                <c:pt idx="201">
                  <c:v>42067</c:v>
                </c:pt>
                <c:pt idx="202">
                  <c:v>42068</c:v>
                </c:pt>
                <c:pt idx="203">
                  <c:v>42069</c:v>
                </c:pt>
                <c:pt idx="204">
                  <c:v>42072</c:v>
                </c:pt>
                <c:pt idx="205">
                  <c:v>42073</c:v>
                </c:pt>
                <c:pt idx="206">
                  <c:v>42074</c:v>
                </c:pt>
                <c:pt idx="207">
                  <c:v>42075</c:v>
                </c:pt>
                <c:pt idx="208">
                  <c:v>42076</c:v>
                </c:pt>
                <c:pt idx="209">
                  <c:v>42079</c:v>
                </c:pt>
                <c:pt idx="210">
                  <c:v>42080</c:v>
                </c:pt>
                <c:pt idx="211">
                  <c:v>42081</c:v>
                </c:pt>
                <c:pt idx="212">
                  <c:v>42082</c:v>
                </c:pt>
                <c:pt idx="213">
                  <c:v>42083</c:v>
                </c:pt>
                <c:pt idx="214">
                  <c:v>42086</c:v>
                </c:pt>
                <c:pt idx="215">
                  <c:v>42087</c:v>
                </c:pt>
                <c:pt idx="216">
                  <c:v>42088</c:v>
                </c:pt>
                <c:pt idx="217">
                  <c:v>42089</c:v>
                </c:pt>
                <c:pt idx="218">
                  <c:v>42090</c:v>
                </c:pt>
                <c:pt idx="219">
                  <c:v>42093</c:v>
                </c:pt>
                <c:pt idx="220">
                  <c:v>42094</c:v>
                </c:pt>
                <c:pt idx="221">
                  <c:v>42095</c:v>
                </c:pt>
                <c:pt idx="222">
                  <c:v>42096</c:v>
                </c:pt>
                <c:pt idx="223">
                  <c:v>42097</c:v>
                </c:pt>
                <c:pt idx="224">
                  <c:v>42100</c:v>
                </c:pt>
                <c:pt idx="225">
                  <c:v>42101</c:v>
                </c:pt>
                <c:pt idx="226">
                  <c:v>42102</c:v>
                </c:pt>
                <c:pt idx="227">
                  <c:v>42103</c:v>
                </c:pt>
                <c:pt idx="228">
                  <c:v>42104</c:v>
                </c:pt>
                <c:pt idx="229">
                  <c:v>42107</c:v>
                </c:pt>
                <c:pt idx="230">
                  <c:v>42108</c:v>
                </c:pt>
                <c:pt idx="231">
                  <c:v>42109</c:v>
                </c:pt>
                <c:pt idx="232">
                  <c:v>42110</c:v>
                </c:pt>
                <c:pt idx="233">
                  <c:v>42111</c:v>
                </c:pt>
                <c:pt idx="234">
                  <c:v>42114</c:v>
                </c:pt>
                <c:pt idx="235">
                  <c:v>42115</c:v>
                </c:pt>
                <c:pt idx="236">
                  <c:v>42116</c:v>
                </c:pt>
                <c:pt idx="237">
                  <c:v>42117</c:v>
                </c:pt>
                <c:pt idx="238">
                  <c:v>42118</c:v>
                </c:pt>
                <c:pt idx="239">
                  <c:v>42121</c:v>
                </c:pt>
                <c:pt idx="240">
                  <c:v>42122</c:v>
                </c:pt>
                <c:pt idx="241">
                  <c:v>42123</c:v>
                </c:pt>
                <c:pt idx="242">
                  <c:v>42124</c:v>
                </c:pt>
                <c:pt idx="243">
                  <c:v>42125</c:v>
                </c:pt>
                <c:pt idx="244">
                  <c:v>42128</c:v>
                </c:pt>
                <c:pt idx="245">
                  <c:v>42129</c:v>
                </c:pt>
                <c:pt idx="246">
                  <c:v>42130</c:v>
                </c:pt>
                <c:pt idx="247">
                  <c:v>42131</c:v>
                </c:pt>
                <c:pt idx="248">
                  <c:v>42132</c:v>
                </c:pt>
                <c:pt idx="249">
                  <c:v>42135</c:v>
                </c:pt>
                <c:pt idx="250">
                  <c:v>42136</c:v>
                </c:pt>
                <c:pt idx="251">
                  <c:v>42137</c:v>
                </c:pt>
                <c:pt idx="252">
                  <c:v>42138</c:v>
                </c:pt>
                <c:pt idx="253">
                  <c:v>42139</c:v>
                </c:pt>
                <c:pt idx="254">
                  <c:v>42142</c:v>
                </c:pt>
                <c:pt idx="255">
                  <c:v>42143</c:v>
                </c:pt>
                <c:pt idx="256">
                  <c:v>42144</c:v>
                </c:pt>
                <c:pt idx="257">
                  <c:v>42145</c:v>
                </c:pt>
                <c:pt idx="258">
                  <c:v>42146</c:v>
                </c:pt>
                <c:pt idx="259">
                  <c:v>42149</c:v>
                </c:pt>
                <c:pt idx="260">
                  <c:v>42150</c:v>
                </c:pt>
                <c:pt idx="261">
                  <c:v>42151</c:v>
                </c:pt>
                <c:pt idx="262">
                  <c:v>42152</c:v>
                </c:pt>
                <c:pt idx="263">
                  <c:v>42153</c:v>
                </c:pt>
                <c:pt idx="264">
                  <c:v>42156</c:v>
                </c:pt>
                <c:pt idx="265">
                  <c:v>42157</c:v>
                </c:pt>
                <c:pt idx="266">
                  <c:v>42158</c:v>
                </c:pt>
                <c:pt idx="267">
                  <c:v>42159</c:v>
                </c:pt>
                <c:pt idx="268">
                  <c:v>42160</c:v>
                </c:pt>
                <c:pt idx="269">
                  <c:v>42163</c:v>
                </c:pt>
                <c:pt idx="270">
                  <c:v>42164</c:v>
                </c:pt>
                <c:pt idx="271">
                  <c:v>42165</c:v>
                </c:pt>
                <c:pt idx="272">
                  <c:v>42166</c:v>
                </c:pt>
                <c:pt idx="273">
                  <c:v>42167</c:v>
                </c:pt>
                <c:pt idx="274">
                  <c:v>42170</c:v>
                </c:pt>
                <c:pt idx="275">
                  <c:v>42171</c:v>
                </c:pt>
                <c:pt idx="276">
                  <c:v>42172</c:v>
                </c:pt>
                <c:pt idx="277">
                  <c:v>42173</c:v>
                </c:pt>
                <c:pt idx="278">
                  <c:v>42174</c:v>
                </c:pt>
                <c:pt idx="279">
                  <c:v>42177</c:v>
                </c:pt>
                <c:pt idx="280">
                  <c:v>42178</c:v>
                </c:pt>
                <c:pt idx="281">
                  <c:v>42179</c:v>
                </c:pt>
                <c:pt idx="282">
                  <c:v>42180</c:v>
                </c:pt>
                <c:pt idx="283">
                  <c:v>42181</c:v>
                </c:pt>
                <c:pt idx="284">
                  <c:v>42184</c:v>
                </c:pt>
                <c:pt idx="285">
                  <c:v>42185</c:v>
                </c:pt>
                <c:pt idx="286">
                  <c:v>42186</c:v>
                </c:pt>
                <c:pt idx="287">
                  <c:v>42187</c:v>
                </c:pt>
                <c:pt idx="288">
                  <c:v>42188</c:v>
                </c:pt>
                <c:pt idx="289">
                  <c:v>42191</c:v>
                </c:pt>
                <c:pt idx="290">
                  <c:v>42192</c:v>
                </c:pt>
                <c:pt idx="291">
                  <c:v>42193</c:v>
                </c:pt>
                <c:pt idx="292">
                  <c:v>42194</c:v>
                </c:pt>
                <c:pt idx="293">
                  <c:v>42195</c:v>
                </c:pt>
                <c:pt idx="294">
                  <c:v>42198</c:v>
                </c:pt>
                <c:pt idx="295">
                  <c:v>42199</c:v>
                </c:pt>
                <c:pt idx="296">
                  <c:v>42200</c:v>
                </c:pt>
                <c:pt idx="297">
                  <c:v>42201</c:v>
                </c:pt>
                <c:pt idx="298">
                  <c:v>42202</c:v>
                </c:pt>
                <c:pt idx="299">
                  <c:v>42205</c:v>
                </c:pt>
                <c:pt idx="300">
                  <c:v>42206</c:v>
                </c:pt>
                <c:pt idx="301">
                  <c:v>42207</c:v>
                </c:pt>
                <c:pt idx="302">
                  <c:v>42208</c:v>
                </c:pt>
                <c:pt idx="303">
                  <c:v>42209</c:v>
                </c:pt>
                <c:pt idx="304">
                  <c:v>42212</c:v>
                </c:pt>
                <c:pt idx="305">
                  <c:v>42213</c:v>
                </c:pt>
                <c:pt idx="306">
                  <c:v>42214</c:v>
                </c:pt>
                <c:pt idx="307">
                  <c:v>42215</c:v>
                </c:pt>
                <c:pt idx="308">
                  <c:v>42216</c:v>
                </c:pt>
                <c:pt idx="309">
                  <c:v>42219</c:v>
                </c:pt>
                <c:pt idx="310">
                  <c:v>42220</c:v>
                </c:pt>
                <c:pt idx="311">
                  <c:v>42221</c:v>
                </c:pt>
                <c:pt idx="312">
                  <c:v>42222</c:v>
                </c:pt>
                <c:pt idx="313">
                  <c:v>42223</c:v>
                </c:pt>
                <c:pt idx="314">
                  <c:v>42226</c:v>
                </c:pt>
                <c:pt idx="315">
                  <c:v>42227</c:v>
                </c:pt>
                <c:pt idx="316">
                  <c:v>42228</c:v>
                </c:pt>
                <c:pt idx="317">
                  <c:v>42229</c:v>
                </c:pt>
                <c:pt idx="318">
                  <c:v>42230</c:v>
                </c:pt>
                <c:pt idx="319">
                  <c:v>42233</c:v>
                </c:pt>
                <c:pt idx="320">
                  <c:v>42234</c:v>
                </c:pt>
                <c:pt idx="321">
                  <c:v>42235</c:v>
                </c:pt>
                <c:pt idx="322">
                  <c:v>42236</c:v>
                </c:pt>
                <c:pt idx="323">
                  <c:v>42237</c:v>
                </c:pt>
                <c:pt idx="324">
                  <c:v>42240</c:v>
                </c:pt>
                <c:pt idx="325">
                  <c:v>42241</c:v>
                </c:pt>
                <c:pt idx="326">
                  <c:v>42242</c:v>
                </c:pt>
                <c:pt idx="327">
                  <c:v>42243</c:v>
                </c:pt>
                <c:pt idx="328">
                  <c:v>42244</c:v>
                </c:pt>
                <c:pt idx="329">
                  <c:v>42247</c:v>
                </c:pt>
                <c:pt idx="330">
                  <c:v>42248</c:v>
                </c:pt>
                <c:pt idx="331">
                  <c:v>42249</c:v>
                </c:pt>
                <c:pt idx="332">
                  <c:v>42250</c:v>
                </c:pt>
                <c:pt idx="333">
                  <c:v>42251</c:v>
                </c:pt>
                <c:pt idx="334">
                  <c:v>42254</c:v>
                </c:pt>
                <c:pt idx="335">
                  <c:v>42255</c:v>
                </c:pt>
                <c:pt idx="336">
                  <c:v>42256</c:v>
                </c:pt>
                <c:pt idx="337">
                  <c:v>42257</c:v>
                </c:pt>
                <c:pt idx="338">
                  <c:v>42258</c:v>
                </c:pt>
                <c:pt idx="339">
                  <c:v>42261</c:v>
                </c:pt>
                <c:pt idx="340">
                  <c:v>42262</c:v>
                </c:pt>
                <c:pt idx="341">
                  <c:v>42263</c:v>
                </c:pt>
                <c:pt idx="342">
                  <c:v>42264</c:v>
                </c:pt>
                <c:pt idx="343">
                  <c:v>42265</c:v>
                </c:pt>
                <c:pt idx="344">
                  <c:v>42268</c:v>
                </c:pt>
                <c:pt idx="345">
                  <c:v>42269</c:v>
                </c:pt>
                <c:pt idx="346">
                  <c:v>42270</c:v>
                </c:pt>
                <c:pt idx="347">
                  <c:v>42271</c:v>
                </c:pt>
                <c:pt idx="348">
                  <c:v>42272</c:v>
                </c:pt>
                <c:pt idx="349">
                  <c:v>42275</c:v>
                </c:pt>
                <c:pt idx="350">
                  <c:v>42276</c:v>
                </c:pt>
                <c:pt idx="351">
                  <c:v>42277</c:v>
                </c:pt>
                <c:pt idx="352">
                  <c:v>42278</c:v>
                </c:pt>
                <c:pt idx="353">
                  <c:v>42279</c:v>
                </c:pt>
                <c:pt idx="354">
                  <c:v>42282</c:v>
                </c:pt>
                <c:pt idx="355">
                  <c:v>42283</c:v>
                </c:pt>
                <c:pt idx="356">
                  <c:v>42284</c:v>
                </c:pt>
                <c:pt idx="357">
                  <c:v>42285</c:v>
                </c:pt>
                <c:pt idx="358">
                  <c:v>42286</c:v>
                </c:pt>
                <c:pt idx="359">
                  <c:v>42289</c:v>
                </c:pt>
                <c:pt idx="360">
                  <c:v>42290</c:v>
                </c:pt>
                <c:pt idx="361">
                  <c:v>42291</c:v>
                </c:pt>
                <c:pt idx="362">
                  <c:v>42292</c:v>
                </c:pt>
                <c:pt idx="363">
                  <c:v>42293</c:v>
                </c:pt>
                <c:pt idx="364">
                  <c:v>42296</c:v>
                </c:pt>
                <c:pt idx="365">
                  <c:v>42297</c:v>
                </c:pt>
                <c:pt idx="366">
                  <c:v>42298</c:v>
                </c:pt>
                <c:pt idx="367">
                  <c:v>42299</c:v>
                </c:pt>
                <c:pt idx="368">
                  <c:v>42300</c:v>
                </c:pt>
                <c:pt idx="369">
                  <c:v>42303</c:v>
                </c:pt>
                <c:pt idx="370">
                  <c:v>42304</c:v>
                </c:pt>
                <c:pt idx="371">
                  <c:v>42305</c:v>
                </c:pt>
                <c:pt idx="372">
                  <c:v>42306</c:v>
                </c:pt>
                <c:pt idx="373">
                  <c:v>42307</c:v>
                </c:pt>
                <c:pt idx="374">
                  <c:v>42310</c:v>
                </c:pt>
                <c:pt idx="375">
                  <c:v>42311</c:v>
                </c:pt>
                <c:pt idx="376">
                  <c:v>42312</c:v>
                </c:pt>
                <c:pt idx="377">
                  <c:v>42313</c:v>
                </c:pt>
                <c:pt idx="378">
                  <c:v>42314</c:v>
                </c:pt>
                <c:pt idx="379">
                  <c:v>42317</c:v>
                </c:pt>
                <c:pt idx="380">
                  <c:v>42318</c:v>
                </c:pt>
                <c:pt idx="381">
                  <c:v>42319</c:v>
                </c:pt>
                <c:pt idx="382">
                  <c:v>42320</c:v>
                </c:pt>
                <c:pt idx="383">
                  <c:v>42321</c:v>
                </c:pt>
                <c:pt idx="384">
                  <c:v>42324</c:v>
                </c:pt>
                <c:pt idx="385">
                  <c:v>42325</c:v>
                </c:pt>
                <c:pt idx="386">
                  <c:v>42326</c:v>
                </c:pt>
                <c:pt idx="387">
                  <c:v>42327</c:v>
                </c:pt>
                <c:pt idx="388">
                  <c:v>42328</c:v>
                </c:pt>
                <c:pt idx="389">
                  <c:v>42331</c:v>
                </c:pt>
                <c:pt idx="390">
                  <c:v>42332</c:v>
                </c:pt>
                <c:pt idx="391">
                  <c:v>42333</c:v>
                </c:pt>
                <c:pt idx="392">
                  <c:v>42334</c:v>
                </c:pt>
                <c:pt idx="393">
                  <c:v>42335</c:v>
                </c:pt>
                <c:pt idx="394">
                  <c:v>42338</c:v>
                </c:pt>
                <c:pt idx="395">
                  <c:v>42339</c:v>
                </c:pt>
                <c:pt idx="396">
                  <c:v>42340</c:v>
                </c:pt>
                <c:pt idx="397">
                  <c:v>42341</c:v>
                </c:pt>
                <c:pt idx="398">
                  <c:v>42342</c:v>
                </c:pt>
                <c:pt idx="399">
                  <c:v>42345</c:v>
                </c:pt>
                <c:pt idx="400">
                  <c:v>42346</c:v>
                </c:pt>
                <c:pt idx="401">
                  <c:v>42347</c:v>
                </c:pt>
                <c:pt idx="402">
                  <c:v>42348</c:v>
                </c:pt>
                <c:pt idx="403">
                  <c:v>42349</c:v>
                </c:pt>
                <c:pt idx="404">
                  <c:v>42352</c:v>
                </c:pt>
                <c:pt idx="405">
                  <c:v>42353</c:v>
                </c:pt>
                <c:pt idx="406">
                  <c:v>42354</c:v>
                </c:pt>
                <c:pt idx="407">
                  <c:v>42355</c:v>
                </c:pt>
                <c:pt idx="408">
                  <c:v>42356</c:v>
                </c:pt>
                <c:pt idx="409">
                  <c:v>42359</c:v>
                </c:pt>
                <c:pt idx="410">
                  <c:v>42360</c:v>
                </c:pt>
                <c:pt idx="411">
                  <c:v>42361</c:v>
                </c:pt>
                <c:pt idx="412">
                  <c:v>42362</c:v>
                </c:pt>
                <c:pt idx="413">
                  <c:v>42363</c:v>
                </c:pt>
                <c:pt idx="414">
                  <c:v>42366</c:v>
                </c:pt>
                <c:pt idx="415">
                  <c:v>42367</c:v>
                </c:pt>
                <c:pt idx="416">
                  <c:v>42368</c:v>
                </c:pt>
                <c:pt idx="417">
                  <c:v>42369</c:v>
                </c:pt>
                <c:pt idx="418">
                  <c:v>42370</c:v>
                </c:pt>
                <c:pt idx="419">
                  <c:v>42373</c:v>
                </c:pt>
                <c:pt idx="420">
                  <c:v>42374</c:v>
                </c:pt>
                <c:pt idx="421">
                  <c:v>42375</c:v>
                </c:pt>
                <c:pt idx="422">
                  <c:v>42376</c:v>
                </c:pt>
                <c:pt idx="423">
                  <c:v>42377</c:v>
                </c:pt>
                <c:pt idx="424">
                  <c:v>42380</c:v>
                </c:pt>
                <c:pt idx="425">
                  <c:v>42381</c:v>
                </c:pt>
                <c:pt idx="426">
                  <c:v>42382</c:v>
                </c:pt>
                <c:pt idx="427">
                  <c:v>42383</c:v>
                </c:pt>
                <c:pt idx="428">
                  <c:v>42384</c:v>
                </c:pt>
                <c:pt idx="429">
                  <c:v>42387</c:v>
                </c:pt>
                <c:pt idx="430">
                  <c:v>42388</c:v>
                </c:pt>
                <c:pt idx="431">
                  <c:v>42389</c:v>
                </c:pt>
                <c:pt idx="432">
                  <c:v>42390</c:v>
                </c:pt>
                <c:pt idx="433">
                  <c:v>42391</c:v>
                </c:pt>
                <c:pt idx="434">
                  <c:v>42394</c:v>
                </c:pt>
                <c:pt idx="435">
                  <c:v>42395</c:v>
                </c:pt>
                <c:pt idx="436">
                  <c:v>42396</c:v>
                </c:pt>
                <c:pt idx="437">
                  <c:v>42397</c:v>
                </c:pt>
                <c:pt idx="438">
                  <c:v>42398</c:v>
                </c:pt>
                <c:pt idx="439">
                  <c:v>42401</c:v>
                </c:pt>
                <c:pt idx="440">
                  <c:v>42402</c:v>
                </c:pt>
                <c:pt idx="441">
                  <c:v>42403</c:v>
                </c:pt>
                <c:pt idx="442">
                  <c:v>42404</c:v>
                </c:pt>
                <c:pt idx="443">
                  <c:v>42405</c:v>
                </c:pt>
                <c:pt idx="444">
                  <c:v>42408</c:v>
                </c:pt>
                <c:pt idx="445">
                  <c:v>42409</c:v>
                </c:pt>
                <c:pt idx="446">
                  <c:v>42410</c:v>
                </c:pt>
                <c:pt idx="447">
                  <c:v>42411</c:v>
                </c:pt>
                <c:pt idx="448">
                  <c:v>42412</c:v>
                </c:pt>
                <c:pt idx="449">
                  <c:v>42415</c:v>
                </c:pt>
                <c:pt idx="450">
                  <c:v>42416</c:v>
                </c:pt>
                <c:pt idx="451">
                  <c:v>42417</c:v>
                </c:pt>
                <c:pt idx="452">
                  <c:v>42418</c:v>
                </c:pt>
                <c:pt idx="453">
                  <c:v>42419</c:v>
                </c:pt>
                <c:pt idx="454">
                  <c:v>42422</c:v>
                </c:pt>
                <c:pt idx="455">
                  <c:v>42423</c:v>
                </c:pt>
                <c:pt idx="456">
                  <c:v>42424</c:v>
                </c:pt>
                <c:pt idx="457">
                  <c:v>42425</c:v>
                </c:pt>
                <c:pt idx="458">
                  <c:v>42426</c:v>
                </c:pt>
                <c:pt idx="459">
                  <c:v>42429</c:v>
                </c:pt>
                <c:pt idx="460">
                  <c:v>42430</c:v>
                </c:pt>
                <c:pt idx="461">
                  <c:v>42431</c:v>
                </c:pt>
                <c:pt idx="462">
                  <c:v>42432</c:v>
                </c:pt>
                <c:pt idx="463">
                  <c:v>42433</c:v>
                </c:pt>
                <c:pt idx="464">
                  <c:v>42436</c:v>
                </c:pt>
                <c:pt idx="465">
                  <c:v>42437</c:v>
                </c:pt>
                <c:pt idx="466">
                  <c:v>42438</c:v>
                </c:pt>
                <c:pt idx="467">
                  <c:v>42439</c:v>
                </c:pt>
                <c:pt idx="468">
                  <c:v>42440</c:v>
                </c:pt>
                <c:pt idx="469">
                  <c:v>42443</c:v>
                </c:pt>
                <c:pt idx="470">
                  <c:v>42444</c:v>
                </c:pt>
                <c:pt idx="471">
                  <c:v>42445</c:v>
                </c:pt>
                <c:pt idx="472">
                  <c:v>42446</c:v>
                </c:pt>
                <c:pt idx="473">
                  <c:v>42447</c:v>
                </c:pt>
                <c:pt idx="474">
                  <c:v>42450</c:v>
                </c:pt>
                <c:pt idx="475">
                  <c:v>42451</c:v>
                </c:pt>
                <c:pt idx="476">
                  <c:v>42452</c:v>
                </c:pt>
                <c:pt idx="477">
                  <c:v>42453</c:v>
                </c:pt>
                <c:pt idx="478">
                  <c:v>42454</c:v>
                </c:pt>
                <c:pt idx="479">
                  <c:v>42457</c:v>
                </c:pt>
                <c:pt idx="480">
                  <c:v>42458</c:v>
                </c:pt>
                <c:pt idx="481">
                  <c:v>42459</c:v>
                </c:pt>
                <c:pt idx="482">
                  <c:v>42460</c:v>
                </c:pt>
                <c:pt idx="483">
                  <c:v>42461</c:v>
                </c:pt>
                <c:pt idx="484">
                  <c:v>42464</c:v>
                </c:pt>
                <c:pt idx="485">
                  <c:v>42465</c:v>
                </c:pt>
                <c:pt idx="486">
                  <c:v>42466</c:v>
                </c:pt>
                <c:pt idx="487">
                  <c:v>42467</c:v>
                </c:pt>
                <c:pt idx="488">
                  <c:v>42468</c:v>
                </c:pt>
                <c:pt idx="489">
                  <c:v>42471</c:v>
                </c:pt>
                <c:pt idx="490">
                  <c:v>42472</c:v>
                </c:pt>
                <c:pt idx="491">
                  <c:v>42473</c:v>
                </c:pt>
                <c:pt idx="492">
                  <c:v>42474</c:v>
                </c:pt>
                <c:pt idx="493">
                  <c:v>42475</c:v>
                </c:pt>
                <c:pt idx="494">
                  <c:v>42478</c:v>
                </c:pt>
                <c:pt idx="495">
                  <c:v>42479</c:v>
                </c:pt>
                <c:pt idx="496">
                  <c:v>42480</c:v>
                </c:pt>
                <c:pt idx="497">
                  <c:v>42481</c:v>
                </c:pt>
                <c:pt idx="498">
                  <c:v>42482</c:v>
                </c:pt>
                <c:pt idx="499">
                  <c:v>42485</c:v>
                </c:pt>
                <c:pt idx="500">
                  <c:v>42486</c:v>
                </c:pt>
                <c:pt idx="501">
                  <c:v>42487</c:v>
                </c:pt>
                <c:pt idx="502">
                  <c:v>42488</c:v>
                </c:pt>
                <c:pt idx="503">
                  <c:v>42489</c:v>
                </c:pt>
                <c:pt idx="504">
                  <c:v>42492</c:v>
                </c:pt>
                <c:pt idx="505">
                  <c:v>42493</c:v>
                </c:pt>
                <c:pt idx="506">
                  <c:v>42494</c:v>
                </c:pt>
                <c:pt idx="507">
                  <c:v>42495</c:v>
                </c:pt>
                <c:pt idx="508">
                  <c:v>42496</c:v>
                </c:pt>
                <c:pt idx="509">
                  <c:v>42499</c:v>
                </c:pt>
                <c:pt idx="510">
                  <c:v>42500</c:v>
                </c:pt>
                <c:pt idx="511">
                  <c:v>42501</c:v>
                </c:pt>
                <c:pt idx="512">
                  <c:v>42502</c:v>
                </c:pt>
                <c:pt idx="513">
                  <c:v>42503</c:v>
                </c:pt>
                <c:pt idx="514">
                  <c:v>42506</c:v>
                </c:pt>
                <c:pt idx="515">
                  <c:v>42507</c:v>
                </c:pt>
                <c:pt idx="516">
                  <c:v>42508</c:v>
                </c:pt>
                <c:pt idx="517">
                  <c:v>42509</c:v>
                </c:pt>
                <c:pt idx="518">
                  <c:v>42510</c:v>
                </c:pt>
                <c:pt idx="519">
                  <c:v>42513</c:v>
                </c:pt>
                <c:pt idx="520">
                  <c:v>42514</c:v>
                </c:pt>
                <c:pt idx="521">
                  <c:v>42515</c:v>
                </c:pt>
                <c:pt idx="522">
                  <c:v>42516</c:v>
                </c:pt>
                <c:pt idx="523">
                  <c:v>42517</c:v>
                </c:pt>
                <c:pt idx="524">
                  <c:v>42520</c:v>
                </c:pt>
                <c:pt idx="525">
                  <c:v>42521</c:v>
                </c:pt>
                <c:pt idx="526">
                  <c:v>42522</c:v>
                </c:pt>
                <c:pt idx="527">
                  <c:v>42523</c:v>
                </c:pt>
                <c:pt idx="528">
                  <c:v>42524</c:v>
                </c:pt>
                <c:pt idx="529">
                  <c:v>42527</c:v>
                </c:pt>
                <c:pt idx="530">
                  <c:v>42528</c:v>
                </c:pt>
                <c:pt idx="531">
                  <c:v>42529</c:v>
                </c:pt>
                <c:pt idx="532">
                  <c:v>42530</c:v>
                </c:pt>
                <c:pt idx="533">
                  <c:v>42531</c:v>
                </c:pt>
                <c:pt idx="534">
                  <c:v>42534</c:v>
                </c:pt>
                <c:pt idx="535">
                  <c:v>42535</c:v>
                </c:pt>
                <c:pt idx="536">
                  <c:v>42536</c:v>
                </c:pt>
                <c:pt idx="537">
                  <c:v>42537</c:v>
                </c:pt>
                <c:pt idx="538">
                  <c:v>42538</c:v>
                </c:pt>
                <c:pt idx="539">
                  <c:v>42541</c:v>
                </c:pt>
                <c:pt idx="540">
                  <c:v>42542</c:v>
                </c:pt>
                <c:pt idx="541">
                  <c:v>42543</c:v>
                </c:pt>
                <c:pt idx="542">
                  <c:v>42544</c:v>
                </c:pt>
                <c:pt idx="543">
                  <c:v>42545</c:v>
                </c:pt>
                <c:pt idx="544">
                  <c:v>42548</c:v>
                </c:pt>
                <c:pt idx="545">
                  <c:v>42549</c:v>
                </c:pt>
                <c:pt idx="546">
                  <c:v>42550</c:v>
                </c:pt>
                <c:pt idx="547">
                  <c:v>42551</c:v>
                </c:pt>
                <c:pt idx="548">
                  <c:v>42552</c:v>
                </c:pt>
                <c:pt idx="549">
                  <c:v>42555</c:v>
                </c:pt>
                <c:pt idx="550">
                  <c:v>42556</c:v>
                </c:pt>
                <c:pt idx="551">
                  <c:v>42557</c:v>
                </c:pt>
                <c:pt idx="552">
                  <c:v>42558</c:v>
                </c:pt>
                <c:pt idx="553">
                  <c:v>42559</c:v>
                </c:pt>
                <c:pt idx="554">
                  <c:v>42562</c:v>
                </c:pt>
                <c:pt idx="555">
                  <c:v>42563</c:v>
                </c:pt>
                <c:pt idx="556">
                  <c:v>42564</c:v>
                </c:pt>
                <c:pt idx="557">
                  <c:v>42565</c:v>
                </c:pt>
                <c:pt idx="558">
                  <c:v>42566</c:v>
                </c:pt>
                <c:pt idx="559">
                  <c:v>42569</c:v>
                </c:pt>
                <c:pt idx="560">
                  <c:v>42570</c:v>
                </c:pt>
                <c:pt idx="561">
                  <c:v>42571</c:v>
                </c:pt>
                <c:pt idx="562">
                  <c:v>42572</c:v>
                </c:pt>
                <c:pt idx="563">
                  <c:v>42573</c:v>
                </c:pt>
                <c:pt idx="564">
                  <c:v>42576</c:v>
                </c:pt>
                <c:pt idx="565">
                  <c:v>42577</c:v>
                </c:pt>
                <c:pt idx="566">
                  <c:v>42578</c:v>
                </c:pt>
                <c:pt idx="567">
                  <c:v>42579</c:v>
                </c:pt>
                <c:pt idx="568">
                  <c:v>42580</c:v>
                </c:pt>
                <c:pt idx="569">
                  <c:v>42583</c:v>
                </c:pt>
                <c:pt idx="570">
                  <c:v>42584</c:v>
                </c:pt>
                <c:pt idx="571">
                  <c:v>42585</c:v>
                </c:pt>
                <c:pt idx="572">
                  <c:v>42586</c:v>
                </c:pt>
                <c:pt idx="573">
                  <c:v>42587</c:v>
                </c:pt>
                <c:pt idx="574">
                  <c:v>42590</c:v>
                </c:pt>
                <c:pt idx="575">
                  <c:v>42591</c:v>
                </c:pt>
                <c:pt idx="576">
                  <c:v>42592</c:v>
                </c:pt>
                <c:pt idx="577">
                  <c:v>42593</c:v>
                </c:pt>
                <c:pt idx="578">
                  <c:v>42594</c:v>
                </c:pt>
                <c:pt idx="579">
                  <c:v>42597</c:v>
                </c:pt>
                <c:pt idx="580">
                  <c:v>42598</c:v>
                </c:pt>
                <c:pt idx="581">
                  <c:v>42599</c:v>
                </c:pt>
                <c:pt idx="582">
                  <c:v>42600</c:v>
                </c:pt>
                <c:pt idx="583">
                  <c:v>42601</c:v>
                </c:pt>
                <c:pt idx="584">
                  <c:v>42604</c:v>
                </c:pt>
                <c:pt idx="585">
                  <c:v>42605</c:v>
                </c:pt>
                <c:pt idx="586">
                  <c:v>42606</c:v>
                </c:pt>
                <c:pt idx="587">
                  <c:v>42607</c:v>
                </c:pt>
                <c:pt idx="588">
                  <c:v>42608</c:v>
                </c:pt>
                <c:pt idx="589">
                  <c:v>42611</c:v>
                </c:pt>
                <c:pt idx="590">
                  <c:v>42612</c:v>
                </c:pt>
                <c:pt idx="591">
                  <c:v>42613</c:v>
                </c:pt>
                <c:pt idx="592">
                  <c:v>42614</c:v>
                </c:pt>
                <c:pt idx="593">
                  <c:v>42615</c:v>
                </c:pt>
                <c:pt idx="594">
                  <c:v>42618</c:v>
                </c:pt>
                <c:pt idx="595">
                  <c:v>42619</c:v>
                </c:pt>
                <c:pt idx="596">
                  <c:v>42620</c:v>
                </c:pt>
                <c:pt idx="597">
                  <c:v>42621</c:v>
                </c:pt>
                <c:pt idx="598">
                  <c:v>42622</c:v>
                </c:pt>
                <c:pt idx="599">
                  <c:v>42625</c:v>
                </c:pt>
                <c:pt idx="600">
                  <c:v>42626</c:v>
                </c:pt>
                <c:pt idx="601">
                  <c:v>42627</c:v>
                </c:pt>
                <c:pt idx="602">
                  <c:v>42628</c:v>
                </c:pt>
                <c:pt idx="603">
                  <c:v>42629</c:v>
                </c:pt>
                <c:pt idx="604">
                  <c:v>42632</c:v>
                </c:pt>
                <c:pt idx="605">
                  <c:v>42633</c:v>
                </c:pt>
                <c:pt idx="606">
                  <c:v>42634</c:v>
                </c:pt>
                <c:pt idx="607">
                  <c:v>42635</c:v>
                </c:pt>
                <c:pt idx="608">
                  <c:v>42636</c:v>
                </c:pt>
                <c:pt idx="609">
                  <c:v>42639</c:v>
                </c:pt>
                <c:pt idx="610">
                  <c:v>42640</c:v>
                </c:pt>
                <c:pt idx="611">
                  <c:v>42641</c:v>
                </c:pt>
                <c:pt idx="612">
                  <c:v>42642</c:v>
                </c:pt>
                <c:pt idx="613">
                  <c:v>42643</c:v>
                </c:pt>
                <c:pt idx="614">
                  <c:v>42646</c:v>
                </c:pt>
                <c:pt idx="615">
                  <c:v>42647</c:v>
                </c:pt>
                <c:pt idx="616">
                  <c:v>42648</c:v>
                </c:pt>
                <c:pt idx="617">
                  <c:v>42649</c:v>
                </c:pt>
                <c:pt idx="618">
                  <c:v>42650</c:v>
                </c:pt>
                <c:pt idx="619">
                  <c:v>42653</c:v>
                </c:pt>
                <c:pt idx="620">
                  <c:v>42654</c:v>
                </c:pt>
                <c:pt idx="621">
                  <c:v>42655</c:v>
                </c:pt>
                <c:pt idx="622">
                  <c:v>42656</c:v>
                </c:pt>
                <c:pt idx="623">
                  <c:v>42657</c:v>
                </c:pt>
                <c:pt idx="624">
                  <c:v>42660</c:v>
                </c:pt>
                <c:pt idx="625">
                  <c:v>42661</c:v>
                </c:pt>
                <c:pt idx="626">
                  <c:v>42662</c:v>
                </c:pt>
                <c:pt idx="627">
                  <c:v>42663</c:v>
                </c:pt>
                <c:pt idx="628">
                  <c:v>42664</c:v>
                </c:pt>
                <c:pt idx="629">
                  <c:v>42667</c:v>
                </c:pt>
                <c:pt idx="630">
                  <c:v>42668</c:v>
                </c:pt>
                <c:pt idx="631">
                  <c:v>42669</c:v>
                </c:pt>
                <c:pt idx="632">
                  <c:v>42670</c:v>
                </c:pt>
                <c:pt idx="633">
                  <c:v>42671</c:v>
                </c:pt>
                <c:pt idx="634">
                  <c:v>42674</c:v>
                </c:pt>
                <c:pt idx="635">
                  <c:v>42675</c:v>
                </c:pt>
                <c:pt idx="636">
                  <c:v>42676</c:v>
                </c:pt>
                <c:pt idx="637">
                  <c:v>42677</c:v>
                </c:pt>
                <c:pt idx="638">
                  <c:v>42678</c:v>
                </c:pt>
                <c:pt idx="639">
                  <c:v>42681</c:v>
                </c:pt>
                <c:pt idx="640">
                  <c:v>42682</c:v>
                </c:pt>
                <c:pt idx="641">
                  <c:v>42683</c:v>
                </c:pt>
                <c:pt idx="642">
                  <c:v>42684</c:v>
                </c:pt>
                <c:pt idx="643">
                  <c:v>42685</c:v>
                </c:pt>
                <c:pt idx="644">
                  <c:v>42688</c:v>
                </c:pt>
                <c:pt idx="645">
                  <c:v>42689</c:v>
                </c:pt>
                <c:pt idx="646">
                  <c:v>42690</c:v>
                </c:pt>
                <c:pt idx="647">
                  <c:v>42691</c:v>
                </c:pt>
                <c:pt idx="648">
                  <c:v>42692</c:v>
                </c:pt>
                <c:pt idx="649">
                  <c:v>42695</c:v>
                </c:pt>
                <c:pt idx="650">
                  <c:v>42696</c:v>
                </c:pt>
                <c:pt idx="651">
                  <c:v>42697</c:v>
                </c:pt>
                <c:pt idx="652">
                  <c:v>42698</c:v>
                </c:pt>
                <c:pt idx="653">
                  <c:v>42699</c:v>
                </c:pt>
                <c:pt idx="654">
                  <c:v>42702</c:v>
                </c:pt>
                <c:pt idx="655">
                  <c:v>42703</c:v>
                </c:pt>
                <c:pt idx="656">
                  <c:v>42704</c:v>
                </c:pt>
                <c:pt idx="657">
                  <c:v>42705</c:v>
                </c:pt>
                <c:pt idx="658">
                  <c:v>42706</c:v>
                </c:pt>
                <c:pt idx="659">
                  <c:v>42709</c:v>
                </c:pt>
                <c:pt idx="660">
                  <c:v>42710</c:v>
                </c:pt>
                <c:pt idx="661">
                  <c:v>42711</c:v>
                </c:pt>
                <c:pt idx="662">
                  <c:v>42712</c:v>
                </c:pt>
                <c:pt idx="663">
                  <c:v>42713</c:v>
                </c:pt>
                <c:pt idx="664">
                  <c:v>42716</c:v>
                </c:pt>
                <c:pt idx="665">
                  <c:v>42717</c:v>
                </c:pt>
                <c:pt idx="666">
                  <c:v>42718</c:v>
                </c:pt>
                <c:pt idx="667">
                  <c:v>42719</c:v>
                </c:pt>
                <c:pt idx="668">
                  <c:v>42720</c:v>
                </c:pt>
                <c:pt idx="669">
                  <c:v>42723</c:v>
                </c:pt>
                <c:pt idx="670">
                  <c:v>42724</c:v>
                </c:pt>
                <c:pt idx="671">
                  <c:v>42725</c:v>
                </c:pt>
                <c:pt idx="672">
                  <c:v>42726</c:v>
                </c:pt>
                <c:pt idx="673">
                  <c:v>42727</c:v>
                </c:pt>
                <c:pt idx="674">
                  <c:v>42730</c:v>
                </c:pt>
                <c:pt idx="675">
                  <c:v>42731</c:v>
                </c:pt>
                <c:pt idx="676">
                  <c:v>42732</c:v>
                </c:pt>
                <c:pt idx="677">
                  <c:v>42733</c:v>
                </c:pt>
                <c:pt idx="678">
                  <c:v>42734</c:v>
                </c:pt>
                <c:pt idx="679">
                  <c:v>42737</c:v>
                </c:pt>
                <c:pt idx="680">
                  <c:v>42738</c:v>
                </c:pt>
                <c:pt idx="681">
                  <c:v>42739</c:v>
                </c:pt>
                <c:pt idx="682">
                  <c:v>42740</c:v>
                </c:pt>
                <c:pt idx="683">
                  <c:v>42741</c:v>
                </c:pt>
                <c:pt idx="684">
                  <c:v>42744</c:v>
                </c:pt>
                <c:pt idx="685">
                  <c:v>42745</c:v>
                </c:pt>
                <c:pt idx="686">
                  <c:v>42746</c:v>
                </c:pt>
                <c:pt idx="687">
                  <c:v>42747</c:v>
                </c:pt>
                <c:pt idx="688">
                  <c:v>42748</c:v>
                </c:pt>
                <c:pt idx="689">
                  <c:v>42751</c:v>
                </c:pt>
                <c:pt idx="690">
                  <c:v>42752</c:v>
                </c:pt>
                <c:pt idx="691">
                  <c:v>42753</c:v>
                </c:pt>
                <c:pt idx="692">
                  <c:v>42754</c:v>
                </c:pt>
                <c:pt idx="693">
                  <c:v>42755</c:v>
                </c:pt>
                <c:pt idx="694">
                  <c:v>42758</c:v>
                </c:pt>
                <c:pt idx="695">
                  <c:v>42759</c:v>
                </c:pt>
                <c:pt idx="696">
                  <c:v>42760</c:v>
                </c:pt>
                <c:pt idx="697">
                  <c:v>42761</c:v>
                </c:pt>
                <c:pt idx="698">
                  <c:v>42762</c:v>
                </c:pt>
                <c:pt idx="699">
                  <c:v>42765</c:v>
                </c:pt>
                <c:pt idx="700">
                  <c:v>42766</c:v>
                </c:pt>
                <c:pt idx="701">
                  <c:v>42767</c:v>
                </c:pt>
                <c:pt idx="702">
                  <c:v>42768</c:v>
                </c:pt>
                <c:pt idx="703">
                  <c:v>42769</c:v>
                </c:pt>
                <c:pt idx="704">
                  <c:v>42772</c:v>
                </c:pt>
                <c:pt idx="705">
                  <c:v>42773</c:v>
                </c:pt>
                <c:pt idx="706">
                  <c:v>42774</c:v>
                </c:pt>
                <c:pt idx="707">
                  <c:v>42775</c:v>
                </c:pt>
                <c:pt idx="708">
                  <c:v>42776</c:v>
                </c:pt>
                <c:pt idx="709">
                  <c:v>42779</c:v>
                </c:pt>
                <c:pt idx="710">
                  <c:v>42780</c:v>
                </c:pt>
                <c:pt idx="711">
                  <c:v>42781</c:v>
                </c:pt>
                <c:pt idx="712">
                  <c:v>42782</c:v>
                </c:pt>
                <c:pt idx="713">
                  <c:v>42783</c:v>
                </c:pt>
                <c:pt idx="714">
                  <c:v>42786</c:v>
                </c:pt>
                <c:pt idx="715">
                  <c:v>42787</c:v>
                </c:pt>
                <c:pt idx="716">
                  <c:v>42788</c:v>
                </c:pt>
                <c:pt idx="717">
                  <c:v>42789</c:v>
                </c:pt>
                <c:pt idx="718">
                  <c:v>42790</c:v>
                </c:pt>
                <c:pt idx="719">
                  <c:v>42793</c:v>
                </c:pt>
                <c:pt idx="720">
                  <c:v>42794</c:v>
                </c:pt>
                <c:pt idx="721">
                  <c:v>42795</c:v>
                </c:pt>
                <c:pt idx="722">
                  <c:v>42796</c:v>
                </c:pt>
                <c:pt idx="723">
                  <c:v>42797</c:v>
                </c:pt>
                <c:pt idx="724">
                  <c:v>42800</c:v>
                </c:pt>
                <c:pt idx="725">
                  <c:v>42801</c:v>
                </c:pt>
                <c:pt idx="726">
                  <c:v>42802</c:v>
                </c:pt>
                <c:pt idx="727">
                  <c:v>42803</c:v>
                </c:pt>
                <c:pt idx="728">
                  <c:v>42804</c:v>
                </c:pt>
                <c:pt idx="729">
                  <c:v>42807</c:v>
                </c:pt>
                <c:pt idx="730">
                  <c:v>42808</c:v>
                </c:pt>
                <c:pt idx="731">
                  <c:v>42809</c:v>
                </c:pt>
                <c:pt idx="732">
                  <c:v>42810</c:v>
                </c:pt>
                <c:pt idx="733">
                  <c:v>42811</c:v>
                </c:pt>
                <c:pt idx="734">
                  <c:v>42814</c:v>
                </c:pt>
                <c:pt idx="735">
                  <c:v>42815</c:v>
                </c:pt>
                <c:pt idx="736">
                  <c:v>42816</c:v>
                </c:pt>
                <c:pt idx="737">
                  <c:v>42817</c:v>
                </c:pt>
                <c:pt idx="738">
                  <c:v>42818</c:v>
                </c:pt>
                <c:pt idx="739">
                  <c:v>42821</c:v>
                </c:pt>
                <c:pt idx="740">
                  <c:v>42822</c:v>
                </c:pt>
                <c:pt idx="741">
                  <c:v>42823</c:v>
                </c:pt>
                <c:pt idx="742">
                  <c:v>42824</c:v>
                </c:pt>
                <c:pt idx="743">
                  <c:v>42825</c:v>
                </c:pt>
                <c:pt idx="744">
                  <c:v>42828</c:v>
                </c:pt>
                <c:pt idx="745">
                  <c:v>42829</c:v>
                </c:pt>
                <c:pt idx="746">
                  <c:v>42830</c:v>
                </c:pt>
                <c:pt idx="747">
                  <c:v>42831</c:v>
                </c:pt>
                <c:pt idx="748">
                  <c:v>42832</c:v>
                </c:pt>
                <c:pt idx="749">
                  <c:v>42835</c:v>
                </c:pt>
                <c:pt idx="750">
                  <c:v>42836</c:v>
                </c:pt>
                <c:pt idx="751">
                  <c:v>42837</c:v>
                </c:pt>
                <c:pt idx="752">
                  <c:v>42838</c:v>
                </c:pt>
                <c:pt idx="753">
                  <c:v>42839</c:v>
                </c:pt>
                <c:pt idx="754">
                  <c:v>42842</c:v>
                </c:pt>
                <c:pt idx="755">
                  <c:v>42843</c:v>
                </c:pt>
                <c:pt idx="756">
                  <c:v>42844</c:v>
                </c:pt>
                <c:pt idx="757">
                  <c:v>42845</c:v>
                </c:pt>
                <c:pt idx="758">
                  <c:v>42846</c:v>
                </c:pt>
                <c:pt idx="759">
                  <c:v>42849</c:v>
                </c:pt>
                <c:pt idx="760">
                  <c:v>42850</c:v>
                </c:pt>
                <c:pt idx="761">
                  <c:v>42851</c:v>
                </c:pt>
                <c:pt idx="762">
                  <c:v>42852</c:v>
                </c:pt>
                <c:pt idx="763">
                  <c:v>42853</c:v>
                </c:pt>
                <c:pt idx="764">
                  <c:v>42856</c:v>
                </c:pt>
                <c:pt idx="765">
                  <c:v>42857</c:v>
                </c:pt>
                <c:pt idx="766">
                  <c:v>42858</c:v>
                </c:pt>
                <c:pt idx="767">
                  <c:v>42859</c:v>
                </c:pt>
                <c:pt idx="768">
                  <c:v>42860</c:v>
                </c:pt>
                <c:pt idx="769">
                  <c:v>42863</c:v>
                </c:pt>
                <c:pt idx="770">
                  <c:v>42864</c:v>
                </c:pt>
                <c:pt idx="771">
                  <c:v>42865</c:v>
                </c:pt>
                <c:pt idx="772">
                  <c:v>42866</c:v>
                </c:pt>
                <c:pt idx="773">
                  <c:v>42867</c:v>
                </c:pt>
                <c:pt idx="774">
                  <c:v>42870</c:v>
                </c:pt>
                <c:pt idx="775">
                  <c:v>42871</c:v>
                </c:pt>
                <c:pt idx="776">
                  <c:v>42872</c:v>
                </c:pt>
                <c:pt idx="777">
                  <c:v>42873</c:v>
                </c:pt>
                <c:pt idx="778">
                  <c:v>42874</c:v>
                </c:pt>
                <c:pt idx="779">
                  <c:v>42877</c:v>
                </c:pt>
                <c:pt idx="780">
                  <c:v>42878</c:v>
                </c:pt>
                <c:pt idx="781">
                  <c:v>42879</c:v>
                </c:pt>
                <c:pt idx="782">
                  <c:v>42880</c:v>
                </c:pt>
                <c:pt idx="783">
                  <c:v>42881</c:v>
                </c:pt>
                <c:pt idx="784">
                  <c:v>42884</c:v>
                </c:pt>
                <c:pt idx="785">
                  <c:v>42885</c:v>
                </c:pt>
                <c:pt idx="786">
                  <c:v>42886</c:v>
                </c:pt>
                <c:pt idx="787">
                  <c:v>42887</c:v>
                </c:pt>
                <c:pt idx="788">
                  <c:v>42888</c:v>
                </c:pt>
                <c:pt idx="789">
                  <c:v>42891</c:v>
                </c:pt>
                <c:pt idx="790">
                  <c:v>42892</c:v>
                </c:pt>
                <c:pt idx="791">
                  <c:v>42893</c:v>
                </c:pt>
                <c:pt idx="792">
                  <c:v>42894</c:v>
                </c:pt>
                <c:pt idx="793">
                  <c:v>42895</c:v>
                </c:pt>
                <c:pt idx="794">
                  <c:v>42898</c:v>
                </c:pt>
                <c:pt idx="795">
                  <c:v>42899</c:v>
                </c:pt>
                <c:pt idx="796">
                  <c:v>42900</c:v>
                </c:pt>
                <c:pt idx="797">
                  <c:v>42901</c:v>
                </c:pt>
                <c:pt idx="798">
                  <c:v>42902</c:v>
                </c:pt>
                <c:pt idx="799">
                  <c:v>42905</c:v>
                </c:pt>
                <c:pt idx="800">
                  <c:v>42906</c:v>
                </c:pt>
                <c:pt idx="801">
                  <c:v>42907</c:v>
                </c:pt>
                <c:pt idx="802">
                  <c:v>42908</c:v>
                </c:pt>
                <c:pt idx="803">
                  <c:v>42909</c:v>
                </c:pt>
                <c:pt idx="804">
                  <c:v>42912</c:v>
                </c:pt>
                <c:pt idx="805">
                  <c:v>42913</c:v>
                </c:pt>
                <c:pt idx="806">
                  <c:v>42914</c:v>
                </c:pt>
                <c:pt idx="807">
                  <c:v>42915</c:v>
                </c:pt>
                <c:pt idx="808">
                  <c:v>42916</c:v>
                </c:pt>
                <c:pt idx="809">
                  <c:v>42919</c:v>
                </c:pt>
                <c:pt idx="810">
                  <c:v>42920</c:v>
                </c:pt>
                <c:pt idx="811">
                  <c:v>42921</c:v>
                </c:pt>
                <c:pt idx="812">
                  <c:v>42922</c:v>
                </c:pt>
                <c:pt idx="813">
                  <c:v>42923</c:v>
                </c:pt>
                <c:pt idx="814">
                  <c:v>42926</c:v>
                </c:pt>
                <c:pt idx="815">
                  <c:v>42927</c:v>
                </c:pt>
                <c:pt idx="816">
                  <c:v>42928</c:v>
                </c:pt>
                <c:pt idx="817">
                  <c:v>42929</c:v>
                </c:pt>
                <c:pt idx="818">
                  <c:v>42930</c:v>
                </c:pt>
                <c:pt idx="819">
                  <c:v>42933</c:v>
                </c:pt>
                <c:pt idx="820">
                  <c:v>42934</c:v>
                </c:pt>
                <c:pt idx="821">
                  <c:v>42935</c:v>
                </c:pt>
                <c:pt idx="822">
                  <c:v>42936</c:v>
                </c:pt>
                <c:pt idx="823">
                  <c:v>42937</c:v>
                </c:pt>
                <c:pt idx="824">
                  <c:v>42940</c:v>
                </c:pt>
                <c:pt idx="825">
                  <c:v>42941</c:v>
                </c:pt>
                <c:pt idx="826">
                  <c:v>42942</c:v>
                </c:pt>
                <c:pt idx="827">
                  <c:v>42943</c:v>
                </c:pt>
                <c:pt idx="828">
                  <c:v>42944</c:v>
                </c:pt>
                <c:pt idx="829">
                  <c:v>42947</c:v>
                </c:pt>
                <c:pt idx="830">
                  <c:v>42948</c:v>
                </c:pt>
                <c:pt idx="831">
                  <c:v>42949</c:v>
                </c:pt>
                <c:pt idx="832">
                  <c:v>42950</c:v>
                </c:pt>
                <c:pt idx="833">
                  <c:v>42951</c:v>
                </c:pt>
                <c:pt idx="834">
                  <c:v>42954</c:v>
                </c:pt>
                <c:pt idx="835">
                  <c:v>42955</c:v>
                </c:pt>
                <c:pt idx="836">
                  <c:v>42956</c:v>
                </c:pt>
                <c:pt idx="837">
                  <c:v>42957</c:v>
                </c:pt>
                <c:pt idx="838">
                  <c:v>42958</c:v>
                </c:pt>
                <c:pt idx="839">
                  <c:v>42961</c:v>
                </c:pt>
                <c:pt idx="840">
                  <c:v>42962</c:v>
                </c:pt>
                <c:pt idx="841">
                  <c:v>42963</c:v>
                </c:pt>
                <c:pt idx="842">
                  <c:v>42964</c:v>
                </c:pt>
                <c:pt idx="843">
                  <c:v>42965</c:v>
                </c:pt>
                <c:pt idx="844">
                  <c:v>42968</c:v>
                </c:pt>
                <c:pt idx="845">
                  <c:v>42969</c:v>
                </c:pt>
                <c:pt idx="846">
                  <c:v>42970</c:v>
                </c:pt>
                <c:pt idx="847">
                  <c:v>42971</c:v>
                </c:pt>
                <c:pt idx="848">
                  <c:v>42972</c:v>
                </c:pt>
                <c:pt idx="849">
                  <c:v>42975</c:v>
                </c:pt>
                <c:pt idx="850">
                  <c:v>42976</c:v>
                </c:pt>
                <c:pt idx="851">
                  <c:v>42977</c:v>
                </c:pt>
                <c:pt idx="852">
                  <c:v>42978</c:v>
                </c:pt>
                <c:pt idx="853">
                  <c:v>42979</c:v>
                </c:pt>
                <c:pt idx="854">
                  <c:v>42982</c:v>
                </c:pt>
                <c:pt idx="855">
                  <c:v>42983</c:v>
                </c:pt>
                <c:pt idx="856">
                  <c:v>42984</c:v>
                </c:pt>
                <c:pt idx="857">
                  <c:v>42985</c:v>
                </c:pt>
                <c:pt idx="858">
                  <c:v>42986</c:v>
                </c:pt>
                <c:pt idx="859">
                  <c:v>42989</c:v>
                </c:pt>
                <c:pt idx="860">
                  <c:v>42990</c:v>
                </c:pt>
                <c:pt idx="861">
                  <c:v>42991</c:v>
                </c:pt>
                <c:pt idx="862">
                  <c:v>42992</c:v>
                </c:pt>
                <c:pt idx="863">
                  <c:v>42993</c:v>
                </c:pt>
                <c:pt idx="864">
                  <c:v>42996</c:v>
                </c:pt>
                <c:pt idx="865">
                  <c:v>42997</c:v>
                </c:pt>
                <c:pt idx="866">
                  <c:v>42998</c:v>
                </c:pt>
                <c:pt idx="867">
                  <c:v>42999</c:v>
                </c:pt>
                <c:pt idx="868">
                  <c:v>43000</c:v>
                </c:pt>
                <c:pt idx="869">
                  <c:v>43003</c:v>
                </c:pt>
                <c:pt idx="870">
                  <c:v>43004</c:v>
                </c:pt>
                <c:pt idx="871">
                  <c:v>43005</c:v>
                </c:pt>
                <c:pt idx="872">
                  <c:v>43006</c:v>
                </c:pt>
                <c:pt idx="873">
                  <c:v>43007</c:v>
                </c:pt>
                <c:pt idx="874">
                  <c:v>43010</c:v>
                </c:pt>
                <c:pt idx="875">
                  <c:v>43011</c:v>
                </c:pt>
                <c:pt idx="876">
                  <c:v>43012</c:v>
                </c:pt>
                <c:pt idx="877">
                  <c:v>43013</c:v>
                </c:pt>
                <c:pt idx="878">
                  <c:v>43014</c:v>
                </c:pt>
                <c:pt idx="879">
                  <c:v>43017</c:v>
                </c:pt>
                <c:pt idx="880">
                  <c:v>43018</c:v>
                </c:pt>
                <c:pt idx="881">
                  <c:v>43019</c:v>
                </c:pt>
                <c:pt idx="882">
                  <c:v>43020</c:v>
                </c:pt>
                <c:pt idx="883">
                  <c:v>43021</c:v>
                </c:pt>
                <c:pt idx="884">
                  <c:v>43024</c:v>
                </c:pt>
                <c:pt idx="885">
                  <c:v>43025</c:v>
                </c:pt>
                <c:pt idx="886">
                  <c:v>43026</c:v>
                </c:pt>
                <c:pt idx="887">
                  <c:v>43027</c:v>
                </c:pt>
                <c:pt idx="888">
                  <c:v>43028</c:v>
                </c:pt>
                <c:pt idx="889">
                  <c:v>43031</c:v>
                </c:pt>
                <c:pt idx="890">
                  <c:v>43032</c:v>
                </c:pt>
                <c:pt idx="891">
                  <c:v>43033</c:v>
                </c:pt>
                <c:pt idx="892">
                  <c:v>43034</c:v>
                </c:pt>
                <c:pt idx="893">
                  <c:v>43035</c:v>
                </c:pt>
                <c:pt idx="894">
                  <c:v>43038</c:v>
                </c:pt>
                <c:pt idx="895">
                  <c:v>43039</c:v>
                </c:pt>
                <c:pt idx="896">
                  <c:v>43040</c:v>
                </c:pt>
                <c:pt idx="897">
                  <c:v>43041</c:v>
                </c:pt>
                <c:pt idx="898">
                  <c:v>43042</c:v>
                </c:pt>
                <c:pt idx="899">
                  <c:v>43045</c:v>
                </c:pt>
                <c:pt idx="900">
                  <c:v>43046</c:v>
                </c:pt>
                <c:pt idx="901">
                  <c:v>43047</c:v>
                </c:pt>
                <c:pt idx="902">
                  <c:v>43048</c:v>
                </c:pt>
                <c:pt idx="903">
                  <c:v>43049</c:v>
                </c:pt>
                <c:pt idx="904">
                  <c:v>43052</c:v>
                </c:pt>
                <c:pt idx="905">
                  <c:v>43053</c:v>
                </c:pt>
                <c:pt idx="906">
                  <c:v>43054</c:v>
                </c:pt>
                <c:pt idx="907">
                  <c:v>43055</c:v>
                </c:pt>
                <c:pt idx="908">
                  <c:v>43056</c:v>
                </c:pt>
                <c:pt idx="909">
                  <c:v>43059</c:v>
                </c:pt>
                <c:pt idx="910">
                  <c:v>43060</c:v>
                </c:pt>
                <c:pt idx="911">
                  <c:v>43061</c:v>
                </c:pt>
                <c:pt idx="912">
                  <c:v>43062</c:v>
                </c:pt>
                <c:pt idx="913">
                  <c:v>43063</c:v>
                </c:pt>
                <c:pt idx="914">
                  <c:v>43066</c:v>
                </c:pt>
                <c:pt idx="915">
                  <c:v>43067</c:v>
                </c:pt>
                <c:pt idx="916">
                  <c:v>43068</c:v>
                </c:pt>
                <c:pt idx="917">
                  <c:v>43069</c:v>
                </c:pt>
                <c:pt idx="918">
                  <c:v>43070</c:v>
                </c:pt>
                <c:pt idx="919">
                  <c:v>43073</c:v>
                </c:pt>
                <c:pt idx="920">
                  <c:v>43074</c:v>
                </c:pt>
                <c:pt idx="921">
                  <c:v>43075</c:v>
                </c:pt>
                <c:pt idx="922">
                  <c:v>43076</c:v>
                </c:pt>
                <c:pt idx="923">
                  <c:v>43077</c:v>
                </c:pt>
                <c:pt idx="924">
                  <c:v>43080</c:v>
                </c:pt>
                <c:pt idx="925">
                  <c:v>43081</c:v>
                </c:pt>
                <c:pt idx="926">
                  <c:v>43082</c:v>
                </c:pt>
                <c:pt idx="927">
                  <c:v>43083</c:v>
                </c:pt>
                <c:pt idx="928">
                  <c:v>43084</c:v>
                </c:pt>
                <c:pt idx="929">
                  <c:v>43087</c:v>
                </c:pt>
                <c:pt idx="930">
                  <c:v>43088</c:v>
                </c:pt>
                <c:pt idx="931">
                  <c:v>43089</c:v>
                </c:pt>
                <c:pt idx="932">
                  <c:v>43090</c:v>
                </c:pt>
                <c:pt idx="933">
                  <c:v>43091</c:v>
                </c:pt>
                <c:pt idx="934">
                  <c:v>43094</c:v>
                </c:pt>
                <c:pt idx="935">
                  <c:v>43095</c:v>
                </c:pt>
                <c:pt idx="936">
                  <c:v>43096</c:v>
                </c:pt>
                <c:pt idx="937">
                  <c:v>43097</c:v>
                </c:pt>
                <c:pt idx="938">
                  <c:v>43098</c:v>
                </c:pt>
                <c:pt idx="939">
                  <c:v>43101</c:v>
                </c:pt>
                <c:pt idx="940">
                  <c:v>43102</c:v>
                </c:pt>
                <c:pt idx="941">
                  <c:v>43103</c:v>
                </c:pt>
                <c:pt idx="942">
                  <c:v>43104</c:v>
                </c:pt>
                <c:pt idx="943">
                  <c:v>43105</c:v>
                </c:pt>
                <c:pt idx="944">
                  <c:v>43108</c:v>
                </c:pt>
                <c:pt idx="945">
                  <c:v>43109</c:v>
                </c:pt>
                <c:pt idx="946">
                  <c:v>43110</c:v>
                </c:pt>
                <c:pt idx="947">
                  <c:v>43111</c:v>
                </c:pt>
                <c:pt idx="948">
                  <c:v>43112</c:v>
                </c:pt>
                <c:pt idx="949">
                  <c:v>43115</c:v>
                </c:pt>
                <c:pt idx="950">
                  <c:v>43116</c:v>
                </c:pt>
                <c:pt idx="951">
                  <c:v>43117</c:v>
                </c:pt>
                <c:pt idx="952">
                  <c:v>43118</c:v>
                </c:pt>
                <c:pt idx="953">
                  <c:v>43119</c:v>
                </c:pt>
                <c:pt idx="954">
                  <c:v>43122</c:v>
                </c:pt>
                <c:pt idx="955">
                  <c:v>43123</c:v>
                </c:pt>
                <c:pt idx="956">
                  <c:v>43124</c:v>
                </c:pt>
                <c:pt idx="957">
                  <c:v>43125</c:v>
                </c:pt>
                <c:pt idx="958">
                  <c:v>43126</c:v>
                </c:pt>
                <c:pt idx="959">
                  <c:v>43129</c:v>
                </c:pt>
                <c:pt idx="960">
                  <c:v>43130</c:v>
                </c:pt>
                <c:pt idx="961">
                  <c:v>43131</c:v>
                </c:pt>
              </c:numCache>
            </c:numRef>
          </c:cat>
          <c:val>
            <c:numRef>
              <c:f>'ETF GLOBAL SB USD'!$D$5:$D$966</c:f>
              <c:numCache>
                <c:formatCode>#,##0.00_);[Red]\(#,##0.00\)</c:formatCode>
                <c:ptCount val="962"/>
                <c:pt idx="0">
                  <c:v>100</c:v>
                </c:pt>
                <c:pt idx="1">
                  <c:v>100.07091989007399</c:v>
                </c:pt>
                <c:pt idx="2">
                  <c:v>100.43438432670399</c:v>
                </c:pt>
                <c:pt idx="3">
                  <c:v>100.555539138914</c:v>
                </c:pt>
                <c:pt idx="4">
                  <c:v>100.79489376791399</c:v>
                </c:pt>
                <c:pt idx="5">
                  <c:v>100.73283886409898</c:v>
                </c:pt>
                <c:pt idx="6">
                  <c:v>100.94559853432202</c:v>
                </c:pt>
                <c:pt idx="7">
                  <c:v>101.33861292514898</c:v>
                </c:pt>
                <c:pt idx="8">
                  <c:v>101.965071954138</c:v>
                </c:pt>
                <c:pt idx="9">
                  <c:v>101.99166691291602</c:v>
                </c:pt>
                <c:pt idx="10">
                  <c:v>101.83209716024902</c:v>
                </c:pt>
                <c:pt idx="11">
                  <c:v>101.5583957751</c:v>
                </c:pt>
                <c:pt idx="12">
                  <c:v>101.340834711523</c:v>
                </c:pt>
                <c:pt idx="13">
                  <c:v>101.35376594491601</c:v>
                </c:pt>
                <c:pt idx="14">
                  <c:v>101.297994392115</c:v>
                </c:pt>
                <c:pt idx="15">
                  <c:v>101.47346288725501</c:v>
                </c:pt>
                <c:pt idx="16">
                  <c:v>102.036073431668</c:v>
                </c:pt>
                <c:pt idx="17">
                  <c:v>102.62824858589701</c:v>
                </c:pt>
                <c:pt idx="18">
                  <c:v>102.50820515365</c:v>
                </c:pt>
                <c:pt idx="19">
                  <c:v>102.369715669466</c:v>
                </c:pt>
                <c:pt idx="20">
                  <c:v>101.87432242405401</c:v>
                </c:pt>
                <c:pt idx="21">
                  <c:v>101.86066120123999</c:v>
                </c:pt>
                <c:pt idx="22">
                  <c:v>102.00955330245201</c:v>
                </c:pt>
                <c:pt idx="23">
                  <c:v>102.24711473580901</c:v>
                </c:pt>
                <c:pt idx="24">
                  <c:v>102.566729907419</c:v>
                </c:pt>
                <c:pt idx="25">
                  <c:v>103.11465408420798</c:v>
                </c:pt>
                <c:pt idx="26">
                  <c:v>103.089183029905</c:v>
                </c:pt>
                <c:pt idx="27">
                  <c:v>103.409532401213</c:v>
                </c:pt>
                <c:pt idx="28">
                  <c:v>103.35450635064601</c:v>
                </c:pt>
                <c:pt idx="29">
                  <c:v>102.787421581613</c:v>
                </c:pt>
                <c:pt idx="30">
                  <c:v>102.12642597869701</c:v>
                </c:pt>
                <c:pt idx="31">
                  <c:v>102.27238568288</c:v>
                </c:pt>
                <c:pt idx="32">
                  <c:v>101.67640134690301</c:v>
                </c:pt>
                <c:pt idx="33">
                  <c:v>101.71889921095899</c:v>
                </c:pt>
                <c:pt idx="34">
                  <c:v>102.22478026108801</c:v>
                </c:pt>
                <c:pt idx="35">
                  <c:v>101.91846281727102</c:v>
                </c:pt>
                <c:pt idx="36">
                  <c:v>102.481250464086</c:v>
                </c:pt>
                <c:pt idx="37">
                  <c:v>101.64872717513799</c:v>
                </c:pt>
                <c:pt idx="38">
                  <c:v>102.105100164617</c:v>
                </c:pt>
                <c:pt idx="39">
                  <c:v>101.86603869325302</c:v>
                </c:pt>
                <c:pt idx="40">
                  <c:v>102.44364488333902</c:v>
                </c:pt>
                <c:pt idx="41">
                  <c:v>102.60736911919702</c:v>
                </c:pt>
                <c:pt idx="42">
                  <c:v>102.77996567022201</c:v>
                </c:pt>
                <c:pt idx="43">
                  <c:v>102.393796696181</c:v>
                </c:pt>
                <c:pt idx="44">
                  <c:v>102.432642157077</c:v>
                </c:pt>
                <c:pt idx="45">
                  <c:v>102.123323789072</c:v>
                </c:pt>
                <c:pt idx="46">
                  <c:v>101.78738915643902</c:v>
                </c:pt>
                <c:pt idx="47">
                  <c:v>100.42253325774702</c:v>
                </c:pt>
                <c:pt idx="48">
                  <c:v>100.04222176162401</c:v>
                </c:pt>
                <c:pt idx="49">
                  <c:v>100.25544196288401</c:v>
                </c:pt>
                <c:pt idx="50">
                  <c:v>99.552820207283702</c:v>
                </c:pt>
                <c:pt idx="51">
                  <c:v>99.151780588625897</c:v>
                </c:pt>
                <c:pt idx="52">
                  <c:v>98.662026336025505</c:v>
                </c:pt>
                <c:pt idx="53">
                  <c:v>99.050462559243897</c:v>
                </c:pt>
                <c:pt idx="54">
                  <c:v>99.846196323806893</c:v>
                </c:pt>
                <c:pt idx="55">
                  <c:v>99.785192323591502</c:v>
                </c:pt>
                <c:pt idx="56">
                  <c:v>100.30081620970502</c:v>
                </c:pt>
                <c:pt idx="57">
                  <c:v>100.75139484439902</c:v>
                </c:pt>
                <c:pt idx="58">
                  <c:v>100.77615604902901</c:v>
                </c:pt>
                <c:pt idx="59">
                  <c:v>101.43006046114699</c:v>
                </c:pt>
                <c:pt idx="60">
                  <c:v>101.85110380186899</c:v>
                </c:pt>
                <c:pt idx="61">
                  <c:v>101.943896543809</c:v>
                </c:pt>
                <c:pt idx="62">
                  <c:v>102.18455763982402</c:v>
                </c:pt>
                <c:pt idx="63">
                  <c:v>101.91951466716101</c:v>
                </c:pt>
                <c:pt idx="64">
                  <c:v>102.38422874781099</c:v>
                </c:pt>
                <c:pt idx="65">
                  <c:v>102.57167282320401</c:v>
                </c:pt>
                <c:pt idx="66">
                  <c:v>102.81827141456699</c:v>
                </c:pt>
                <c:pt idx="67">
                  <c:v>102.55913312201199</c:v>
                </c:pt>
                <c:pt idx="68">
                  <c:v>102.761372976787</c:v>
                </c:pt>
                <c:pt idx="69">
                  <c:v>102.72925943390598</c:v>
                </c:pt>
                <c:pt idx="70">
                  <c:v>102.620949724036</c:v>
                </c:pt>
                <c:pt idx="71">
                  <c:v>102.95925811452599</c:v>
                </c:pt>
                <c:pt idx="72">
                  <c:v>102.759257599497</c:v>
                </c:pt>
                <c:pt idx="73">
                  <c:v>102.90531646704399</c:v>
                </c:pt>
                <c:pt idx="74">
                  <c:v>102.485718408431</c:v>
                </c:pt>
                <c:pt idx="75">
                  <c:v>101.821304089457</c:v>
                </c:pt>
                <c:pt idx="76">
                  <c:v>101.83720977640701</c:v>
                </c:pt>
                <c:pt idx="77">
                  <c:v>101.885653710095</c:v>
                </c:pt>
                <c:pt idx="78">
                  <c:v>101.36911291496</c:v>
                </c:pt>
                <c:pt idx="79">
                  <c:v>101.09142247590901</c:v>
                </c:pt>
                <c:pt idx="80">
                  <c:v>101.30256057532002</c:v>
                </c:pt>
                <c:pt idx="81">
                  <c:v>101.48412075031801</c:v>
                </c:pt>
                <c:pt idx="82">
                  <c:v>101.74259919823501</c:v>
                </c:pt>
                <c:pt idx="83">
                  <c:v>101.52776104749599</c:v>
                </c:pt>
                <c:pt idx="84">
                  <c:v>100.75600735671499</c:v>
                </c:pt>
                <c:pt idx="85">
                  <c:v>100.10626434941</c:v>
                </c:pt>
                <c:pt idx="86">
                  <c:v>100.41503841802599</c:v>
                </c:pt>
                <c:pt idx="87">
                  <c:v>99.442805030996396</c:v>
                </c:pt>
                <c:pt idx="88">
                  <c:v>99.680574788400506</c:v>
                </c:pt>
                <c:pt idx="89">
                  <c:v>99.444206370431601</c:v>
                </c:pt>
                <c:pt idx="90">
                  <c:v>99.164226533139896</c:v>
                </c:pt>
                <c:pt idx="91">
                  <c:v>98.1416178415231</c:v>
                </c:pt>
                <c:pt idx="92">
                  <c:v>97.994759320308304</c:v>
                </c:pt>
                <c:pt idx="93">
                  <c:v>97.957369842949305</c:v>
                </c:pt>
                <c:pt idx="94">
                  <c:v>98.223925371070493</c:v>
                </c:pt>
                <c:pt idx="95">
                  <c:v>97.275713625553607</c:v>
                </c:pt>
                <c:pt idx="96">
                  <c:v>97.871604468858905</c:v>
                </c:pt>
                <c:pt idx="97">
                  <c:v>96.670794633599996</c:v>
                </c:pt>
                <c:pt idx="98">
                  <c:v>95.258956267376504</c:v>
                </c:pt>
                <c:pt idx="99">
                  <c:v>94.4474335133267</c:v>
                </c:pt>
                <c:pt idx="100">
                  <c:v>94.498062726884498</c:v>
                </c:pt>
                <c:pt idx="101">
                  <c:v>93.778436003127098</c:v>
                </c:pt>
                <c:pt idx="102">
                  <c:v>93.773041999284999</c:v>
                </c:pt>
                <c:pt idx="103">
                  <c:v>94.801791113244803</c:v>
                </c:pt>
                <c:pt idx="104">
                  <c:v>95.712043890629104</c:v>
                </c:pt>
                <c:pt idx="105">
                  <c:v>97.223906981937205</c:v>
                </c:pt>
                <c:pt idx="106">
                  <c:v>97.149301906099097</c:v>
                </c:pt>
                <c:pt idx="107">
                  <c:v>97.734427596188993</c:v>
                </c:pt>
                <c:pt idx="108">
                  <c:v>98.202610550756503</c:v>
                </c:pt>
                <c:pt idx="109">
                  <c:v>98.185034135090902</c:v>
                </c:pt>
                <c:pt idx="110">
                  <c:v>99.202827878470202</c:v>
                </c:pt>
                <c:pt idx="111">
                  <c:v>99.273997819113106</c:v>
                </c:pt>
                <c:pt idx="112">
                  <c:v>99.413979565142199</c:v>
                </c:pt>
                <c:pt idx="113">
                  <c:v>100.32539209393101</c:v>
                </c:pt>
                <c:pt idx="114">
                  <c:v>99.901483722065393</c:v>
                </c:pt>
                <c:pt idx="115">
                  <c:v>99.841488697184801</c:v>
                </c:pt>
                <c:pt idx="116">
                  <c:v>100.415272914353</c:v>
                </c:pt>
                <c:pt idx="117">
                  <c:v>100.39846617464198</c:v>
                </c:pt>
                <c:pt idx="118">
                  <c:v>100.35285987576698</c:v>
                </c:pt>
                <c:pt idx="119">
                  <c:v>100.84472953312201</c:v>
                </c:pt>
                <c:pt idx="120">
                  <c:v>100.956774646879</c:v>
                </c:pt>
                <c:pt idx="121">
                  <c:v>100.80689023467799</c:v>
                </c:pt>
                <c:pt idx="122">
                  <c:v>100.821996292501</c:v>
                </c:pt>
                <c:pt idx="123">
                  <c:v>100.90550975429299</c:v>
                </c:pt>
                <c:pt idx="124">
                  <c:v>100.907524964728</c:v>
                </c:pt>
                <c:pt idx="125">
                  <c:v>101.721801409617</c:v>
                </c:pt>
                <c:pt idx="126">
                  <c:v>101.54592303251999</c:v>
                </c:pt>
                <c:pt idx="127">
                  <c:v>101.607603362067</c:v>
                </c:pt>
                <c:pt idx="128">
                  <c:v>102.163242257984</c:v>
                </c:pt>
                <c:pt idx="129">
                  <c:v>102.370810186879</c:v>
                </c:pt>
                <c:pt idx="130">
                  <c:v>102.55881271719799</c:v>
                </c:pt>
                <c:pt idx="131">
                  <c:v>102.83725853254299</c:v>
                </c:pt>
                <c:pt idx="132">
                  <c:v>102.695825990754</c:v>
                </c:pt>
                <c:pt idx="133">
                  <c:v>102.48789992198898</c:v>
                </c:pt>
                <c:pt idx="134">
                  <c:v>101.940914324959</c:v>
                </c:pt>
                <c:pt idx="135">
                  <c:v>102.18832762640599</c:v>
                </c:pt>
                <c:pt idx="136">
                  <c:v>102.56500656101699</c:v>
                </c:pt>
                <c:pt idx="137">
                  <c:v>102.396844932129</c:v>
                </c:pt>
                <c:pt idx="138">
                  <c:v>102.44646736521</c:v>
                </c:pt>
                <c:pt idx="139">
                  <c:v>101.84025569450901</c:v>
                </c:pt>
                <c:pt idx="140">
                  <c:v>101.659287569615</c:v>
                </c:pt>
                <c:pt idx="141">
                  <c:v>100.45768827368802</c:v>
                </c:pt>
                <c:pt idx="142">
                  <c:v>100.54306133994</c:v>
                </c:pt>
                <c:pt idx="143">
                  <c:v>99.423413709296398</c:v>
                </c:pt>
                <c:pt idx="144">
                  <c:v>98.508355928307594</c:v>
                </c:pt>
                <c:pt idx="145">
                  <c:v>98.614360260956005</c:v>
                </c:pt>
                <c:pt idx="146">
                  <c:v>99.532240293146501</c:v>
                </c:pt>
                <c:pt idx="147">
                  <c:v>101.241789086187</c:v>
                </c:pt>
                <c:pt idx="148">
                  <c:v>101.81731598827798</c:v>
                </c:pt>
                <c:pt idx="149">
                  <c:v>102.22877447510901</c:v>
                </c:pt>
                <c:pt idx="150">
                  <c:v>102.31502939616099</c:v>
                </c:pt>
                <c:pt idx="151">
                  <c:v>102.54070558587</c:v>
                </c:pt>
                <c:pt idx="152">
                  <c:v>102.54070558587</c:v>
                </c:pt>
                <c:pt idx="153">
                  <c:v>102.54070558587</c:v>
                </c:pt>
                <c:pt idx="154">
                  <c:v>102.85016658841499</c:v>
                </c:pt>
                <c:pt idx="155">
                  <c:v>102.33158638597899</c:v>
                </c:pt>
                <c:pt idx="156">
                  <c:v>101.68398435837001</c:v>
                </c:pt>
                <c:pt idx="157">
                  <c:v>101.68398435837001</c:v>
                </c:pt>
                <c:pt idx="158">
                  <c:v>101.52909815005199</c:v>
                </c:pt>
                <c:pt idx="159">
                  <c:v>99.930853964515194</c:v>
                </c:pt>
                <c:pt idx="160">
                  <c:v>99.072422554575297</c:v>
                </c:pt>
                <c:pt idx="161">
                  <c:v>99.5177637834081</c:v>
                </c:pt>
                <c:pt idx="162">
                  <c:v>101.203459219408</c:v>
                </c:pt>
                <c:pt idx="163">
                  <c:v>100.848083566542</c:v>
                </c:pt>
                <c:pt idx="164">
                  <c:v>100.44166035035001</c:v>
                </c:pt>
                <c:pt idx="165">
                  <c:v>100.61338957105002</c:v>
                </c:pt>
                <c:pt idx="166">
                  <c:v>100.149800644595</c:v>
                </c:pt>
                <c:pt idx="167">
                  <c:v>100.14719853535901</c:v>
                </c:pt>
                <c:pt idx="168">
                  <c:v>100.722027127817</c:v>
                </c:pt>
                <c:pt idx="169">
                  <c:v>101.17535242979</c:v>
                </c:pt>
                <c:pt idx="170">
                  <c:v>101.25191600203</c:v>
                </c:pt>
                <c:pt idx="171">
                  <c:v>101.81501272948201</c:v>
                </c:pt>
                <c:pt idx="172">
                  <c:v>102.58823048904702</c:v>
                </c:pt>
                <c:pt idx="173">
                  <c:v>102.501686748826</c:v>
                </c:pt>
                <c:pt idx="174">
                  <c:v>102.885585736096</c:v>
                </c:pt>
                <c:pt idx="175">
                  <c:v>102.85240838457199</c:v>
                </c:pt>
                <c:pt idx="176">
                  <c:v>102.10345429847401</c:v>
                </c:pt>
                <c:pt idx="177">
                  <c:v>102.345875083724</c:v>
                </c:pt>
                <c:pt idx="178">
                  <c:v>101.297019178318</c:v>
                </c:pt>
                <c:pt idx="179">
                  <c:v>102.00681085174801</c:v>
                </c:pt>
                <c:pt idx="180">
                  <c:v>103.06076083518701</c:v>
                </c:pt>
                <c:pt idx="181">
                  <c:v>103.089866864665</c:v>
                </c:pt>
                <c:pt idx="182">
                  <c:v>103.89209482289601</c:v>
                </c:pt>
                <c:pt idx="183">
                  <c:v>103.15397603287499</c:v>
                </c:pt>
                <c:pt idx="184">
                  <c:v>102.57940298429401</c:v>
                </c:pt>
                <c:pt idx="185">
                  <c:v>103.386574543789</c:v>
                </c:pt>
                <c:pt idx="186">
                  <c:v>103.10842531655999</c:v>
                </c:pt>
                <c:pt idx="187">
                  <c:v>104.215530541261</c:v>
                </c:pt>
                <c:pt idx="188">
                  <c:v>104.593853656809</c:v>
                </c:pt>
                <c:pt idx="189">
                  <c:v>104.57538665725301</c:v>
                </c:pt>
                <c:pt idx="190">
                  <c:v>104.66685760471699</c:v>
                </c:pt>
                <c:pt idx="191">
                  <c:v>105.204168725638</c:v>
                </c:pt>
                <c:pt idx="192">
                  <c:v>105.31513592691599</c:v>
                </c:pt>
                <c:pt idx="193">
                  <c:v>105.721923325652</c:v>
                </c:pt>
                <c:pt idx="194">
                  <c:v>106.00022605905902</c:v>
                </c:pt>
                <c:pt idx="195">
                  <c:v>106.14248374460999</c:v>
                </c:pt>
                <c:pt idx="196">
                  <c:v>106.303020006335</c:v>
                </c:pt>
                <c:pt idx="197">
                  <c:v>106.00255587124001</c:v>
                </c:pt>
                <c:pt idx="198">
                  <c:v>106.019723288667</c:v>
                </c:pt>
                <c:pt idx="199">
                  <c:v>106.14602433917399</c:v>
                </c:pt>
                <c:pt idx="200">
                  <c:v>105.780505211272</c:v>
                </c:pt>
                <c:pt idx="201">
                  <c:v>105.24301679878701</c:v>
                </c:pt>
                <c:pt idx="202">
                  <c:v>105.579114109557</c:v>
                </c:pt>
                <c:pt idx="203">
                  <c:v>104.22918331527899</c:v>
                </c:pt>
                <c:pt idx="204">
                  <c:v>104.16078039247</c:v>
                </c:pt>
                <c:pt idx="205">
                  <c:v>102.70307105055601</c:v>
                </c:pt>
                <c:pt idx="206">
                  <c:v>102.64612752392298</c:v>
                </c:pt>
                <c:pt idx="207">
                  <c:v>103.716931492687</c:v>
                </c:pt>
                <c:pt idx="208">
                  <c:v>103.26748617205199</c:v>
                </c:pt>
                <c:pt idx="209">
                  <c:v>104.39815308795799</c:v>
                </c:pt>
                <c:pt idx="210">
                  <c:v>104.213323362065</c:v>
                </c:pt>
                <c:pt idx="211">
                  <c:v>105.25125546511501</c:v>
                </c:pt>
                <c:pt idx="212">
                  <c:v>105.192968216195</c:v>
                </c:pt>
                <c:pt idx="213">
                  <c:v>106.50347210618001</c:v>
                </c:pt>
                <c:pt idx="214">
                  <c:v>106.79732936272698</c:v>
                </c:pt>
                <c:pt idx="215">
                  <c:v>106.55988933868102</c:v>
                </c:pt>
                <c:pt idx="216">
                  <c:v>105.76586602401402</c:v>
                </c:pt>
                <c:pt idx="217">
                  <c:v>104.944124854104</c:v>
                </c:pt>
                <c:pt idx="218">
                  <c:v>105.176465652809</c:v>
                </c:pt>
                <c:pt idx="219">
                  <c:v>105.897840065705</c:v>
                </c:pt>
                <c:pt idx="220">
                  <c:v>105.14326431999402</c:v>
                </c:pt>
                <c:pt idx="221">
                  <c:v>105.00514367047199</c:v>
                </c:pt>
                <c:pt idx="222">
                  <c:v>105.80244393130501</c:v>
                </c:pt>
                <c:pt idx="223">
                  <c:v>105.80244393130501</c:v>
                </c:pt>
                <c:pt idx="224">
                  <c:v>105.80244393130501</c:v>
                </c:pt>
                <c:pt idx="225">
                  <c:v>106.618189555195</c:v>
                </c:pt>
                <c:pt idx="226">
                  <c:v>106.97202274907201</c:v>
                </c:pt>
                <c:pt idx="227">
                  <c:v>107.15411598868198</c:v>
                </c:pt>
                <c:pt idx="228">
                  <c:v>107.513827798951</c:v>
                </c:pt>
                <c:pt idx="229">
                  <c:v>107.06942300353199</c:v>
                </c:pt>
                <c:pt idx="230">
                  <c:v>107.591952357735</c:v>
                </c:pt>
                <c:pt idx="231">
                  <c:v>107.617951827111</c:v>
                </c:pt>
                <c:pt idx="232">
                  <c:v>107.873198928299</c:v>
                </c:pt>
                <c:pt idx="233">
                  <c:v>106.89223562303</c:v>
                </c:pt>
                <c:pt idx="234">
                  <c:v>107.299610179306</c:v>
                </c:pt>
                <c:pt idx="235">
                  <c:v>107.59730351696702</c:v>
                </c:pt>
                <c:pt idx="236">
                  <c:v>107.71635993458402</c:v>
                </c:pt>
                <c:pt idx="237">
                  <c:v>108.06201318542399</c:v>
                </c:pt>
                <c:pt idx="238">
                  <c:v>108.44803698709802</c:v>
                </c:pt>
                <c:pt idx="239">
                  <c:v>108.460273775282</c:v>
                </c:pt>
                <c:pt idx="240">
                  <c:v>108.54173516126299</c:v>
                </c:pt>
                <c:pt idx="241">
                  <c:v>108.042098717374</c:v>
                </c:pt>
                <c:pt idx="242">
                  <c:v>107.20310245209701</c:v>
                </c:pt>
                <c:pt idx="243">
                  <c:v>107.20310245209701</c:v>
                </c:pt>
                <c:pt idx="244">
                  <c:v>107.918447562107</c:v>
                </c:pt>
                <c:pt idx="245">
                  <c:v>106.79577688119699</c:v>
                </c:pt>
                <c:pt idx="246">
                  <c:v>106.814275050452</c:v>
                </c:pt>
                <c:pt idx="247">
                  <c:v>106.72476810334402</c:v>
                </c:pt>
                <c:pt idx="248">
                  <c:v>108.07805212082199</c:v>
                </c:pt>
                <c:pt idx="249">
                  <c:v>107.979306312283</c:v>
                </c:pt>
                <c:pt idx="250">
                  <c:v>107.754881887453</c:v>
                </c:pt>
                <c:pt idx="251">
                  <c:v>108.1833233861</c:v>
                </c:pt>
                <c:pt idx="252">
                  <c:v>108.928310593841</c:v>
                </c:pt>
                <c:pt idx="253">
                  <c:v>109.358815963133</c:v>
                </c:pt>
                <c:pt idx="254">
                  <c:v>109.47290067381901</c:v>
                </c:pt>
                <c:pt idx="255">
                  <c:v>109.206027331211</c:v>
                </c:pt>
                <c:pt idx="256">
                  <c:v>109.116679774598</c:v>
                </c:pt>
                <c:pt idx="257">
                  <c:v>109.305678907844</c:v>
                </c:pt>
                <c:pt idx="258">
                  <c:v>109.014074061771</c:v>
                </c:pt>
                <c:pt idx="259">
                  <c:v>108.998759686705</c:v>
                </c:pt>
                <c:pt idx="260">
                  <c:v>107.699408758936</c:v>
                </c:pt>
                <c:pt idx="261">
                  <c:v>108.21508978931899</c:v>
                </c:pt>
                <c:pt idx="262">
                  <c:v>108.12667504757701</c:v>
                </c:pt>
                <c:pt idx="263">
                  <c:v>107.66733740393599</c:v>
                </c:pt>
                <c:pt idx="264">
                  <c:v>107.652518312095</c:v>
                </c:pt>
                <c:pt idx="265">
                  <c:v>107.85194881619699</c:v>
                </c:pt>
                <c:pt idx="266">
                  <c:v>108.08577466957099</c:v>
                </c:pt>
                <c:pt idx="267">
                  <c:v>107.32295704977</c:v>
                </c:pt>
                <c:pt idx="268">
                  <c:v>106.402543282585</c:v>
                </c:pt>
                <c:pt idx="269">
                  <c:v>105.96461107645298</c:v>
                </c:pt>
                <c:pt idx="270">
                  <c:v>105.89497251814602</c:v>
                </c:pt>
                <c:pt idx="271">
                  <c:v>107.21503100375</c:v>
                </c:pt>
                <c:pt idx="272">
                  <c:v>107.448516551724</c:v>
                </c:pt>
                <c:pt idx="273">
                  <c:v>106.997385182716</c:v>
                </c:pt>
                <c:pt idx="274">
                  <c:v>106.234013256941</c:v>
                </c:pt>
                <c:pt idx="275">
                  <c:v>106.56244580818</c:v>
                </c:pt>
                <c:pt idx="276">
                  <c:v>106.534261222596</c:v>
                </c:pt>
                <c:pt idx="277">
                  <c:v>107.66374910214699</c:v>
                </c:pt>
                <c:pt idx="278">
                  <c:v>107.34549564806299</c:v>
                </c:pt>
                <c:pt idx="279">
                  <c:v>108.332465212611</c:v>
                </c:pt>
                <c:pt idx="280">
                  <c:v>108.234803449898</c:v>
                </c:pt>
                <c:pt idx="281">
                  <c:v>107.592702746546</c:v>
                </c:pt>
                <c:pt idx="282">
                  <c:v>107.422787160745</c:v>
                </c:pt>
                <c:pt idx="283">
                  <c:v>107.214462416903</c:v>
                </c:pt>
                <c:pt idx="284">
                  <c:v>105.08423631670001</c:v>
                </c:pt>
                <c:pt idx="285">
                  <c:v>105.02287895973798</c:v>
                </c:pt>
                <c:pt idx="286">
                  <c:v>105.81507118689699</c:v>
                </c:pt>
                <c:pt idx="287">
                  <c:v>105.78358420562502</c:v>
                </c:pt>
                <c:pt idx="288">
                  <c:v>105.62486022956298</c:v>
                </c:pt>
                <c:pt idx="289">
                  <c:v>104.739501189495</c:v>
                </c:pt>
                <c:pt idx="290">
                  <c:v>104.54780068215102</c:v>
                </c:pt>
                <c:pt idx="291">
                  <c:v>103.53345062608599</c:v>
                </c:pt>
                <c:pt idx="292">
                  <c:v>104.12609067228101</c:v>
                </c:pt>
                <c:pt idx="293">
                  <c:v>105.52744415872598</c:v>
                </c:pt>
                <c:pt idx="294">
                  <c:v>106.318869907877</c:v>
                </c:pt>
                <c:pt idx="295">
                  <c:v>106.816401163366</c:v>
                </c:pt>
                <c:pt idx="296">
                  <c:v>106.744104919943</c:v>
                </c:pt>
                <c:pt idx="297">
                  <c:v>107.44654694690701</c:v>
                </c:pt>
                <c:pt idx="298">
                  <c:v>107.13949156615202</c:v>
                </c:pt>
                <c:pt idx="299">
                  <c:v>107.07822828377699</c:v>
                </c:pt>
                <c:pt idx="300">
                  <c:v>106.889815596413</c:v>
                </c:pt>
                <c:pt idx="301">
                  <c:v>106.59964065422001</c:v>
                </c:pt>
                <c:pt idx="302">
                  <c:v>106.46719770638001</c:v>
                </c:pt>
                <c:pt idx="303">
                  <c:v>105.70229783965802</c:v>
                </c:pt>
                <c:pt idx="304">
                  <c:v>104.94900132115302</c:v>
                </c:pt>
                <c:pt idx="305">
                  <c:v>105.65806393434301</c:v>
                </c:pt>
                <c:pt idx="306">
                  <c:v>106.451675383553</c:v>
                </c:pt>
                <c:pt idx="307">
                  <c:v>106.30987104638501</c:v>
                </c:pt>
                <c:pt idx="308">
                  <c:v>106.90567122093699</c:v>
                </c:pt>
                <c:pt idx="309">
                  <c:v>106.75976121536598</c:v>
                </c:pt>
                <c:pt idx="310">
                  <c:v>106.76972426406898</c:v>
                </c:pt>
                <c:pt idx="311">
                  <c:v>107.01751339974</c:v>
                </c:pt>
                <c:pt idx="312">
                  <c:v>106.60185069084001</c:v>
                </c:pt>
                <c:pt idx="313">
                  <c:v>106.319142912671</c:v>
                </c:pt>
                <c:pt idx="314">
                  <c:v>107.419084701125</c:v>
                </c:pt>
                <c:pt idx="315">
                  <c:v>106.65189664847099</c:v>
                </c:pt>
                <c:pt idx="316">
                  <c:v>106.44137005216901</c:v>
                </c:pt>
                <c:pt idx="317">
                  <c:v>106.510087996903</c:v>
                </c:pt>
                <c:pt idx="318">
                  <c:v>106.820462526187</c:v>
                </c:pt>
                <c:pt idx="319">
                  <c:v>107.17066946584799</c:v>
                </c:pt>
                <c:pt idx="320">
                  <c:v>107.01399781093998</c:v>
                </c:pt>
                <c:pt idx="321">
                  <c:v>106.047871662595</c:v>
                </c:pt>
                <c:pt idx="322">
                  <c:v>104.484520009634</c:v>
                </c:pt>
                <c:pt idx="323">
                  <c:v>102.079686669816</c:v>
                </c:pt>
                <c:pt idx="324">
                  <c:v>98.497203296202201</c:v>
                </c:pt>
                <c:pt idx="325">
                  <c:v>97.959972731777498</c:v>
                </c:pt>
                <c:pt idx="326">
                  <c:v>99.6355631094617</c:v>
                </c:pt>
                <c:pt idx="327">
                  <c:v>101.52235712021699</c:v>
                </c:pt>
                <c:pt idx="328">
                  <c:v>102.02028420943201</c:v>
                </c:pt>
                <c:pt idx="329">
                  <c:v>101.354884463674</c:v>
                </c:pt>
                <c:pt idx="330">
                  <c:v>98.912469282628706</c:v>
                </c:pt>
                <c:pt idx="331">
                  <c:v>99.577428176963807</c:v>
                </c:pt>
                <c:pt idx="332">
                  <c:v>100.167244125891</c:v>
                </c:pt>
                <c:pt idx="333">
                  <c:v>98.659197321802296</c:v>
                </c:pt>
                <c:pt idx="334">
                  <c:v>98.801831405705698</c:v>
                </c:pt>
                <c:pt idx="335">
                  <c:v>100.31464141164798</c:v>
                </c:pt>
                <c:pt idx="336">
                  <c:v>100.40972021469801</c:v>
                </c:pt>
                <c:pt idx="337">
                  <c:v>100.305478727994</c:v>
                </c:pt>
                <c:pt idx="338">
                  <c:v>100.49660097753701</c:v>
                </c:pt>
                <c:pt idx="339">
                  <c:v>100.17566798918401</c:v>
                </c:pt>
                <c:pt idx="340">
                  <c:v>100.83076100168</c:v>
                </c:pt>
                <c:pt idx="341">
                  <c:v>101.884789776296</c:v>
                </c:pt>
                <c:pt idx="342">
                  <c:v>102.01778650324</c:v>
                </c:pt>
                <c:pt idx="343">
                  <c:v>100.992035588571</c:v>
                </c:pt>
                <c:pt idx="344">
                  <c:v>100.92484168979701</c:v>
                </c:pt>
                <c:pt idx="345">
                  <c:v>99.294830465671595</c:v>
                </c:pt>
                <c:pt idx="346">
                  <c:v>99.204836189886606</c:v>
                </c:pt>
                <c:pt idx="347">
                  <c:v>98.7672469127601</c:v>
                </c:pt>
                <c:pt idx="348">
                  <c:v>99.289858503426203</c:v>
                </c:pt>
                <c:pt idx="349">
                  <c:v>97.493314801977704</c:v>
                </c:pt>
                <c:pt idx="350">
                  <c:v>96.822737946896893</c:v>
                </c:pt>
                <c:pt idx="351">
                  <c:v>98.6310195042239</c:v>
                </c:pt>
                <c:pt idx="352">
                  <c:v>98.942650226949496</c:v>
                </c:pt>
                <c:pt idx="353">
                  <c:v>99.996414834777795</c:v>
                </c:pt>
                <c:pt idx="354">
                  <c:v>101.718507326317</c:v>
                </c:pt>
                <c:pt idx="355">
                  <c:v>101.72214033218</c:v>
                </c:pt>
                <c:pt idx="356">
                  <c:v>102.243634526752</c:v>
                </c:pt>
                <c:pt idx="357">
                  <c:v>102.792110496475</c:v>
                </c:pt>
                <c:pt idx="358">
                  <c:v>103.296824422227</c:v>
                </c:pt>
                <c:pt idx="359">
                  <c:v>103.400458316276</c:v>
                </c:pt>
                <c:pt idx="360">
                  <c:v>102.70485305454</c:v>
                </c:pt>
                <c:pt idx="361">
                  <c:v>102.25008094647498</c:v>
                </c:pt>
                <c:pt idx="362">
                  <c:v>103.516100552327</c:v>
                </c:pt>
                <c:pt idx="363">
                  <c:v>103.88920202732498</c:v>
                </c:pt>
                <c:pt idx="364">
                  <c:v>103.81847860656799</c:v>
                </c:pt>
                <c:pt idx="365">
                  <c:v>103.872490695107</c:v>
                </c:pt>
                <c:pt idx="366">
                  <c:v>103.59482001887601</c:v>
                </c:pt>
                <c:pt idx="367">
                  <c:v>104.31301046302099</c:v>
                </c:pt>
                <c:pt idx="368">
                  <c:v>104.81267647816399</c:v>
                </c:pt>
                <c:pt idx="369">
                  <c:v>104.779593719345</c:v>
                </c:pt>
                <c:pt idx="370">
                  <c:v>104.21389930668002</c:v>
                </c:pt>
                <c:pt idx="371">
                  <c:v>105.12638868457999</c:v>
                </c:pt>
                <c:pt idx="372">
                  <c:v>104.70996685031</c:v>
                </c:pt>
                <c:pt idx="373">
                  <c:v>104.84718308768998</c:v>
                </c:pt>
                <c:pt idx="374">
                  <c:v>105.32424635588499</c:v>
                </c:pt>
                <c:pt idx="375">
                  <c:v>105.159592613901</c:v>
                </c:pt>
                <c:pt idx="376">
                  <c:v>104.88990686570901</c:v>
                </c:pt>
                <c:pt idx="377">
                  <c:v>104.86788549395899</c:v>
                </c:pt>
                <c:pt idx="378">
                  <c:v>104.257723263971</c:v>
                </c:pt>
                <c:pt idx="379">
                  <c:v>103.49798283540299</c:v>
                </c:pt>
                <c:pt idx="380">
                  <c:v>103.57533093200702</c:v>
                </c:pt>
                <c:pt idx="381">
                  <c:v>103.73100635750401</c:v>
                </c:pt>
                <c:pt idx="382">
                  <c:v>102.645707732345</c:v>
                </c:pt>
                <c:pt idx="383">
                  <c:v>101.757593488002</c:v>
                </c:pt>
                <c:pt idx="384">
                  <c:v>102.52509079414899</c:v>
                </c:pt>
                <c:pt idx="385">
                  <c:v>102.99899488903202</c:v>
                </c:pt>
                <c:pt idx="386">
                  <c:v>103.78024119619</c:v>
                </c:pt>
                <c:pt idx="387">
                  <c:v>104.42567309526601</c:v>
                </c:pt>
                <c:pt idx="388">
                  <c:v>104.620042402362</c:v>
                </c:pt>
                <c:pt idx="389">
                  <c:v>104.41198278056501</c:v>
                </c:pt>
                <c:pt idx="390">
                  <c:v>104.25841154736402</c:v>
                </c:pt>
                <c:pt idx="391">
                  <c:v>104.49353762533499</c:v>
                </c:pt>
                <c:pt idx="392">
                  <c:v>104.82490349088999</c:v>
                </c:pt>
                <c:pt idx="393">
                  <c:v>104.74890169244799</c:v>
                </c:pt>
                <c:pt idx="394">
                  <c:v>104.50435812460998</c:v>
                </c:pt>
                <c:pt idx="395">
                  <c:v>105.46347680888999</c:v>
                </c:pt>
                <c:pt idx="396">
                  <c:v>104.67196984059099</c:v>
                </c:pt>
                <c:pt idx="397">
                  <c:v>103.839631050617</c:v>
                </c:pt>
                <c:pt idx="398">
                  <c:v>104.83462720946</c:v>
                </c:pt>
                <c:pt idx="399">
                  <c:v>104.489028901712</c:v>
                </c:pt>
                <c:pt idx="400">
                  <c:v>103.58713167077499</c:v>
                </c:pt>
                <c:pt idx="401">
                  <c:v>103.15151120952099</c:v>
                </c:pt>
                <c:pt idx="402">
                  <c:v>102.998125051576</c:v>
                </c:pt>
                <c:pt idx="403">
                  <c:v>101.65993612058</c:v>
                </c:pt>
                <c:pt idx="404">
                  <c:v>101.288930172717</c:v>
                </c:pt>
                <c:pt idx="405">
                  <c:v>102.09366700250899</c:v>
                </c:pt>
                <c:pt idx="406">
                  <c:v>103.30347502383998</c:v>
                </c:pt>
                <c:pt idx="407">
                  <c:v>102.623341751963</c:v>
                </c:pt>
                <c:pt idx="408">
                  <c:v>101.582633907524</c:v>
                </c:pt>
                <c:pt idx="409">
                  <c:v>101.86747057171802</c:v>
                </c:pt>
                <c:pt idx="410">
                  <c:v>102.51162946683201</c:v>
                </c:pt>
                <c:pt idx="411">
                  <c:v>103.646812623247</c:v>
                </c:pt>
                <c:pt idx="412">
                  <c:v>103.780274390287</c:v>
                </c:pt>
                <c:pt idx="413">
                  <c:v>103.780274390287</c:v>
                </c:pt>
                <c:pt idx="414">
                  <c:v>103.67811920393099</c:v>
                </c:pt>
                <c:pt idx="415">
                  <c:v>104.58589112040499</c:v>
                </c:pt>
                <c:pt idx="416">
                  <c:v>104.12696578379598</c:v>
                </c:pt>
                <c:pt idx="417">
                  <c:v>103.432215377869</c:v>
                </c:pt>
                <c:pt idx="418">
                  <c:v>103.432215377869</c:v>
                </c:pt>
                <c:pt idx="419">
                  <c:v>101.648067318144</c:v>
                </c:pt>
                <c:pt idx="420">
                  <c:v>101.724802631294</c:v>
                </c:pt>
                <c:pt idx="421">
                  <c:v>100.61453392370601</c:v>
                </c:pt>
                <c:pt idx="422">
                  <c:v>98.993875785334296</c:v>
                </c:pt>
                <c:pt idx="423">
                  <c:v>98.107896578871703</c:v>
                </c:pt>
                <c:pt idx="424">
                  <c:v>97.8793852976344</c:v>
                </c:pt>
                <c:pt idx="425">
                  <c:v>97.955763840634503</c:v>
                </c:pt>
                <c:pt idx="426">
                  <c:v>97.021561202196096</c:v>
                </c:pt>
                <c:pt idx="427">
                  <c:v>96.831581097186103</c:v>
                </c:pt>
                <c:pt idx="428">
                  <c:v>95.531153899512603</c:v>
                </c:pt>
                <c:pt idx="429">
                  <c:v>94.953037601872794</c:v>
                </c:pt>
                <c:pt idx="430">
                  <c:v>95.302375040662596</c:v>
                </c:pt>
                <c:pt idx="431">
                  <c:v>93.541684618316296</c:v>
                </c:pt>
                <c:pt idx="432">
                  <c:v>93.6671487878221</c:v>
                </c:pt>
                <c:pt idx="433">
                  <c:v>96.006342008804197</c:v>
                </c:pt>
                <c:pt idx="434">
                  <c:v>95.310491561580804</c:v>
                </c:pt>
                <c:pt idx="435">
                  <c:v>96.193170644153497</c:v>
                </c:pt>
                <c:pt idx="436">
                  <c:v>96.148425721142601</c:v>
                </c:pt>
                <c:pt idx="437">
                  <c:v>96.048470617379905</c:v>
                </c:pt>
                <c:pt idx="438">
                  <c:v>97.843619090071499</c:v>
                </c:pt>
                <c:pt idx="439">
                  <c:v>98.449563459431005</c:v>
                </c:pt>
                <c:pt idx="440">
                  <c:v>97.038388860949595</c:v>
                </c:pt>
                <c:pt idx="441">
                  <c:v>97.348481583211495</c:v>
                </c:pt>
                <c:pt idx="442">
                  <c:v>97.562513942517697</c:v>
                </c:pt>
                <c:pt idx="443">
                  <c:v>96.185054123235304</c:v>
                </c:pt>
                <c:pt idx="444">
                  <c:v>94.438218275057196</c:v>
                </c:pt>
                <c:pt idx="445">
                  <c:v>93.934220976132593</c:v>
                </c:pt>
                <c:pt idx="446">
                  <c:v>93.9166797770784</c:v>
                </c:pt>
                <c:pt idx="447">
                  <c:v>93.015062145696405</c:v>
                </c:pt>
                <c:pt idx="448">
                  <c:v>93.799451051874399</c:v>
                </c:pt>
                <c:pt idx="449">
                  <c:v>94.917241663464097</c:v>
                </c:pt>
                <c:pt idx="450">
                  <c:v>95.844398091434996</c:v>
                </c:pt>
                <c:pt idx="451">
                  <c:v>97.134270838830304</c:v>
                </c:pt>
                <c:pt idx="452">
                  <c:v>97.4545909720661</c:v>
                </c:pt>
                <c:pt idx="453">
                  <c:v>97.290298317874402</c:v>
                </c:pt>
                <c:pt idx="454">
                  <c:v>98.448374225596893</c:v>
                </c:pt>
                <c:pt idx="455">
                  <c:v>97.644868385534593</c:v>
                </c:pt>
                <c:pt idx="456">
                  <c:v>97.517917673736093</c:v>
                </c:pt>
                <c:pt idx="457">
                  <c:v>98.770716056350807</c:v>
                </c:pt>
                <c:pt idx="458">
                  <c:v>98.617631931046205</c:v>
                </c:pt>
                <c:pt idx="459">
                  <c:v>98.254737226546894</c:v>
                </c:pt>
                <c:pt idx="460">
                  <c:v>99.770683325819306</c:v>
                </c:pt>
                <c:pt idx="461">
                  <c:v>100.329474573653</c:v>
                </c:pt>
                <c:pt idx="462">
                  <c:v>101.05520452095999</c:v>
                </c:pt>
                <c:pt idx="463">
                  <c:v>101.54308770143201</c:v>
                </c:pt>
                <c:pt idx="464">
                  <c:v>101.477679840552</c:v>
                </c:pt>
                <c:pt idx="465">
                  <c:v>100.70717523938799</c:v>
                </c:pt>
                <c:pt idx="466">
                  <c:v>100.929175465383</c:v>
                </c:pt>
                <c:pt idx="467">
                  <c:v>101.036593011455</c:v>
                </c:pt>
                <c:pt idx="468">
                  <c:v>102.83938231153201</c:v>
                </c:pt>
                <c:pt idx="469">
                  <c:v>102.942013191421</c:v>
                </c:pt>
                <c:pt idx="470">
                  <c:v>102.51793240615299</c:v>
                </c:pt>
                <c:pt idx="471">
                  <c:v>102.75774140881499</c:v>
                </c:pt>
                <c:pt idx="472">
                  <c:v>104.217139439273</c:v>
                </c:pt>
                <c:pt idx="473">
                  <c:v>104.301039886274</c:v>
                </c:pt>
                <c:pt idx="474">
                  <c:v>104.075501689622</c:v>
                </c:pt>
                <c:pt idx="475">
                  <c:v>104.11977091909898</c:v>
                </c:pt>
                <c:pt idx="476">
                  <c:v>103.44059947639998</c:v>
                </c:pt>
                <c:pt idx="477">
                  <c:v>102.954440684988</c:v>
                </c:pt>
                <c:pt idx="478">
                  <c:v>102.954440684988</c:v>
                </c:pt>
                <c:pt idx="479">
                  <c:v>102.954440684988</c:v>
                </c:pt>
                <c:pt idx="480">
                  <c:v>104.06786086223701</c:v>
                </c:pt>
                <c:pt idx="481">
                  <c:v>105.111621667649</c:v>
                </c:pt>
                <c:pt idx="482">
                  <c:v>104.86759088487601</c:v>
                </c:pt>
                <c:pt idx="483">
                  <c:v>104.40792227712102</c:v>
                </c:pt>
                <c:pt idx="484">
                  <c:v>104.424363434878</c:v>
                </c:pt>
                <c:pt idx="485">
                  <c:v>103.152180540766</c:v>
                </c:pt>
                <c:pt idx="486">
                  <c:v>103.896105765736</c:v>
                </c:pt>
                <c:pt idx="487">
                  <c:v>103.334906319388</c:v>
                </c:pt>
                <c:pt idx="488">
                  <c:v>104.02165912778001</c:v>
                </c:pt>
                <c:pt idx="489">
                  <c:v>104.062955272671</c:v>
                </c:pt>
                <c:pt idx="490">
                  <c:v>104.50196094255799</c:v>
                </c:pt>
                <c:pt idx="491">
                  <c:v>105.50567429860401</c:v>
                </c:pt>
                <c:pt idx="492">
                  <c:v>105.61654062279599</c:v>
                </c:pt>
                <c:pt idx="493">
                  <c:v>105.63188173925599</c:v>
                </c:pt>
                <c:pt idx="494">
                  <c:v>105.94881255606498</c:v>
                </c:pt>
                <c:pt idx="495">
                  <c:v>106.962277629551</c:v>
                </c:pt>
                <c:pt idx="496">
                  <c:v>106.80140402263298</c:v>
                </c:pt>
                <c:pt idx="497">
                  <c:v>106.15793932580499</c:v>
                </c:pt>
                <c:pt idx="498">
                  <c:v>106.041989026973</c:v>
                </c:pt>
                <c:pt idx="499">
                  <c:v>105.999800956705</c:v>
                </c:pt>
                <c:pt idx="500">
                  <c:v>106.43699304499501</c:v>
                </c:pt>
                <c:pt idx="501">
                  <c:v>106.75740237076801</c:v>
                </c:pt>
                <c:pt idx="502">
                  <c:v>106.383418060765</c:v>
                </c:pt>
                <c:pt idx="503">
                  <c:v>106.212227850335</c:v>
                </c:pt>
                <c:pt idx="504">
                  <c:v>106.580503837934</c:v>
                </c:pt>
                <c:pt idx="505">
                  <c:v>105.70543585189999</c:v>
                </c:pt>
                <c:pt idx="506">
                  <c:v>105.02338051715302</c:v>
                </c:pt>
                <c:pt idx="507">
                  <c:v>104.817643063841</c:v>
                </c:pt>
                <c:pt idx="508">
                  <c:v>105.02216155247299</c:v>
                </c:pt>
                <c:pt idx="509">
                  <c:v>105.07769877253</c:v>
                </c:pt>
                <c:pt idx="510">
                  <c:v>106.124046161531</c:v>
                </c:pt>
                <c:pt idx="511">
                  <c:v>105.59540199139302</c:v>
                </c:pt>
                <c:pt idx="512">
                  <c:v>105.46833235621101</c:v>
                </c:pt>
                <c:pt idx="513">
                  <c:v>104.66842394849701</c:v>
                </c:pt>
                <c:pt idx="514">
                  <c:v>105.34176814540901</c:v>
                </c:pt>
                <c:pt idx="515">
                  <c:v>105.007504245467</c:v>
                </c:pt>
                <c:pt idx="516">
                  <c:v>104.824481158387</c:v>
                </c:pt>
                <c:pt idx="517">
                  <c:v>104.08412363492002</c:v>
                </c:pt>
                <c:pt idx="518">
                  <c:v>104.85376604155398</c:v>
                </c:pt>
                <c:pt idx="519">
                  <c:v>104.70430907944399</c:v>
                </c:pt>
                <c:pt idx="520">
                  <c:v>105.73133141864</c:v>
                </c:pt>
                <c:pt idx="521">
                  <c:v>106.230601513073</c:v>
                </c:pt>
                <c:pt idx="522">
                  <c:v>106.53596703084401</c:v>
                </c:pt>
                <c:pt idx="523">
                  <c:v>106.75436982449101</c:v>
                </c:pt>
                <c:pt idx="524">
                  <c:v>106.76982986433498</c:v>
                </c:pt>
                <c:pt idx="525">
                  <c:v>106.749939928459</c:v>
                </c:pt>
                <c:pt idx="526">
                  <c:v>106.729514837357</c:v>
                </c:pt>
                <c:pt idx="527">
                  <c:v>106.88093403529399</c:v>
                </c:pt>
                <c:pt idx="528">
                  <c:v>107.401134645209</c:v>
                </c:pt>
                <c:pt idx="529">
                  <c:v>107.700553993809</c:v>
                </c:pt>
                <c:pt idx="530">
                  <c:v>108.260029051098</c:v>
                </c:pt>
                <c:pt idx="531">
                  <c:v>108.66020623629899</c:v>
                </c:pt>
                <c:pt idx="532">
                  <c:v>108.19369953399701</c:v>
                </c:pt>
                <c:pt idx="533">
                  <c:v>106.69571086562</c:v>
                </c:pt>
                <c:pt idx="534">
                  <c:v>105.411011285404</c:v>
                </c:pt>
                <c:pt idx="535">
                  <c:v>104.40530596268501</c:v>
                </c:pt>
                <c:pt idx="536">
                  <c:v>104.70624158442401</c:v>
                </c:pt>
                <c:pt idx="537">
                  <c:v>104.21806109549398</c:v>
                </c:pt>
                <c:pt idx="538">
                  <c:v>104.73415884868101</c:v>
                </c:pt>
                <c:pt idx="539">
                  <c:v>106.48958691131098</c:v>
                </c:pt>
                <c:pt idx="540">
                  <c:v>106.705997738286</c:v>
                </c:pt>
                <c:pt idx="541">
                  <c:v>106.64103584009401</c:v>
                </c:pt>
                <c:pt idx="542">
                  <c:v>107.972472309994</c:v>
                </c:pt>
                <c:pt idx="543">
                  <c:v>103.1999877409</c:v>
                </c:pt>
                <c:pt idx="544">
                  <c:v>100.819528105872</c:v>
                </c:pt>
                <c:pt idx="545">
                  <c:v>102.520281142976</c:v>
                </c:pt>
                <c:pt idx="546">
                  <c:v>104.628614345898</c:v>
                </c:pt>
                <c:pt idx="547">
                  <c:v>105.96254820685</c:v>
                </c:pt>
                <c:pt idx="548">
                  <c:v>106.43836066390399</c:v>
                </c:pt>
                <c:pt idx="549">
                  <c:v>106.425546669341</c:v>
                </c:pt>
                <c:pt idx="550">
                  <c:v>105.50225525133099</c:v>
                </c:pt>
                <c:pt idx="551">
                  <c:v>105.21880136695501</c:v>
                </c:pt>
                <c:pt idx="552">
                  <c:v>105.24535101230302</c:v>
                </c:pt>
                <c:pt idx="553">
                  <c:v>106.401851185195</c:v>
                </c:pt>
                <c:pt idx="554">
                  <c:v>107.216179053148</c:v>
                </c:pt>
                <c:pt idx="555">
                  <c:v>107.79709005029801</c:v>
                </c:pt>
                <c:pt idx="556">
                  <c:v>108.10875850739102</c:v>
                </c:pt>
                <c:pt idx="557">
                  <c:v>108.494783809965</c:v>
                </c:pt>
                <c:pt idx="558">
                  <c:v>108.14449498410798</c:v>
                </c:pt>
                <c:pt idx="559">
                  <c:v>108.331026310998</c:v>
                </c:pt>
                <c:pt idx="560">
                  <c:v>108.161857798087</c:v>
                </c:pt>
                <c:pt idx="561">
                  <c:v>108.50706264930298</c:v>
                </c:pt>
                <c:pt idx="562">
                  <c:v>108.356089414054</c:v>
                </c:pt>
                <c:pt idx="563">
                  <c:v>108.61679920135101</c:v>
                </c:pt>
                <c:pt idx="564">
                  <c:v>108.52279026676</c:v>
                </c:pt>
                <c:pt idx="565">
                  <c:v>108.74484995444701</c:v>
                </c:pt>
                <c:pt idx="566">
                  <c:v>108.454201205373</c:v>
                </c:pt>
                <c:pt idx="567">
                  <c:v>108.79937632574401</c:v>
                </c:pt>
                <c:pt idx="568">
                  <c:v>109.738514284594</c:v>
                </c:pt>
                <c:pt idx="569">
                  <c:v>109.423872742916</c:v>
                </c:pt>
                <c:pt idx="570">
                  <c:v>108.757039601247</c:v>
                </c:pt>
                <c:pt idx="571">
                  <c:v>108.38243094348098</c:v>
                </c:pt>
                <c:pt idx="572">
                  <c:v>108.60050669782299</c:v>
                </c:pt>
                <c:pt idx="573">
                  <c:v>108.92611892162101</c:v>
                </c:pt>
                <c:pt idx="574">
                  <c:v>109.065734973754</c:v>
                </c:pt>
                <c:pt idx="575">
                  <c:v>109.547196291521</c:v>
                </c:pt>
                <c:pt idx="576">
                  <c:v>109.649381208722</c:v>
                </c:pt>
                <c:pt idx="577">
                  <c:v>110.11226074783001</c:v>
                </c:pt>
                <c:pt idx="578">
                  <c:v>110.24911183129799</c:v>
                </c:pt>
                <c:pt idx="579">
                  <c:v>110.30964383345801</c:v>
                </c:pt>
                <c:pt idx="580">
                  <c:v>109.63790510222199</c:v>
                </c:pt>
                <c:pt idx="581">
                  <c:v>109.642602575867</c:v>
                </c:pt>
                <c:pt idx="582">
                  <c:v>110.166222233056</c:v>
                </c:pt>
                <c:pt idx="583">
                  <c:v>109.84697241027099</c:v>
                </c:pt>
                <c:pt idx="584">
                  <c:v>110.03704170781801</c:v>
                </c:pt>
                <c:pt idx="585">
                  <c:v>110.43941897561299</c:v>
                </c:pt>
                <c:pt idx="586">
                  <c:v>109.909704495024</c:v>
                </c:pt>
                <c:pt idx="587">
                  <c:v>109.756055483648</c:v>
                </c:pt>
                <c:pt idx="588">
                  <c:v>109.468112241548</c:v>
                </c:pt>
                <c:pt idx="589">
                  <c:v>109.48342362716301</c:v>
                </c:pt>
                <c:pt idx="590">
                  <c:v>109.21204046620301</c:v>
                </c:pt>
                <c:pt idx="591">
                  <c:v>109.02788760698098</c:v>
                </c:pt>
                <c:pt idx="592">
                  <c:v>109.332034160072</c:v>
                </c:pt>
                <c:pt idx="593">
                  <c:v>110.03499027945401</c:v>
                </c:pt>
                <c:pt idx="594">
                  <c:v>110.25264980195499</c:v>
                </c:pt>
                <c:pt idx="595">
                  <c:v>110.89807673460901</c:v>
                </c:pt>
                <c:pt idx="596">
                  <c:v>111.06477758731501</c:v>
                </c:pt>
                <c:pt idx="597">
                  <c:v>110.781561549706</c:v>
                </c:pt>
                <c:pt idx="598">
                  <c:v>108.28075145065901</c:v>
                </c:pt>
                <c:pt idx="599">
                  <c:v>108.79545185409101</c:v>
                </c:pt>
                <c:pt idx="600">
                  <c:v>107.526152852027</c:v>
                </c:pt>
                <c:pt idx="601">
                  <c:v>107.287087120511</c:v>
                </c:pt>
                <c:pt idx="602">
                  <c:v>108.02384721163001</c:v>
                </c:pt>
                <c:pt idx="603">
                  <c:v>107.599320463675</c:v>
                </c:pt>
                <c:pt idx="604">
                  <c:v>108.21680040122598</c:v>
                </c:pt>
                <c:pt idx="605">
                  <c:v>108.12980794625599</c:v>
                </c:pt>
                <c:pt idx="606">
                  <c:v>109.387749765203</c:v>
                </c:pt>
                <c:pt idx="607">
                  <c:v>110.60546574970999</c:v>
                </c:pt>
                <c:pt idx="608">
                  <c:v>109.999670034579</c:v>
                </c:pt>
                <c:pt idx="609">
                  <c:v>109.271175118608</c:v>
                </c:pt>
                <c:pt idx="610">
                  <c:v>109.40457742395699</c:v>
                </c:pt>
                <c:pt idx="611">
                  <c:v>109.782664590688</c:v>
                </c:pt>
                <c:pt idx="612">
                  <c:v>109.28612973407299</c:v>
                </c:pt>
                <c:pt idx="613">
                  <c:v>109.66094650775999</c:v>
                </c:pt>
                <c:pt idx="614">
                  <c:v>109.31380915156301</c:v>
                </c:pt>
                <c:pt idx="615">
                  <c:v>108.661395470133</c:v>
                </c:pt>
                <c:pt idx="616">
                  <c:v>108.579665374879</c:v>
                </c:pt>
                <c:pt idx="617">
                  <c:v>108.31271210995199</c:v>
                </c:pt>
                <c:pt idx="618">
                  <c:v>107.77164044624701</c:v>
                </c:pt>
                <c:pt idx="619">
                  <c:v>108.13031337063499</c:v>
                </c:pt>
                <c:pt idx="620">
                  <c:v>106.95380433848301</c:v>
                </c:pt>
                <c:pt idx="621">
                  <c:v>106.81508021172598</c:v>
                </c:pt>
                <c:pt idx="622">
                  <c:v>106.69948668304401</c:v>
                </c:pt>
                <c:pt idx="623">
                  <c:v>106.81618025302299</c:v>
                </c:pt>
                <c:pt idx="624">
                  <c:v>106.48881390931902</c:v>
                </c:pt>
                <c:pt idx="625">
                  <c:v>107.37639858145801</c:v>
                </c:pt>
                <c:pt idx="626">
                  <c:v>107.80669311350898</c:v>
                </c:pt>
                <c:pt idx="627">
                  <c:v>107.57630878898298</c:v>
                </c:pt>
                <c:pt idx="628">
                  <c:v>107.30789871260899</c:v>
                </c:pt>
                <c:pt idx="629">
                  <c:v>107.58267118999601</c:v>
                </c:pt>
                <c:pt idx="630">
                  <c:v>107.20158120783401</c:v>
                </c:pt>
                <c:pt idx="631">
                  <c:v>107.16147429677601</c:v>
                </c:pt>
                <c:pt idx="632">
                  <c:v>106.552883882136</c:v>
                </c:pt>
                <c:pt idx="633">
                  <c:v>106.63181927787902</c:v>
                </c:pt>
                <c:pt idx="634">
                  <c:v>107.053610788016</c:v>
                </c:pt>
                <c:pt idx="635">
                  <c:v>106.50998227156801</c:v>
                </c:pt>
                <c:pt idx="636">
                  <c:v>105.923689991318</c:v>
                </c:pt>
                <c:pt idx="637">
                  <c:v>105.74545357042101</c:v>
                </c:pt>
                <c:pt idx="638">
                  <c:v>105.32996499960498</c:v>
                </c:pt>
                <c:pt idx="639">
                  <c:v>106.597777459376</c:v>
                </c:pt>
                <c:pt idx="640">
                  <c:v>106.999827687866</c:v>
                </c:pt>
                <c:pt idx="641">
                  <c:v>106.859854865583</c:v>
                </c:pt>
                <c:pt idx="642">
                  <c:v>106.86410637654001</c:v>
                </c:pt>
                <c:pt idx="643">
                  <c:v>106.511706660627</c:v>
                </c:pt>
                <c:pt idx="644">
                  <c:v>106.49856562675998</c:v>
                </c:pt>
                <c:pt idx="645">
                  <c:v>107.13543007580802</c:v>
                </c:pt>
                <c:pt idx="646">
                  <c:v>106.822156153039</c:v>
                </c:pt>
                <c:pt idx="647">
                  <c:v>107.385793528748</c:v>
                </c:pt>
                <c:pt idx="648">
                  <c:v>106.88242057758602</c:v>
                </c:pt>
                <c:pt idx="649">
                  <c:v>107.54348593516001</c:v>
                </c:pt>
                <c:pt idx="650">
                  <c:v>107.87186312762201</c:v>
                </c:pt>
                <c:pt idx="651">
                  <c:v>107.61986447815998</c:v>
                </c:pt>
                <c:pt idx="652">
                  <c:v>107.800241519959</c:v>
                </c:pt>
                <c:pt idx="653">
                  <c:v>108.324753102523</c:v>
                </c:pt>
                <c:pt idx="654">
                  <c:v>107.99040001004401</c:v>
                </c:pt>
                <c:pt idx="655">
                  <c:v>108.251882799334</c:v>
                </c:pt>
                <c:pt idx="656">
                  <c:v>107.79105468859001</c:v>
                </c:pt>
                <c:pt idx="657">
                  <c:v>107.50177355842601</c:v>
                </c:pt>
                <c:pt idx="658">
                  <c:v>107.666779752918</c:v>
                </c:pt>
                <c:pt idx="659">
                  <c:v>108.17746649216001</c:v>
                </c:pt>
                <c:pt idx="660">
                  <c:v>108.801279099878</c:v>
                </c:pt>
                <c:pt idx="661">
                  <c:v>110.091419424886</c:v>
                </c:pt>
                <c:pt idx="662">
                  <c:v>110.32899861410898</c:v>
                </c:pt>
                <c:pt idx="663">
                  <c:v>110.562474946604</c:v>
                </c:pt>
                <c:pt idx="664">
                  <c:v>110.50087263399399</c:v>
                </c:pt>
                <c:pt idx="665">
                  <c:v>111.230467591262</c:v>
                </c:pt>
                <c:pt idx="666">
                  <c:v>110.368719024171</c:v>
                </c:pt>
                <c:pt idx="667">
                  <c:v>109.58126784086998</c:v>
                </c:pt>
                <c:pt idx="668">
                  <c:v>109.760039416993</c:v>
                </c:pt>
                <c:pt idx="669">
                  <c:v>110.06162911734</c:v>
                </c:pt>
                <c:pt idx="670">
                  <c:v>110.19437734408</c:v>
                </c:pt>
                <c:pt idx="671">
                  <c:v>110.133012878237</c:v>
                </c:pt>
                <c:pt idx="672">
                  <c:v>109.97175277032201</c:v>
                </c:pt>
                <c:pt idx="673">
                  <c:v>110.15887871413</c:v>
                </c:pt>
                <c:pt idx="674">
                  <c:v>110.15887871413</c:v>
                </c:pt>
                <c:pt idx="675">
                  <c:v>110.30334089413701</c:v>
                </c:pt>
                <c:pt idx="676">
                  <c:v>109.61406096384701</c:v>
                </c:pt>
                <c:pt idx="677">
                  <c:v>109.980850409154</c:v>
                </c:pt>
                <c:pt idx="678">
                  <c:v>110.037933633194</c:v>
                </c:pt>
                <c:pt idx="679">
                  <c:v>110.19782612219899</c:v>
                </c:pt>
                <c:pt idx="680">
                  <c:v>110.24940913975701</c:v>
                </c:pt>
                <c:pt idx="681">
                  <c:v>111.36291850954298</c:v>
                </c:pt>
                <c:pt idx="682">
                  <c:v>111.831803679514</c:v>
                </c:pt>
                <c:pt idx="683">
                  <c:v>111.74290845040899</c:v>
                </c:pt>
                <c:pt idx="684">
                  <c:v>111.11707414517301</c:v>
                </c:pt>
                <c:pt idx="685">
                  <c:v>111.313238266121</c:v>
                </c:pt>
                <c:pt idx="686">
                  <c:v>111.21081550215199</c:v>
                </c:pt>
                <c:pt idx="687">
                  <c:v>111.60834664207199</c:v>
                </c:pt>
                <c:pt idx="688">
                  <c:v>111.827998131245</c:v>
                </c:pt>
                <c:pt idx="689">
                  <c:v>111.57347235988499</c:v>
                </c:pt>
                <c:pt idx="690">
                  <c:v>111.684338684076</c:v>
                </c:pt>
                <c:pt idx="691">
                  <c:v>111.95135141069498</c:v>
                </c:pt>
                <c:pt idx="692">
                  <c:v>111.22351057333199</c:v>
                </c:pt>
                <c:pt idx="693">
                  <c:v>111.64637239392002</c:v>
                </c:pt>
                <c:pt idx="694">
                  <c:v>111.678868208439</c:v>
                </c:pt>
                <c:pt idx="695">
                  <c:v>112.32289779133799</c:v>
                </c:pt>
                <c:pt idx="696">
                  <c:v>113.057219953097</c:v>
                </c:pt>
                <c:pt idx="697">
                  <c:v>112.888973096406</c:v>
                </c:pt>
                <c:pt idx="698">
                  <c:v>112.80507264940501</c:v>
                </c:pt>
                <c:pt idx="699">
                  <c:v>112.19585788700202</c:v>
                </c:pt>
                <c:pt idx="700">
                  <c:v>112.58970240203601</c:v>
                </c:pt>
                <c:pt idx="701">
                  <c:v>112.46084891610199</c:v>
                </c:pt>
                <c:pt idx="702">
                  <c:v>112.728783298943</c:v>
                </c:pt>
                <c:pt idx="703">
                  <c:v>113.290517900517</c:v>
                </c:pt>
                <c:pt idx="704">
                  <c:v>112.794488468281</c:v>
                </c:pt>
                <c:pt idx="705">
                  <c:v>112.79933459615501</c:v>
                </c:pt>
                <c:pt idx="706">
                  <c:v>113.24841902278699</c:v>
                </c:pt>
                <c:pt idx="707">
                  <c:v>113.542248972366</c:v>
                </c:pt>
                <c:pt idx="708">
                  <c:v>114.04092444988298</c:v>
                </c:pt>
                <c:pt idx="709">
                  <c:v>114.48317078196798</c:v>
                </c:pt>
                <c:pt idx="710">
                  <c:v>114.40979505439898</c:v>
                </c:pt>
                <c:pt idx="711">
                  <c:v>114.84707633522602</c:v>
                </c:pt>
                <c:pt idx="712">
                  <c:v>115.11001593596299</c:v>
                </c:pt>
                <c:pt idx="713">
                  <c:v>115.042883686024</c:v>
                </c:pt>
                <c:pt idx="714">
                  <c:v>115.107726660832</c:v>
                </c:pt>
                <c:pt idx="715">
                  <c:v>115.47653780365698</c:v>
                </c:pt>
                <c:pt idx="716">
                  <c:v>115.360082080445</c:v>
                </c:pt>
                <c:pt idx="717">
                  <c:v>115.662504244476</c:v>
                </c:pt>
                <c:pt idx="718">
                  <c:v>115.514712209734</c:v>
                </c:pt>
                <c:pt idx="719">
                  <c:v>115.586066239784</c:v>
                </c:pt>
                <c:pt idx="720">
                  <c:v>115.49511958231599</c:v>
                </c:pt>
                <c:pt idx="721">
                  <c:v>116.27305689494301</c:v>
                </c:pt>
                <c:pt idx="722">
                  <c:v>115.747237155161</c:v>
                </c:pt>
                <c:pt idx="723">
                  <c:v>115.64365488820401</c:v>
                </c:pt>
                <c:pt idx="724">
                  <c:v>115.40619462236501</c:v>
                </c:pt>
                <c:pt idx="725">
                  <c:v>115.01104195011401</c:v>
                </c:pt>
                <c:pt idx="726">
                  <c:v>114.51902618206799</c:v>
                </c:pt>
                <c:pt idx="727">
                  <c:v>114.51908564375999</c:v>
                </c:pt>
                <c:pt idx="728">
                  <c:v>115.12830040616299</c:v>
                </c:pt>
                <c:pt idx="729">
                  <c:v>115.510639083852</c:v>
                </c:pt>
                <c:pt idx="730">
                  <c:v>115.049483933803</c:v>
                </c:pt>
                <c:pt idx="731">
                  <c:v>115.819720957355</c:v>
                </c:pt>
                <c:pt idx="732">
                  <c:v>116.441868637705</c:v>
                </c:pt>
                <c:pt idx="733">
                  <c:v>116.545659020583</c:v>
                </c:pt>
                <c:pt idx="734">
                  <c:v>116.34286492100901</c:v>
                </c:pt>
                <c:pt idx="735">
                  <c:v>115.57952545369599</c:v>
                </c:pt>
                <c:pt idx="736">
                  <c:v>115.394004975565</c:v>
                </c:pt>
                <c:pt idx="737">
                  <c:v>115.641871037453</c:v>
                </c:pt>
                <c:pt idx="738">
                  <c:v>115.75089404920101</c:v>
                </c:pt>
                <c:pt idx="739">
                  <c:v>115.66794498926799</c:v>
                </c:pt>
                <c:pt idx="740">
                  <c:v>116.47252113978099</c:v>
                </c:pt>
                <c:pt idx="741">
                  <c:v>116.319228898555</c:v>
                </c:pt>
                <c:pt idx="742">
                  <c:v>116.51679036925799</c:v>
                </c:pt>
                <c:pt idx="743">
                  <c:v>116.305404055233</c:v>
                </c:pt>
                <c:pt idx="744">
                  <c:v>116.038658906227</c:v>
                </c:pt>
                <c:pt idx="745">
                  <c:v>116.07442511379</c:v>
                </c:pt>
                <c:pt idx="746">
                  <c:v>115.918100326287</c:v>
                </c:pt>
                <c:pt idx="747">
                  <c:v>116.11313467509198</c:v>
                </c:pt>
                <c:pt idx="748">
                  <c:v>116.059767806783</c:v>
                </c:pt>
                <c:pt idx="749">
                  <c:v>116.21924406394699</c:v>
                </c:pt>
                <c:pt idx="750">
                  <c:v>116.45325555166698</c:v>
                </c:pt>
                <c:pt idx="751">
                  <c:v>116.156482248348</c:v>
                </c:pt>
                <c:pt idx="752">
                  <c:v>115.653317413107</c:v>
                </c:pt>
                <c:pt idx="753">
                  <c:v>115.653317413107</c:v>
                </c:pt>
                <c:pt idx="754">
                  <c:v>115.653317413107</c:v>
                </c:pt>
                <c:pt idx="755">
                  <c:v>116.019006817117</c:v>
                </c:pt>
                <c:pt idx="756">
                  <c:v>116.02495298628801</c:v>
                </c:pt>
                <c:pt idx="757">
                  <c:v>116.65325495173001</c:v>
                </c:pt>
                <c:pt idx="758">
                  <c:v>116.389512618155</c:v>
                </c:pt>
                <c:pt idx="759">
                  <c:v>118.08197074926498</c:v>
                </c:pt>
                <c:pt idx="760">
                  <c:v>118.653040836438</c:v>
                </c:pt>
                <c:pt idx="761">
                  <c:v>118.74603892227</c:v>
                </c:pt>
                <c:pt idx="762">
                  <c:v>118.682950067367</c:v>
                </c:pt>
                <c:pt idx="763">
                  <c:v>118.396523098405</c:v>
                </c:pt>
                <c:pt idx="764">
                  <c:v>118.396523098405</c:v>
                </c:pt>
                <c:pt idx="765">
                  <c:v>118.91464254911099</c:v>
                </c:pt>
                <c:pt idx="766">
                  <c:v>118.53117409928001</c:v>
                </c:pt>
                <c:pt idx="767">
                  <c:v>118.81126839807501</c:v>
                </c:pt>
                <c:pt idx="768">
                  <c:v>119.502391640808</c:v>
                </c:pt>
                <c:pt idx="769">
                  <c:v>119.45009508294999</c:v>
                </c:pt>
                <c:pt idx="770">
                  <c:v>119.160546375173</c:v>
                </c:pt>
                <c:pt idx="771">
                  <c:v>119.49198584475799</c:v>
                </c:pt>
                <c:pt idx="772">
                  <c:v>119.09397901130498</c:v>
                </c:pt>
                <c:pt idx="773">
                  <c:v>119.100341412318</c:v>
                </c:pt>
                <c:pt idx="774">
                  <c:v>119.769136789814</c:v>
                </c:pt>
                <c:pt idx="775">
                  <c:v>119.905036486214</c:v>
                </c:pt>
                <c:pt idx="776">
                  <c:v>118.83989920263301</c:v>
                </c:pt>
                <c:pt idx="777">
                  <c:v>118.76233142579899</c:v>
                </c:pt>
                <c:pt idx="778">
                  <c:v>119.653989223819</c:v>
                </c:pt>
                <c:pt idx="779">
                  <c:v>120.376240662161</c:v>
                </c:pt>
                <c:pt idx="780">
                  <c:v>120.60594117723301</c:v>
                </c:pt>
                <c:pt idx="781">
                  <c:v>120.72584567856399</c:v>
                </c:pt>
                <c:pt idx="782">
                  <c:v>121.26605514773901</c:v>
                </c:pt>
                <c:pt idx="783">
                  <c:v>121.10868978063201</c:v>
                </c:pt>
                <c:pt idx="784">
                  <c:v>121.053925562568</c:v>
                </c:pt>
                <c:pt idx="785">
                  <c:v>120.95988689712999</c:v>
                </c:pt>
                <c:pt idx="786">
                  <c:v>121.23118086555201</c:v>
                </c:pt>
                <c:pt idx="787">
                  <c:v>122.21405289865402</c:v>
                </c:pt>
                <c:pt idx="788">
                  <c:v>122.762141041981</c:v>
                </c:pt>
                <c:pt idx="789">
                  <c:v>122.471194984449</c:v>
                </c:pt>
                <c:pt idx="790">
                  <c:v>122.12167916058398</c:v>
                </c:pt>
                <c:pt idx="791">
                  <c:v>122.35244998610702</c:v>
                </c:pt>
                <c:pt idx="792">
                  <c:v>122.102116264012</c:v>
                </c:pt>
                <c:pt idx="793">
                  <c:v>122.223774885249</c:v>
                </c:pt>
                <c:pt idx="794">
                  <c:v>122.00228008363298</c:v>
                </c:pt>
                <c:pt idx="795">
                  <c:v>122.704284815948</c:v>
                </c:pt>
                <c:pt idx="796">
                  <c:v>122.960921477364</c:v>
                </c:pt>
                <c:pt idx="797">
                  <c:v>122.052525213127</c:v>
                </c:pt>
                <c:pt idx="798">
                  <c:v>122.43004749378701</c:v>
                </c:pt>
                <c:pt idx="799">
                  <c:v>123.02677530093101</c:v>
                </c:pt>
                <c:pt idx="800">
                  <c:v>122.12417655163598</c:v>
                </c:pt>
                <c:pt idx="801">
                  <c:v>121.84054428218501</c:v>
                </c:pt>
                <c:pt idx="802">
                  <c:v>121.79517501141099</c:v>
                </c:pt>
                <c:pt idx="803">
                  <c:v>121.976889941273</c:v>
                </c:pt>
                <c:pt idx="804">
                  <c:v>122.21809629369001</c:v>
                </c:pt>
                <c:pt idx="805">
                  <c:v>121.711423218639</c:v>
                </c:pt>
                <c:pt idx="806">
                  <c:v>122.430255609708</c:v>
                </c:pt>
                <c:pt idx="807">
                  <c:v>121.89670585000401</c:v>
                </c:pt>
                <c:pt idx="808">
                  <c:v>121.88074038578</c:v>
                </c:pt>
                <c:pt idx="809">
                  <c:v>122.219612566829</c:v>
                </c:pt>
                <c:pt idx="810">
                  <c:v>122.112522060061</c:v>
                </c:pt>
                <c:pt idx="811">
                  <c:v>122.122600816806</c:v>
                </c:pt>
                <c:pt idx="812">
                  <c:v>121.493198810067</c:v>
                </c:pt>
                <c:pt idx="813">
                  <c:v>121.73437543163898</c:v>
                </c:pt>
                <c:pt idx="814">
                  <c:v>121.878094340499</c:v>
                </c:pt>
                <c:pt idx="815">
                  <c:v>121.75117335954599</c:v>
                </c:pt>
                <c:pt idx="816">
                  <c:v>122.69937922638201</c:v>
                </c:pt>
                <c:pt idx="817">
                  <c:v>123.01375319044701</c:v>
                </c:pt>
                <c:pt idx="818">
                  <c:v>123.67805921021899</c:v>
                </c:pt>
                <c:pt idx="819">
                  <c:v>123.89503492326499</c:v>
                </c:pt>
                <c:pt idx="820">
                  <c:v>123.82495931958599</c:v>
                </c:pt>
                <c:pt idx="821">
                  <c:v>124.31664804832701</c:v>
                </c:pt>
                <c:pt idx="822">
                  <c:v>124.536894154416</c:v>
                </c:pt>
                <c:pt idx="823">
                  <c:v>124.42409532524501</c:v>
                </c:pt>
                <c:pt idx="824">
                  <c:v>124.14926338616601</c:v>
                </c:pt>
                <c:pt idx="825">
                  <c:v>124.501752294616</c:v>
                </c:pt>
                <c:pt idx="826">
                  <c:v>124.42691975560101</c:v>
                </c:pt>
                <c:pt idx="827">
                  <c:v>124.53543734296998</c:v>
                </c:pt>
                <c:pt idx="828">
                  <c:v>124.467323975117</c:v>
                </c:pt>
                <c:pt idx="829">
                  <c:v>124.67731293938699</c:v>
                </c:pt>
                <c:pt idx="830">
                  <c:v>125.275438096287</c:v>
                </c:pt>
                <c:pt idx="831">
                  <c:v>125.188475372162</c:v>
                </c:pt>
                <c:pt idx="832">
                  <c:v>125.141530366558</c:v>
                </c:pt>
                <c:pt idx="833">
                  <c:v>125.00530363085301</c:v>
                </c:pt>
                <c:pt idx="834">
                  <c:v>125.227957935457</c:v>
                </c:pt>
                <c:pt idx="835">
                  <c:v>124.90790537983401</c:v>
                </c:pt>
                <c:pt idx="836">
                  <c:v>124.60473994465599</c:v>
                </c:pt>
                <c:pt idx="837">
                  <c:v>123.51959380181501</c:v>
                </c:pt>
                <c:pt idx="838">
                  <c:v>123.205309030287</c:v>
                </c:pt>
                <c:pt idx="839">
                  <c:v>124.134011462243</c:v>
                </c:pt>
                <c:pt idx="840">
                  <c:v>123.90481637155099</c:v>
                </c:pt>
                <c:pt idx="841">
                  <c:v>124.30044473733599</c:v>
                </c:pt>
                <c:pt idx="842">
                  <c:v>123.37953178699399</c:v>
                </c:pt>
                <c:pt idx="843">
                  <c:v>123.04110556863299</c:v>
                </c:pt>
                <c:pt idx="844">
                  <c:v>123.23301817862399</c:v>
                </c:pt>
                <c:pt idx="845">
                  <c:v>123.891853722758</c:v>
                </c:pt>
                <c:pt idx="846">
                  <c:v>123.79059046177801</c:v>
                </c:pt>
                <c:pt idx="847">
                  <c:v>123.622551721009</c:v>
                </c:pt>
                <c:pt idx="848">
                  <c:v>123.989727667311</c:v>
                </c:pt>
                <c:pt idx="849">
                  <c:v>124.00147135142402</c:v>
                </c:pt>
                <c:pt idx="850">
                  <c:v>123.72839353225001</c:v>
                </c:pt>
                <c:pt idx="851">
                  <c:v>123.86304453312501</c:v>
                </c:pt>
                <c:pt idx="852">
                  <c:v>124.59466118791201</c:v>
                </c:pt>
                <c:pt idx="853">
                  <c:v>125.009822719423</c:v>
                </c:pt>
                <c:pt idx="854">
                  <c:v>124.83435126719</c:v>
                </c:pt>
                <c:pt idx="855">
                  <c:v>124.26024863374101</c:v>
                </c:pt>
                <c:pt idx="856">
                  <c:v>124.40720820479901</c:v>
                </c:pt>
                <c:pt idx="857">
                  <c:v>124.64666043731101</c:v>
                </c:pt>
                <c:pt idx="858">
                  <c:v>125.02890992246201</c:v>
                </c:pt>
                <c:pt idx="859">
                  <c:v>126.094374245347</c:v>
                </c:pt>
                <c:pt idx="860">
                  <c:v>126.32978308282298</c:v>
                </c:pt>
                <c:pt idx="861">
                  <c:v>126.06708132885301</c:v>
                </c:pt>
                <c:pt idx="862">
                  <c:v>125.90204540351499</c:v>
                </c:pt>
                <c:pt idx="863">
                  <c:v>126.190791378453</c:v>
                </c:pt>
                <c:pt idx="864">
                  <c:v>126.346135048043</c:v>
                </c:pt>
                <c:pt idx="865">
                  <c:v>126.45839872198901</c:v>
                </c:pt>
                <c:pt idx="866">
                  <c:v>126.62245352941399</c:v>
                </c:pt>
                <c:pt idx="867">
                  <c:v>126.07820066520298</c:v>
                </c:pt>
                <c:pt idx="868">
                  <c:v>126.327612731076</c:v>
                </c:pt>
                <c:pt idx="869">
                  <c:v>126.14735461266</c:v>
                </c:pt>
                <c:pt idx="870">
                  <c:v>125.805717462947</c:v>
                </c:pt>
                <c:pt idx="871">
                  <c:v>126.016390236671</c:v>
                </c:pt>
                <c:pt idx="872">
                  <c:v>126.39884783774301</c:v>
                </c:pt>
                <c:pt idx="873">
                  <c:v>126.90427221726802</c:v>
                </c:pt>
                <c:pt idx="874">
                  <c:v>127.136618777621</c:v>
                </c:pt>
                <c:pt idx="875">
                  <c:v>127.434492122237</c:v>
                </c:pt>
                <c:pt idx="876">
                  <c:v>127.61900175160901</c:v>
                </c:pt>
                <c:pt idx="877">
                  <c:v>127.837909969636</c:v>
                </c:pt>
                <c:pt idx="878">
                  <c:v>127.57431629028999</c:v>
                </c:pt>
                <c:pt idx="879">
                  <c:v>127.40488019976598</c:v>
                </c:pt>
                <c:pt idx="880">
                  <c:v>128.035233593572</c:v>
                </c:pt>
                <c:pt idx="881">
                  <c:v>128.14497014561999</c:v>
                </c:pt>
                <c:pt idx="882">
                  <c:v>128.28342669476501</c:v>
                </c:pt>
                <c:pt idx="883">
                  <c:v>128.52121399990901</c:v>
                </c:pt>
                <c:pt idx="884">
                  <c:v>128.48467479035301</c:v>
                </c:pt>
                <c:pt idx="885">
                  <c:v>128.24144674041801</c:v>
                </c:pt>
                <c:pt idx="886">
                  <c:v>128.45431959673601</c:v>
                </c:pt>
                <c:pt idx="887">
                  <c:v>128.736078822899</c:v>
                </c:pt>
                <c:pt idx="888">
                  <c:v>129.060204504404</c:v>
                </c:pt>
                <c:pt idx="889">
                  <c:v>128.85776717498101</c:v>
                </c:pt>
                <c:pt idx="890">
                  <c:v>128.913839550262</c:v>
                </c:pt>
                <c:pt idx="891">
                  <c:v>128.42244812998001</c:v>
                </c:pt>
                <c:pt idx="892">
                  <c:v>128.71517803826299</c:v>
                </c:pt>
                <c:pt idx="893">
                  <c:v>128.84248552021199</c:v>
                </c:pt>
                <c:pt idx="894">
                  <c:v>128.74948743437901</c:v>
                </c:pt>
                <c:pt idx="895">
                  <c:v>128.94728675184899</c:v>
                </c:pt>
                <c:pt idx="896">
                  <c:v>129.11083613489399</c:v>
                </c:pt>
                <c:pt idx="897">
                  <c:v>129.296594459793</c:v>
                </c:pt>
                <c:pt idx="898">
                  <c:v>129.33554186786199</c:v>
                </c:pt>
                <c:pt idx="899">
                  <c:v>129.43454558455699</c:v>
                </c:pt>
                <c:pt idx="900">
                  <c:v>129.457735644324</c:v>
                </c:pt>
                <c:pt idx="901">
                  <c:v>129.59292180042399</c:v>
                </c:pt>
                <c:pt idx="902">
                  <c:v>129.22414038844499</c:v>
                </c:pt>
                <c:pt idx="903">
                  <c:v>129.10126280252899</c:v>
                </c:pt>
                <c:pt idx="904">
                  <c:v>128.941786545366</c:v>
                </c:pt>
                <c:pt idx="905">
                  <c:v>129.10135199506601</c:v>
                </c:pt>
                <c:pt idx="906">
                  <c:v>128.36182693528301</c:v>
                </c:pt>
                <c:pt idx="907">
                  <c:v>129.31523570014301</c:v>
                </c:pt>
                <c:pt idx="908">
                  <c:v>129.303551477723</c:v>
                </c:pt>
                <c:pt idx="909">
                  <c:v>129.48175816777399</c:v>
                </c:pt>
                <c:pt idx="910">
                  <c:v>129.91725559784999</c:v>
                </c:pt>
                <c:pt idx="911">
                  <c:v>130.088832309276</c:v>
                </c:pt>
                <c:pt idx="912">
                  <c:v>130.330900856223</c:v>
                </c:pt>
                <c:pt idx="913">
                  <c:v>130.566101577777</c:v>
                </c:pt>
                <c:pt idx="914">
                  <c:v>130.324241146752</c:v>
                </c:pt>
                <c:pt idx="915">
                  <c:v>131.04580877563899</c:v>
                </c:pt>
                <c:pt idx="916">
                  <c:v>131.60424325332301</c:v>
                </c:pt>
                <c:pt idx="917">
                  <c:v>132.37908855798199</c:v>
                </c:pt>
                <c:pt idx="918">
                  <c:v>131.894356847171</c:v>
                </c:pt>
                <c:pt idx="919">
                  <c:v>132.060790122264</c:v>
                </c:pt>
                <c:pt idx="920">
                  <c:v>131.50390164856401</c:v>
                </c:pt>
                <c:pt idx="921">
                  <c:v>131.022232214876</c:v>
                </c:pt>
                <c:pt idx="922">
                  <c:v>131.45139697478501</c:v>
                </c:pt>
                <c:pt idx="923">
                  <c:v>132.151944895654</c:v>
                </c:pt>
                <c:pt idx="924">
                  <c:v>132.404092199345</c:v>
                </c:pt>
                <c:pt idx="925">
                  <c:v>132.29765577118599</c:v>
                </c:pt>
                <c:pt idx="926">
                  <c:v>132.22026637942699</c:v>
                </c:pt>
                <c:pt idx="927">
                  <c:v>131.803588574777</c:v>
                </c:pt>
                <c:pt idx="928">
                  <c:v>132.26037329048501</c:v>
                </c:pt>
                <c:pt idx="929">
                  <c:v>133.36077135725</c:v>
                </c:pt>
                <c:pt idx="930">
                  <c:v>132.881956084764</c:v>
                </c:pt>
                <c:pt idx="931">
                  <c:v>132.867774471291</c:v>
                </c:pt>
                <c:pt idx="932">
                  <c:v>133.00084973733601</c:v>
                </c:pt>
                <c:pt idx="933">
                  <c:v>133.06034115988999</c:v>
                </c:pt>
                <c:pt idx="934">
                  <c:v>133.06034115988999</c:v>
                </c:pt>
                <c:pt idx="935">
                  <c:v>133.06034115988999</c:v>
                </c:pt>
                <c:pt idx="936">
                  <c:v>133.49925763723999</c:v>
                </c:pt>
                <c:pt idx="937">
                  <c:v>133.91144608416599</c:v>
                </c:pt>
                <c:pt idx="938">
                  <c:v>133.71456842291801</c:v>
                </c:pt>
                <c:pt idx="939">
                  <c:v>133.71456842291801</c:v>
                </c:pt>
                <c:pt idx="940">
                  <c:v>134.23218244924399</c:v>
                </c:pt>
                <c:pt idx="941">
                  <c:v>134.71614115806199</c:v>
                </c:pt>
                <c:pt idx="942">
                  <c:v>135.58963340926601</c:v>
                </c:pt>
                <c:pt idx="943">
                  <c:v>136.28812990176999</c:v>
                </c:pt>
                <c:pt idx="944">
                  <c:v>136.46267969778199</c:v>
                </c:pt>
                <c:pt idx="945">
                  <c:v>136.659408704801</c:v>
                </c:pt>
                <c:pt idx="946">
                  <c:v>136.55677782491099</c:v>
                </c:pt>
                <c:pt idx="947">
                  <c:v>137.09570886771499</c:v>
                </c:pt>
                <c:pt idx="948">
                  <c:v>137.76040138848299</c:v>
                </c:pt>
                <c:pt idx="949">
                  <c:v>138.26371487795299</c:v>
                </c:pt>
                <c:pt idx="950">
                  <c:v>137.847661421065</c:v>
                </c:pt>
                <c:pt idx="951">
                  <c:v>138.579426730081</c:v>
                </c:pt>
                <c:pt idx="952">
                  <c:v>138.21439140467999</c:v>
                </c:pt>
                <c:pt idx="953">
                  <c:v>138.98742312774201</c:v>
                </c:pt>
                <c:pt idx="954">
                  <c:v>139.68859539637299</c:v>
                </c:pt>
                <c:pt idx="955">
                  <c:v>140.271379436812</c:v>
                </c:pt>
                <c:pt idx="956">
                  <c:v>140.55721178885599</c:v>
                </c:pt>
                <c:pt idx="957">
                  <c:v>140.74852978192999</c:v>
                </c:pt>
                <c:pt idx="958">
                  <c:v>141.41328176438901</c:v>
                </c:pt>
                <c:pt idx="959">
                  <c:v>140.38848923863199</c:v>
                </c:pt>
                <c:pt idx="960">
                  <c:v>139.30141059081001</c:v>
                </c:pt>
                <c:pt idx="961">
                  <c:v>139.36411294471699</c:v>
                </c:pt>
              </c:numCache>
            </c:numRef>
          </c:val>
          <c:smooth val="0"/>
          <c:extLst xmlns:c16r2="http://schemas.microsoft.com/office/drawing/2015/06/chart">
            <c:ext xmlns:c16="http://schemas.microsoft.com/office/drawing/2014/chart" uri="{C3380CC4-5D6E-409C-BE32-E72D297353CC}">
              <c16:uniqueId val="{00000001-7127-4EE7-81B7-88A877082DDF}"/>
            </c:ext>
          </c:extLst>
        </c:ser>
        <c:ser>
          <c:idx val="1"/>
          <c:order val="1"/>
          <c:tx>
            <c:v>Benchmark</c:v>
          </c:tx>
          <c:spPr>
            <a:ln w="28575">
              <a:solidFill>
                <a:srgbClr val="009EE0"/>
              </a:solidFill>
              <a:prstDash val="solid"/>
            </a:ln>
          </c:spPr>
          <c:marker>
            <c:symbol val="none"/>
          </c:marker>
          <c:cat>
            <c:numRef>
              <c:f>'ETF GLOBAL SB USD'!$C$5:$C$966</c:f>
              <c:numCache>
                <c:formatCode>m/d/yyyy</c:formatCode>
                <c:ptCount val="962"/>
                <c:pt idx="0">
                  <c:v>41786</c:v>
                </c:pt>
                <c:pt idx="1">
                  <c:v>41787</c:v>
                </c:pt>
                <c:pt idx="2">
                  <c:v>41788</c:v>
                </c:pt>
                <c:pt idx="3">
                  <c:v>41789</c:v>
                </c:pt>
                <c:pt idx="4">
                  <c:v>41792</c:v>
                </c:pt>
                <c:pt idx="5">
                  <c:v>41793</c:v>
                </c:pt>
                <c:pt idx="6">
                  <c:v>41794</c:v>
                </c:pt>
                <c:pt idx="7">
                  <c:v>41795</c:v>
                </c:pt>
                <c:pt idx="8">
                  <c:v>41796</c:v>
                </c:pt>
                <c:pt idx="9">
                  <c:v>41799</c:v>
                </c:pt>
                <c:pt idx="10">
                  <c:v>41800</c:v>
                </c:pt>
                <c:pt idx="11">
                  <c:v>41801</c:v>
                </c:pt>
                <c:pt idx="12">
                  <c:v>41802</c:v>
                </c:pt>
                <c:pt idx="13">
                  <c:v>41803</c:v>
                </c:pt>
                <c:pt idx="14">
                  <c:v>41806</c:v>
                </c:pt>
                <c:pt idx="15">
                  <c:v>41807</c:v>
                </c:pt>
                <c:pt idx="16">
                  <c:v>41808</c:v>
                </c:pt>
                <c:pt idx="17">
                  <c:v>41809</c:v>
                </c:pt>
                <c:pt idx="18">
                  <c:v>41810</c:v>
                </c:pt>
                <c:pt idx="19">
                  <c:v>41813</c:v>
                </c:pt>
                <c:pt idx="20">
                  <c:v>41814</c:v>
                </c:pt>
                <c:pt idx="21">
                  <c:v>41815</c:v>
                </c:pt>
                <c:pt idx="22">
                  <c:v>41816</c:v>
                </c:pt>
                <c:pt idx="23">
                  <c:v>41817</c:v>
                </c:pt>
                <c:pt idx="24">
                  <c:v>41820</c:v>
                </c:pt>
                <c:pt idx="25">
                  <c:v>41821</c:v>
                </c:pt>
                <c:pt idx="26">
                  <c:v>41822</c:v>
                </c:pt>
                <c:pt idx="27">
                  <c:v>41823</c:v>
                </c:pt>
                <c:pt idx="28">
                  <c:v>41824</c:v>
                </c:pt>
                <c:pt idx="29">
                  <c:v>41827</c:v>
                </c:pt>
                <c:pt idx="30">
                  <c:v>41828</c:v>
                </c:pt>
                <c:pt idx="31">
                  <c:v>41829</c:v>
                </c:pt>
                <c:pt idx="32">
                  <c:v>41830</c:v>
                </c:pt>
                <c:pt idx="33">
                  <c:v>41831</c:v>
                </c:pt>
                <c:pt idx="34">
                  <c:v>41834</c:v>
                </c:pt>
                <c:pt idx="35">
                  <c:v>41835</c:v>
                </c:pt>
                <c:pt idx="36">
                  <c:v>41836</c:v>
                </c:pt>
                <c:pt idx="37">
                  <c:v>41837</c:v>
                </c:pt>
                <c:pt idx="38">
                  <c:v>41838</c:v>
                </c:pt>
                <c:pt idx="39">
                  <c:v>41841</c:v>
                </c:pt>
                <c:pt idx="40">
                  <c:v>41842</c:v>
                </c:pt>
                <c:pt idx="41">
                  <c:v>41843</c:v>
                </c:pt>
                <c:pt idx="42">
                  <c:v>41844</c:v>
                </c:pt>
                <c:pt idx="43">
                  <c:v>41845</c:v>
                </c:pt>
                <c:pt idx="44">
                  <c:v>41848</c:v>
                </c:pt>
                <c:pt idx="45">
                  <c:v>41849</c:v>
                </c:pt>
                <c:pt idx="46">
                  <c:v>41850</c:v>
                </c:pt>
                <c:pt idx="47">
                  <c:v>41851</c:v>
                </c:pt>
                <c:pt idx="48">
                  <c:v>41852</c:v>
                </c:pt>
                <c:pt idx="49">
                  <c:v>41855</c:v>
                </c:pt>
                <c:pt idx="50">
                  <c:v>41856</c:v>
                </c:pt>
                <c:pt idx="51">
                  <c:v>41857</c:v>
                </c:pt>
                <c:pt idx="52">
                  <c:v>41858</c:v>
                </c:pt>
                <c:pt idx="53">
                  <c:v>41859</c:v>
                </c:pt>
                <c:pt idx="54">
                  <c:v>41862</c:v>
                </c:pt>
                <c:pt idx="55">
                  <c:v>41863</c:v>
                </c:pt>
                <c:pt idx="56">
                  <c:v>41864</c:v>
                </c:pt>
                <c:pt idx="57">
                  <c:v>41865</c:v>
                </c:pt>
                <c:pt idx="58">
                  <c:v>41866</c:v>
                </c:pt>
                <c:pt idx="59">
                  <c:v>41869</c:v>
                </c:pt>
                <c:pt idx="60">
                  <c:v>41870</c:v>
                </c:pt>
                <c:pt idx="61">
                  <c:v>41871</c:v>
                </c:pt>
                <c:pt idx="62">
                  <c:v>41872</c:v>
                </c:pt>
                <c:pt idx="63">
                  <c:v>41873</c:v>
                </c:pt>
                <c:pt idx="64">
                  <c:v>41876</c:v>
                </c:pt>
                <c:pt idx="65">
                  <c:v>41877</c:v>
                </c:pt>
                <c:pt idx="66">
                  <c:v>41878</c:v>
                </c:pt>
                <c:pt idx="67">
                  <c:v>41879</c:v>
                </c:pt>
                <c:pt idx="68">
                  <c:v>41880</c:v>
                </c:pt>
                <c:pt idx="69">
                  <c:v>41883</c:v>
                </c:pt>
                <c:pt idx="70">
                  <c:v>41884</c:v>
                </c:pt>
                <c:pt idx="71">
                  <c:v>41885</c:v>
                </c:pt>
                <c:pt idx="72">
                  <c:v>41886</c:v>
                </c:pt>
                <c:pt idx="73">
                  <c:v>41887</c:v>
                </c:pt>
                <c:pt idx="74">
                  <c:v>41890</c:v>
                </c:pt>
                <c:pt idx="75">
                  <c:v>41891</c:v>
                </c:pt>
                <c:pt idx="76">
                  <c:v>41892</c:v>
                </c:pt>
                <c:pt idx="77">
                  <c:v>41893</c:v>
                </c:pt>
                <c:pt idx="78">
                  <c:v>41894</c:v>
                </c:pt>
                <c:pt idx="79">
                  <c:v>41897</c:v>
                </c:pt>
                <c:pt idx="80">
                  <c:v>41898</c:v>
                </c:pt>
                <c:pt idx="81">
                  <c:v>41899</c:v>
                </c:pt>
                <c:pt idx="82">
                  <c:v>41900</c:v>
                </c:pt>
                <c:pt idx="83">
                  <c:v>41901</c:v>
                </c:pt>
                <c:pt idx="84">
                  <c:v>41904</c:v>
                </c:pt>
                <c:pt idx="85">
                  <c:v>41905</c:v>
                </c:pt>
                <c:pt idx="86">
                  <c:v>41906</c:v>
                </c:pt>
                <c:pt idx="87">
                  <c:v>41907</c:v>
                </c:pt>
                <c:pt idx="88">
                  <c:v>41908</c:v>
                </c:pt>
                <c:pt idx="89">
                  <c:v>41911</c:v>
                </c:pt>
                <c:pt idx="90">
                  <c:v>41912</c:v>
                </c:pt>
                <c:pt idx="91">
                  <c:v>41913</c:v>
                </c:pt>
                <c:pt idx="92">
                  <c:v>41914</c:v>
                </c:pt>
                <c:pt idx="93">
                  <c:v>41915</c:v>
                </c:pt>
                <c:pt idx="94">
                  <c:v>41918</c:v>
                </c:pt>
                <c:pt idx="95">
                  <c:v>41919</c:v>
                </c:pt>
                <c:pt idx="96">
                  <c:v>41920</c:v>
                </c:pt>
                <c:pt idx="97">
                  <c:v>41921</c:v>
                </c:pt>
                <c:pt idx="98">
                  <c:v>41922</c:v>
                </c:pt>
                <c:pt idx="99">
                  <c:v>41925</c:v>
                </c:pt>
                <c:pt idx="100">
                  <c:v>41926</c:v>
                </c:pt>
                <c:pt idx="101">
                  <c:v>41927</c:v>
                </c:pt>
                <c:pt idx="102">
                  <c:v>41928</c:v>
                </c:pt>
                <c:pt idx="103">
                  <c:v>41929</c:v>
                </c:pt>
                <c:pt idx="104">
                  <c:v>41932</c:v>
                </c:pt>
                <c:pt idx="105">
                  <c:v>41933</c:v>
                </c:pt>
                <c:pt idx="106">
                  <c:v>41934</c:v>
                </c:pt>
                <c:pt idx="107">
                  <c:v>41935</c:v>
                </c:pt>
                <c:pt idx="108">
                  <c:v>41936</c:v>
                </c:pt>
                <c:pt idx="109">
                  <c:v>41939</c:v>
                </c:pt>
                <c:pt idx="110">
                  <c:v>41940</c:v>
                </c:pt>
                <c:pt idx="111">
                  <c:v>41941</c:v>
                </c:pt>
                <c:pt idx="112">
                  <c:v>41942</c:v>
                </c:pt>
                <c:pt idx="113">
                  <c:v>41943</c:v>
                </c:pt>
                <c:pt idx="114">
                  <c:v>41946</c:v>
                </c:pt>
                <c:pt idx="115">
                  <c:v>41947</c:v>
                </c:pt>
                <c:pt idx="116">
                  <c:v>41948</c:v>
                </c:pt>
                <c:pt idx="117">
                  <c:v>41949</c:v>
                </c:pt>
                <c:pt idx="118">
                  <c:v>41950</c:v>
                </c:pt>
                <c:pt idx="119">
                  <c:v>41953</c:v>
                </c:pt>
                <c:pt idx="120">
                  <c:v>41954</c:v>
                </c:pt>
                <c:pt idx="121">
                  <c:v>41955</c:v>
                </c:pt>
                <c:pt idx="122">
                  <c:v>41956</c:v>
                </c:pt>
                <c:pt idx="123">
                  <c:v>41957</c:v>
                </c:pt>
                <c:pt idx="124">
                  <c:v>41960</c:v>
                </c:pt>
                <c:pt idx="125">
                  <c:v>41961</c:v>
                </c:pt>
                <c:pt idx="126">
                  <c:v>41962</c:v>
                </c:pt>
                <c:pt idx="127">
                  <c:v>41963</c:v>
                </c:pt>
                <c:pt idx="128">
                  <c:v>41964</c:v>
                </c:pt>
                <c:pt idx="129">
                  <c:v>41967</c:v>
                </c:pt>
                <c:pt idx="130">
                  <c:v>41968</c:v>
                </c:pt>
                <c:pt idx="131">
                  <c:v>41969</c:v>
                </c:pt>
                <c:pt idx="132">
                  <c:v>41970</c:v>
                </c:pt>
                <c:pt idx="133">
                  <c:v>41971</c:v>
                </c:pt>
                <c:pt idx="134">
                  <c:v>41974</c:v>
                </c:pt>
                <c:pt idx="135">
                  <c:v>41975</c:v>
                </c:pt>
                <c:pt idx="136">
                  <c:v>41976</c:v>
                </c:pt>
                <c:pt idx="137">
                  <c:v>41977</c:v>
                </c:pt>
                <c:pt idx="138">
                  <c:v>41978</c:v>
                </c:pt>
                <c:pt idx="139">
                  <c:v>41981</c:v>
                </c:pt>
                <c:pt idx="140">
                  <c:v>41982</c:v>
                </c:pt>
                <c:pt idx="141">
                  <c:v>41983</c:v>
                </c:pt>
                <c:pt idx="142">
                  <c:v>41984</c:v>
                </c:pt>
                <c:pt idx="143">
                  <c:v>41985</c:v>
                </c:pt>
                <c:pt idx="144">
                  <c:v>41988</c:v>
                </c:pt>
                <c:pt idx="145">
                  <c:v>41989</c:v>
                </c:pt>
                <c:pt idx="146">
                  <c:v>41990</c:v>
                </c:pt>
                <c:pt idx="147">
                  <c:v>41991</c:v>
                </c:pt>
                <c:pt idx="148">
                  <c:v>41992</c:v>
                </c:pt>
                <c:pt idx="149">
                  <c:v>41995</c:v>
                </c:pt>
                <c:pt idx="150">
                  <c:v>41996</c:v>
                </c:pt>
                <c:pt idx="151">
                  <c:v>41997</c:v>
                </c:pt>
                <c:pt idx="152">
                  <c:v>41998</c:v>
                </c:pt>
                <c:pt idx="153">
                  <c:v>41999</c:v>
                </c:pt>
                <c:pt idx="154">
                  <c:v>42002</c:v>
                </c:pt>
                <c:pt idx="155">
                  <c:v>42003</c:v>
                </c:pt>
                <c:pt idx="156">
                  <c:v>42004</c:v>
                </c:pt>
                <c:pt idx="157">
                  <c:v>42005</c:v>
                </c:pt>
                <c:pt idx="158">
                  <c:v>42006</c:v>
                </c:pt>
                <c:pt idx="159">
                  <c:v>42009</c:v>
                </c:pt>
                <c:pt idx="160">
                  <c:v>42010</c:v>
                </c:pt>
                <c:pt idx="161">
                  <c:v>42011</c:v>
                </c:pt>
                <c:pt idx="162">
                  <c:v>42012</c:v>
                </c:pt>
                <c:pt idx="163">
                  <c:v>42013</c:v>
                </c:pt>
                <c:pt idx="164">
                  <c:v>42016</c:v>
                </c:pt>
                <c:pt idx="165">
                  <c:v>42017</c:v>
                </c:pt>
                <c:pt idx="166">
                  <c:v>42018</c:v>
                </c:pt>
                <c:pt idx="167">
                  <c:v>42019</c:v>
                </c:pt>
                <c:pt idx="168">
                  <c:v>42020</c:v>
                </c:pt>
                <c:pt idx="169">
                  <c:v>42023</c:v>
                </c:pt>
                <c:pt idx="170">
                  <c:v>42024</c:v>
                </c:pt>
                <c:pt idx="171">
                  <c:v>42025</c:v>
                </c:pt>
                <c:pt idx="172">
                  <c:v>42026</c:v>
                </c:pt>
                <c:pt idx="173">
                  <c:v>42027</c:v>
                </c:pt>
                <c:pt idx="174">
                  <c:v>42030</c:v>
                </c:pt>
                <c:pt idx="175">
                  <c:v>42031</c:v>
                </c:pt>
                <c:pt idx="176">
                  <c:v>42032</c:v>
                </c:pt>
                <c:pt idx="177">
                  <c:v>42033</c:v>
                </c:pt>
                <c:pt idx="178">
                  <c:v>42034</c:v>
                </c:pt>
                <c:pt idx="179">
                  <c:v>42037</c:v>
                </c:pt>
                <c:pt idx="180">
                  <c:v>42038</c:v>
                </c:pt>
                <c:pt idx="181">
                  <c:v>42039</c:v>
                </c:pt>
                <c:pt idx="182">
                  <c:v>42040</c:v>
                </c:pt>
                <c:pt idx="183">
                  <c:v>42041</c:v>
                </c:pt>
                <c:pt idx="184">
                  <c:v>42044</c:v>
                </c:pt>
                <c:pt idx="185">
                  <c:v>42045</c:v>
                </c:pt>
                <c:pt idx="186">
                  <c:v>42046</c:v>
                </c:pt>
                <c:pt idx="187">
                  <c:v>42047</c:v>
                </c:pt>
                <c:pt idx="188">
                  <c:v>42048</c:v>
                </c:pt>
                <c:pt idx="189">
                  <c:v>42051</c:v>
                </c:pt>
                <c:pt idx="190">
                  <c:v>42052</c:v>
                </c:pt>
                <c:pt idx="191">
                  <c:v>42053</c:v>
                </c:pt>
                <c:pt idx="192">
                  <c:v>42054</c:v>
                </c:pt>
                <c:pt idx="193">
                  <c:v>42055</c:v>
                </c:pt>
                <c:pt idx="194">
                  <c:v>42058</c:v>
                </c:pt>
                <c:pt idx="195">
                  <c:v>42059</c:v>
                </c:pt>
                <c:pt idx="196">
                  <c:v>42060</c:v>
                </c:pt>
                <c:pt idx="197">
                  <c:v>42061</c:v>
                </c:pt>
                <c:pt idx="198">
                  <c:v>42062</c:v>
                </c:pt>
                <c:pt idx="199">
                  <c:v>42065</c:v>
                </c:pt>
                <c:pt idx="200">
                  <c:v>42066</c:v>
                </c:pt>
                <c:pt idx="201">
                  <c:v>42067</c:v>
                </c:pt>
                <c:pt idx="202">
                  <c:v>42068</c:v>
                </c:pt>
                <c:pt idx="203">
                  <c:v>42069</c:v>
                </c:pt>
                <c:pt idx="204">
                  <c:v>42072</c:v>
                </c:pt>
                <c:pt idx="205">
                  <c:v>42073</c:v>
                </c:pt>
                <c:pt idx="206">
                  <c:v>42074</c:v>
                </c:pt>
                <c:pt idx="207">
                  <c:v>42075</c:v>
                </c:pt>
                <c:pt idx="208">
                  <c:v>42076</c:v>
                </c:pt>
                <c:pt idx="209">
                  <c:v>42079</c:v>
                </c:pt>
                <c:pt idx="210">
                  <c:v>42080</c:v>
                </c:pt>
                <c:pt idx="211">
                  <c:v>42081</c:v>
                </c:pt>
                <c:pt idx="212">
                  <c:v>42082</c:v>
                </c:pt>
                <c:pt idx="213">
                  <c:v>42083</c:v>
                </c:pt>
                <c:pt idx="214">
                  <c:v>42086</c:v>
                </c:pt>
                <c:pt idx="215">
                  <c:v>42087</c:v>
                </c:pt>
                <c:pt idx="216">
                  <c:v>42088</c:v>
                </c:pt>
                <c:pt idx="217">
                  <c:v>42089</c:v>
                </c:pt>
                <c:pt idx="218">
                  <c:v>42090</c:v>
                </c:pt>
                <c:pt idx="219">
                  <c:v>42093</c:v>
                </c:pt>
                <c:pt idx="220">
                  <c:v>42094</c:v>
                </c:pt>
                <c:pt idx="221">
                  <c:v>42095</c:v>
                </c:pt>
                <c:pt idx="222">
                  <c:v>42096</c:v>
                </c:pt>
                <c:pt idx="223">
                  <c:v>42097</c:v>
                </c:pt>
                <c:pt idx="224">
                  <c:v>42100</c:v>
                </c:pt>
                <c:pt idx="225">
                  <c:v>42101</c:v>
                </c:pt>
                <c:pt idx="226">
                  <c:v>42102</c:v>
                </c:pt>
                <c:pt idx="227">
                  <c:v>42103</c:v>
                </c:pt>
                <c:pt idx="228">
                  <c:v>42104</c:v>
                </c:pt>
                <c:pt idx="229">
                  <c:v>42107</c:v>
                </c:pt>
                <c:pt idx="230">
                  <c:v>42108</c:v>
                </c:pt>
                <c:pt idx="231">
                  <c:v>42109</c:v>
                </c:pt>
                <c:pt idx="232">
                  <c:v>42110</c:v>
                </c:pt>
                <c:pt idx="233">
                  <c:v>42111</c:v>
                </c:pt>
                <c:pt idx="234">
                  <c:v>42114</c:v>
                </c:pt>
                <c:pt idx="235">
                  <c:v>42115</c:v>
                </c:pt>
                <c:pt idx="236">
                  <c:v>42116</c:v>
                </c:pt>
                <c:pt idx="237">
                  <c:v>42117</c:v>
                </c:pt>
                <c:pt idx="238">
                  <c:v>42118</c:v>
                </c:pt>
                <c:pt idx="239">
                  <c:v>42121</c:v>
                </c:pt>
                <c:pt idx="240">
                  <c:v>42122</c:v>
                </c:pt>
                <c:pt idx="241">
                  <c:v>42123</c:v>
                </c:pt>
                <c:pt idx="242">
                  <c:v>42124</c:v>
                </c:pt>
                <c:pt idx="243">
                  <c:v>42125</c:v>
                </c:pt>
                <c:pt idx="244">
                  <c:v>42128</c:v>
                </c:pt>
                <c:pt idx="245">
                  <c:v>42129</c:v>
                </c:pt>
                <c:pt idx="246">
                  <c:v>42130</c:v>
                </c:pt>
                <c:pt idx="247">
                  <c:v>42131</c:v>
                </c:pt>
                <c:pt idx="248">
                  <c:v>42132</c:v>
                </c:pt>
                <c:pt idx="249">
                  <c:v>42135</c:v>
                </c:pt>
                <c:pt idx="250">
                  <c:v>42136</c:v>
                </c:pt>
                <c:pt idx="251">
                  <c:v>42137</c:v>
                </c:pt>
                <c:pt idx="252">
                  <c:v>42138</c:v>
                </c:pt>
                <c:pt idx="253">
                  <c:v>42139</c:v>
                </c:pt>
                <c:pt idx="254">
                  <c:v>42142</c:v>
                </c:pt>
                <c:pt idx="255">
                  <c:v>42143</c:v>
                </c:pt>
                <c:pt idx="256">
                  <c:v>42144</c:v>
                </c:pt>
                <c:pt idx="257">
                  <c:v>42145</c:v>
                </c:pt>
                <c:pt idx="258">
                  <c:v>42146</c:v>
                </c:pt>
                <c:pt idx="259">
                  <c:v>42149</c:v>
                </c:pt>
                <c:pt idx="260">
                  <c:v>42150</c:v>
                </c:pt>
                <c:pt idx="261">
                  <c:v>42151</c:v>
                </c:pt>
                <c:pt idx="262">
                  <c:v>42152</c:v>
                </c:pt>
                <c:pt idx="263">
                  <c:v>42153</c:v>
                </c:pt>
                <c:pt idx="264">
                  <c:v>42156</c:v>
                </c:pt>
                <c:pt idx="265">
                  <c:v>42157</c:v>
                </c:pt>
                <c:pt idx="266">
                  <c:v>42158</c:v>
                </c:pt>
                <c:pt idx="267">
                  <c:v>42159</c:v>
                </c:pt>
                <c:pt idx="268">
                  <c:v>42160</c:v>
                </c:pt>
                <c:pt idx="269">
                  <c:v>42163</c:v>
                </c:pt>
                <c:pt idx="270">
                  <c:v>42164</c:v>
                </c:pt>
                <c:pt idx="271">
                  <c:v>42165</c:v>
                </c:pt>
                <c:pt idx="272">
                  <c:v>42166</c:v>
                </c:pt>
                <c:pt idx="273">
                  <c:v>42167</c:v>
                </c:pt>
                <c:pt idx="274">
                  <c:v>42170</c:v>
                </c:pt>
                <c:pt idx="275">
                  <c:v>42171</c:v>
                </c:pt>
                <c:pt idx="276">
                  <c:v>42172</c:v>
                </c:pt>
                <c:pt idx="277">
                  <c:v>42173</c:v>
                </c:pt>
                <c:pt idx="278">
                  <c:v>42174</c:v>
                </c:pt>
                <c:pt idx="279">
                  <c:v>42177</c:v>
                </c:pt>
                <c:pt idx="280">
                  <c:v>42178</c:v>
                </c:pt>
                <c:pt idx="281">
                  <c:v>42179</c:v>
                </c:pt>
                <c:pt idx="282">
                  <c:v>42180</c:v>
                </c:pt>
                <c:pt idx="283">
                  <c:v>42181</c:v>
                </c:pt>
                <c:pt idx="284">
                  <c:v>42184</c:v>
                </c:pt>
                <c:pt idx="285">
                  <c:v>42185</c:v>
                </c:pt>
                <c:pt idx="286">
                  <c:v>42186</c:v>
                </c:pt>
                <c:pt idx="287">
                  <c:v>42187</c:v>
                </c:pt>
                <c:pt idx="288">
                  <c:v>42188</c:v>
                </c:pt>
                <c:pt idx="289">
                  <c:v>42191</c:v>
                </c:pt>
                <c:pt idx="290">
                  <c:v>42192</c:v>
                </c:pt>
                <c:pt idx="291">
                  <c:v>42193</c:v>
                </c:pt>
                <c:pt idx="292">
                  <c:v>42194</c:v>
                </c:pt>
                <c:pt idx="293">
                  <c:v>42195</c:v>
                </c:pt>
                <c:pt idx="294">
                  <c:v>42198</c:v>
                </c:pt>
                <c:pt idx="295">
                  <c:v>42199</c:v>
                </c:pt>
                <c:pt idx="296">
                  <c:v>42200</c:v>
                </c:pt>
                <c:pt idx="297">
                  <c:v>42201</c:v>
                </c:pt>
                <c:pt idx="298">
                  <c:v>42202</c:v>
                </c:pt>
                <c:pt idx="299">
                  <c:v>42205</c:v>
                </c:pt>
                <c:pt idx="300">
                  <c:v>42206</c:v>
                </c:pt>
                <c:pt idx="301">
                  <c:v>42207</c:v>
                </c:pt>
                <c:pt idx="302">
                  <c:v>42208</c:v>
                </c:pt>
                <c:pt idx="303">
                  <c:v>42209</c:v>
                </c:pt>
                <c:pt idx="304">
                  <c:v>42212</c:v>
                </c:pt>
                <c:pt idx="305">
                  <c:v>42213</c:v>
                </c:pt>
                <c:pt idx="306">
                  <c:v>42214</c:v>
                </c:pt>
                <c:pt idx="307">
                  <c:v>42215</c:v>
                </c:pt>
                <c:pt idx="308">
                  <c:v>42216</c:v>
                </c:pt>
                <c:pt idx="309">
                  <c:v>42219</c:v>
                </c:pt>
                <c:pt idx="310">
                  <c:v>42220</c:v>
                </c:pt>
                <c:pt idx="311">
                  <c:v>42221</c:v>
                </c:pt>
                <c:pt idx="312">
                  <c:v>42222</c:v>
                </c:pt>
                <c:pt idx="313">
                  <c:v>42223</c:v>
                </c:pt>
                <c:pt idx="314">
                  <c:v>42226</c:v>
                </c:pt>
                <c:pt idx="315">
                  <c:v>42227</c:v>
                </c:pt>
                <c:pt idx="316">
                  <c:v>42228</c:v>
                </c:pt>
                <c:pt idx="317">
                  <c:v>42229</c:v>
                </c:pt>
                <c:pt idx="318">
                  <c:v>42230</c:v>
                </c:pt>
                <c:pt idx="319">
                  <c:v>42233</c:v>
                </c:pt>
                <c:pt idx="320">
                  <c:v>42234</c:v>
                </c:pt>
                <c:pt idx="321">
                  <c:v>42235</c:v>
                </c:pt>
                <c:pt idx="322">
                  <c:v>42236</c:v>
                </c:pt>
                <c:pt idx="323">
                  <c:v>42237</c:v>
                </c:pt>
                <c:pt idx="324">
                  <c:v>42240</c:v>
                </c:pt>
                <c:pt idx="325">
                  <c:v>42241</c:v>
                </c:pt>
                <c:pt idx="326">
                  <c:v>42242</c:v>
                </c:pt>
                <c:pt idx="327">
                  <c:v>42243</c:v>
                </c:pt>
                <c:pt idx="328">
                  <c:v>42244</c:v>
                </c:pt>
                <c:pt idx="329">
                  <c:v>42247</c:v>
                </c:pt>
                <c:pt idx="330">
                  <c:v>42248</c:v>
                </c:pt>
                <c:pt idx="331">
                  <c:v>42249</c:v>
                </c:pt>
                <c:pt idx="332">
                  <c:v>42250</c:v>
                </c:pt>
                <c:pt idx="333">
                  <c:v>42251</c:v>
                </c:pt>
                <c:pt idx="334">
                  <c:v>42254</c:v>
                </c:pt>
                <c:pt idx="335">
                  <c:v>42255</c:v>
                </c:pt>
                <c:pt idx="336">
                  <c:v>42256</c:v>
                </c:pt>
                <c:pt idx="337">
                  <c:v>42257</c:v>
                </c:pt>
                <c:pt idx="338">
                  <c:v>42258</c:v>
                </c:pt>
                <c:pt idx="339">
                  <c:v>42261</c:v>
                </c:pt>
                <c:pt idx="340">
                  <c:v>42262</c:v>
                </c:pt>
                <c:pt idx="341">
                  <c:v>42263</c:v>
                </c:pt>
                <c:pt idx="342">
                  <c:v>42264</c:v>
                </c:pt>
                <c:pt idx="343">
                  <c:v>42265</c:v>
                </c:pt>
                <c:pt idx="344">
                  <c:v>42268</c:v>
                </c:pt>
                <c:pt idx="345">
                  <c:v>42269</c:v>
                </c:pt>
                <c:pt idx="346">
                  <c:v>42270</c:v>
                </c:pt>
                <c:pt idx="347">
                  <c:v>42271</c:v>
                </c:pt>
                <c:pt idx="348">
                  <c:v>42272</c:v>
                </c:pt>
                <c:pt idx="349">
                  <c:v>42275</c:v>
                </c:pt>
                <c:pt idx="350">
                  <c:v>42276</c:v>
                </c:pt>
                <c:pt idx="351">
                  <c:v>42277</c:v>
                </c:pt>
                <c:pt idx="352">
                  <c:v>42278</c:v>
                </c:pt>
                <c:pt idx="353">
                  <c:v>42279</c:v>
                </c:pt>
                <c:pt idx="354">
                  <c:v>42282</c:v>
                </c:pt>
                <c:pt idx="355">
                  <c:v>42283</c:v>
                </c:pt>
                <c:pt idx="356">
                  <c:v>42284</c:v>
                </c:pt>
                <c:pt idx="357">
                  <c:v>42285</c:v>
                </c:pt>
                <c:pt idx="358">
                  <c:v>42286</c:v>
                </c:pt>
                <c:pt idx="359">
                  <c:v>42289</c:v>
                </c:pt>
                <c:pt idx="360">
                  <c:v>42290</c:v>
                </c:pt>
                <c:pt idx="361">
                  <c:v>42291</c:v>
                </c:pt>
                <c:pt idx="362">
                  <c:v>42292</c:v>
                </c:pt>
                <c:pt idx="363">
                  <c:v>42293</c:v>
                </c:pt>
                <c:pt idx="364">
                  <c:v>42296</c:v>
                </c:pt>
                <c:pt idx="365">
                  <c:v>42297</c:v>
                </c:pt>
                <c:pt idx="366">
                  <c:v>42298</c:v>
                </c:pt>
                <c:pt idx="367">
                  <c:v>42299</c:v>
                </c:pt>
                <c:pt idx="368">
                  <c:v>42300</c:v>
                </c:pt>
                <c:pt idx="369">
                  <c:v>42303</c:v>
                </c:pt>
                <c:pt idx="370">
                  <c:v>42304</c:v>
                </c:pt>
                <c:pt idx="371">
                  <c:v>42305</c:v>
                </c:pt>
                <c:pt idx="372">
                  <c:v>42306</c:v>
                </c:pt>
                <c:pt idx="373">
                  <c:v>42307</c:v>
                </c:pt>
                <c:pt idx="374">
                  <c:v>42310</c:v>
                </c:pt>
                <c:pt idx="375">
                  <c:v>42311</c:v>
                </c:pt>
                <c:pt idx="376">
                  <c:v>42312</c:v>
                </c:pt>
                <c:pt idx="377">
                  <c:v>42313</c:v>
                </c:pt>
                <c:pt idx="378">
                  <c:v>42314</c:v>
                </c:pt>
                <c:pt idx="379">
                  <c:v>42317</c:v>
                </c:pt>
                <c:pt idx="380">
                  <c:v>42318</c:v>
                </c:pt>
                <c:pt idx="381">
                  <c:v>42319</c:v>
                </c:pt>
                <c:pt idx="382">
                  <c:v>42320</c:v>
                </c:pt>
                <c:pt idx="383">
                  <c:v>42321</c:v>
                </c:pt>
                <c:pt idx="384">
                  <c:v>42324</c:v>
                </c:pt>
                <c:pt idx="385">
                  <c:v>42325</c:v>
                </c:pt>
                <c:pt idx="386">
                  <c:v>42326</c:v>
                </c:pt>
                <c:pt idx="387">
                  <c:v>42327</c:v>
                </c:pt>
                <c:pt idx="388">
                  <c:v>42328</c:v>
                </c:pt>
                <c:pt idx="389">
                  <c:v>42331</c:v>
                </c:pt>
                <c:pt idx="390">
                  <c:v>42332</c:v>
                </c:pt>
                <c:pt idx="391">
                  <c:v>42333</c:v>
                </c:pt>
                <c:pt idx="392">
                  <c:v>42334</c:v>
                </c:pt>
                <c:pt idx="393">
                  <c:v>42335</c:v>
                </c:pt>
                <c:pt idx="394">
                  <c:v>42338</c:v>
                </c:pt>
                <c:pt idx="395">
                  <c:v>42339</c:v>
                </c:pt>
                <c:pt idx="396">
                  <c:v>42340</c:v>
                </c:pt>
                <c:pt idx="397">
                  <c:v>42341</c:v>
                </c:pt>
                <c:pt idx="398">
                  <c:v>42342</c:v>
                </c:pt>
                <c:pt idx="399">
                  <c:v>42345</c:v>
                </c:pt>
                <c:pt idx="400">
                  <c:v>42346</c:v>
                </c:pt>
                <c:pt idx="401">
                  <c:v>42347</c:v>
                </c:pt>
                <c:pt idx="402">
                  <c:v>42348</c:v>
                </c:pt>
                <c:pt idx="403">
                  <c:v>42349</c:v>
                </c:pt>
                <c:pt idx="404">
                  <c:v>42352</c:v>
                </c:pt>
                <c:pt idx="405">
                  <c:v>42353</c:v>
                </c:pt>
                <c:pt idx="406">
                  <c:v>42354</c:v>
                </c:pt>
                <c:pt idx="407">
                  <c:v>42355</c:v>
                </c:pt>
                <c:pt idx="408">
                  <c:v>42356</c:v>
                </c:pt>
                <c:pt idx="409">
                  <c:v>42359</c:v>
                </c:pt>
                <c:pt idx="410">
                  <c:v>42360</c:v>
                </c:pt>
                <c:pt idx="411">
                  <c:v>42361</c:v>
                </c:pt>
                <c:pt idx="412">
                  <c:v>42362</c:v>
                </c:pt>
                <c:pt idx="413">
                  <c:v>42363</c:v>
                </c:pt>
                <c:pt idx="414">
                  <c:v>42366</c:v>
                </c:pt>
                <c:pt idx="415">
                  <c:v>42367</c:v>
                </c:pt>
                <c:pt idx="416">
                  <c:v>42368</c:v>
                </c:pt>
                <c:pt idx="417">
                  <c:v>42369</c:v>
                </c:pt>
                <c:pt idx="418">
                  <c:v>42370</c:v>
                </c:pt>
                <c:pt idx="419">
                  <c:v>42373</c:v>
                </c:pt>
                <c:pt idx="420">
                  <c:v>42374</c:v>
                </c:pt>
                <c:pt idx="421">
                  <c:v>42375</c:v>
                </c:pt>
                <c:pt idx="422">
                  <c:v>42376</c:v>
                </c:pt>
                <c:pt idx="423">
                  <c:v>42377</c:v>
                </c:pt>
                <c:pt idx="424">
                  <c:v>42380</c:v>
                </c:pt>
                <c:pt idx="425">
                  <c:v>42381</c:v>
                </c:pt>
                <c:pt idx="426">
                  <c:v>42382</c:v>
                </c:pt>
                <c:pt idx="427">
                  <c:v>42383</c:v>
                </c:pt>
                <c:pt idx="428">
                  <c:v>42384</c:v>
                </c:pt>
                <c:pt idx="429">
                  <c:v>42387</c:v>
                </c:pt>
                <c:pt idx="430">
                  <c:v>42388</c:v>
                </c:pt>
                <c:pt idx="431">
                  <c:v>42389</c:v>
                </c:pt>
                <c:pt idx="432">
                  <c:v>42390</c:v>
                </c:pt>
                <c:pt idx="433">
                  <c:v>42391</c:v>
                </c:pt>
                <c:pt idx="434">
                  <c:v>42394</c:v>
                </c:pt>
                <c:pt idx="435">
                  <c:v>42395</c:v>
                </c:pt>
                <c:pt idx="436">
                  <c:v>42396</c:v>
                </c:pt>
                <c:pt idx="437">
                  <c:v>42397</c:v>
                </c:pt>
                <c:pt idx="438">
                  <c:v>42398</c:v>
                </c:pt>
                <c:pt idx="439">
                  <c:v>42401</c:v>
                </c:pt>
                <c:pt idx="440">
                  <c:v>42402</c:v>
                </c:pt>
                <c:pt idx="441">
                  <c:v>42403</c:v>
                </c:pt>
                <c:pt idx="442">
                  <c:v>42404</c:v>
                </c:pt>
                <c:pt idx="443">
                  <c:v>42405</c:v>
                </c:pt>
                <c:pt idx="444">
                  <c:v>42408</c:v>
                </c:pt>
                <c:pt idx="445">
                  <c:v>42409</c:v>
                </c:pt>
                <c:pt idx="446">
                  <c:v>42410</c:v>
                </c:pt>
                <c:pt idx="447">
                  <c:v>42411</c:v>
                </c:pt>
                <c:pt idx="448">
                  <c:v>42412</c:v>
                </c:pt>
                <c:pt idx="449">
                  <c:v>42415</c:v>
                </c:pt>
                <c:pt idx="450">
                  <c:v>42416</c:v>
                </c:pt>
                <c:pt idx="451">
                  <c:v>42417</c:v>
                </c:pt>
                <c:pt idx="452">
                  <c:v>42418</c:v>
                </c:pt>
                <c:pt idx="453">
                  <c:v>42419</c:v>
                </c:pt>
                <c:pt idx="454">
                  <c:v>42422</c:v>
                </c:pt>
                <c:pt idx="455">
                  <c:v>42423</c:v>
                </c:pt>
                <c:pt idx="456">
                  <c:v>42424</c:v>
                </c:pt>
                <c:pt idx="457">
                  <c:v>42425</c:v>
                </c:pt>
                <c:pt idx="458">
                  <c:v>42426</c:v>
                </c:pt>
                <c:pt idx="459">
                  <c:v>42429</c:v>
                </c:pt>
                <c:pt idx="460">
                  <c:v>42430</c:v>
                </c:pt>
                <c:pt idx="461">
                  <c:v>42431</c:v>
                </c:pt>
                <c:pt idx="462">
                  <c:v>42432</c:v>
                </c:pt>
                <c:pt idx="463">
                  <c:v>42433</c:v>
                </c:pt>
                <c:pt idx="464">
                  <c:v>42436</c:v>
                </c:pt>
                <c:pt idx="465">
                  <c:v>42437</c:v>
                </c:pt>
                <c:pt idx="466">
                  <c:v>42438</c:v>
                </c:pt>
                <c:pt idx="467">
                  <c:v>42439</c:v>
                </c:pt>
                <c:pt idx="468">
                  <c:v>42440</c:v>
                </c:pt>
                <c:pt idx="469">
                  <c:v>42443</c:v>
                </c:pt>
                <c:pt idx="470">
                  <c:v>42444</c:v>
                </c:pt>
                <c:pt idx="471">
                  <c:v>42445</c:v>
                </c:pt>
                <c:pt idx="472">
                  <c:v>42446</c:v>
                </c:pt>
                <c:pt idx="473">
                  <c:v>42447</c:v>
                </c:pt>
                <c:pt idx="474">
                  <c:v>42450</c:v>
                </c:pt>
                <c:pt idx="475">
                  <c:v>42451</c:v>
                </c:pt>
                <c:pt idx="476">
                  <c:v>42452</c:v>
                </c:pt>
                <c:pt idx="477">
                  <c:v>42453</c:v>
                </c:pt>
                <c:pt idx="478">
                  <c:v>42454</c:v>
                </c:pt>
                <c:pt idx="479">
                  <c:v>42457</c:v>
                </c:pt>
                <c:pt idx="480">
                  <c:v>42458</c:v>
                </c:pt>
                <c:pt idx="481">
                  <c:v>42459</c:v>
                </c:pt>
                <c:pt idx="482">
                  <c:v>42460</c:v>
                </c:pt>
                <c:pt idx="483">
                  <c:v>42461</c:v>
                </c:pt>
                <c:pt idx="484">
                  <c:v>42464</c:v>
                </c:pt>
                <c:pt idx="485">
                  <c:v>42465</c:v>
                </c:pt>
                <c:pt idx="486">
                  <c:v>42466</c:v>
                </c:pt>
                <c:pt idx="487">
                  <c:v>42467</c:v>
                </c:pt>
                <c:pt idx="488">
                  <c:v>42468</c:v>
                </c:pt>
                <c:pt idx="489">
                  <c:v>42471</c:v>
                </c:pt>
                <c:pt idx="490">
                  <c:v>42472</c:v>
                </c:pt>
                <c:pt idx="491">
                  <c:v>42473</c:v>
                </c:pt>
                <c:pt idx="492">
                  <c:v>42474</c:v>
                </c:pt>
                <c:pt idx="493">
                  <c:v>42475</c:v>
                </c:pt>
                <c:pt idx="494">
                  <c:v>42478</c:v>
                </c:pt>
                <c:pt idx="495">
                  <c:v>42479</c:v>
                </c:pt>
                <c:pt idx="496">
                  <c:v>42480</c:v>
                </c:pt>
                <c:pt idx="497">
                  <c:v>42481</c:v>
                </c:pt>
                <c:pt idx="498">
                  <c:v>42482</c:v>
                </c:pt>
                <c:pt idx="499">
                  <c:v>42485</c:v>
                </c:pt>
                <c:pt idx="500">
                  <c:v>42486</c:v>
                </c:pt>
                <c:pt idx="501">
                  <c:v>42487</c:v>
                </c:pt>
                <c:pt idx="502">
                  <c:v>42488</c:v>
                </c:pt>
                <c:pt idx="503">
                  <c:v>42489</c:v>
                </c:pt>
                <c:pt idx="504">
                  <c:v>42492</c:v>
                </c:pt>
                <c:pt idx="505">
                  <c:v>42493</c:v>
                </c:pt>
                <c:pt idx="506">
                  <c:v>42494</c:v>
                </c:pt>
                <c:pt idx="507">
                  <c:v>42495</c:v>
                </c:pt>
                <c:pt idx="508">
                  <c:v>42496</c:v>
                </c:pt>
                <c:pt idx="509">
                  <c:v>42499</c:v>
                </c:pt>
                <c:pt idx="510">
                  <c:v>42500</c:v>
                </c:pt>
                <c:pt idx="511">
                  <c:v>42501</c:v>
                </c:pt>
                <c:pt idx="512">
                  <c:v>42502</c:v>
                </c:pt>
                <c:pt idx="513">
                  <c:v>42503</c:v>
                </c:pt>
                <c:pt idx="514">
                  <c:v>42506</c:v>
                </c:pt>
                <c:pt idx="515">
                  <c:v>42507</c:v>
                </c:pt>
                <c:pt idx="516">
                  <c:v>42508</c:v>
                </c:pt>
                <c:pt idx="517">
                  <c:v>42509</c:v>
                </c:pt>
                <c:pt idx="518">
                  <c:v>42510</c:v>
                </c:pt>
                <c:pt idx="519">
                  <c:v>42513</c:v>
                </c:pt>
                <c:pt idx="520">
                  <c:v>42514</c:v>
                </c:pt>
                <c:pt idx="521">
                  <c:v>42515</c:v>
                </c:pt>
                <c:pt idx="522">
                  <c:v>42516</c:v>
                </c:pt>
                <c:pt idx="523">
                  <c:v>42517</c:v>
                </c:pt>
                <c:pt idx="524">
                  <c:v>42520</c:v>
                </c:pt>
                <c:pt idx="525">
                  <c:v>42521</c:v>
                </c:pt>
                <c:pt idx="526">
                  <c:v>42522</c:v>
                </c:pt>
                <c:pt idx="527">
                  <c:v>42523</c:v>
                </c:pt>
                <c:pt idx="528">
                  <c:v>42524</c:v>
                </c:pt>
                <c:pt idx="529">
                  <c:v>42527</c:v>
                </c:pt>
                <c:pt idx="530">
                  <c:v>42528</c:v>
                </c:pt>
                <c:pt idx="531">
                  <c:v>42529</c:v>
                </c:pt>
                <c:pt idx="532">
                  <c:v>42530</c:v>
                </c:pt>
                <c:pt idx="533">
                  <c:v>42531</c:v>
                </c:pt>
                <c:pt idx="534">
                  <c:v>42534</c:v>
                </c:pt>
                <c:pt idx="535">
                  <c:v>42535</c:v>
                </c:pt>
                <c:pt idx="536">
                  <c:v>42536</c:v>
                </c:pt>
                <c:pt idx="537">
                  <c:v>42537</c:v>
                </c:pt>
                <c:pt idx="538">
                  <c:v>42538</c:v>
                </c:pt>
                <c:pt idx="539">
                  <c:v>42541</c:v>
                </c:pt>
                <c:pt idx="540">
                  <c:v>42542</c:v>
                </c:pt>
                <c:pt idx="541">
                  <c:v>42543</c:v>
                </c:pt>
                <c:pt idx="542">
                  <c:v>42544</c:v>
                </c:pt>
                <c:pt idx="543">
                  <c:v>42545</c:v>
                </c:pt>
                <c:pt idx="544">
                  <c:v>42548</c:v>
                </c:pt>
                <c:pt idx="545">
                  <c:v>42549</c:v>
                </c:pt>
                <c:pt idx="546">
                  <c:v>42550</c:v>
                </c:pt>
                <c:pt idx="547">
                  <c:v>42551</c:v>
                </c:pt>
                <c:pt idx="548">
                  <c:v>42552</c:v>
                </c:pt>
                <c:pt idx="549">
                  <c:v>42555</c:v>
                </c:pt>
                <c:pt idx="550">
                  <c:v>42556</c:v>
                </c:pt>
                <c:pt idx="551">
                  <c:v>42557</c:v>
                </c:pt>
                <c:pt idx="552">
                  <c:v>42558</c:v>
                </c:pt>
                <c:pt idx="553">
                  <c:v>42559</c:v>
                </c:pt>
                <c:pt idx="554">
                  <c:v>42562</c:v>
                </c:pt>
                <c:pt idx="555">
                  <c:v>42563</c:v>
                </c:pt>
                <c:pt idx="556">
                  <c:v>42564</c:v>
                </c:pt>
                <c:pt idx="557">
                  <c:v>42565</c:v>
                </c:pt>
                <c:pt idx="558">
                  <c:v>42566</c:v>
                </c:pt>
                <c:pt idx="559">
                  <c:v>42569</c:v>
                </c:pt>
                <c:pt idx="560">
                  <c:v>42570</c:v>
                </c:pt>
                <c:pt idx="561">
                  <c:v>42571</c:v>
                </c:pt>
                <c:pt idx="562">
                  <c:v>42572</c:v>
                </c:pt>
                <c:pt idx="563">
                  <c:v>42573</c:v>
                </c:pt>
                <c:pt idx="564">
                  <c:v>42576</c:v>
                </c:pt>
                <c:pt idx="565">
                  <c:v>42577</c:v>
                </c:pt>
                <c:pt idx="566">
                  <c:v>42578</c:v>
                </c:pt>
                <c:pt idx="567">
                  <c:v>42579</c:v>
                </c:pt>
                <c:pt idx="568">
                  <c:v>42580</c:v>
                </c:pt>
                <c:pt idx="569">
                  <c:v>42583</c:v>
                </c:pt>
                <c:pt idx="570">
                  <c:v>42584</c:v>
                </c:pt>
                <c:pt idx="571">
                  <c:v>42585</c:v>
                </c:pt>
                <c:pt idx="572">
                  <c:v>42586</c:v>
                </c:pt>
                <c:pt idx="573">
                  <c:v>42587</c:v>
                </c:pt>
                <c:pt idx="574">
                  <c:v>42590</c:v>
                </c:pt>
                <c:pt idx="575">
                  <c:v>42591</c:v>
                </c:pt>
                <c:pt idx="576">
                  <c:v>42592</c:v>
                </c:pt>
                <c:pt idx="577">
                  <c:v>42593</c:v>
                </c:pt>
                <c:pt idx="578">
                  <c:v>42594</c:v>
                </c:pt>
                <c:pt idx="579">
                  <c:v>42597</c:v>
                </c:pt>
                <c:pt idx="580">
                  <c:v>42598</c:v>
                </c:pt>
                <c:pt idx="581">
                  <c:v>42599</c:v>
                </c:pt>
                <c:pt idx="582">
                  <c:v>42600</c:v>
                </c:pt>
                <c:pt idx="583">
                  <c:v>42601</c:v>
                </c:pt>
                <c:pt idx="584">
                  <c:v>42604</c:v>
                </c:pt>
                <c:pt idx="585">
                  <c:v>42605</c:v>
                </c:pt>
                <c:pt idx="586">
                  <c:v>42606</c:v>
                </c:pt>
                <c:pt idx="587">
                  <c:v>42607</c:v>
                </c:pt>
                <c:pt idx="588">
                  <c:v>42608</c:v>
                </c:pt>
                <c:pt idx="589">
                  <c:v>42611</c:v>
                </c:pt>
                <c:pt idx="590">
                  <c:v>42612</c:v>
                </c:pt>
                <c:pt idx="591">
                  <c:v>42613</c:v>
                </c:pt>
                <c:pt idx="592">
                  <c:v>42614</c:v>
                </c:pt>
                <c:pt idx="593">
                  <c:v>42615</c:v>
                </c:pt>
                <c:pt idx="594">
                  <c:v>42618</c:v>
                </c:pt>
                <c:pt idx="595">
                  <c:v>42619</c:v>
                </c:pt>
                <c:pt idx="596">
                  <c:v>42620</c:v>
                </c:pt>
                <c:pt idx="597">
                  <c:v>42621</c:v>
                </c:pt>
                <c:pt idx="598">
                  <c:v>42622</c:v>
                </c:pt>
                <c:pt idx="599">
                  <c:v>42625</c:v>
                </c:pt>
                <c:pt idx="600">
                  <c:v>42626</c:v>
                </c:pt>
                <c:pt idx="601">
                  <c:v>42627</c:v>
                </c:pt>
                <c:pt idx="602">
                  <c:v>42628</c:v>
                </c:pt>
                <c:pt idx="603">
                  <c:v>42629</c:v>
                </c:pt>
                <c:pt idx="604">
                  <c:v>42632</c:v>
                </c:pt>
                <c:pt idx="605">
                  <c:v>42633</c:v>
                </c:pt>
                <c:pt idx="606">
                  <c:v>42634</c:v>
                </c:pt>
                <c:pt idx="607">
                  <c:v>42635</c:v>
                </c:pt>
                <c:pt idx="608">
                  <c:v>42636</c:v>
                </c:pt>
                <c:pt idx="609">
                  <c:v>42639</c:v>
                </c:pt>
                <c:pt idx="610">
                  <c:v>42640</c:v>
                </c:pt>
                <c:pt idx="611">
                  <c:v>42641</c:v>
                </c:pt>
                <c:pt idx="612">
                  <c:v>42642</c:v>
                </c:pt>
                <c:pt idx="613">
                  <c:v>42643</c:v>
                </c:pt>
                <c:pt idx="614">
                  <c:v>42646</c:v>
                </c:pt>
                <c:pt idx="615">
                  <c:v>42647</c:v>
                </c:pt>
                <c:pt idx="616">
                  <c:v>42648</c:v>
                </c:pt>
                <c:pt idx="617">
                  <c:v>42649</c:v>
                </c:pt>
                <c:pt idx="618">
                  <c:v>42650</c:v>
                </c:pt>
                <c:pt idx="619">
                  <c:v>42653</c:v>
                </c:pt>
                <c:pt idx="620">
                  <c:v>42654</c:v>
                </c:pt>
                <c:pt idx="621">
                  <c:v>42655</c:v>
                </c:pt>
                <c:pt idx="622">
                  <c:v>42656</c:v>
                </c:pt>
                <c:pt idx="623">
                  <c:v>42657</c:v>
                </c:pt>
                <c:pt idx="624">
                  <c:v>42660</c:v>
                </c:pt>
                <c:pt idx="625">
                  <c:v>42661</c:v>
                </c:pt>
                <c:pt idx="626">
                  <c:v>42662</c:v>
                </c:pt>
                <c:pt idx="627">
                  <c:v>42663</c:v>
                </c:pt>
                <c:pt idx="628">
                  <c:v>42664</c:v>
                </c:pt>
                <c:pt idx="629">
                  <c:v>42667</c:v>
                </c:pt>
                <c:pt idx="630">
                  <c:v>42668</c:v>
                </c:pt>
                <c:pt idx="631">
                  <c:v>42669</c:v>
                </c:pt>
                <c:pt idx="632">
                  <c:v>42670</c:v>
                </c:pt>
                <c:pt idx="633">
                  <c:v>42671</c:v>
                </c:pt>
                <c:pt idx="634">
                  <c:v>42674</c:v>
                </c:pt>
                <c:pt idx="635">
                  <c:v>42675</c:v>
                </c:pt>
                <c:pt idx="636">
                  <c:v>42676</c:v>
                </c:pt>
                <c:pt idx="637">
                  <c:v>42677</c:v>
                </c:pt>
                <c:pt idx="638">
                  <c:v>42678</c:v>
                </c:pt>
                <c:pt idx="639">
                  <c:v>42681</c:v>
                </c:pt>
                <c:pt idx="640">
                  <c:v>42682</c:v>
                </c:pt>
                <c:pt idx="641">
                  <c:v>42683</c:v>
                </c:pt>
                <c:pt idx="642">
                  <c:v>42684</c:v>
                </c:pt>
                <c:pt idx="643">
                  <c:v>42685</c:v>
                </c:pt>
                <c:pt idx="644">
                  <c:v>42688</c:v>
                </c:pt>
                <c:pt idx="645">
                  <c:v>42689</c:v>
                </c:pt>
                <c:pt idx="646">
                  <c:v>42690</c:v>
                </c:pt>
                <c:pt idx="647">
                  <c:v>42691</c:v>
                </c:pt>
                <c:pt idx="648">
                  <c:v>42692</c:v>
                </c:pt>
                <c:pt idx="649">
                  <c:v>42695</c:v>
                </c:pt>
                <c:pt idx="650">
                  <c:v>42696</c:v>
                </c:pt>
                <c:pt idx="651">
                  <c:v>42697</c:v>
                </c:pt>
                <c:pt idx="652">
                  <c:v>42698</c:v>
                </c:pt>
                <c:pt idx="653">
                  <c:v>42699</c:v>
                </c:pt>
                <c:pt idx="654">
                  <c:v>42702</c:v>
                </c:pt>
                <c:pt idx="655">
                  <c:v>42703</c:v>
                </c:pt>
                <c:pt idx="656">
                  <c:v>42704</c:v>
                </c:pt>
                <c:pt idx="657">
                  <c:v>42705</c:v>
                </c:pt>
                <c:pt idx="658">
                  <c:v>42706</c:v>
                </c:pt>
                <c:pt idx="659">
                  <c:v>42709</c:v>
                </c:pt>
                <c:pt idx="660">
                  <c:v>42710</c:v>
                </c:pt>
                <c:pt idx="661">
                  <c:v>42711</c:v>
                </c:pt>
                <c:pt idx="662">
                  <c:v>42712</c:v>
                </c:pt>
                <c:pt idx="663">
                  <c:v>42713</c:v>
                </c:pt>
                <c:pt idx="664">
                  <c:v>42716</c:v>
                </c:pt>
                <c:pt idx="665">
                  <c:v>42717</c:v>
                </c:pt>
                <c:pt idx="666">
                  <c:v>42718</c:v>
                </c:pt>
                <c:pt idx="667">
                  <c:v>42719</c:v>
                </c:pt>
                <c:pt idx="668">
                  <c:v>42720</c:v>
                </c:pt>
                <c:pt idx="669">
                  <c:v>42723</c:v>
                </c:pt>
                <c:pt idx="670">
                  <c:v>42724</c:v>
                </c:pt>
                <c:pt idx="671">
                  <c:v>42725</c:v>
                </c:pt>
                <c:pt idx="672">
                  <c:v>42726</c:v>
                </c:pt>
                <c:pt idx="673">
                  <c:v>42727</c:v>
                </c:pt>
                <c:pt idx="674">
                  <c:v>42730</c:v>
                </c:pt>
                <c:pt idx="675">
                  <c:v>42731</c:v>
                </c:pt>
                <c:pt idx="676">
                  <c:v>42732</c:v>
                </c:pt>
                <c:pt idx="677">
                  <c:v>42733</c:v>
                </c:pt>
                <c:pt idx="678">
                  <c:v>42734</c:v>
                </c:pt>
                <c:pt idx="679">
                  <c:v>42737</c:v>
                </c:pt>
                <c:pt idx="680">
                  <c:v>42738</c:v>
                </c:pt>
                <c:pt idx="681">
                  <c:v>42739</c:v>
                </c:pt>
                <c:pt idx="682">
                  <c:v>42740</c:v>
                </c:pt>
                <c:pt idx="683">
                  <c:v>42741</c:v>
                </c:pt>
                <c:pt idx="684">
                  <c:v>42744</c:v>
                </c:pt>
                <c:pt idx="685">
                  <c:v>42745</c:v>
                </c:pt>
                <c:pt idx="686">
                  <c:v>42746</c:v>
                </c:pt>
                <c:pt idx="687">
                  <c:v>42747</c:v>
                </c:pt>
                <c:pt idx="688">
                  <c:v>42748</c:v>
                </c:pt>
                <c:pt idx="689">
                  <c:v>42751</c:v>
                </c:pt>
                <c:pt idx="690">
                  <c:v>42752</c:v>
                </c:pt>
                <c:pt idx="691">
                  <c:v>42753</c:v>
                </c:pt>
                <c:pt idx="692">
                  <c:v>42754</c:v>
                </c:pt>
                <c:pt idx="693">
                  <c:v>42755</c:v>
                </c:pt>
                <c:pt idx="694">
                  <c:v>42758</c:v>
                </c:pt>
                <c:pt idx="695">
                  <c:v>42759</c:v>
                </c:pt>
                <c:pt idx="696">
                  <c:v>42760</c:v>
                </c:pt>
                <c:pt idx="697">
                  <c:v>42761</c:v>
                </c:pt>
                <c:pt idx="698">
                  <c:v>42762</c:v>
                </c:pt>
                <c:pt idx="699">
                  <c:v>42765</c:v>
                </c:pt>
                <c:pt idx="700">
                  <c:v>42766</c:v>
                </c:pt>
                <c:pt idx="701">
                  <c:v>42767</c:v>
                </c:pt>
                <c:pt idx="702">
                  <c:v>42768</c:v>
                </c:pt>
                <c:pt idx="703">
                  <c:v>42769</c:v>
                </c:pt>
                <c:pt idx="704">
                  <c:v>42772</c:v>
                </c:pt>
                <c:pt idx="705">
                  <c:v>42773</c:v>
                </c:pt>
                <c:pt idx="706">
                  <c:v>42774</c:v>
                </c:pt>
                <c:pt idx="707">
                  <c:v>42775</c:v>
                </c:pt>
                <c:pt idx="708">
                  <c:v>42776</c:v>
                </c:pt>
                <c:pt idx="709">
                  <c:v>42779</c:v>
                </c:pt>
                <c:pt idx="710">
                  <c:v>42780</c:v>
                </c:pt>
                <c:pt idx="711">
                  <c:v>42781</c:v>
                </c:pt>
                <c:pt idx="712">
                  <c:v>42782</c:v>
                </c:pt>
                <c:pt idx="713">
                  <c:v>42783</c:v>
                </c:pt>
                <c:pt idx="714">
                  <c:v>42786</c:v>
                </c:pt>
                <c:pt idx="715">
                  <c:v>42787</c:v>
                </c:pt>
                <c:pt idx="716">
                  <c:v>42788</c:v>
                </c:pt>
                <c:pt idx="717">
                  <c:v>42789</c:v>
                </c:pt>
                <c:pt idx="718">
                  <c:v>42790</c:v>
                </c:pt>
                <c:pt idx="719">
                  <c:v>42793</c:v>
                </c:pt>
                <c:pt idx="720">
                  <c:v>42794</c:v>
                </c:pt>
                <c:pt idx="721">
                  <c:v>42795</c:v>
                </c:pt>
                <c:pt idx="722">
                  <c:v>42796</c:v>
                </c:pt>
                <c:pt idx="723">
                  <c:v>42797</c:v>
                </c:pt>
                <c:pt idx="724">
                  <c:v>42800</c:v>
                </c:pt>
                <c:pt idx="725">
                  <c:v>42801</c:v>
                </c:pt>
                <c:pt idx="726">
                  <c:v>42802</c:v>
                </c:pt>
                <c:pt idx="727">
                  <c:v>42803</c:v>
                </c:pt>
                <c:pt idx="728">
                  <c:v>42804</c:v>
                </c:pt>
                <c:pt idx="729">
                  <c:v>42807</c:v>
                </c:pt>
                <c:pt idx="730">
                  <c:v>42808</c:v>
                </c:pt>
                <c:pt idx="731">
                  <c:v>42809</c:v>
                </c:pt>
                <c:pt idx="732">
                  <c:v>42810</c:v>
                </c:pt>
                <c:pt idx="733">
                  <c:v>42811</c:v>
                </c:pt>
                <c:pt idx="734">
                  <c:v>42814</c:v>
                </c:pt>
                <c:pt idx="735">
                  <c:v>42815</c:v>
                </c:pt>
                <c:pt idx="736">
                  <c:v>42816</c:v>
                </c:pt>
                <c:pt idx="737">
                  <c:v>42817</c:v>
                </c:pt>
                <c:pt idx="738">
                  <c:v>42818</c:v>
                </c:pt>
                <c:pt idx="739">
                  <c:v>42821</c:v>
                </c:pt>
                <c:pt idx="740">
                  <c:v>42822</c:v>
                </c:pt>
                <c:pt idx="741">
                  <c:v>42823</c:v>
                </c:pt>
                <c:pt idx="742">
                  <c:v>42824</c:v>
                </c:pt>
                <c:pt idx="743">
                  <c:v>42825</c:v>
                </c:pt>
                <c:pt idx="744">
                  <c:v>42828</c:v>
                </c:pt>
                <c:pt idx="745">
                  <c:v>42829</c:v>
                </c:pt>
                <c:pt idx="746">
                  <c:v>42830</c:v>
                </c:pt>
                <c:pt idx="747">
                  <c:v>42831</c:v>
                </c:pt>
                <c:pt idx="748">
                  <c:v>42832</c:v>
                </c:pt>
                <c:pt idx="749">
                  <c:v>42835</c:v>
                </c:pt>
                <c:pt idx="750">
                  <c:v>42836</c:v>
                </c:pt>
                <c:pt idx="751">
                  <c:v>42837</c:v>
                </c:pt>
                <c:pt idx="752">
                  <c:v>42838</c:v>
                </c:pt>
                <c:pt idx="753">
                  <c:v>42839</c:v>
                </c:pt>
                <c:pt idx="754">
                  <c:v>42842</c:v>
                </c:pt>
                <c:pt idx="755">
                  <c:v>42843</c:v>
                </c:pt>
                <c:pt idx="756">
                  <c:v>42844</c:v>
                </c:pt>
                <c:pt idx="757">
                  <c:v>42845</c:v>
                </c:pt>
                <c:pt idx="758">
                  <c:v>42846</c:v>
                </c:pt>
                <c:pt idx="759">
                  <c:v>42849</c:v>
                </c:pt>
                <c:pt idx="760">
                  <c:v>42850</c:v>
                </c:pt>
                <c:pt idx="761">
                  <c:v>42851</c:v>
                </c:pt>
                <c:pt idx="762">
                  <c:v>42852</c:v>
                </c:pt>
                <c:pt idx="763">
                  <c:v>42853</c:v>
                </c:pt>
                <c:pt idx="764">
                  <c:v>42856</c:v>
                </c:pt>
                <c:pt idx="765">
                  <c:v>42857</c:v>
                </c:pt>
                <c:pt idx="766">
                  <c:v>42858</c:v>
                </c:pt>
                <c:pt idx="767">
                  <c:v>42859</c:v>
                </c:pt>
                <c:pt idx="768">
                  <c:v>42860</c:v>
                </c:pt>
                <c:pt idx="769">
                  <c:v>42863</c:v>
                </c:pt>
                <c:pt idx="770">
                  <c:v>42864</c:v>
                </c:pt>
                <c:pt idx="771">
                  <c:v>42865</c:v>
                </c:pt>
                <c:pt idx="772">
                  <c:v>42866</c:v>
                </c:pt>
                <c:pt idx="773">
                  <c:v>42867</c:v>
                </c:pt>
                <c:pt idx="774">
                  <c:v>42870</c:v>
                </c:pt>
                <c:pt idx="775">
                  <c:v>42871</c:v>
                </c:pt>
                <c:pt idx="776">
                  <c:v>42872</c:v>
                </c:pt>
                <c:pt idx="777">
                  <c:v>42873</c:v>
                </c:pt>
                <c:pt idx="778">
                  <c:v>42874</c:v>
                </c:pt>
                <c:pt idx="779">
                  <c:v>42877</c:v>
                </c:pt>
                <c:pt idx="780">
                  <c:v>42878</c:v>
                </c:pt>
                <c:pt idx="781">
                  <c:v>42879</c:v>
                </c:pt>
                <c:pt idx="782">
                  <c:v>42880</c:v>
                </c:pt>
                <c:pt idx="783">
                  <c:v>42881</c:v>
                </c:pt>
                <c:pt idx="784">
                  <c:v>42884</c:v>
                </c:pt>
                <c:pt idx="785">
                  <c:v>42885</c:v>
                </c:pt>
                <c:pt idx="786">
                  <c:v>42886</c:v>
                </c:pt>
                <c:pt idx="787">
                  <c:v>42887</c:v>
                </c:pt>
                <c:pt idx="788">
                  <c:v>42888</c:v>
                </c:pt>
                <c:pt idx="789">
                  <c:v>42891</c:v>
                </c:pt>
                <c:pt idx="790">
                  <c:v>42892</c:v>
                </c:pt>
                <c:pt idx="791">
                  <c:v>42893</c:v>
                </c:pt>
                <c:pt idx="792">
                  <c:v>42894</c:v>
                </c:pt>
                <c:pt idx="793">
                  <c:v>42895</c:v>
                </c:pt>
                <c:pt idx="794">
                  <c:v>42898</c:v>
                </c:pt>
                <c:pt idx="795">
                  <c:v>42899</c:v>
                </c:pt>
                <c:pt idx="796">
                  <c:v>42900</c:v>
                </c:pt>
                <c:pt idx="797">
                  <c:v>42901</c:v>
                </c:pt>
                <c:pt idx="798">
                  <c:v>42902</c:v>
                </c:pt>
                <c:pt idx="799">
                  <c:v>42905</c:v>
                </c:pt>
                <c:pt idx="800">
                  <c:v>42906</c:v>
                </c:pt>
                <c:pt idx="801">
                  <c:v>42907</c:v>
                </c:pt>
                <c:pt idx="802">
                  <c:v>42908</c:v>
                </c:pt>
                <c:pt idx="803">
                  <c:v>42909</c:v>
                </c:pt>
                <c:pt idx="804">
                  <c:v>42912</c:v>
                </c:pt>
                <c:pt idx="805">
                  <c:v>42913</c:v>
                </c:pt>
                <c:pt idx="806">
                  <c:v>42914</c:v>
                </c:pt>
                <c:pt idx="807">
                  <c:v>42915</c:v>
                </c:pt>
                <c:pt idx="808">
                  <c:v>42916</c:v>
                </c:pt>
                <c:pt idx="809">
                  <c:v>42919</c:v>
                </c:pt>
                <c:pt idx="810">
                  <c:v>42920</c:v>
                </c:pt>
                <c:pt idx="811">
                  <c:v>42921</c:v>
                </c:pt>
                <c:pt idx="812">
                  <c:v>42922</c:v>
                </c:pt>
                <c:pt idx="813">
                  <c:v>42923</c:v>
                </c:pt>
                <c:pt idx="814">
                  <c:v>42926</c:v>
                </c:pt>
                <c:pt idx="815">
                  <c:v>42927</c:v>
                </c:pt>
                <c:pt idx="816">
                  <c:v>42928</c:v>
                </c:pt>
                <c:pt idx="817">
                  <c:v>42929</c:v>
                </c:pt>
                <c:pt idx="818">
                  <c:v>42930</c:v>
                </c:pt>
                <c:pt idx="819">
                  <c:v>42933</c:v>
                </c:pt>
                <c:pt idx="820">
                  <c:v>42934</c:v>
                </c:pt>
                <c:pt idx="821">
                  <c:v>42935</c:v>
                </c:pt>
                <c:pt idx="822">
                  <c:v>42936</c:v>
                </c:pt>
                <c:pt idx="823">
                  <c:v>42937</c:v>
                </c:pt>
                <c:pt idx="824">
                  <c:v>42940</c:v>
                </c:pt>
                <c:pt idx="825">
                  <c:v>42941</c:v>
                </c:pt>
                <c:pt idx="826">
                  <c:v>42942</c:v>
                </c:pt>
                <c:pt idx="827">
                  <c:v>42943</c:v>
                </c:pt>
                <c:pt idx="828">
                  <c:v>42944</c:v>
                </c:pt>
                <c:pt idx="829">
                  <c:v>42947</c:v>
                </c:pt>
                <c:pt idx="830">
                  <c:v>42948</c:v>
                </c:pt>
                <c:pt idx="831">
                  <c:v>42949</c:v>
                </c:pt>
                <c:pt idx="832">
                  <c:v>42950</c:v>
                </c:pt>
                <c:pt idx="833">
                  <c:v>42951</c:v>
                </c:pt>
                <c:pt idx="834">
                  <c:v>42954</c:v>
                </c:pt>
                <c:pt idx="835">
                  <c:v>42955</c:v>
                </c:pt>
                <c:pt idx="836">
                  <c:v>42956</c:v>
                </c:pt>
                <c:pt idx="837">
                  <c:v>42957</c:v>
                </c:pt>
                <c:pt idx="838">
                  <c:v>42958</c:v>
                </c:pt>
                <c:pt idx="839">
                  <c:v>42961</c:v>
                </c:pt>
                <c:pt idx="840">
                  <c:v>42962</c:v>
                </c:pt>
                <c:pt idx="841">
                  <c:v>42963</c:v>
                </c:pt>
                <c:pt idx="842">
                  <c:v>42964</c:v>
                </c:pt>
                <c:pt idx="843">
                  <c:v>42965</c:v>
                </c:pt>
                <c:pt idx="844">
                  <c:v>42968</c:v>
                </c:pt>
                <c:pt idx="845">
                  <c:v>42969</c:v>
                </c:pt>
                <c:pt idx="846">
                  <c:v>42970</c:v>
                </c:pt>
                <c:pt idx="847">
                  <c:v>42971</c:v>
                </c:pt>
                <c:pt idx="848">
                  <c:v>42972</c:v>
                </c:pt>
                <c:pt idx="849">
                  <c:v>42975</c:v>
                </c:pt>
                <c:pt idx="850">
                  <c:v>42976</c:v>
                </c:pt>
                <c:pt idx="851">
                  <c:v>42977</c:v>
                </c:pt>
                <c:pt idx="852">
                  <c:v>42978</c:v>
                </c:pt>
                <c:pt idx="853">
                  <c:v>42979</c:v>
                </c:pt>
                <c:pt idx="854">
                  <c:v>42982</c:v>
                </c:pt>
                <c:pt idx="855">
                  <c:v>42983</c:v>
                </c:pt>
                <c:pt idx="856">
                  <c:v>42984</c:v>
                </c:pt>
                <c:pt idx="857">
                  <c:v>42985</c:v>
                </c:pt>
                <c:pt idx="858">
                  <c:v>42986</c:v>
                </c:pt>
                <c:pt idx="859">
                  <c:v>42989</c:v>
                </c:pt>
                <c:pt idx="860">
                  <c:v>42990</c:v>
                </c:pt>
                <c:pt idx="861">
                  <c:v>42991</c:v>
                </c:pt>
                <c:pt idx="862">
                  <c:v>42992</c:v>
                </c:pt>
                <c:pt idx="863">
                  <c:v>42993</c:v>
                </c:pt>
                <c:pt idx="864">
                  <c:v>42996</c:v>
                </c:pt>
                <c:pt idx="865">
                  <c:v>42997</c:v>
                </c:pt>
                <c:pt idx="866">
                  <c:v>42998</c:v>
                </c:pt>
                <c:pt idx="867">
                  <c:v>42999</c:v>
                </c:pt>
                <c:pt idx="868">
                  <c:v>43000</c:v>
                </c:pt>
                <c:pt idx="869">
                  <c:v>43003</c:v>
                </c:pt>
                <c:pt idx="870">
                  <c:v>43004</c:v>
                </c:pt>
                <c:pt idx="871">
                  <c:v>43005</c:v>
                </c:pt>
                <c:pt idx="872">
                  <c:v>43006</c:v>
                </c:pt>
                <c:pt idx="873">
                  <c:v>43007</c:v>
                </c:pt>
                <c:pt idx="874">
                  <c:v>43010</c:v>
                </c:pt>
                <c:pt idx="875">
                  <c:v>43011</c:v>
                </c:pt>
                <c:pt idx="876">
                  <c:v>43012</c:v>
                </c:pt>
                <c:pt idx="877">
                  <c:v>43013</c:v>
                </c:pt>
                <c:pt idx="878">
                  <c:v>43014</c:v>
                </c:pt>
                <c:pt idx="879">
                  <c:v>43017</c:v>
                </c:pt>
                <c:pt idx="880">
                  <c:v>43018</c:v>
                </c:pt>
                <c:pt idx="881">
                  <c:v>43019</c:v>
                </c:pt>
                <c:pt idx="882">
                  <c:v>43020</c:v>
                </c:pt>
                <c:pt idx="883">
                  <c:v>43021</c:v>
                </c:pt>
                <c:pt idx="884">
                  <c:v>43024</c:v>
                </c:pt>
                <c:pt idx="885">
                  <c:v>43025</c:v>
                </c:pt>
                <c:pt idx="886">
                  <c:v>43026</c:v>
                </c:pt>
                <c:pt idx="887">
                  <c:v>43027</c:v>
                </c:pt>
                <c:pt idx="888">
                  <c:v>43028</c:v>
                </c:pt>
                <c:pt idx="889">
                  <c:v>43031</c:v>
                </c:pt>
                <c:pt idx="890">
                  <c:v>43032</c:v>
                </c:pt>
                <c:pt idx="891">
                  <c:v>43033</c:v>
                </c:pt>
                <c:pt idx="892">
                  <c:v>43034</c:v>
                </c:pt>
                <c:pt idx="893">
                  <c:v>43035</c:v>
                </c:pt>
                <c:pt idx="894">
                  <c:v>43038</c:v>
                </c:pt>
                <c:pt idx="895">
                  <c:v>43039</c:v>
                </c:pt>
                <c:pt idx="896">
                  <c:v>43040</c:v>
                </c:pt>
                <c:pt idx="897">
                  <c:v>43041</c:v>
                </c:pt>
                <c:pt idx="898">
                  <c:v>43042</c:v>
                </c:pt>
                <c:pt idx="899">
                  <c:v>43045</c:v>
                </c:pt>
                <c:pt idx="900">
                  <c:v>43046</c:v>
                </c:pt>
                <c:pt idx="901">
                  <c:v>43047</c:v>
                </c:pt>
                <c:pt idx="902">
                  <c:v>43048</c:v>
                </c:pt>
                <c:pt idx="903">
                  <c:v>43049</c:v>
                </c:pt>
                <c:pt idx="904">
                  <c:v>43052</c:v>
                </c:pt>
                <c:pt idx="905">
                  <c:v>43053</c:v>
                </c:pt>
                <c:pt idx="906">
                  <c:v>43054</c:v>
                </c:pt>
                <c:pt idx="907">
                  <c:v>43055</c:v>
                </c:pt>
                <c:pt idx="908">
                  <c:v>43056</c:v>
                </c:pt>
                <c:pt idx="909">
                  <c:v>43059</c:v>
                </c:pt>
                <c:pt idx="910">
                  <c:v>43060</c:v>
                </c:pt>
                <c:pt idx="911">
                  <c:v>43061</c:v>
                </c:pt>
                <c:pt idx="912">
                  <c:v>43062</c:v>
                </c:pt>
                <c:pt idx="913">
                  <c:v>43063</c:v>
                </c:pt>
                <c:pt idx="914">
                  <c:v>43066</c:v>
                </c:pt>
                <c:pt idx="915">
                  <c:v>43067</c:v>
                </c:pt>
                <c:pt idx="916">
                  <c:v>43068</c:v>
                </c:pt>
                <c:pt idx="917">
                  <c:v>43069</c:v>
                </c:pt>
                <c:pt idx="918">
                  <c:v>43070</c:v>
                </c:pt>
                <c:pt idx="919">
                  <c:v>43073</c:v>
                </c:pt>
                <c:pt idx="920">
                  <c:v>43074</c:v>
                </c:pt>
                <c:pt idx="921">
                  <c:v>43075</c:v>
                </c:pt>
                <c:pt idx="922">
                  <c:v>43076</c:v>
                </c:pt>
                <c:pt idx="923">
                  <c:v>43077</c:v>
                </c:pt>
                <c:pt idx="924">
                  <c:v>43080</c:v>
                </c:pt>
                <c:pt idx="925">
                  <c:v>43081</c:v>
                </c:pt>
                <c:pt idx="926">
                  <c:v>43082</c:v>
                </c:pt>
                <c:pt idx="927">
                  <c:v>43083</c:v>
                </c:pt>
                <c:pt idx="928">
                  <c:v>43084</c:v>
                </c:pt>
                <c:pt idx="929">
                  <c:v>43087</c:v>
                </c:pt>
                <c:pt idx="930">
                  <c:v>43088</c:v>
                </c:pt>
                <c:pt idx="931">
                  <c:v>43089</c:v>
                </c:pt>
                <c:pt idx="932">
                  <c:v>43090</c:v>
                </c:pt>
                <c:pt idx="933">
                  <c:v>43091</c:v>
                </c:pt>
                <c:pt idx="934">
                  <c:v>43094</c:v>
                </c:pt>
                <c:pt idx="935">
                  <c:v>43095</c:v>
                </c:pt>
                <c:pt idx="936">
                  <c:v>43096</c:v>
                </c:pt>
                <c:pt idx="937">
                  <c:v>43097</c:v>
                </c:pt>
                <c:pt idx="938">
                  <c:v>43098</c:v>
                </c:pt>
                <c:pt idx="939">
                  <c:v>43101</c:v>
                </c:pt>
                <c:pt idx="940">
                  <c:v>43102</c:v>
                </c:pt>
                <c:pt idx="941">
                  <c:v>43103</c:v>
                </c:pt>
                <c:pt idx="942">
                  <c:v>43104</c:v>
                </c:pt>
                <c:pt idx="943">
                  <c:v>43105</c:v>
                </c:pt>
                <c:pt idx="944">
                  <c:v>43108</c:v>
                </c:pt>
                <c:pt idx="945">
                  <c:v>43109</c:v>
                </c:pt>
                <c:pt idx="946">
                  <c:v>43110</c:v>
                </c:pt>
                <c:pt idx="947">
                  <c:v>43111</c:v>
                </c:pt>
                <c:pt idx="948">
                  <c:v>43112</c:v>
                </c:pt>
                <c:pt idx="949">
                  <c:v>43115</c:v>
                </c:pt>
                <c:pt idx="950">
                  <c:v>43116</c:v>
                </c:pt>
                <c:pt idx="951">
                  <c:v>43117</c:v>
                </c:pt>
                <c:pt idx="952">
                  <c:v>43118</c:v>
                </c:pt>
                <c:pt idx="953">
                  <c:v>43119</c:v>
                </c:pt>
                <c:pt idx="954">
                  <c:v>43122</c:v>
                </c:pt>
                <c:pt idx="955">
                  <c:v>43123</c:v>
                </c:pt>
                <c:pt idx="956">
                  <c:v>43124</c:v>
                </c:pt>
                <c:pt idx="957">
                  <c:v>43125</c:v>
                </c:pt>
                <c:pt idx="958">
                  <c:v>43126</c:v>
                </c:pt>
                <c:pt idx="959">
                  <c:v>43129</c:v>
                </c:pt>
                <c:pt idx="960">
                  <c:v>43130</c:v>
                </c:pt>
                <c:pt idx="961">
                  <c:v>43131</c:v>
                </c:pt>
              </c:numCache>
            </c:numRef>
          </c:cat>
          <c:val>
            <c:numRef>
              <c:f>'ETF GLOBAL SB USD'!$F$5:$F$966</c:f>
              <c:numCache>
                <c:formatCode>#,##0,\.000</c:formatCode>
                <c:ptCount val="962"/>
                <c:pt idx="0">
                  <c:v>100</c:v>
                </c:pt>
                <c:pt idx="1">
                  <c:v>99.924302665535365</c:v>
                </c:pt>
                <c:pt idx="2">
                  <c:v>100.34907155376945</c:v>
                </c:pt>
                <c:pt idx="3">
                  <c:v>100.46421830461219</c:v>
                </c:pt>
                <c:pt idx="4">
                  <c:v>100.59878466217972</c:v>
                </c:pt>
                <c:pt idx="5">
                  <c:v>100.51706121675443</c:v>
                </c:pt>
                <c:pt idx="6">
                  <c:v>100.64560943102707</c:v>
                </c:pt>
                <c:pt idx="7">
                  <c:v>101.11011757827195</c:v>
                </c:pt>
                <c:pt idx="8">
                  <c:v>101.6387891873328</c:v>
                </c:pt>
                <c:pt idx="9">
                  <c:v>101.72987148299492</c:v>
                </c:pt>
                <c:pt idx="10">
                  <c:v>101.69316730329521</c:v>
                </c:pt>
                <c:pt idx="11">
                  <c:v>101.47167416357865</c:v>
                </c:pt>
                <c:pt idx="12">
                  <c:v>101.14806381182618</c:v>
                </c:pt>
                <c:pt idx="13">
                  <c:v>101.24997972755239</c:v>
                </c:pt>
                <c:pt idx="14">
                  <c:v>101.23784572430733</c:v>
                </c:pt>
                <c:pt idx="15">
                  <c:v>101.34209962375962</c:v>
                </c:pt>
                <c:pt idx="16">
                  <c:v>101.87919531050017</c:v>
                </c:pt>
                <c:pt idx="17">
                  <c:v>102.50821726413729</c:v>
                </c:pt>
                <c:pt idx="18">
                  <c:v>102.45179596808092</c:v>
                </c:pt>
                <c:pt idx="19">
                  <c:v>102.38841469050668</c:v>
                </c:pt>
                <c:pt idx="20">
                  <c:v>101.8959129765415</c:v>
                </c:pt>
                <c:pt idx="21">
                  <c:v>101.92583441770257</c:v>
                </c:pt>
                <c:pt idx="22">
                  <c:v>101.8931672888632</c:v>
                </c:pt>
                <c:pt idx="23">
                  <c:v>102.10966199616533</c:v>
                </c:pt>
                <c:pt idx="24">
                  <c:v>102.2614448257158</c:v>
                </c:pt>
                <c:pt idx="25">
                  <c:v>102.93512133645453</c:v>
                </c:pt>
                <c:pt idx="26">
                  <c:v>103.06882072179032</c:v>
                </c:pt>
                <c:pt idx="27">
                  <c:v>103.49046087305763</c:v>
                </c:pt>
                <c:pt idx="28">
                  <c:v>103.4510535500079</c:v>
                </c:pt>
                <c:pt idx="29">
                  <c:v>102.94771099997952</c:v>
                </c:pt>
                <c:pt idx="30">
                  <c:v>102.18663821614682</c:v>
                </c:pt>
                <c:pt idx="31">
                  <c:v>102.45107677349851</c:v>
                </c:pt>
                <c:pt idx="32">
                  <c:v>101.77369785386023</c:v>
                </c:pt>
                <c:pt idx="33">
                  <c:v>101.86670907629637</c:v>
                </c:pt>
                <c:pt idx="34">
                  <c:v>102.51430831909032</c:v>
                </c:pt>
                <c:pt idx="35">
                  <c:v>102.18600005122155</c:v>
                </c:pt>
                <c:pt idx="36">
                  <c:v>102.78274484064028</c:v>
                </c:pt>
                <c:pt idx="37">
                  <c:v>101.8239386466407</c:v>
                </c:pt>
                <c:pt idx="38">
                  <c:v>102.36431295266377</c:v>
                </c:pt>
                <c:pt idx="39">
                  <c:v>102.12009723294275</c:v>
                </c:pt>
                <c:pt idx="40">
                  <c:v>102.74770530174551</c:v>
                </c:pt>
                <c:pt idx="41">
                  <c:v>102.94810983426612</c:v>
                </c:pt>
                <c:pt idx="42">
                  <c:v>103.07498378640156</c:v>
                </c:pt>
                <c:pt idx="43">
                  <c:v>102.6048632454809</c:v>
                </c:pt>
                <c:pt idx="44">
                  <c:v>102.60514481978123</c:v>
                </c:pt>
                <c:pt idx="45">
                  <c:v>102.37187832644408</c:v>
                </c:pt>
                <c:pt idx="46">
                  <c:v>102.14470694705946</c:v>
                </c:pt>
                <c:pt idx="47">
                  <c:v>100.62941808192404</c:v>
                </c:pt>
                <c:pt idx="48">
                  <c:v>100.12591031558169</c:v>
                </c:pt>
                <c:pt idx="49">
                  <c:v>100.38658061804155</c:v>
                </c:pt>
                <c:pt idx="50">
                  <c:v>99.690590283583788</c:v>
                </c:pt>
                <c:pt idx="51">
                  <c:v>99.424130494802213</c:v>
                </c:pt>
                <c:pt idx="52">
                  <c:v>98.938511491030667</c:v>
                </c:pt>
                <c:pt idx="53">
                  <c:v>99.284528873157925</c:v>
                </c:pt>
                <c:pt idx="54">
                  <c:v>99.939719046395851</c:v>
                </c:pt>
                <c:pt idx="55">
                  <c:v>99.810034312256391</c:v>
                </c:pt>
                <c:pt idx="56">
                  <c:v>100.40291072479496</c:v>
                </c:pt>
                <c:pt idx="57">
                  <c:v>100.8151439191644</c:v>
                </c:pt>
                <c:pt idx="58">
                  <c:v>100.73410524199224</c:v>
                </c:pt>
                <c:pt idx="59">
                  <c:v>101.51046256436753</c:v>
                </c:pt>
                <c:pt idx="60">
                  <c:v>101.97084045409635</c:v>
                </c:pt>
                <c:pt idx="61">
                  <c:v>102.04292663198406</c:v>
                </c:pt>
                <c:pt idx="62">
                  <c:v>102.40432175930967</c:v>
                </c:pt>
                <c:pt idx="63">
                  <c:v>102.06026081495317</c:v>
                </c:pt>
                <c:pt idx="64">
                  <c:v>102.61034680350511</c:v>
                </c:pt>
                <c:pt idx="65">
                  <c:v>102.84147420409289</c:v>
                </c:pt>
                <c:pt idx="66">
                  <c:v>102.9507701326211</c:v>
                </c:pt>
                <c:pt idx="67">
                  <c:v>102.58477630916762</c:v>
                </c:pt>
                <c:pt idx="68">
                  <c:v>102.84680893213454</c:v>
                </c:pt>
                <c:pt idx="69">
                  <c:v>102.8287020359226</c:v>
                </c:pt>
                <c:pt idx="70">
                  <c:v>102.76835568732612</c:v>
                </c:pt>
                <c:pt idx="71">
                  <c:v>103.07096567753899</c:v>
                </c:pt>
                <c:pt idx="72">
                  <c:v>102.87475769952673</c:v>
                </c:pt>
                <c:pt idx="73">
                  <c:v>102.99577045634886</c:v>
                </c:pt>
                <c:pt idx="74">
                  <c:v>102.63354684212031</c:v>
                </c:pt>
                <c:pt idx="75">
                  <c:v>101.98144586818717</c:v>
                </c:pt>
                <c:pt idx="76">
                  <c:v>102.14372707450761</c:v>
                </c:pt>
                <c:pt idx="77">
                  <c:v>102.22813336828523</c:v>
                </c:pt>
                <c:pt idx="78">
                  <c:v>101.78807498050915</c:v>
                </c:pt>
                <c:pt idx="79">
                  <c:v>101.63436457718451</c:v>
                </c:pt>
                <c:pt idx="80">
                  <c:v>101.96984645021278</c:v>
                </c:pt>
                <c:pt idx="81">
                  <c:v>102.13689442530811</c:v>
                </c:pt>
                <c:pt idx="82">
                  <c:v>102.57824552926608</c:v>
                </c:pt>
                <c:pt idx="83">
                  <c:v>102.43773363939515</c:v>
                </c:pt>
                <c:pt idx="84">
                  <c:v>101.62712407369948</c:v>
                </c:pt>
                <c:pt idx="85">
                  <c:v>101.03274192267062</c:v>
                </c:pt>
                <c:pt idx="86">
                  <c:v>101.47404973063368</c:v>
                </c:pt>
                <c:pt idx="87">
                  <c:v>100.26364179077841</c:v>
                </c:pt>
                <c:pt idx="88">
                  <c:v>100.6067084305847</c:v>
                </c:pt>
                <c:pt idx="89">
                  <c:v>100.27533937640791</c:v>
                </c:pt>
                <c:pt idx="90">
                  <c:v>100.05543285450548</c:v>
                </c:pt>
                <c:pt idx="91">
                  <c:v>98.929282829445242</c:v>
                </c:pt>
                <c:pt idx="92">
                  <c:v>98.27296876433897</c:v>
                </c:pt>
                <c:pt idx="93">
                  <c:v>98.705574227654921</c:v>
                </c:pt>
                <c:pt idx="94">
                  <c:v>98.973651001580393</c:v>
                </c:pt>
                <c:pt idx="95">
                  <c:v>97.886222478983512</c:v>
                </c:pt>
                <c:pt idx="96">
                  <c:v>98.613457638780631</c:v>
                </c:pt>
                <c:pt idx="97">
                  <c:v>97.407596229392695</c:v>
                </c:pt>
                <c:pt idx="98">
                  <c:v>95.864501112848373</c:v>
                </c:pt>
                <c:pt idx="99">
                  <c:v>95.096150242201716</c:v>
                </c:pt>
                <c:pt idx="100">
                  <c:v>94.927145979668921</c:v>
                </c:pt>
                <c:pt idx="101">
                  <c:v>94.016064750411189</c:v>
                </c:pt>
                <c:pt idx="102">
                  <c:v>93.863990725228192</c:v>
                </c:pt>
                <c:pt idx="103">
                  <c:v>95.099011987199759</c:v>
                </c:pt>
                <c:pt idx="104">
                  <c:v>95.836613080115754</c:v>
                </c:pt>
                <c:pt idx="105">
                  <c:v>97.316005356123483</c:v>
                </c:pt>
                <c:pt idx="106">
                  <c:v>97.089164559700151</c:v>
                </c:pt>
                <c:pt idx="107">
                  <c:v>97.853531747813562</c:v>
                </c:pt>
                <c:pt idx="108">
                  <c:v>98.320096454817502</c:v>
                </c:pt>
                <c:pt idx="109">
                  <c:v>98.258787522000475</c:v>
                </c:pt>
                <c:pt idx="110">
                  <c:v>99.303959905214739</c:v>
                </c:pt>
                <c:pt idx="111">
                  <c:v>99.415590209469457</c:v>
                </c:pt>
                <c:pt idx="112">
                  <c:v>99.589766238729652</c:v>
                </c:pt>
                <c:pt idx="113">
                  <c:v>100.70269204333928</c:v>
                </c:pt>
                <c:pt idx="114">
                  <c:v>100.17322171337202</c:v>
                </c:pt>
                <c:pt idx="115">
                  <c:v>100.12293131059738</c:v>
                </c:pt>
                <c:pt idx="116">
                  <c:v>100.62597199132779</c:v>
                </c:pt>
                <c:pt idx="117">
                  <c:v>100.71231472854521</c:v>
                </c:pt>
                <c:pt idx="118">
                  <c:v>100.70315461895174</c:v>
                </c:pt>
                <c:pt idx="119">
                  <c:v>101.15987565077565</c:v>
                </c:pt>
                <c:pt idx="120">
                  <c:v>101.29364238543688</c:v>
                </c:pt>
                <c:pt idx="121">
                  <c:v>101.20267825176089</c:v>
                </c:pt>
                <c:pt idx="122">
                  <c:v>101.28772045546401</c:v>
                </c:pt>
                <c:pt idx="123">
                  <c:v>101.35008367582418</c:v>
                </c:pt>
                <c:pt idx="124">
                  <c:v>101.22104161660943</c:v>
                </c:pt>
                <c:pt idx="125">
                  <c:v>102.01470470895721</c:v>
                </c:pt>
                <c:pt idx="126">
                  <c:v>101.81100171315637</c:v>
                </c:pt>
                <c:pt idx="127">
                  <c:v>101.86483351784945</c:v>
                </c:pt>
                <c:pt idx="128">
                  <c:v>102.56696887692061</c:v>
                </c:pt>
                <c:pt idx="129">
                  <c:v>102.73736718029008</c:v>
                </c:pt>
                <c:pt idx="130">
                  <c:v>102.90465583902386</c:v>
                </c:pt>
                <c:pt idx="131">
                  <c:v>103.21977837177076</c:v>
                </c:pt>
                <c:pt idx="132">
                  <c:v>103.0265510524093</c:v>
                </c:pt>
                <c:pt idx="133">
                  <c:v>102.72086734722319</c:v>
                </c:pt>
                <c:pt idx="134">
                  <c:v>102.15736426057653</c:v>
                </c:pt>
                <c:pt idx="135">
                  <c:v>102.52130347860408</c:v>
                </c:pt>
                <c:pt idx="136">
                  <c:v>102.75271651249173</c:v>
                </c:pt>
                <c:pt idx="137">
                  <c:v>102.5725593219323</c:v>
                </c:pt>
                <c:pt idx="138">
                  <c:v>102.68583833166052</c:v>
                </c:pt>
                <c:pt idx="139">
                  <c:v>101.98135010586502</c:v>
                </c:pt>
                <c:pt idx="140">
                  <c:v>101.71634554357965</c:v>
                </c:pt>
                <c:pt idx="141">
                  <c:v>100.32972335536962</c:v>
                </c:pt>
                <c:pt idx="142">
                  <c:v>100.38170560927936</c:v>
                </c:pt>
                <c:pt idx="143">
                  <c:v>98.964546214647115</c:v>
                </c:pt>
                <c:pt idx="144">
                  <c:v>97.760351701063868</c:v>
                </c:pt>
                <c:pt idx="145">
                  <c:v>97.81792184431896</c:v>
                </c:pt>
                <c:pt idx="146">
                  <c:v>98.817571345200022</c:v>
                </c:pt>
                <c:pt idx="147">
                  <c:v>100.82448247440364</c:v>
                </c:pt>
                <c:pt idx="148">
                  <c:v>101.45687880964542</c:v>
                </c:pt>
                <c:pt idx="149">
                  <c:v>101.83276952627271</c:v>
                </c:pt>
                <c:pt idx="150">
                  <c:v>101.88492842182846</c:v>
                </c:pt>
                <c:pt idx="151">
                  <c:v>102.01271023685754</c:v>
                </c:pt>
                <c:pt idx="152">
                  <c:v>101.98673218890113</c:v>
                </c:pt>
                <c:pt idx="153">
                  <c:v>102.20972745910832</c:v>
                </c:pt>
                <c:pt idx="154">
                  <c:v>102.36145150833235</c:v>
                </c:pt>
                <c:pt idx="155">
                  <c:v>101.73473551742505</c:v>
                </c:pt>
                <c:pt idx="156">
                  <c:v>101.06448164528534</c:v>
                </c:pt>
                <c:pt idx="157">
                  <c:v>101.06496601922859</c:v>
                </c:pt>
                <c:pt idx="158">
                  <c:v>100.78047194522659</c:v>
                </c:pt>
                <c:pt idx="159">
                  <c:v>98.805116229992578</c:v>
                </c:pt>
                <c:pt idx="160">
                  <c:v>97.807708198848914</c:v>
                </c:pt>
                <c:pt idx="161">
                  <c:v>98.2836911377494</c:v>
                </c:pt>
                <c:pt idx="162">
                  <c:v>100.17492468917249</c:v>
                </c:pt>
                <c:pt idx="163">
                  <c:v>99.561923005325099</c:v>
                </c:pt>
                <c:pt idx="164">
                  <c:v>99.143032300069009</c:v>
                </c:pt>
                <c:pt idx="165">
                  <c:v>99.235362662918249</c:v>
                </c:pt>
                <c:pt idx="166">
                  <c:v>98.478926008209044</c:v>
                </c:pt>
                <c:pt idx="167">
                  <c:v>98.310316971963275</c:v>
                </c:pt>
                <c:pt idx="168">
                  <c:v>99.063101429100371</c:v>
                </c:pt>
                <c:pt idx="169">
                  <c:v>99.46186881738079</c:v>
                </c:pt>
                <c:pt idx="170">
                  <c:v>99.663181363128345</c:v>
                </c:pt>
                <c:pt idx="171">
                  <c:v>100.20447676137685</c:v>
                </c:pt>
                <c:pt idx="172">
                  <c:v>101.16342727535954</c:v>
                </c:pt>
                <c:pt idx="173">
                  <c:v>101.00192900494733</c:v>
                </c:pt>
                <c:pt idx="174">
                  <c:v>101.28712107653423</c:v>
                </c:pt>
                <c:pt idx="175">
                  <c:v>100.87586685271678</c:v>
                </c:pt>
                <c:pt idx="176">
                  <c:v>99.917408229343124</c:v>
                </c:pt>
                <c:pt idx="177">
                  <c:v>100.19489977749889</c:v>
                </c:pt>
                <c:pt idx="178">
                  <c:v>99.233227929835024</c:v>
                </c:pt>
                <c:pt idx="179">
                  <c:v>100.22891208884732</c:v>
                </c:pt>
                <c:pt idx="180">
                  <c:v>101.4647997217174</c:v>
                </c:pt>
                <c:pt idx="181">
                  <c:v>101.47141363594253</c:v>
                </c:pt>
                <c:pt idx="182">
                  <c:v>102.21818776711713</c:v>
                </c:pt>
                <c:pt idx="183">
                  <c:v>101.81834038429658</c:v>
                </c:pt>
                <c:pt idx="184">
                  <c:v>101.44662307084698</c:v>
                </c:pt>
                <c:pt idx="185">
                  <c:v>102.13637848136857</c:v>
                </c:pt>
                <c:pt idx="186">
                  <c:v>101.90104986593967</c:v>
                </c:pt>
                <c:pt idx="187">
                  <c:v>103.08838975983092</c:v>
                </c:pt>
                <c:pt idx="188">
                  <c:v>103.74169219762335</c:v>
                </c:pt>
                <c:pt idx="189">
                  <c:v>103.78544159783101</c:v>
                </c:pt>
                <c:pt idx="190">
                  <c:v>103.91143414573638</c:v>
                </c:pt>
                <c:pt idx="191">
                  <c:v>104.16659383017522</c:v>
                </c:pt>
                <c:pt idx="192">
                  <c:v>104.29173970084645</c:v>
                </c:pt>
                <c:pt idx="193">
                  <c:v>104.72872933464873</c:v>
                </c:pt>
                <c:pt idx="194">
                  <c:v>104.86463997272546</c:v>
                </c:pt>
                <c:pt idx="195">
                  <c:v>105.14179131658774</c:v>
                </c:pt>
                <c:pt idx="196">
                  <c:v>105.27164697970719</c:v>
                </c:pt>
                <c:pt idx="197">
                  <c:v>105.11270151932921</c:v>
                </c:pt>
                <c:pt idx="198">
                  <c:v>105.04716701767391</c:v>
                </c:pt>
                <c:pt idx="199">
                  <c:v>105.27624838183473</c:v>
                </c:pt>
                <c:pt idx="200">
                  <c:v>104.81213034954415</c:v>
                </c:pt>
                <c:pt idx="201">
                  <c:v>104.36915895310935</c:v>
                </c:pt>
                <c:pt idx="202">
                  <c:v>104.5683934414337</c:v>
                </c:pt>
                <c:pt idx="203">
                  <c:v>103.28573335571014</c:v>
                </c:pt>
                <c:pt idx="204">
                  <c:v>103.28218443712593</c:v>
                </c:pt>
                <c:pt idx="205">
                  <c:v>101.55067807932257</c:v>
                </c:pt>
                <c:pt idx="206">
                  <c:v>101.46147074077409</c:v>
                </c:pt>
                <c:pt idx="207">
                  <c:v>102.54064761800441</c:v>
                </c:pt>
                <c:pt idx="208">
                  <c:v>102.0200188413346</c:v>
                </c:pt>
                <c:pt idx="209">
                  <c:v>103.22637680166436</c:v>
                </c:pt>
                <c:pt idx="210">
                  <c:v>103.02183915529466</c:v>
                </c:pt>
                <c:pt idx="211">
                  <c:v>104.06356379424622</c:v>
                </c:pt>
                <c:pt idx="212">
                  <c:v>103.91152765305876</c:v>
                </c:pt>
                <c:pt idx="213">
                  <c:v>105.30075211096388</c:v>
                </c:pt>
                <c:pt idx="214">
                  <c:v>105.50960221882835</c:v>
                </c:pt>
                <c:pt idx="215">
                  <c:v>105.18296595809704</c:v>
                </c:pt>
                <c:pt idx="216">
                  <c:v>104.24046190885417</c:v>
                </c:pt>
                <c:pt idx="217">
                  <c:v>103.56416508842243</c:v>
                </c:pt>
                <c:pt idx="218">
                  <c:v>103.63294859369709</c:v>
                </c:pt>
                <c:pt idx="219">
                  <c:v>104.37903870828515</c:v>
                </c:pt>
                <c:pt idx="220">
                  <c:v>103.40280617699389</c:v>
                </c:pt>
                <c:pt idx="221">
                  <c:v>103.25095930545093</c:v>
                </c:pt>
                <c:pt idx="222">
                  <c:v>103.93140036439715</c:v>
                </c:pt>
                <c:pt idx="223">
                  <c:v>103.98570722236788</c:v>
                </c:pt>
                <c:pt idx="224">
                  <c:v>104.83157370893284</c:v>
                </c:pt>
                <c:pt idx="225">
                  <c:v>104.82764098939359</c:v>
                </c:pt>
                <c:pt idx="226">
                  <c:v>104.97630951397558</c:v>
                </c:pt>
                <c:pt idx="227">
                  <c:v>105.30348592231027</c:v>
                </c:pt>
                <c:pt idx="228">
                  <c:v>105.75884313029395</c:v>
                </c:pt>
                <c:pt idx="229">
                  <c:v>105.32377971726596</c:v>
                </c:pt>
                <c:pt idx="230">
                  <c:v>105.78685052767926</c:v>
                </c:pt>
                <c:pt idx="231">
                  <c:v>106.02553653704814</c:v>
                </c:pt>
                <c:pt idx="232">
                  <c:v>106.20039748489476</c:v>
                </c:pt>
                <c:pt idx="233">
                  <c:v>105.16205790121332</c:v>
                </c:pt>
                <c:pt idx="234">
                  <c:v>105.78142695264803</c:v>
                </c:pt>
                <c:pt idx="235">
                  <c:v>105.95719726672144</c:v>
                </c:pt>
                <c:pt idx="236">
                  <c:v>106.24685724445155</c:v>
                </c:pt>
                <c:pt idx="237">
                  <c:v>106.60202255917372</c:v>
                </c:pt>
                <c:pt idx="238">
                  <c:v>107.0609755897361</c:v>
                </c:pt>
                <c:pt idx="239">
                  <c:v>107.16688315566132</c:v>
                </c:pt>
                <c:pt idx="240">
                  <c:v>107.28193203951551</c:v>
                </c:pt>
                <c:pt idx="241">
                  <c:v>106.84477057473336</c:v>
                </c:pt>
                <c:pt idx="242">
                  <c:v>105.82786927354017</c:v>
                </c:pt>
                <c:pt idx="243">
                  <c:v>106.36404071105568</c:v>
                </c:pt>
                <c:pt idx="244">
                  <c:v>106.58680536995658</c:v>
                </c:pt>
                <c:pt idx="245">
                  <c:v>105.56356451283946</c:v>
                </c:pt>
                <c:pt idx="246">
                  <c:v>105.5486380682549</c:v>
                </c:pt>
                <c:pt idx="247">
                  <c:v>105.36792975576002</c:v>
                </c:pt>
                <c:pt idx="248">
                  <c:v>106.89826443013268</c:v>
                </c:pt>
                <c:pt idx="249">
                  <c:v>106.59573862657659</c:v>
                </c:pt>
                <c:pt idx="250">
                  <c:v>106.36009025218516</c:v>
                </c:pt>
                <c:pt idx="251">
                  <c:v>106.68506593111103</c:v>
                </c:pt>
                <c:pt idx="252">
                  <c:v>107.51344745039117</c:v>
                </c:pt>
                <c:pt idx="253">
                  <c:v>107.74322515847041</c:v>
                </c:pt>
                <c:pt idx="254">
                  <c:v>107.86176703691537</c:v>
                </c:pt>
                <c:pt idx="255">
                  <c:v>107.57602188905994</c:v>
                </c:pt>
                <c:pt idx="256">
                  <c:v>107.59947283397911</c:v>
                </c:pt>
                <c:pt idx="257">
                  <c:v>108.0270389742188</c:v>
                </c:pt>
                <c:pt idx="258">
                  <c:v>107.60096774847064</c:v>
                </c:pt>
                <c:pt idx="259">
                  <c:v>107.62061706450183</c:v>
                </c:pt>
                <c:pt idx="260">
                  <c:v>106.27222584114602</c:v>
                </c:pt>
                <c:pt idx="261">
                  <c:v>107.02528886591718</c:v>
                </c:pt>
                <c:pt idx="262">
                  <c:v>106.90954138314481</c:v>
                </c:pt>
                <c:pt idx="263">
                  <c:v>106.19241583816323</c:v>
                </c:pt>
                <c:pt idx="264">
                  <c:v>106.1388731244363</c:v>
                </c:pt>
                <c:pt idx="265">
                  <c:v>106.38944749241234</c:v>
                </c:pt>
                <c:pt idx="266">
                  <c:v>106.84803506268423</c:v>
                </c:pt>
                <c:pt idx="267">
                  <c:v>105.99304980818762</c:v>
                </c:pt>
                <c:pt idx="268">
                  <c:v>105.0996247758613</c:v>
                </c:pt>
                <c:pt idx="269">
                  <c:v>104.62052422465939</c:v>
                </c:pt>
                <c:pt idx="270">
                  <c:v>104.58941409797092</c:v>
                </c:pt>
                <c:pt idx="271">
                  <c:v>106.09160502264091</c:v>
                </c:pt>
                <c:pt idx="272">
                  <c:v>106.27889056803185</c:v>
                </c:pt>
                <c:pt idx="273">
                  <c:v>105.72830216553879</c:v>
                </c:pt>
                <c:pt idx="274">
                  <c:v>104.9480826299493</c:v>
                </c:pt>
                <c:pt idx="275">
                  <c:v>105.34256055773228</c:v>
                </c:pt>
                <c:pt idx="276">
                  <c:v>105.25044006019178</c:v>
                </c:pt>
                <c:pt idx="277">
                  <c:v>106.36556193387743</c:v>
                </c:pt>
                <c:pt idx="278">
                  <c:v>106.02296388301622</c:v>
                </c:pt>
                <c:pt idx="279">
                  <c:v>107.29679985410694</c:v>
                </c:pt>
                <c:pt idx="280">
                  <c:v>107.2929628968898</c:v>
                </c:pt>
                <c:pt idx="281">
                  <c:v>106.68019422968177</c:v>
                </c:pt>
                <c:pt idx="282">
                  <c:v>106.43598181729371</c:v>
                </c:pt>
                <c:pt idx="283">
                  <c:v>106.14292220196191</c:v>
                </c:pt>
                <c:pt idx="284">
                  <c:v>103.83955512715772</c:v>
                </c:pt>
                <c:pt idx="285">
                  <c:v>103.72319774212349</c:v>
                </c:pt>
                <c:pt idx="286">
                  <c:v>104.42549350684251</c:v>
                </c:pt>
                <c:pt idx="287">
                  <c:v>104.43472773076064</c:v>
                </c:pt>
                <c:pt idx="288">
                  <c:v>104.271918854502</c:v>
                </c:pt>
                <c:pt idx="289">
                  <c:v>103.36901981661897</c:v>
                </c:pt>
                <c:pt idx="290">
                  <c:v>103.09886167793738</c:v>
                </c:pt>
                <c:pt idx="291">
                  <c:v>102.03136254233888</c:v>
                </c:pt>
                <c:pt idx="292">
                  <c:v>102.66614662163427</c:v>
                </c:pt>
                <c:pt idx="293">
                  <c:v>104.21170705422307</c:v>
                </c:pt>
                <c:pt idx="294">
                  <c:v>105.13391069384437</c:v>
                </c:pt>
                <c:pt idx="295">
                  <c:v>105.7754430853491</c:v>
                </c:pt>
                <c:pt idx="296">
                  <c:v>105.69932286326733</c:v>
                </c:pt>
                <c:pt idx="297">
                  <c:v>106.52663280667305</c:v>
                </c:pt>
                <c:pt idx="298">
                  <c:v>106.46188199259257</c:v>
                </c:pt>
                <c:pt idx="299">
                  <c:v>106.5443563529299</c:v>
                </c:pt>
                <c:pt idx="300">
                  <c:v>106.28726172838441</c:v>
                </c:pt>
                <c:pt idx="301">
                  <c:v>105.62035202085289</c:v>
                </c:pt>
                <c:pt idx="302">
                  <c:v>105.39838352719207</c:v>
                </c:pt>
                <c:pt idx="303">
                  <c:v>104.36472066262934</c:v>
                </c:pt>
                <c:pt idx="304">
                  <c:v>103.65336761630479</c:v>
                </c:pt>
                <c:pt idx="305">
                  <c:v>104.4598493298174</c:v>
                </c:pt>
                <c:pt idx="306">
                  <c:v>105.28291250738731</c:v>
                </c:pt>
                <c:pt idx="307">
                  <c:v>105.23389377413035</c:v>
                </c:pt>
                <c:pt idx="308">
                  <c:v>105.58502955465794</c:v>
                </c:pt>
                <c:pt idx="309">
                  <c:v>105.32301226568923</c:v>
                </c:pt>
                <c:pt idx="310">
                  <c:v>105.18608687773138</c:v>
                </c:pt>
                <c:pt idx="311">
                  <c:v>105.43441947530341</c:v>
                </c:pt>
                <c:pt idx="312">
                  <c:v>104.85699236662145</c:v>
                </c:pt>
                <c:pt idx="313">
                  <c:v>104.54225393549621</c:v>
                </c:pt>
                <c:pt idx="314">
                  <c:v>105.6970914658621</c:v>
                </c:pt>
                <c:pt idx="315">
                  <c:v>104.69068778977235</c:v>
                </c:pt>
                <c:pt idx="316">
                  <c:v>104.27202649315606</c:v>
                </c:pt>
                <c:pt idx="317">
                  <c:v>104.26417924440877</c:v>
                </c:pt>
                <c:pt idx="318">
                  <c:v>104.41308123663006</c:v>
                </c:pt>
                <c:pt idx="319">
                  <c:v>104.73325121045229</c:v>
                </c:pt>
                <c:pt idx="320">
                  <c:v>104.45870935228427</c:v>
                </c:pt>
                <c:pt idx="321">
                  <c:v>103.37197642193925</c:v>
                </c:pt>
                <c:pt idx="322">
                  <c:v>101.65746584681132</c:v>
                </c:pt>
                <c:pt idx="323">
                  <c:v>98.892626606073193</c:v>
                </c:pt>
                <c:pt idx="324">
                  <c:v>95.213272974146278</c:v>
                </c:pt>
                <c:pt idx="325">
                  <c:v>94.882766231868459</c:v>
                </c:pt>
                <c:pt idx="326">
                  <c:v>96.843309455171195</c:v>
                </c:pt>
                <c:pt idx="327">
                  <c:v>98.892250923117217</c:v>
                </c:pt>
                <c:pt idx="328">
                  <c:v>99.349521723876705</c:v>
                </c:pt>
                <c:pt idx="329">
                  <c:v>98.597982778260345</c:v>
                </c:pt>
                <c:pt idx="330">
                  <c:v>95.921539376832442</c:v>
                </c:pt>
                <c:pt idx="331">
                  <c:v>96.827198684725403</c:v>
                </c:pt>
                <c:pt idx="332">
                  <c:v>97.266503902589733</c:v>
                </c:pt>
                <c:pt idx="333">
                  <c:v>95.638497823326929</c:v>
                </c:pt>
                <c:pt idx="334">
                  <c:v>95.817046748074802</c:v>
                </c:pt>
                <c:pt idx="335">
                  <c:v>97.527088214393004</c:v>
                </c:pt>
                <c:pt idx="336">
                  <c:v>97.605383909886555</c:v>
                </c:pt>
                <c:pt idx="337">
                  <c:v>97.450644625349156</c:v>
                </c:pt>
                <c:pt idx="338">
                  <c:v>97.559250072958264</c:v>
                </c:pt>
                <c:pt idx="339">
                  <c:v>97.15964818444229</c:v>
                </c:pt>
                <c:pt idx="340">
                  <c:v>97.984487249470817</c:v>
                </c:pt>
                <c:pt idx="341">
                  <c:v>99.173728859805919</c:v>
                </c:pt>
                <c:pt idx="342">
                  <c:v>99.125578301447248</c:v>
                </c:pt>
                <c:pt idx="343">
                  <c:v>97.79769419602215</c:v>
                </c:pt>
                <c:pt idx="344">
                  <c:v>97.695387714341706</c:v>
                </c:pt>
                <c:pt idx="345">
                  <c:v>96.008350702994974</c:v>
                </c:pt>
                <c:pt idx="346">
                  <c:v>95.765602988101961</c:v>
                </c:pt>
                <c:pt idx="347">
                  <c:v>95.210786010104314</c:v>
                </c:pt>
                <c:pt idx="348">
                  <c:v>95.650246371950473</c:v>
                </c:pt>
                <c:pt idx="349">
                  <c:v>93.642879281800262</c:v>
                </c:pt>
                <c:pt idx="350">
                  <c:v>93.068475977430694</c:v>
                </c:pt>
                <c:pt idx="351">
                  <c:v>94.96126322367175</c:v>
                </c:pt>
                <c:pt idx="352">
                  <c:v>95.329442292202543</c:v>
                </c:pt>
                <c:pt idx="353">
                  <c:v>96.485803601056588</c:v>
                </c:pt>
                <c:pt idx="354">
                  <c:v>98.310822091904086</c:v>
                </c:pt>
                <c:pt idx="355">
                  <c:v>98.521778219188477</c:v>
                </c:pt>
                <c:pt idx="356">
                  <c:v>99.285760253346993</c:v>
                </c:pt>
                <c:pt idx="357">
                  <c:v>99.897256499370755</c:v>
                </c:pt>
                <c:pt idx="358">
                  <c:v>100.51116063411243</c:v>
                </c:pt>
                <c:pt idx="359">
                  <c:v>100.54832137609199</c:v>
                </c:pt>
                <c:pt idx="360">
                  <c:v>99.754387834109252</c:v>
                </c:pt>
                <c:pt idx="361">
                  <c:v>99.273107149162769</c:v>
                </c:pt>
                <c:pt idx="362">
                  <c:v>100.64170181715156</c:v>
                </c:pt>
                <c:pt idx="363">
                  <c:v>101.10918430904799</c:v>
                </c:pt>
                <c:pt idx="364">
                  <c:v>100.89186231750942</c:v>
                </c:pt>
                <c:pt idx="365">
                  <c:v>100.74913150789844</c:v>
                </c:pt>
                <c:pt idx="366">
                  <c:v>100.47491151335939</c:v>
                </c:pt>
                <c:pt idx="367">
                  <c:v>101.4776656978767</c:v>
                </c:pt>
                <c:pt idx="368">
                  <c:v>102.51615531420725</c:v>
                </c:pt>
                <c:pt idx="369">
                  <c:v>102.41873872428724</c:v>
                </c:pt>
                <c:pt idx="370">
                  <c:v>101.89420022907549</c:v>
                </c:pt>
                <c:pt idx="371">
                  <c:v>102.97394732057235</c:v>
                </c:pt>
                <c:pt idx="372">
                  <c:v>102.53433918107685</c:v>
                </c:pt>
                <c:pt idx="373">
                  <c:v>102.48638465736187</c:v>
                </c:pt>
                <c:pt idx="374">
                  <c:v>103.05056800226214</c:v>
                </c:pt>
                <c:pt idx="375">
                  <c:v>103.18562159010591</c:v>
                </c:pt>
                <c:pt idx="376">
                  <c:v>102.98862496351937</c:v>
                </c:pt>
                <c:pt idx="377">
                  <c:v>102.82362618185064</c:v>
                </c:pt>
                <c:pt idx="378">
                  <c:v>102.45056097989229</c:v>
                </c:pt>
                <c:pt idx="379">
                  <c:v>101.69435884515559</c:v>
                </c:pt>
                <c:pt idx="380">
                  <c:v>101.63998914785888</c:v>
                </c:pt>
                <c:pt idx="381">
                  <c:v>101.72892919377199</c:v>
                </c:pt>
                <c:pt idx="382">
                  <c:v>100.52819324845021</c:v>
                </c:pt>
                <c:pt idx="383">
                  <c:v>99.495033850161846</c:v>
                </c:pt>
                <c:pt idx="384">
                  <c:v>100.29653517125794</c:v>
                </c:pt>
                <c:pt idx="385">
                  <c:v>100.82608803421553</c:v>
                </c:pt>
                <c:pt idx="386">
                  <c:v>101.75926299921809</c:v>
                </c:pt>
                <c:pt idx="387">
                  <c:v>102.31166802949832</c:v>
                </c:pt>
                <c:pt idx="388">
                  <c:v>102.45622358489553</c:v>
                </c:pt>
                <c:pt idx="389">
                  <c:v>102.12684359081901</c:v>
                </c:pt>
                <c:pt idx="390">
                  <c:v>102.01836637752821</c:v>
                </c:pt>
                <c:pt idx="391">
                  <c:v>102.16641673151594</c:v>
                </c:pt>
                <c:pt idx="392">
                  <c:v>102.53283554725301</c:v>
                </c:pt>
                <c:pt idx="393">
                  <c:v>102.32892028081038</c:v>
                </c:pt>
                <c:pt idx="394">
                  <c:v>101.97644878877259</c:v>
                </c:pt>
                <c:pt idx="395">
                  <c:v>102.92715577538777</c:v>
                </c:pt>
                <c:pt idx="396">
                  <c:v>102.10131083014377</c:v>
                </c:pt>
                <c:pt idx="397">
                  <c:v>101.02086002839606</c:v>
                </c:pt>
                <c:pt idx="398">
                  <c:v>102.01734230698152</c:v>
                </c:pt>
                <c:pt idx="399">
                  <c:v>101.52768069001694</c:v>
                </c:pt>
                <c:pt idx="400">
                  <c:v>100.5752068359421</c:v>
                </c:pt>
                <c:pt idx="401">
                  <c:v>100.19932889764662</c:v>
                </c:pt>
                <c:pt idx="402">
                  <c:v>100.17579722373694</c:v>
                </c:pt>
                <c:pt idx="403">
                  <c:v>98.615171137913222</c:v>
                </c:pt>
                <c:pt idx="404">
                  <c:v>98.283926559721834</c:v>
                </c:pt>
                <c:pt idx="405">
                  <c:v>99.152869510916489</c:v>
                </c:pt>
                <c:pt idx="406">
                  <c:v>100.48365459833504</c:v>
                </c:pt>
                <c:pt idx="407">
                  <c:v>99.677124627828078</c:v>
                </c:pt>
                <c:pt idx="408">
                  <c:v>98.3850024128798</c:v>
                </c:pt>
                <c:pt idx="409">
                  <c:v>98.705002359721945</c:v>
                </c:pt>
                <c:pt idx="410">
                  <c:v>99.38717390546536</c:v>
                </c:pt>
                <c:pt idx="411">
                  <c:v>100.67607492845771</c:v>
                </c:pt>
                <c:pt idx="412">
                  <c:v>100.82854192492803</c:v>
                </c:pt>
                <c:pt idx="413">
                  <c:v>100.78646468219115</c:v>
                </c:pt>
                <c:pt idx="414">
                  <c:v>100.62097641524642</c:v>
                </c:pt>
                <c:pt idx="415">
                  <c:v>101.55321194735902</c:v>
                </c:pt>
                <c:pt idx="416">
                  <c:v>101.00357124608827</c:v>
                </c:pt>
                <c:pt idx="417">
                  <c:v>100.18396889177954</c:v>
                </c:pt>
                <c:pt idx="418">
                  <c:v>100.18396889177954</c:v>
                </c:pt>
                <c:pt idx="419">
                  <c:v>98.271099219224681</c:v>
                </c:pt>
                <c:pt idx="420">
                  <c:v>98.2565472549296</c:v>
                </c:pt>
                <c:pt idx="421">
                  <c:v>97.03812474534665</c:v>
                </c:pt>
                <c:pt idx="422">
                  <c:v>95.000359507091218</c:v>
                </c:pt>
                <c:pt idx="423">
                  <c:v>94.105955203546287</c:v>
                </c:pt>
                <c:pt idx="424">
                  <c:v>93.872311674253311</c:v>
                </c:pt>
                <c:pt idx="425">
                  <c:v>94.121050472444395</c:v>
                </c:pt>
                <c:pt idx="426">
                  <c:v>93.077096841420669</c:v>
                </c:pt>
                <c:pt idx="427">
                  <c:v>93.36599177290708</c:v>
                </c:pt>
                <c:pt idx="428">
                  <c:v>91.676621438167032</c:v>
                </c:pt>
                <c:pt idx="429">
                  <c:v>91.257906923556959</c:v>
                </c:pt>
                <c:pt idx="430">
                  <c:v>91.646591005352064</c:v>
                </c:pt>
                <c:pt idx="431">
                  <c:v>89.918523672479097</c:v>
                </c:pt>
                <c:pt idx="432">
                  <c:v>90.292808829294529</c:v>
                </c:pt>
                <c:pt idx="433">
                  <c:v>92.641035215176331</c:v>
                </c:pt>
                <c:pt idx="434">
                  <c:v>91.698401428281954</c:v>
                </c:pt>
                <c:pt idx="435">
                  <c:v>92.579606617039957</c:v>
                </c:pt>
                <c:pt idx="436">
                  <c:v>92.327732467216208</c:v>
                </c:pt>
                <c:pt idx="437">
                  <c:v>92.411485111737065</c:v>
                </c:pt>
                <c:pt idx="438">
                  <c:v>94.190545054302405</c:v>
                </c:pt>
                <c:pt idx="439">
                  <c:v>94.461130440267297</c:v>
                </c:pt>
                <c:pt idx="440">
                  <c:v>92.796319157316589</c:v>
                </c:pt>
                <c:pt idx="441">
                  <c:v>92.926078306447351</c:v>
                </c:pt>
                <c:pt idx="442">
                  <c:v>93.421654938052242</c:v>
                </c:pt>
                <c:pt idx="443">
                  <c:v>91.916475838065693</c:v>
                </c:pt>
                <c:pt idx="444">
                  <c:v>90.392513943279738</c:v>
                </c:pt>
                <c:pt idx="445">
                  <c:v>89.796826598403797</c:v>
                </c:pt>
                <c:pt idx="446">
                  <c:v>89.702392170467732</c:v>
                </c:pt>
                <c:pt idx="447">
                  <c:v>88.640569470537557</c:v>
                </c:pt>
                <c:pt idx="448">
                  <c:v>89.704346804238739</c:v>
                </c:pt>
                <c:pt idx="449">
                  <c:v>90.761186105086111</c:v>
                </c:pt>
                <c:pt idx="450">
                  <c:v>91.74534330678226</c:v>
                </c:pt>
                <c:pt idx="451">
                  <c:v>93.222770425686889</c:v>
                </c:pt>
                <c:pt idx="452">
                  <c:v>93.204263342188526</c:v>
                </c:pt>
                <c:pt idx="453">
                  <c:v>92.888603818837851</c:v>
                </c:pt>
                <c:pt idx="454">
                  <c:v>94.090042422077289</c:v>
                </c:pt>
                <c:pt idx="455">
                  <c:v>93.048320338792124</c:v>
                </c:pt>
                <c:pt idx="456">
                  <c:v>92.689084148213567</c:v>
                </c:pt>
                <c:pt idx="457">
                  <c:v>93.881132180886567</c:v>
                </c:pt>
                <c:pt idx="458">
                  <c:v>93.921628969475279</c:v>
                </c:pt>
                <c:pt idx="459">
                  <c:v>93.48952396576739</c:v>
                </c:pt>
                <c:pt idx="460">
                  <c:v>95.190972530092324</c:v>
                </c:pt>
                <c:pt idx="461">
                  <c:v>95.972601891516646</c:v>
                </c:pt>
                <c:pt idx="462">
                  <c:v>96.618343615861534</c:v>
                </c:pt>
                <c:pt idx="463">
                  <c:v>97.20891090867066</c:v>
                </c:pt>
                <c:pt idx="464">
                  <c:v>97.188772558363397</c:v>
                </c:pt>
                <c:pt idx="465">
                  <c:v>96.353980074834368</c:v>
                </c:pt>
                <c:pt idx="466">
                  <c:v>96.652807378157092</c:v>
                </c:pt>
                <c:pt idx="467">
                  <c:v>96.582178230765336</c:v>
                </c:pt>
                <c:pt idx="468">
                  <c:v>98.354031795508305</c:v>
                </c:pt>
                <c:pt idx="469">
                  <c:v>98.437269548422847</c:v>
                </c:pt>
                <c:pt idx="470">
                  <c:v>97.934100182374166</c:v>
                </c:pt>
                <c:pt idx="471">
                  <c:v>98.079600732993981</c:v>
                </c:pt>
                <c:pt idx="472">
                  <c:v>99.395553183816986</c:v>
                </c:pt>
                <c:pt idx="473">
                  <c:v>99.558861617683775</c:v>
                </c:pt>
                <c:pt idx="474">
                  <c:v>99.45434388326241</c:v>
                </c:pt>
                <c:pt idx="475">
                  <c:v>99.455209502494327</c:v>
                </c:pt>
                <c:pt idx="476">
                  <c:v>98.717036992645276</c:v>
                </c:pt>
                <c:pt idx="477">
                  <c:v>98.175466785095651</c:v>
                </c:pt>
                <c:pt idx="478">
                  <c:v>98.266272768123486</c:v>
                </c:pt>
                <c:pt idx="479">
                  <c:v>98.503712965304985</c:v>
                </c:pt>
                <c:pt idx="480">
                  <c:v>99.083239027741058</c:v>
                </c:pt>
                <c:pt idx="481">
                  <c:v>100.11834824913433</c:v>
                </c:pt>
                <c:pt idx="482">
                  <c:v>99.83363619182451</c:v>
                </c:pt>
                <c:pt idx="483">
                  <c:v>99.363458073243933</c:v>
                </c:pt>
                <c:pt idx="484">
                  <c:v>99.409155943556627</c:v>
                </c:pt>
                <c:pt idx="485">
                  <c:v>98.063611431867287</c:v>
                </c:pt>
                <c:pt idx="486">
                  <c:v>98.984324065663259</c:v>
                </c:pt>
                <c:pt idx="487">
                  <c:v>98.296347098266651</c:v>
                </c:pt>
                <c:pt idx="488">
                  <c:v>98.93977564388257</c:v>
                </c:pt>
                <c:pt idx="489">
                  <c:v>98.951406782186524</c:v>
                </c:pt>
                <c:pt idx="490">
                  <c:v>99.685870569136739</c:v>
                </c:pt>
                <c:pt idx="491">
                  <c:v>101.02665552805037</c:v>
                </c:pt>
                <c:pt idx="492">
                  <c:v>101.38987119182936</c:v>
                </c:pt>
                <c:pt idx="493">
                  <c:v>101.30266163271351</c:v>
                </c:pt>
                <c:pt idx="494">
                  <c:v>101.60004378187222</c:v>
                </c:pt>
                <c:pt idx="495">
                  <c:v>102.66908097762379</c:v>
                </c:pt>
                <c:pt idx="496">
                  <c:v>102.80119615047853</c:v>
                </c:pt>
                <c:pt idx="497">
                  <c:v>102.53288019624776</c:v>
                </c:pt>
                <c:pt idx="498">
                  <c:v>102.27855200537819</c:v>
                </c:pt>
                <c:pt idx="499">
                  <c:v>102.07138999031595</c:v>
                </c:pt>
                <c:pt idx="500">
                  <c:v>102.26302452819741</c:v>
                </c:pt>
                <c:pt idx="501">
                  <c:v>102.29345108929928</c:v>
                </c:pt>
                <c:pt idx="502">
                  <c:v>101.79975633014055</c:v>
                </c:pt>
                <c:pt idx="503">
                  <c:v>101.41335024907856</c:v>
                </c:pt>
                <c:pt idx="504">
                  <c:v>101.72254574051986</c:v>
                </c:pt>
                <c:pt idx="505">
                  <c:v>100.69725568997619</c:v>
                </c:pt>
                <c:pt idx="506">
                  <c:v>99.824200220596708</c:v>
                </c:pt>
                <c:pt idx="507">
                  <c:v>99.686044805449654</c:v>
                </c:pt>
                <c:pt idx="508">
                  <c:v>99.822065637846791</c:v>
                </c:pt>
                <c:pt idx="509">
                  <c:v>99.812202419335705</c:v>
                </c:pt>
                <c:pt idx="510">
                  <c:v>101.00489417926659</c:v>
                </c:pt>
                <c:pt idx="511">
                  <c:v>100.48706430826888</c:v>
                </c:pt>
                <c:pt idx="512">
                  <c:v>100.31210158476753</c:v>
                </c:pt>
                <c:pt idx="513">
                  <c:v>99.475456994788786</c:v>
                </c:pt>
                <c:pt idx="514">
                  <c:v>100.2530401350205</c:v>
                </c:pt>
                <c:pt idx="515">
                  <c:v>99.86418271891236</c:v>
                </c:pt>
                <c:pt idx="516">
                  <c:v>99.846195187353104</c:v>
                </c:pt>
                <c:pt idx="517">
                  <c:v>99.049768667995778</c:v>
                </c:pt>
                <c:pt idx="518">
                  <c:v>99.803153706729177</c:v>
                </c:pt>
                <c:pt idx="519">
                  <c:v>99.564663281004044</c:v>
                </c:pt>
                <c:pt idx="520">
                  <c:v>100.70882564262067</c:v>
                </c:pt>
                <c:pt idx="521">
                  <c:v>101.59954106726445</c:v>
                </c:pt>
                <c:pt idx="522">
                  <c:v>101.81143903277182</c:v>
                </c:pt>
                <c:pt idx="523">
                  <c:v>102.06474255176144</c:v>
                </c:pt>
                <c:pt idx="524">
                  <c:v>102.11351699338036</c:v>
                </c:pt>
                <c:pt idx="525">
                  <c:v>101.98295040401086</c:v>
                </c:pt>
                <c:pt idx="526">
                  <c:v>101.88563784474533</c:v>
                </c:pt>
                <c:pt idx="527">
                  <c:v>101.96006185602585</c:v>
                </c:pt>
                <c:pt idx="528">
                  <c:v>102.25430294088586</c:v>
                </c:pt>
                <c:pt idx="529">
                  <c:v>102.73709808365493</c:v>
                </c:pt>
                <c:pt idx="530">
                  <c:v>103.22138077458303</c:v>
                </c:pt>
                <c:pt idx="531">
                  <c:v>103.53635552968059</c:v>
                </c:pt>
                <c:pt idx="532">
                  <c:v>102.90473671834772</c:v>
                </c:pt>
                <c:pt idx="533">
                  <c:v>101.47792592484622</c:v>
                </c:pt>
                <c:pt idx="534">
                  <c:v>100.29777000911326</c:v>
                </c:pt>
                <c:pt idx="535">
                  <c:v>99.375125892876923</c:v>
                </c:pt>
                <c:pt idx="536">
                  <c:v>99.583570702122188</c:v>
                </c:pt>
                <c:pt idx="537">
                  <c:v>99.246866769570431</c:v>
                </c:pt>
                <c:pt idx="538">
                  <c:v>99.71695634182808</c:v>
                </c:pt>
                <c:pt idx="539">
                  <c:v>101.45222854919025</c:v>
                </c:pt>
                <c:pt idx="540">
                  <c:v>101.74111250634459</c:v>
                </c:pt>
                <c:pt idx="541">
                  <c:v>101.68944204373165</c:v>
                </c:pt>
                <c:pt idx="542">
                  <c:v>103.14773368587819</c:v>
                </c:pt>
                <c:pt idx="543">
                  <c:v>98.090057617768849</c:v>
                </c:pt>
                <c:pt idx="544">
                  <c:v>95.832794764229774</c:v>
                </c:pt>
                <c:pt idx="545">
                  <c:v>97.525421017921673</c:v>
                </c:pt>
                <c:pt idx="546">
                  <c:v>99.68690215634922</c:v>
                </c:pt>
                <c:pt idx="547">
                  <c:v>100.84018899856346</c:v>
                </c:pt>
                <c:pt idx="548">
                  <c:v>101.27808378925971</c:v>
                </c:pt>
                <c:pt idx="549">
                  <c:v>101.31716579101419</c:v>
                </c:pt>
                <c:pt idx="550">
                  <c:v>100.38486065457639</c:v>
                </c:pt>
                <c:pt idx="551">
                  <c:v>100.11036284406991</c:v>
                </c:pt>
                <c:pt idx="552">
                  <c:v>100.31033080864165</c:v>
                </c:pt>
                <c:pt idx="553">
                  <c:v>101.43260238448966</c:v>
                </c:pt>
                <c:pt idx="554">
                  <c:v>102.28168946167726</c:v>
                </c:pt>
                <c:pt idx="555">
                  <c:v>103.16897382905637</c:v>
                </c:pt>
                <c:pt idx="556">
                  <c:v>103.39855820849159</c:v>
                </c:pt>
                <c:pt idx="557">
                  <c:v>103.93960224943619</c:v>
                </c:pt>
                <c:pt idx="558">
                  <c:v>103.77756022342106</c:v>
                </c:pt>
                <c:pt idx="559">
                  <c:v>103.98445479551461</c:v>
                </c:pt>
                <c:pt idx="560">
                  <c:v>103.66764642496523</c:v>
                </c:pt>
                <c:pt idx="561">
                  <c:v>104.19772289886144</c:v>
                </c:pt>
                <c:pt idx="562">
                  <c:v>104.08172120245223</c:v>
                </c:pt>
                <c:pt idx="563">
                  <c:v>104.17939185567577</c:v>
                </c:pt>
                <c:pt idx="564">
                  <c:v>103.99536749090275</c:v>
                </c:pt>
                <c:pt idx="565">
                  <c:v>104.12239478302024</c:v>
                </c:pt>
                <c:pt idx="566">
                  <c:v>104.15049283139493</c:v>
                </c:pt>
                <c:pt idx="567">
                  <c:v>104.23283790508073</c:v>
                </c:pt>
                <c:pt idx="568">
                  <c:v>105.1005303837552</c:v>
                </c:pt>
                <c:pt idx="569">
                  <c:v>104.84909265154698</c:v>
                </c:pt>
                <c:pt idx="570">
                  <c:v>104.17271239612502</c:v>
                </c:pt>
                <c:pt idx="571">
                  <c:v>103.9994407720922</c:v>
                </c:pt>
                <c:pt idx="572">
                  <c:v>104.28285876022028</c:v>
                </c:pt>
                <c:pt idx="573">
                  <c:v>104.83359764636238</c:v>
                </c:pt>
                <c:pt idx="574">
                  <c:v>105.03695577753693</c:v>
                </c:pt>
                <c:pt idx="575">
                  <c:v>105.56460301538446</c:v>
                </c:pt>
                <c:pt idx="576">
                  <c:v>105.51790272252252</c:v>
                </c:pt>
                <c:pt idx="577">
                  <c:v>106.07202921960106</c:v>
                </c:pt>
                <c:pt idx="578">
                  <c:v>106.09891062045162</c:v>
                </c:pt>
                <c:pt idx="579">
                  <c:v>106.30983908640592</c:v>
                </c:pt>
                <c:pt idx="580">
                  <c:v>105.79952603152753</c:v>
                </c:pt>
                <c:pt idx="581">
                  <c:v>105.86325923939388</c:v>
                </c:pt>
                <c:pt idx="582">
                  <c:v>106.19055621504778</c:v>
                </c:pt>
                <c:pt idx="583">
                  <c:v>105.89349623018465</c:v>
                </c:pt>
                <c:pt idx="584">
                  <c:v>105.94191738851163</c:v>
                </c:pt>
                <c:pt idx="585">
                  <c:v>106.30821082626336</c:v>
                </c:pt>
                <c:pt idx="586">
                  <c:v>105.86239873149469</c:v>
                </c:pt>
                <c:pt idx="587">
                  <c:v>105.6298347457419</c:v>
                </c:pt>
                <c:pt idx="588">
                  <c:v>105.55731365357181</c:v>
                </c:pt>
                <c:pt idx="589">
                  <c:v>105.54045482454697</c:v>
                </c:pt>
                <c:pt idx="590">
                  <c:v>105.43031146711803</c:v>
                </c:pt>
                <c:pt idx="591">
                  <c:v>105.18787900118809</c:v>
                </c:pt>
                <c:pt idx="592">
                  <c:v>105.43947533504441</c:v>
                </c:pt>
                <c:pt idx="593">
                  <c:v>106.11957032669781</c:v>
                </c:pt>
                <c:pt idx="594">
                  <c:v>106.29094128662</c:v>
                </c:pt>
                <c:pt idx="595">
                  <c:v>106.81497616522407</c:v>
                </c:pt>
                <c:pt idx="596">
                  <c:v>106.92510584232127</c:v>
                </c:pt>
                <c:pt idx="597">
                  <c:v>106.7453826640443</c:v>
                </c:pt>
                <c:pt idx="598">
                  <c:v>104.51381387882823</c:v>
                </c:pt>
                <c:pt idx="599">
                  <c:v>104.99541537507046</c:v>
                </c:pt>
                <c:pt idx="600">
                  <c:v>103.7301157806463</c:v>
                </c:pt>
                <c:pt idx="601">
                  <c:v>103.59272616340954</c:v>
                </c:pt>
                <c:pt idx="602">
                  <c:v>104.3546505854758</c:v>
                </c:pt>
                <c:pt idx="603">
                  <c:v>103.83324864456324</c:v>
                </c:pt>
                <c:pt idx="604">
                  <c:v>104.25272369541756</c:v>
                </c:pt>
                <c:pt idx="605">
                  <c:v>104.26364330613822</c:v>
                </c:pt>
                <c:pt idx="606">
                  <c:v>105.39709727534276</c:v>
                </c:pt>
                <c:pt idx="607">
                  <c:v>106.5579349090057</c:v>
                </c:pt>
                <c:pt idx="608">
                  <c:v>105.89394287046565</c:v>
                </c:pt>
                <c:pt idx="609">
                  <c:v>104.98977471873133</c:v>
                </c:pt>
                <c:pt idx="610">
                  <c:v>105.30338279365567</c:v>
                </c:pt>
                <c:pt idx="611">
                  <c:v>105.74037543412429</c:v>
                </c:pt>
                <c:pt idx="612">
                  <c:v>105.38323729529992</c:v>
                </c:pt>
                <c:pt idx="613">
                  <c:v>105.74662930005825</c:v>
                </c:pt>
                <c:pt idx="614">
                  <c:v>105.57795712381987</c:v>
                </c:pt>
                <c:pt idx="615">
                  <c:v>105.27521123228958</c:v>
                </c:pt>
                <c:pt idx="616">
                  <c:v>105.49769115989052</c:v>
                </c:pt>
                <c:pt idx="617">
                  <c:v>105.33538229223996</c:v>
                </c:pt>
                <c:pt idx="618">
                  <c:v>104.9690810371558</c:v>
                </c:pt>
                <c:pt idx="619">
                  <c:v>105.39149149633286</c:v>
                </c:pt>
                <c:pt idx="620">
                  <c:v>104.22947990980748</c:v>
                </c:pt>
                <c:pt idx="621">
                  <c:v>103.9414498458864</c:v>
                </c:pt>
                <c:pt idx="622">
                  <c:v>103.58089493146234</c:v>
                </c:pt>
                <c:pt idx="623">
                  <c:v>103.83197817771213</c:v>
                </c:pt>
                <c:pt idx="624">
                  <c:v>103.47335128806216</c:v>
                </c:pt>
                <c:pt idx="625">
                  <c:v>104.28631552448195</c:v>
                </c:pt>
                <c:pt idx="626">
                  <c:v>104.63865397153531</c:v>
                </c:pt>
                <c:pt idx="627">
                  <c:v>104.48353013437628</c:v>
                </c:pt>
                <c:pt idx="628">
                  <c:v>104.30731678802144</c:v>
                </c:pt>
                <c:pt idx="629">
                  <c:v>104.62232912644791</c:v>
                </c:pt>
                <c:pt idx="630">
                  <c:v>104.31455684050653</c:v>
                </c:pt>
                <c:pt idx="631">
                  <c:v>104.23681467228147</c:v>
                </c:pt>
                <c:pt idx="632">
                  <c:v>103.92268433941831</c:v>
                </c:pt>
                <c:pt idx="633">
                  <c:v>103.70067976576169</c:v>
                </c:pt>
                <c:pt idx="634">
                  <c:v>103.70012593782658</c:v>
                </c:pt>
                <c:pt idx="635">
                  <c:v>103.27382635577185</c:v>
                </c:pt>
                <c:pt idx="636">
                  <c:v>102.59672450043445</c:v>
                </c:pt>
                <c:pt idx="637">
                  <c:v>102.25992194922755</c:v>
                </c:pt>
                <c:pt idx="638">
                  <c:v>101.84380729897956</c:v>
                </c:pt>
                <c:pt idx="639">
                  <c:v>103.40852605899042</c:v>
                </c:pt>
                <c:pt idx="640">
                  <c:v>103.8069046853164</c:v>
                </c:pt>
                <c:pt idx="641">
                  <c:v>104.09989905598916</c:v>
                </c:pt>
                <c:pt idx="642">
                  <c:v>104.41860373098307</c:v>
                </c:pt>
                <c:pt idx="643">
                  <c:v>104.15525569150358</c:v>
                </c:pt>
                <c:pt idx="644">
                  <c:v>103.88905988802442</c:v>
                </c:pt>
                <c:pt idx="645">
                  <c:v>104.48687895931728</c:v>
                </c:pt>
                <c:pt idx="646">
                  <c:v>104.29090580194415</c:v>
                </c:pt>
                <c:pt idx="647">
                  <c:v>104.82215713070275</c:v>
                </c:pt>
                <c:pt idx="648">
                  <c:v>104.23827335644391</c:v>
                </c:pt>
                <c:pt idx="649">
                  <c:v>105.04750090796813</c:v>
                </c:pt>
                <c:pt idx="650">
                  <c:v>105.2091326743647</c:v>
                </c:pt>
                <c:pt idx="651">
                  <c:v>105.00554363121719</c:v>
                </c:pt>
                <c:pt idx="652">
                  <c:v>105.23208736900864</c:v>
                </c:pt>
                <c:pt idx="653">
                  <c:v>105.69837155404547</c:v>
                </c:pt>
                <c:pt idx="654">
                  <c:v>105.22365351966343</c:v>
                </c:pt>
                <c:pt idx="655">
                  <c:v>105.3855207080324</c:v>
                </c:pt>
                <c:pt idx="656">
                  <c:v>105.19123218579523</c:v>
                </c:pt>
                <c:pt idx="657">
                  <c:v>104.98270769989264</c:v>
                </c:pt>
                <c:pt idx="658">
                  <c:v>105.00159738167953</c:v>
                </c:pt>
                <c:pt idx="659">
                  <c:v>105.5708424493201</c:v>
                </c:pt>
                <c:pt idx="660">
                  <c:v>106.16969491182522</c:v>
                </c:pt>
                <c:pt idx="661">
                  <c:v>107.50074654021256</c:v>
                </c:pt>
                <c:pt idx="662">
                  <c:v>107.7306085852819</c:v>
                </c:pt>
                <c:pt idx="663">
                  <c:v>108.17216038421635</c:v>
                </c:pt>
                <c:pt idx="664">
                  <c:v>108.18269649464862</c:v>
                </c:pt>
                <c:pt idx="665">
                  <c:v>109.03713904587546</c:v>
                </c:pt>
                <c:pt idx="666">
                  <c:v>108.40833733054586</c:v>
                </c:pt>
                <c:pt idx="667">
                  <c:v>107.84517504952595</c:v>
                </c:pt>
                <c:pt idx="668">
                  <c:v>107.86047011140067</c:v>
                </c:pt>
                <c:pt idx="669">
                  <c:v>108.11517052755994</c:v>
                </c:pt>
                <c:pt idx="670">
                  <c:v>108.2825944862779</c:v>
                </c:pt>
                <c:pt idx="671">
                  <c:v>108.20570500861962</c:v>
                </c:pt>
                <c:pt idx="672">
                  <c:v>108.07434345667659</c:v>
                </c:pt>
                <c:pt idx="673">
                  <c:v>108.15972451167335</c:v>
                </c:pt>
                <c:pt idx="674">
                  <c:v>108.11876364413899</c:v>
                </c:pt>
                <c:pt idx="675">
                  <c:v>108.24704381410967</c:v>
                </c:pt>
                <c:pt idx="676">
                  <c:v>107.64954314877954</c:v>
                </c:pt>
                <c:pt idx="677">
                  <c:v>107.81324019426745</c:v>
                </c:pt>
                <c:pt idx="678">
                  <c:v>107.70828844756359</c:v>
                </c:pt>
                <c:pt idx="679">
                  <c:v>107.82349518139931</c:v>
                </c:pt>
                <c:pt idx="680">
                  <c:v>108.12597648629394</c:v>
                </c:pt>
                <c:pt idx="681">
                  <c:v>109.11853326133931</c:v>
                </c:pt>
                <c:pt idx="682">
                  <c:v>109.64189569902216</c:v>
                </c:pt>
                <c:pt idx="683">
                  <c:v>109.69673233159752</c:v>
                </c:pt>
                <c:pt idx="684">
                  <c:v>109.31822115494387</c:v>
                </c:pt>
                <c:pt idx="685">
                  <c:v>109.48523019371044</c:v>
                </c:pt>
                <c:pt idx="686">
                  <c:v>109.39973744106011</c:v>
                </c:pt>
                <c:pt idx="687">
                  <c:v>109.72519899726237</c:v>
                </c:pt>
                <c:pt idx="688">
                  <c:v>110.02007944971417</c:v>
                </c:pt>
                <c:pt idx="689">
                  <c:v>109.74551383888227</c:v>
                </c:pt>
                <c:pt idx="690">
                  <c:v>109.69033579934693</c:v>
                </c:pt>
                <c:pt idx="691">
                  <c:v>109.87219611604017</c:v>
                </c:pt>
                <c:pt idx="692">
                  <c:v>109.28043848403716</c:v>
                </c:pt>
                <c:pt idx="693">
                  <c:v>109.69370777561853</c:v>
                </c:pt>
                <c:pt idx="694">
                  <c:v>109.61787995183585</c:v>
                </c:pt>
                <c:pt idx="695">
                  <c:v>110.18286216797586</c:v>
                </c:pt>
                <c:pt idx="696">
                  <c:v>111.12095964706839</c:v>
                </c:pt>
                <c:pt idx="697">
                  <c:v>110.99508435914926</c:v>
                </c:pt>
                <c:pt idx="698">
                  <c:v>110.97678729129295</c:v>
                </c:pt>
                <c:pt idx="699">
                  <c:v>110.28628442352557</c:v>
                </c:pt>
                <c:pt idx="700">
                  <c:v>110.3078443256663</c:v>
                </c:pt>
                <c:pt idx="701">
                  <c:v>110.37871956869587</c:v>
                </c:pt>
                <c:pt idx="702">
                  <c:v>110.49491248908272</c:v>
                </c:pt>
                <c:pt idx="703">
                  <c:v>111.13923927626006</c:v>
                </c:pt>
                <c:pt idx="704">
                  <c:v>110.69125802207888</c:v>
                </c:pt>
                <c:pt idx="705">
                  <c:v>110.63795073032436</c:v>
                </c:pt>
                <c:pt idx="706">
                  <c:v>110.95826998512909</c:v>
                </c:pt>
                <c:pt idx="707">
                  <c:v>111.2951379313283</c:v>
                </c:pt>
                <c:pt idx="708">
                  <c:v>111.73908814798178</c:v>
                </c:pt>
                <c:pt idx="709">
                  <c:v>112.28551818062869</c:v>
                </c:pt>
                <c:pt idx="710">
                  <c:v>112.31634808601667</c:v>
                </c:pt>
                <c:pt idx="711">
                  <c:v>112.93519668351234</c:v>
                </c:pt>
                <c:pt idx="712">
                  <c:v>113.15280776601706</c:v>
                </c:pt>
                <c:pt idx="713">
                  <c:v>113.15127301319686</c:v>
                </c:pt>
                <c:pt idx="714">
                  <c:v>113.17193557577603</c:v>
                </c:pt>
                <c:pt idx="715">
                  <c:v>113.56020428661979</c:v>
                </c:pt>
                <c:pt idx="716">
                  <c:v>113.53277597316665</c:v>
                </c:pt>
                <c:pt idx="717">
                  <c:v>113.75054881431903</c:v>
                </c:pt>
                <c:pt idx="718">
                  <c:v>113.48571518101363</c:v>
                </c:pt>
                <c:pt idx="719">
                  <c:v>113.5414816251467</c:v>
                </c:pt>
                <c:pt idx="720">
                  <c:v>113.36816234545277</c:v>
                </c:pt>
                <c:pt idx="721">
                  <c:v>114.46981886404934</c:v>
                </c:pt>
                <c:pt idx="722">
                  <c:v>114.03001393824357</c:v>
                </c:pt>
                <c:pt idx="723">
                  <c:v>114.0412871329228</c:v>
                </c:pt>
                <c:pt idx="724">
                  <c:v>113.84149355499729</c:v>
                </c:pt>
                <c:pt idx="725">
                  <c:v>113.52981410618032</c:v>
                </c:pt>
                <c:pt idx="726">
                  <c:v>113.18599610046205</c:v>
                </c:pt>
                <c:pt idx="727">
                  <c:v>113.2706561568766</c:v>
                </c:pt>
                <c:pt idx="728">
                  <c:v>113.8879824792173</c:v>
                </c:pt>
                <c:pt idx="729">
                  <c:v>114.1602661806499</c:v>
                </c:pt>
                <c:pt idx="730">
                  <c:v>113.72839329158144</c:v>
                </c:pt>
                <c:pt idx="731">
                  <c:v>114.4228829988817</c:v>
                </c:pt>
                <c:pt idx="732">
                  <c:v>115.06255050560492</c:v>
                </c:pt>
                <c:pt idx="733">
                  <c:v>115.00624631920151</c:v>
                </c:pt>
                <c:pt idx="734">
                  <c:v>114.85483661694067</c:v>
                </c:pt>
                <c:pt idx="735">
                  <c:v>113.98796736350309</c:v>
                </c:pt>
                <c:pt idx="736">
                  <c:v>113.75818830242402</c:v>
                </c:pt>
                <c:pt idx="737">
                  <c:v>113.90558004615559</c:v>
                </c:pt>
                <c:pt idx="738">
                  <c:v>113.96171811424512</c:v>
                </c:pt>
                <c:pt idx="739">
                  <c:v>113.92393213600545</c:v>
                </c:pt>
                <c:pt idx="740">
                  <c:v>114.7729103718725</c:v>
                </c:pt>
                <c:pt idx="741">
                  <c:v>114.73434190872452</c:v>
                </c:pt>
                <c:pt idx="742">
                  <c:v>114.95036757608159</c:v>
                </c:pt>
                <c:pt idx="743">
                  <c:v>114.57574913030524</c:v>
                </c:pt>
                <c:pt idx="744">
                  <c:v>114.28734398476146</c:v>
                </c:pt>
                <c:pt idx="745">
                  <c:v>114.35967956561994</c:v>
                </c:pt>
                <c:pt idx="746">
                  <c:v>114.11783445195451</c:v>
                </c:pt>
                <c:pt idx="747">
                  <c:v>114.18801906373169</c:v>
                </c:pt>
                <c:pt idx="748">
                  <c:v>114.12225861110285</c:v>
                </c:pt>
                <c:pt idx="749">
                  <c:v>114.22159871579748</c:v>
                </c:pt>
                <c:pt idx="750">
                  <c:v>114.29788325219334</c:v>
                </c:pt>
                <c:pt idx="751">
                  <c:v>113.99586557524439</c:v>
                </c:pt>
                <c:pt idx="752">
                  <c:v>113.39059869082413</c:v>
                </c:pt>
                <c:pt idx="753">
                  <c:v>113.3383431309464</c:v>
                </c:pt>
                <c:pt idx="754">
                  <c:v>114.19536690520415</c:v>
                </c:pt>
                <c:pt idx="755">
                  <c:v>113.66004860925538</c:v>
                </c:pt>
                <c:pt idx="756">
                  <c:v>113.52874794230523</c:v>
                </c:pt>
                <c:pt idx="757">
                  <c:v>114.2528429398036</c:v>
                </c:pt>
                <c:pt idx="758">
                  <c:v>113.97395644881128</c:v>
                </c:pt>
                <c:pt idx="759">
                  <c:v>115.81329884831391</c:v>
                </c:pt>
                <c:pt idx="760">
                  <c:v>116.46271697389474</c:v>
                </c:pt>
                <c:pt idx="761">
                  <c:v>116.4930331903429</c:v>
                </c:pt>
                <c:pt idx="762">
                  <c:v>116.4396074359356</c:v>
                </c:pt>
                <c:pt idx="763">
                  <c:v>116.27225789220894</c:v>
                </c:pt>
                <c:pt idx="764">
                  <c:v>116.53421444651811</c:v>
                </c:pt>
                <c:pt idx="765">
                  <c:v>116.78061450931654</c:v>
                </c:pt>
                <c:pt idx="766">
                  <c:v>116.60629566340641</c:v>
                </c:pt>
                <c:pt idx="767">
                  <c:v>116.83441519501325</c:v>
                </c:pt>
                <c:pt idx="768">
                  <c:v>117.48092978293427</c:v>
                </c:pt>
                <c:pt idx="769">
                  <c:v>117.54948237623599</c:v>
                </c:pt>
                <c:pt idx="770">
                  <c:v>117.3154899233172</c:v>
                </c:pt>
                <c:pt idx="771">
                  <c:v>117.49560502054825</c:v>
                </c:pt>
                <c:pt idx="772">
                  <c:v>117.24857220482396</c:v>
                </c:pt>
                <c:pt idx="773">
                  <c:v>117.36803231916133</c:v>
                </c:pt>
                <c:pt idx="774">
                  <c:v>117.93084116655599</c:v>
                </c:pt>
                <c:pt idx="775">
                  <c:v>118.25271366517876</c:v>
                </c:pt>
                <c:pt idx="776">
                  <c:v>116.80603903000448</c:v>
                </c:pt>
                <c:pt idx="777">
                  <c:v>116.73469534836309</c:v>
                </c:pt>
                <c:pt idx="778">
                  <c:v>117.59612178410505</c:v>
                </c:pt>
                <c:pt idx="779">
                  <c:v>118.24159456214811</c:v>
                </c:pt>
                <c:pt idx="780">
                  <c:v>118.35579135676883</c:v>
                </c:pt>
                <c:pt idx="781">
                  <c:v>118.43310582671064</c:v>
                </c:pt>
                <c:pt idx="782">
                  <c:v>118.86362646760421</c:v>
                </c:pt>
                <c:pt idx="783">
                  <c:v>118.7252792271463</c:v>
                </c:pt>
                <c:pt idx="784">
                  <c:v>118.69796306234666</c:v>
                </c:pt>
                <c:pt idx="785">
                  <c:v>118.60384268070712</c:v>
                </c:pt>
                <c:pt idx="786">
                  <c:v>118.73193839169944</c:v>
                </c:pt>
                <c:pt idx="787">
                  <c:v>119.45990116474465</c:v>
                </c:pt>
                <c:pt idx="788">
                  <c:v>120.21485748729397</c:v>
                </c:pt>
                <c:pt idx="789">
                  <c:v>120.00556524914798</c:v>
                </c:pt>
                <c:pt idx="790">
                  <c:v>119.65571000780369</c:v>
                </c:pt>
                <c:pt idx="791">
                  <c:v>119.73018934174435</c:v>
                </c:pt>
                <c:pt idx="792">
                  <c:v>119.566652551571</c:v>
                </c:pt>
                <c:pt idx="793">
                  <c:v>119.48056613265688</c:v>
                </c:pt>
                <c:pt idx="794">
                  <c:v>119.23382075423223</c:v>
                </c:pt>
                <c:pt idx="795">
                  <c:v>119.87223102343609</c:v>
                </c:pt>
                <c:pt idx="796">
                  <c:v>119.98984549565638</c:v>
                </c:pt>
                <c:pt idx="797">
                  <c:v>119.13134574890488</c:v>
                </c:pt>
                <c:pt idx="798">
                  <c:v>119.5497759832149</c:v>
                </c:pt>
                <c:pt idx="799">
                  <c:v>120.37841863146448</c:v>
                </c:pt>
                <c:pt idx="800">
                  <c:v>119.51152472336311</c:v>
                </c:pt>
                <c:pt idx="801">
                  <c:v>119.36047627205994</c:v>
                </c:pt>
                <c:pt idx="802">
                  <c:v>119.45929066114951</c:v>
                </c:pt>
                <c:pt idx="803">
                  <c:v>119.67595780076479</c:v>
                </c:pt>
                <c:pt idx="804">
                  <c:v>119.83152106220567</c:v>
                </c:pt>
                <c:pt idx="805">
                  <c:v>119.21906974862712</c:v>
                </c:pt>
                <c:pt idx="806">
                  <c:v>120.12541923677256</c:v>
                </c:pt>
                <c:pt idx="807">
                  <c:v>119.38232376183362</c:v>
                </c:pt>
                <c:pt idx="808">
                  <c:v>119.18875969584492</c:v>
                </c:pt>
                <c:pt idx="809">
                  <c:v>119.45236495562759</c:v>
                </c:pt>
                <c:pt idx="810">
                  <c:v>119.3489647990753</c:v>
                </c:pt>
                <c:pt idx="811">
                  <c:v>119.44217190582182</c:v>
                </c:pt>
                <c:pt idx="812">
                  <c:v>118.75931739582506</c:v>
                </c:pt>
                <c:pt idx="813">
                  <c:v>119.01981481497184</c:v>
                </c:pt>
                <c:pt idx="814">
                  <c:v>119.26415395834506</c:v>
                </c:pt>
                <c:pt idx="815">
                  <c:v>119.17540558740949</c:v>
                </c:pt>
                <c:pt idx="816">
                  <c:v>120.24924713526488</c:v>
                </c:pt>
                <c:pt idx="817">
                  <c:v>120.50481452365594</c:v>
                </c:pt>
                <c:pt idx="818">
                  <c:v>121.19857736937469</c:v>
                </c:pt>
                <c:pt idx="819">
                  <c:v>121.23183500747822</c:v>
                </c:pt>
                <c:pt idx="820">
                  <c:v>121.2997017801936</c:v>
                </c:pt>
                <c:pt idx="821">
                  <c:v>121.85837059840665</c:v>
                </c:pt>
                <c:pt idx="822">
                  <c:v>122.15742836270236</c:v>
                </c:pt>
                <c:pt idx="823">
                  <c:v>121.87536217174923</c:v>
                </c:pt>
                <c:pt idx="824">
                  <c:v>121.63600702879209</c:v>
                </c:pt>
                <c:pt idx="825">
                  <c:v>121.99472983109744</c:v>
                </c:pt>
                <c:pt idx="826">
                  <c:v>122.07668223416259</c:v>
                </c:pt>
                <c:pt idx="827">
                  <c:v>122.18863575504611</c:v>
                </c:pt>
                <c:pt idx="828">
                  <c:v>121.99222497739093</c:v>
                </c:pt>
                <c:pt idx="829">
                  <c:v>122.04123664498205</c:v>
                </c:pt>
                <c:pt idx="830">
                  <c:v>122.62197108660988</c:v>
                </c:pt>
                <c:pt idx="831">
                  <c:v>122.62929397275191</c:v>
                </c:pt>
                <c:pt idx="832">
                  <c:v>122.55345893297009</c:v>
                </c:pt>
                <c:pt idx="833">
                  <c:v>122.49859058006514</c:v>
                </c:pt>
                <c:pt idx="834">
                  <c:v>122.74858601444234</c:v>
                </c:pt>
                <c:pt idx="835">
                  <c:v>122.44677805246882</c:v>
                </c:pt>
                <c:pt idx="836">
                  <c:v>122.14581691806276</c:v>
                </c:pt>
                <c:pt idx="837">
                  <c:v>120.86483319914281</c:v>
                </c:pt>
                <c:pt idx="838">
                  <c:v>120.71435962243898</c:v>
                </c:pt>
                <c:pt idx="839">
                  <c:v>121.64460218578508</c:v>
                </c:pt>
                <c:pt idx="840">
                  <c:v>121.44830896878278</c:v>
                </c:pt>
                <c:pt idx="841">
                  <c:v>121.77381472297988</c:v>
                </c:pt>
                <c:pt idx="842">
                  <c:v>120.68326588208191</c:v>
                </c:pt>
                <c:pt idx="843">
                  <c:v>120.32022415394921</c:v>
                </c:pt>
                <c:pt idx="844">
                  <c:v>120.43576132041289</c:v>
                </c:pt>
                <c:pt idx="845">
                  <c:v>121.24986162569955</c:v>
                </c:pt>
                <c:pt idx="846">
                  <c:v>121.06908611421254</c:v>
                </c:pt>
                <c:pt idx="847">
                  <c:v>120.91992284268851</c:v>
                </c:pt>
                <c:pt idx="848">
                  <c:v>121.23237290008187</c:v>
                </c:pt>
                <c:pt idx="849">
                  <c:v>121.34274476415069</c:v>
                </c:pt>
                <c:pt idx="850">
                  <c:v>121.27782978608947</c:v>
                </c:pt>
                <c:pt idx="851">
                  <c:v>121.44783992883774</c:v>
                </c:pt>
                <c:pt idx="852">
                  <c:v>122.21309167818086</c:v>
                </c:pt>
                <c:pt idx="853">
                  <c:v>122.5973379204959</c:v>
                </c:pt>
                <c:pt idx="854">
                  <c:v>122.4460148102249</c:v>
                </c:pt>
                <c:pt idx="855">
                  <c:v>121.90593741250038</c:v>
                </c:pt>
                <c:pt idx="856">
                  <c:v>122.18989840456484</c:v>
                </c:pt>
                <c:pt idx="857">
                  <c:v>122.55478306881496</c:v>
                </c:pt>
                <c:pt idx="858">
                  <c:v>122.55415647955503</c:v>
                </c:pt>
                <c:pt idx="859">
                  <c:v>123.64463150679497</c:v>
                </c:pt>
                <c:pt idx="860">
                  <c:v>124.04256800283939</c:v>
                </c:pt>
                <c:pt idx="861">
                  <c:v>123.94855856718689</c:v>
                </c:pt>
                <c:pt idx="862">
                  <c:v>123.76199973304412</c:v>
                </c:pt>
                <c:pt idx="863">
                  <c:v>124.03727611979274</c:v>
                </c:pt>
                <c:pt idx="864">
                  <c:v>124.22201802548172</c:v>
                </c:pt>
                <c:pt idx="865">
                  <c:v>124.56724270003518</c:v>
                </c:pt>
                <c:pt idx="866">
                  <c:v>124.73207611505663</c:v>
                </c:pt>
                <c:pt idx="867">
                  <c:v>124.21447294669903</c:v>
                </c:pt>
                <c:pt idx="868">
                  <c:v>124.48173476371996</c:v>
                </c:pt>
                <c:pt idx="869">
                  <c:v>124.14294961674537</c:v>
                </c:pt>
                <c:pt idx="870">
                  <c:v>123.78352430685563</c:v>
                </c:pt>
                <c:pt idx="871">
                  <c:v>124.15410179310544</c:v>
                </c:pt>
                <c:pt idx="872">
                  <c:v>124.44281106294693</c:v>
                </c:pt>
                <c:pt idx="873">
                  <c:v>124.95607095148007</c:v>
                </c:pt>
                <c:pt idx="874">
                  <c:v>125.21598131902898</c:v>
                </c:pt>
                <c:pt idx="875">
                  <c:v>125.52786642382183</c:v>
                </c:pt>
                <c:pt idx="876">
                  <c:v>125.61329769014607</c:v>
                </c:pt>
                <c:pt idx="877">
                  <c:v>125.95355670494797</c:v>
                </c:pt>
                <c:pt idx="878">
                  <c:v>125.83828457611992</c:v>
                </c:pt>
                <c:pt idx="879">
                  <c:v>125.78194355805417</c:v>
                </c:pt>
                <c:pt idx="880">
                  <c:v>126.31053789579072</c:v>
                </c:pt>
                <c:pt idx="881">
                  <c:v>126.49987849760758</c:v>
                </c:pt>
                <c:pt idx="882">
                  <c:v>126.45605513340858</c:v>
                </c:pt>
                <c:pt idx="883">
                  <c:v>126.72971648934643</c:v>
                </c:pt>
                <c:pt idx="884">
                  <c:v>126.84829068945427</c:v>
                </c:pt>
                <c:pt idx="885">
                  <c:v>126.69074678657879</c:v>
                </c:pt>
                <c:pt idx="886">
                  <c:v>126.88515392180204</c:v>
                </c:pt>
                <c:pt idx="887">
                  <c:v>127.06953818453293</c:v>
                </c:pt>
                <c:pt idx="888">
                  <c:v>127.21699457159026</c:v>
                </c:pt>
                <c:pt idx="889">
                  <c:v>126.87401302044063</c:v>
                </c:pt>
                <c:pt idx="890">
                  <c:v>126.95812541258601</c:v>
                </c:pt>
                <c:pt idx="891">
                  <c:v>126.46685628147647</c:v>
                </c:pt>
                <c:pt idx="892">
                  <c:v>126.60756751332407</c:v>
                </c:pt>
                <c:pt idx="893">
                  <c:v>127.16744155372923</c:v>
                </c:pt>
                <c:pt idx="894">
                  <c:v>127.17231701349134</c:v>
                </c:pt>
                <c:pt idx="895">
                  <c:v>127.31754967014255</c:v>
                </c:pt>
                <c:pt idx="896">
                  <c:v>127.59148733871469</c:v>
                </c:pt>
                <c:pt idx="897">
                  <c:v>127.73124139834108</c:v>
                </c:pt>
                <c:pt idx="898">
                  <c:v>127.87570855774865</c:v>
                </c:pt>
                <c:pt idx="899">
                  <c:v>127.96350757379544</c:v>
                </c:pt>
                <c:pt idx="900">
                  <c:v>127.96552008589302</c:v>
                </c:pt>
                <c:pt idx="901">
                  <c:v>128.21258086361405</c:v>
                </c:pt>
                <c:pt idx="902">
                  <c:v>127.72099979087434</c:v>
                </c:pt>
                <c:pt idx="903">
                  <c:v>127.60816997709348</c:v>
                </c:pt>
                <c:pt idx="904">
                  <c:v>127.34242968356095</c:v>
                </c:pt>
                <c:pt idx="905">
                  <c:v>127.11638911137719</c:v>
                </c:pt>
                <c:pt idx="906">
                  <c:v>126.44981359480651</c:v>
                </c:pt>
                <c:pt idx="907">
                  <c:v>127.40629277941208</c:v>
                </c:pt>
                <c:pt idx="908">
                  <c:v>127.24406839908495</c:v>
                </c:pt>
                <c:pt idx="909">
                  <c:v>127.40926126106429</c:v>
                </c:pt>
                <c:pt idx="910">
                  <c:v>128.12772236722273</c:v>
                </c:pt>
                <c:pt idx="911">
                  <c:v>128.31506594127353</c:v>
                </c:pt>
                <c:pt idx="912">
                  <c:v>128.5256564579341</c:v>
                </c:pt>
                <c:pt idx="913">
                  <c:v>128.92016370071363</c:v>
                </c:pt>
                <c:pt idx="914">
                  <c:v>128.68998535434798</c:v>
                </c:pt>
                <c:pt idx="915">
                  <c:v>129.36800484424455</c:v>
                </c:pt>
                <c:pt idx="916">
                  <c:v>129.35578755634259</c:v>
                </c:pt>
                <c:pt idx="917">
                  <c:v>130.07620720493824</c:v>
                </c:pt>
                <c:pt idx="918">
                  <c:v>129.5783934632621</c:v>
                </c:pt>
                <c:pt idx="919">
                  <c:v>129.61877795286398</c:v>
                </c:pt>
                <c:pt idx="920">
                  <c:v>129.22717229341117</c:v>
                </c:pt>
                <c:pt idx="921">
                  <c:v>128.88975968960909</c:v>
                </c:pt>
                <c:pt idx="922">
                  <c:v>129.23684699394437</c:v>
                </c:pt>
                <c:pt idx="923">
                  <c:v>129.86196058203939</c:v>
                </c:pt>
                <c:pt idx="924">
                  <c:v>130.35035052948626</c:v>
                </c:pt>
                <c:pt idx="925">
                  <c:v>130.49253487749462</c:v>
                </c:pt>
                <c:pt idx="926">
                  <c:v>130.55281312509911</c:v>
                </c:pt>
                <c:pt idx="927">
                  <c:v>130.13771803539828</c:v>
                </c:pt>
                <c:pt idx="928">
                  <c:v>130.64128713773349</c:v>
                </c:pt>
                <c:pt idx="929">
                  <c:v>131.80404272383836</c:v>
                </c:pt>
                <c:pt idx="930">
                  <c:v>131.3278947189572</c:v>
                </c:pt>
                <c:pt idx="931">
                  <c:v>131.27950903929272</c:v>
                </c:pt>
                <c:pt idx="932">
                  <c:v>131.61422797074371</c:v>
                </c:pt>
                <c:pt idx="933">
                  <c:v>131.5407034036912</c:v>
                </c:pt>
                <c:pt idx="934">
                  <c:v>131.56271039711285</c:v>
                </c:pt>
                <c:pt idx="935">
                  <c:v>131.52575621310908</c:v>
                </c:pt>
                <c:pt idx="936">
                  <c:v>131.78723651147405</c:v>
                </c:pt>
                <c:pt idx="937">
                  <c:v>132.04575764885237</c:v>
                </c:pt>
                <c:pt idx="938">
                  <c:v>131.83529115717729</c:v>
                </c:pt>
                <c:pt idx="939">
                  <c:v>131.83529115717729</c:v>
                </c:pt>
                <c:pt idx="940">
                  <c:v>132.627028630084</c:v>
                </c:pt>
                <c:pt idx="941">
                  <c:v>133.22965115148077</c:v>
                </c:pt>
                <c:pt idx="942">
                  <c:v>134.31383848779069</c:v>
                </c:pt>
                <c:pt idx="943">
                  <c:v>135.18184907176123</c:v>
                </c:pt>
                <c:pt idx="944">
                  <c:v>135.26800885333341</c:v>
                </c:pt>
                <c:pt idx="945">
                  <c:v>135.52596458711133</c:v>
                </c:pt>
                <c:pt idx="946">
                  <c:v>135.55796558902875</c:v>
                </c:pt>
                <c:pt idx="947">
                  <c:v>136.1578377624144</c:v>
                </c:pt>
                <c:pt idx="948">
                  <c:v>137.00645098899088</c:v>
                </c:pt>
                <c:pt idx="949">
                  <c:v>137.54815739852455</c:v>
                </c:pt>
                <c:pt idx="950">
                  <c:v>137.20130356182864</c:v>
                </c:pt>
                <c:pt idx="951">
                  <c:v>137.92541103699219</c:v>
                </c:pt>
                <c:pt idx="952">
                  <c:v>137.73283601388761</c:v>
                </c:pt>
                <c:pt idx="953">
                  <c:v>138.40365844662739</c:v>
                </c:pt>
                <c:pt idx="954">
                  <c:v>139.26091749252424</c:v>
                </c:pt>
                <c:pt idx="955">
                  <c:v>139.83007220984209</c:v>
                </c:pt>
                <c:pt idx="956">
                  <c:v>139.97398042998179</c:v>
                </c:pt>
                <c:pt idx="957">
                  <c:v>140.10456220301617</c:v>
                </c:pt>
                <c:pt idx="958">
                  <c:v>141.01801494032941</c:v>
                </c:pt>
                <c:pt idx="959">
                  <c:v>140.10013458620159</c:v>
                </c:pt>
                <c:pt idx="960">
                  <c:v>138.84706160034492</c:v>
                </c:pt>
                <c:pt idx="961">
                  <c:v>138.79622157896802</c:v>
                </c:pt>
              </c:numCache>
            </c:numRef>
          </c:val>
          <c:smooth val="0"/>
          <c:extLst xmlns:c16r2="http://schemas.microsoft.com/office/drawing/2015/06/chart">
            <c:ext xmlns:c16="http://schemas.microsoft.com/office/drawing/2014/chart" uri="{C3380CC4-5D6E-409C-BE32-E72D297353CC}">
              <c16:uniqueId val="{00000002-7127-4EE7-81B7-88A877082DDF}"/>
            </c:ext>
          </c:extLst>
        </c:ser>
        <c:dLbls>
          <c:showLegendKey val="0"/>
          <c:showVal val="0"/>
          <c:showCatName val="0"/>
          <c:showSerName val="0"/>
          <c:showPercent val="0"/>
          <c:showBubbleSize val="0"/>
        </c:dLbls>
        <c:marker val="1"/>
        <c:smooth val="0"/>
        <c:axId val="495720320"/>
        <c:axId val="495721856"/>
      </c:lineChart>
      <c:dateAx>
        <c:axId val="495720320"/>
        <c:scaling>
          <c:orientation val="minMax"/>
        </c:scaling>
        <c:delete val="0"/>
        <c:axPos val="b"/>
        <c:numFmt formatCode="[$-409]mmm\-yy;@" sourceLinked="0"/>
        <c:majorTickMark val="out"/>
        <c:minorTickMark val="none"/>
        <c:tickLblPos val="low"/>
        <c:spPr>
          <a:ln>
            <a:solidFill>
              <a:srgbClr val="767A7E"/>
            </a:solidFill>
          </a:ln>
        </c:spPr>
        <c:txPr>
          <a:bodyPr/>
          <a:lstStyle/>
          <a:p>
            <a:pPr>
              <a:defRPr sz="900" b="0" i="0" u="none">
                <a:solidFill>
                  <a:srgbClr val="003C64"/>
                </a:solidFill>
                <a:latin typeface="Arial"/>
                <a:ea typeface="Arial"/>
                <a:cs typeface="Arial"/>
              </a:defRPr>
            </a:pPr>
            <a:endParaRPr lang="en-US"/>
          </a:p>
        </c:txPr>
        <c:crossAx val="495721856"/>
        <c:crosses val="autoZero"/>
        <c:auto val="1"/>
        <c:lblOffset val="100"/>
        <c:baseTimeUnit val="days"/>
      </c:dateAx>
      <c:valAx>
        <c:axId val="495721856"/>
        <c:scaling>
          <c:orientation val="minMax"/>
          <c:max val="150"/>
          <c:min val="80"/>
        </c:scaling>
        <c:delete val="0"/>
        <c:axPos val="l"/>
        <c:majorGridlines>
          <c:spPr>
            <a:ln>
              <a:solidFill>
                <a:srgbClr val="F2F2F2"/>
              </a:solidFill>
            </a:ln>
          </c:spPr>
        </c:majorGridlines>
        <c:numFmt formatCode="General" sourceLinked="0"/>
        <c:majorTickMark val="out"/>
        <c:minorTickMark val="none"/>
        <c:tickLblPos val="nextTo"/>
        <c:spPr>
          <a:ln>
            <a:solidFill>
              <a:srgbClr val="767A7E"/>
            </a:solidFill>
          </a:ln>
        </c:spPr>
        <c:txPr>
          <a:bodyPr/>
          <a:lstStyle/>
          <a:p>
            <a:pPr>
              <a:defRPr sz="900" b="0" i="0" u="none">
                <a:solidFill>
                  <a:srgbClr val="003C64"/>
                </a:solidFill>
                <a:latin typeface="Arial"/>
                <a:ea typeface="Arial"/>
                <a:cs typeface="Arial"/>
              </a:defRPr>
            </a:pPr>
            <a:endParaRPr lang="en-US"/>
          </a:p>
        </c:txPr>
        <c:crossAx val="495720320"/>
        <c:crosses val="autoZero"/>
        <c:crossBetween val="between"/>
      </c:valAx>
      <c:valAx>
        <c:axId val="495735936"/>
        <c:scaling>
          <c:orientation val="minMax"/>
        </c:scaling>
        <c:delete val="0"/>
        <c:axPos val="r"/>
        <c:numFmt formatCode="General" sourceLinked="0"/>
        <c:majorTickMark val="out"/>
        <c:minorTickMark val="none"/>
        <c:tickLblPos val="nextTo"/>
        <c:txPr>
          <a:bodyPr/>
          <a:lstStyle/>
          <a:p>
            <a:pPr>
              <a:defRPr>
                <a:solidFill>
                  <a:srgbClr val="003C64"/>
                </a:solidFill>
              </a:defRPr>
            </a:pPr>
            <a:endParaRPr lang="en-US"/>
          </a:p>
        </c:txPr>
        <c:crossAx val="495737472"/>
        <c:crosses val="max"/>
        <c:crossBetween val="between"/>
      </c:valAx>
      <c:dateAx>
        <c:axId val="495737472"/>
        <c:scaling>
          <c:orientation val="minMax"/>
        </c:scaling>
        <c:delete val="1"/>
        <c:axPos val="b"/>
        <c:numFmt formatCode="m/d/yyyy" sourceLinked="1"/>
        <c:majorTickMark val="out"/>
        <c:minorTickMark val="none"/>
        <c:tickLblPos val="nextTo"/>
        <c:crossAx val="495735936"/>
        <c:crosses val="autoZero"/>
        <c:auto val="1"/>
        <c:lblOffset val="100"/>
        <c:baseTimeUnit val="days"/>
      </c:dateAx>
    </c:plotArea>
    <c:legend>
      <c:legendPos val="b"/>
      <c:overlay val="0"/>
      <c:txPr>
        <a:bodyPr/>
        <a:lstStyle/>
        <a:p>
          <a:pPr>
            <a:defRPr sz="900" b="0" i="0" u="none">
              <a:solidFill>
                <a:srgbClr val="003C64"/>
              </a:solidFill>
              <a:latin typeface="Arial"/>
              <a:ea typeface="Arial"/>
              <a:cs typeface="Arial"/>
            </a:defRPr>
          </a:pPr>
          <a:endParaRPr lang="en-US"/>
        </a:p>
      </c:txPr>
    </c:legend>
    <c:plotVisOnly val="1"/>
    <c:dispBlanksAs val="gap"/>
    <c:showDLblsOverMax val="0"/>
  </c:chart>
  <c:spPr>
    <a:ln w="9525">
      <a:noFill/>
    </a:ln>
  </c:sp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Amundi Fds Europe MinVar BRUT'!$D$4</c:f>
              <c:strCache>
                <c:ptCount val="1"/>
                <c:pt idx="0">
                  <c:v>Amundi Fds Europe Conservative</c:v>
                </c:pt>
              </c:strCache>
            </c:strRef>
          </c:tx>
          <c:spPr>
            <a:ln w="28575">
              <a:solidFill>
                <a:srgbClr val="003C64"/>
              </a:solidFill>
              <a:prstDash val="solid"/>
            </a:ln>
          </c:spPr>
          <c:marker>
            <c:symbol val="none"/>
          </c:marker>
          <c:cat>
            <c:numRef>
              <c:f>'Amundi Fds Europe MinVar BRUT'!$C$5:$C$2289</c:f>
              <c:numCache>
                <c:formatCode>m/d/yyyy</c:formatCode>
                <c:ptCount val="2285"/>
                <c:pt idx="0">
                  <c:v>39933</c:v>
                </c:pt>
                <c:pt idx="1">
                  <c:v>39934</c:v>
                </c:pt>
                <c:pt idx="2">
                  <c:v>39937</c:v>
                </c:pt>
                <c:pt idx="3">
                  <c:v>39938</c:v>
                </c:pt>
                <c:pt idx="4">
                  <c:v>39939</c:v>
                </c:pt>
                <c:pt idx="5">
                  <c:v>39940</c:v>
                </c:pt>
                <c:pt idx="6">
                  <c:v>39941</c:v>
                </c:pt>
                <c:pt idx="7">
                  <c:v>39944</c:v>
                </c:pt>
                <c:pt idx="8">
                  <c:v>39945</c:v>
                </c:pt>
                <c:pt idx="9">
                  <c:v>39946</c:v>
                </c:pt>
                <c:pt idx="10">
                  <c:v>39947</c:v>
                </c:pt>
                <c:pt idx="11">
                  <c:v>39948</c:v>
                </c:pt>
                <c:pt idx="12">
                  <c:v>39951</c:v>
                </c:pt>
                <c:pt idx="13">
                  <c:v>39952</c:v>
                </c:pt>
                <c:pt idx="14">
                  <c:v>39953</c:v>
                </c:pt>
                <c:pt idx="15">
                  <c:v>39954</c:v>
                </c:pt>
                <c:pt idx="16">
                  <c:v>39955</c:v>
                </c:pt>
                <c:pt idx="17">
                  <c:v>39958</c:v>
                </c:pt>
                <c:pt idx="18">
                  <c:v>39959</c:v>
                </c:pt>
                <c:pt idx="19">
                  <c:v>39960</c:v>
                </c:pt>
                <c:pt idx="20">
                  <c:v>39961</c:v>
                </c:pt>
                <c:pt idx="21">
                  <c:v>39962</c:v>
                </c:pt>
                <c:pt idx="22">
                  <c:v>39965</c:v>
                </c:pt>
                <c:pt idx="23">
                  <c:v>39966</c:v>
                </c:pt>
                <c:pt idx="24">
                  <c:v>39967</c:v>
                </c:pt>
                <c:pt idx="25">
                  <c:v>39968</c:v>
                </c:pt>
                <c:pt idx="26">
                  <c:v>39969</c:v>
                </c:pt>
                <c:pt idx="27">
                  <c:v>39972</c:v>
                </c:pt>
                <c:pt idx="28">
                  <c:v>39973</c:v>
                </c:pt>
                <c:pt idx="29">
                  <c:v>39974</c:v>
                </c:pt>
                <c:pt idx="30">
                  <c:v>39975</c:v>
                </c:pt>
                <c:pt idx="31">
                  <c:v>39976</c:v>
                </c:pt>
                <c:pt idx="32">
                  <c:v>39979</c:v>
                </c:pt>
                <c:pt idx="33">
                  <c:v>39980</c:v>
                </c:pt>
                <c:pt idx="34">
                  <c:v>39981</c:v>
                </c:pt>
                <c:pt idx="35">
                  <c:v>39982</c:v>
                </c:pt>
                <c:pt idx="36">
                  <c:v>39983</c:v>
                </c:pt>
                <c:pt idx="37">
                  <c:v>39986</c:v>
                </c:pt>
                <c:pt idx="38">
                  <c:v>39987</c:v>
                </c:pt>
                <c:pt idx="39">
                  <c:v>39988</c:v>
                </c:pt>
                <c:pt idx="40">
                  <c:v>39989</c:v>
                </c:pt>
                <c:pt idx="41">
                  <c:v>39990</c:v>
                </c:pt>
                <c:pt idx="42">
                  <c:v>39993</c:v>
                </c:pt>
                <c:pt idx="43">
                  <c:v>39994</c:v>
                </c:pt>
                <c:pt idx="44">
                  <c:v>39995</c:v>
                </c:pt>
                <c:pt idx="45">
                  <c:v>39996</c:v>
                </c:pt>
                <c:pt idx="46">
                  <c:v>39997</c:v>
                </c:pt>
                <c:pt idx="47">
                  <c:v>40000</c:v>
                </c:pt>
                <c:pt idx="48">
                  <c:v>40001</c:v>
                </c:pt>
                <c:pt idx="49">
                  <c:v>40002</c:v>
                </c:pt>
                <c:pt idx="50">
                  <c:v>40003</c:v>
                </c:pt>
                <c:pt idx="51">
                  <c:v>40004</c:v>
                </c:pt>
                <c:pt idx="52">
                  <c:v>40007</c:v>
                </c:pt>
                <c:pt idx="53">
                  <c:v>40008</c:v>
                </c:pt>
                <c:pt idx="54">
                  <c:v>40009</c:v>
                </c:pt>
                <c:pt idx="55">
                  <c:v>40010</c:v>
                </c:pt>
                <c:pt idx="56">
                  <c:v>40011</c:v>
                </c:pt>
                <c:pt idx="57">
                  <c:v>40014</c:v>
                </c:pt>
                <c:pt idx="58">
                  <c:v>40015</c:v>
                </c:pt>
                <c:pt idx="59">
                  <c:v>40016</c:v>
                </c:pt>
                <c:pt idx="60">
                  <c:v>40017</c:v>
                </c:pt>
                <c:pt idx="61">
                  <c:v>40018</c:v>
                </c:pt>
                <c:pt idx="62">
                  <c:v>40021</c:v>
                </c:pt>
                <c:pt idx="63">
                  <c:v>40022</c:v>
                </c:pt>
                <c:pt idx="64">
                  <c:v>40023</c:v>
                </c:pt>
                <c:pt idx="65">
                  <c:v>40024</c:v>
                </c:pt>
                <c:pt idx="66">
                  <c:v>40025</c:v>
                </c:pt>
                <c:pt idx="67">
                  <c:v>40028</c:v>
                </c:pt>
                <c:pt idx="68">
                  <c:v>40029</c:v>
                </c:pt>
                <c:pt idx="69">
                  <c:v>40030</c:v>
                </c:pt>
                <c:pt idx="70">
                  <c:v>40031</c:v>
                </c:pt>
                <c:pt idx="71">
                  <c:v>40032</c:v>
                </c:pt>
                <c:pt idx="72">
                  <c:v>40035</c:v>
                </c:pt>
                <c:pt idx="73">
                  <c:v>40036</c:v>
                </c:pt>
                <c:pt idx="74">
                  <c:v>40037</c:v>
                </c:pt>
                <c:pt idx="75">
                  <c:v>40038</c:v>
                </c:pt>
                <c:pt idx="76">
                  <c:v>40039</c:v>
                </c:pt>
                <c:pt idx="77">
                  <c:v>40042</c:v>
                </c:pt>
                <c:pt idx="78">
                  <c:v>40043</c:v>
                </c:pt>
                <c:pt idx="79">
                  <c:v>40044</c:v>
                </c:pt>
                <c:pt idx="80">
                  <c:v>40045</c:v>
                </c:pt>
                <c:pt idx="81">
                  <c:v>40046</c:v>
                </c:pt>
                <c:pt idx="82">
                  <c:v>40049</c:v>
                </c:pt>
                <c:pt idx="83">
                  <c:v>40050</c:v>
                </c:pt>
                <c:pt idx="84">
                  <c:v>40051</c:v>
                </c:pt>
                <c:pt idx="85">
                  <c:v>40052</c:v>
                </c:pt>
                <c:pt idx="86">
                  <c:v>40053</c:v>
                </c:pt>
                <c:pt idx="87">
                  <c:v>40056</c:v>
                </c:pt>
                <c:pt idx="88">
                  <c:v>40057</c:v>
                </c:pt>
                <c:pt idx="89">
                  <c:v>40058</c:v>
                </c:pt>
                <c:pt idx="90">
                  <c:v>40059</c:v>
                </c:pt>
                <c:pt idx="91">
                  <c:v>40060</c:v>
                </c:pt>
                <c:pt idx="92">
                  <c:v>40063</c:v>
                </c:pt>
                <c:pt idx="93">
                  <c:v>40064</c:v>
                </c:pt>
                <c:pt idx="94">
                  <c:v>40065</c:v>
                </c:pt>
                <c:pt idx="95">
                  <c:v>40066</c:v>
                </c:pt>
                <c:pt idx="96">
                  <c:v>40067</c:v>
                </c:pt>
                <c:pt idx="97">
                  <c:v>40070</c:v>
                </c:pt>
                <c:pt idx="98">
                  <c:v>40071</c:v>
                </c:pt>
                <c:pt idx="99">
                  <c:v>40072</c:v>
                </c:pt>
                <c:pt idx="100">
                  <c:v>40073</c:v>
                </c:pt>
                <c:pt idx="101">
                  <c:v>40074</c:v>
                </c:pt>
                <c:pt idx="102">
                  <c:v>40077</c:v>
                </c:pt>
                <c:pt idx="103">
                  <c:v>40078</c:v>
                </c:pt>
                <c:pt idx="104">
                  <c:v>40079</c:v>
                </c:pt>
                <c:pt idx="105">
                  <c:v>40080</c:v>
                </c:pt>
                <c:pt idx="106">
                  <c:v>40081</c:v>
                </c:pt>
                <c:pt idx="107">
                  <c:v>40084</c:v>
                </c:pt>
                <c:pt idx="108">
                  <c:v>40085</c:v>
                </c:pt>
                <c:pt idx="109">
                  <c:v>40086</c:v>
                </c:pt>
                <c:pt idx="110">
                  <c:v>40087</c:v>
                </c:pt>
                <c:pt idx="111">
                  <c:v>40088</c:v>
                </c:pt>
                <c:pt idx="112">
                  <c:v>40091</c:v>
                </c:pt>
                <c:pt idx="113">
                  <c:v>40092</c:v>
                </c:pt>
                <c:pt idx="114">
                  <c:v>40093</c:v>
                </c:pt>
                <c:pt idx="115">
                  <c:v>40094</c:v>
                </c:pt>
                <c:pt idx="116">
                  <c:v>40095</c:v>
                </c:pt>
                <c:pt idx="117">
                  <c:v>40098</c:v>
                </c:pt>
                <c:pt idx="118">
                  <c:v>40099</c:v>
                </c:pt>
                <c:pt idx="119">
                  <c:v>40100</c:v>
                </c:pt>
                <c:pt idx="120">
                  <c:v>40101</c:v>
                </c:pt>
                <c:pt idx="121">
                  <c:v>40102</c:v>
                </c:pt>
                <c:pt idx="122">
                  <c:v>40105</c:v>
                </c:pt>
                <c:pt idx="123">
                  <c:v>40106</c:v>
                </c:pt>
                <c:pt idx="124">
                  <c:v>40107</c:v>
                </c:pt>
                <c:pt idx="125">
                  <c:v>40108</c:v>
                </c:pt>
                <c:pt idx="126">
                  <c:v>40109</c:v>
                </c:pt>
                <c:pt idx="127">
                  <c:v>40112</c:v>
                </c:pt>
                <c:pt idx="128">
                  <c:v>40113</c:v>
                </c:pt>
                <c:pt idx="129">
                  <c:v>40114</c:v>
                </c:pt>
                <c:pt idx="130">
                  <c:v>40115</c:v>
                </c:pt>
                <c:pt idx="131">
                  <c:v>40116</c:v>
                </c:pt>
                <c:pt idx="132">
                  <c:v>40119</c:v>
                </c:pt>
                <c:pt idx="133">
                  <c:v>40120</c:v>
                </c:pt>
                <c:pt idx="134">
                  <c:v>40121</c:v>
                </c:pt>
                <c:pt idx="135">
                  <c:v>40122</c:v>
                </c:pt>
                <c:pt idx="136">
                  <c:v>40123</c:v>
                </c:pt>
                <c:pt idx="137">
                  <c:v>40126</c:v>
                </c:pt>
                <c:pt idx="138">
                  <c:v>40127</c:v>
                </c:pt>
                <c:pt idx="139">
                  <c:v>40128</c:v>
                </c:pt>
                <c:pt idx="140">
                  <c:v>40129</c:v>
                </c:pt>
                <c:pt idx="141">
                  <c:v>40130</c:v>
                </c:pt>
                <c:pt idx="142">
                  <c:v>40133</c:v>
                </c:pt>
                <c:pt idx="143">
                  <c:v>40134</c:v>
                </c:pt>
                <c:pt idx="144">
                  <c:v>40135</c:v>
                </c:pt>
                <c:pt idx="145">
                  <c:v>40136</c:v>
                </c:pt>
                <c:pt idx="146">
                  <c:v>40137</c:v>
                </c:pt>
                <c:pt idx="147">
                  <c:v>40140</c:v>
                </c:pt>
                <c:pt idx="148">
                  <c:v>40141</c:v>
                </c:pt>
                <c:pt idx="149">
                  <c:v>40142</c:v>
                </c:pt>
                <c:pt idx="150">
                  <c:v>40143</c:v>
                </c:pt>
                <c:pt idx="151">
                  <c:v>40144</c:v>
                </c:pt>
                <c:pt idx="152">
                  <c:v>40147</c:v>
                </c:pt>
                <c:pt idx="153">
                  <c:v>40148</c:v>
                </c:pt>
                <c:pt idx="154">
                  <c:v>40149</c:v>
                </c:pt>
                <c:pt idx="155">
                  <c:v>40150</c:v>
                </c:pt>
                <c:pt idx="156">
                  <c:v>40151</c:v>
                </c:pt>
                <c:pt idx="157">
                  <c:v>40154</c:v>
                </c:pt>
                <c:pt idx="158">
                  <c:v>40155</c:v>
                </c:pt>
                <c:pt idx="159">
                  <c:v>40156</c:v>
                </c:pt>
                <c:pt idx="160">
                  <c:v>40157</c:v>
                </c:pt>
                <c:pt idx="161">
                  <c:v>40158</c:v>
                </c:pt>
                <c:pt idx="162">
                  <c:v>40161</c:v>
                </c:pt>
                <c:pt idx="163">
                  <c:v>40162</c:v>
                </c:pt>
                <c:pt idx="164">
                  <c:v>40163</c:v>
                </c:pt>
                <c:pt idx="165">
                  <c:v>40164</c:v>
                </c:pt>
                <c:pt idx="166">
                  <c:v>40165</c:v>
                </c:pt>
                <c:pt idx="167">
                  <c:v>40168</c:v>
                </c:pt>
                <c:pt idx="168">
                  <c:v>40169</c:v>
                </c:pt>
                <c:pt idx="169">
                  <c:v>40170</c:v>
                </c:pt>
                <c:pt idx="170">
                  <c:v>40171</c:v>
                </c:pt>
                <c:pt idx="171">
                  <c:v>40172</c:v>
                </c:pt>
                <c:pt idx="172">
                  <c:v>40175</c:v>
                </c:pt>
                <c:pt idx="173">
                  <c:v>40176</c:v>
                </c:pt>
                <c:pt idx="174">
                  <c:v>40177</c:v>
                </c:pt>
                <c:pt idx="175">
                  <c:v>40178</c:v>
                </c:pt>
                <c:pt idx="176">
                  <c:v>40179</c:v>
                </c:pt>
                <c:pt idx="177">
                  <c:v>40182</c:v>
                </c:pt>
                <c:pt idx="178">
                  <c:v>40183</c:v>
                </c:pt>
                <c:pt idx="179">
                  <c:v>40184</c:v>
                </c:pt>
                <c:pt idx="180">
                  <c:v>40185</c:v>
                </c:pt>
                <c:pt idx="181">
                  <c:v>40186</c:v>
                </c:pt>
                <c:pt idx="182">
                  <c:v>40189</c:v>
                </c:pt>
                <c:pt idx="183">
                  <c:v>40190</c:v>
                </c:pt>
                <c:pt idx="184">
                  <c:v>40191</c:v>
                </c:pt>
                <c:pt idx="185">
                  <c:v>40192</c:v>
                </c:pt>
                <c:pt idx="186">
                  <c:v>40193</c:v>
                </c:pt>
                <c:pt idx="187">
                  <c:v>40196</c:v>
                </c:pt>
                <c:pt idx="188">
                  <c:v>40197</c:v>
                </c:pt>
                <c:pt idx="189">
                  <c:v>40198</c:v>
                </c:pt>
                <c:pt idx="190">
                  <c:v>40199</c:v>
                </c:pt>
                <c:pt idx="191">
                  <c:v>40200</c:v>
                </c:pt>
                <c:pt idx="192">
                  <c:v>40203</c:v>
                </c:pt>
                <c:pt idx="193">
                  <c:v>40204</c:v>
                </c:pt>
                <c:pt idx="194">
                  <c:v>40205</c:v>
                </c:pt>
                <c:pt idx="195">
                  <c:v>40206</c:v>
                </c:pt>
                <c:pt idx="196">
                  <c:v>40207</c:v>
                </c:pt>
                <c:pt idx="197">
                  <c:v>40210</c:v>
                </c:pt>
                <c:pt idx="198">
                  <c:v>40211</c:v>
                </c:pt>
                <c:pt idx="199">
                  <c:v>40212</c:v>
                </c:pt>
                <c:pt idx="200">
                  <c:v>40213</c:v>
                </c:pt>
                <c:pt idx="201">
                  <c:v>40214</c:v>
                </c:pt>
                <c:pt idx="202">
                  <c:v>40217</c:v>
                </c:pt>
                <c:pt idx="203">
                  <c:v>40218</c:v>
                </c:pt>
                <c:pt idx="204">
                  <c:v>40219</c:v>
                </c:pt>
                <c:pt idx="205">
                  <c:v>40220</c:v>
                </c:pt>
                <c:pt idx="206">
                  <c:v>40221</c:v>
                </c:pt>
                <c:pt idx="207">
                  <c:v>40224</c:v>
                </c:pt>
                <c:pt idx="208">
                  <c:v>40225</c:v>
                </c:pt>
                <c:pt idx="209">
                  <c:v>40226</c:v>
                </c:pt>
                <c:pt idx="210">
                  <c:v>40227</c:v>
                </c:pt>
                <c:pt idx="211">
                  <c:v>40228</c:v>
                </c:pt>
                <c:pt idx="212">
                  <c:v>40231</c:v>
                </c:pt>
                <c:pt idx="213">
                  <c:v>40232</c:v>
                </c:pt>
                <c:pt idx="214">
                  <c:v>40233</c:v>
                </c:pt>
                <c:pt idx="215">
                  <c:v>40234</c:v>
                </c:pt>
                <c:pt idx="216">
                  <c:v>40235</c:v>
                </c:pt>
                <c:pt idx="217">
                  <c:v>40238</c:v>
                </c:pt>
                <c:pt idx="218">
                  <c:v>40239</c:v>
                </c:pt>
                <c:pt idx="219">
                  <c:v>40240</c:v>
                </c:pt>
                <c:pt idx="220">
                  <c:v>40241</c:v>
                </c:pt>
                <c:pt idx="221">
                  <c:v>40242</c:v>
                </c:pt>
                <c:pt idx="222">
                  <c:v>40245</c:v>
                </c:pt>
                <c:pt idx="223">
                  <c:v>40246</c:v>
                </c:pt>
                <c:pt idx="224">
                  <c:v>40247</c:v>
                </c:pt>
                <c:pt idx="225">
                  <c:v>40248</c:v>
                </c:pt>
                <c:pt idx="226">
                  <c:v>40249</c:v>
                </c:pt>
                <c:pt idx="227">
                  <c:v>40252</c:v>
                </c:pt>
                <c:pt idx="228">
                  <c:v>40253</c:v>
                </c:pt>
                <c:pt idx="229">
                  <c:v>40254</c:v>
                </c:pt>
                <c:pt idx="230">
                  <c:v>40255</c:v>
                </c:pt>
                <c:pt idx="231">
                  <c:v>40256</c:v>
                </c:pt>
                <c:pt idx="232">
                  <c:v>40259</c:v>
                </c:pt>
                <c:pt idx="233">
                  <c:v>40260</c:v>
                </c:pt>
                <c:pt idx="234">
                  <c:v>40261</c:v>
                </c:pt>
                <c:pt idx="235">
                  <c:v>40262</c:v>
                </c:pt>
                <c:pt idx="236">
                  <c:v>40263</c:v>
                </c:pt>
                <c:pt idx="237">
                  <c:v>40266</c:v>
                </c:pt>
                <c:pt idx="238">
                  <c:v>40267</c:v>
                </c:pt>
                <c:pt idx="239">
                  <c:v>40268</c:v>
                </c:pt>
                <c:pt idx="240">
                  <c:v>40269</c:v>
                </c:pt>
                <c:pt idx="241">
                  <c:v>40270</c:v>
                </c:pt>
                <c:pt idx="242">
                  <c:v>40273</c:v>
                </c:pt>
                <c:pt idx="243">
                  <c:v>40274</c:v>
                </c:pt>
                <c:pt idx="244">
                  <c:v>40275</c:v>
                </c:pt>
                <c:pt idx="245">
                  <c:v>40276</c:v>
                </c:pt>
                <c:pt idx="246">
                  <c:v>40277</c:v>
                </c:pt>
                <c:pt idx="247">
                  <c:v>40280</c:v>
                </c:pt>
                <c:pt idx="248">
                  <c:v>40281</c:v>
                </c:pt>
                <c:pt idx="249">
                  <c:v>40282</c:v>
                </c:pt>
                <c:pt idx="250">
                  <c:v>40283</c:v>
                </c:pt>
                <c:pt idx="251">
                  <c:v>40284</c:v>
                </c:pt>
                <c:pt idx="252">
                  <c:v>40287</c:v>
                </c:pt>
                <c:pt idx="253">
                  <c:v>40288</c:v>
                </c:pt>
                <c:pt idx="254">
                  <c:v>40289</c:v>
                </c:pt>
                <c:pt idx="255">
                  <c:v>40290</c:v>
                </c:pt>
                <c:pt idx="256">
                  <c:v>40291</c:v>
                </c:pt>
                <c:pt idx="257">
                  <c:v>40294</c:v>
                </c:pt>
                <c:pt idx="258">
                  <c:v>40295</c:v>
                </c:pt>
                <c:pt idx="259">
                  <c:v>40296</c:v>
                </c:pt>
                <c:pt idx="260">
                  <c:v>40297</c:v>
                </c:pt>
                <c:pt idx="261">
                  <c:v>40298</c:v>
                </c:pt>
                <c:pt idx="262">
                  <c:v>40301</c:v>
                </c:pt>
                <c:pt idx="263">
                  <c:v>40302</c:v>
                </c:pt>
                <c:pt idx="264">
                  <c:v>40303</c:v>
                </c:pt>
                <c:pt idx="265">
                  <c:v>40304</c:v>
                </c:pt>
                <c:pt idx="266">
                  <c:v>40305</c:v>
                </c:pt>
                <c:pt idx="267">
                  <c:v>40308</c:v>
                </c:pt>
                <c:pt idx="268">
                  <c:v>40309</c:v>
                </c:pt>
                <c:pt idx="269">
                  <c:v>40310</c:v>
                </c:pt>
                <c:pt idx="270">
                  <c:v>40311</c:v>
                </c:pt>
                <c:pt idx="271">
                  <c:v>40312</c:v>
                </c:pt>
                <c:pt idx="272">
                  <c:v>40315</c:v>
                </c:pt>
                <c:pt idx="273">
                  <c:v>40316</c:v>
                </c:pt>
                <c:pt idx="274">
                  <c:v>40317</c:v>
                </c:pt>
                <c:pt idx="275">
                  <c:v>40318</c:v>
                </c:pt>
                <c:pt idx="276">
                  <c:v>40319</c:v>
                </c:pt>
                <c:pt idx="277">
                  <c:v>40322</c:v>
                </c:pt>
                <c:pt idx="278">
                  <c:v>40323</c:v>
                </c:pt>
                <c:pt idx="279">
                  <c:v>40324</c:v>
                </c:pt>
                <c:pt idx="280">
                  <c:v>40325</c:v>
                </c:pt>
                <c:pt idx="281">
                  <c:v>40326</c:v>
                </c:pt>
                <c:pt idx="282">
                  <c:v>40329</c:v>
                </c:pt>
                <c:pt idx="283">
                  <c:v>40330</c:v>
                </c:pt>
                <c:pt idx="284">
                  <c:v>40331</c:v>
                </c:pt>
                <c:pt idx="285">
                  <c:v>40332</c:v>
                </c:pt>
                <c:pt idx="286">
                  <c:v>40333</c:v>
                </c:pt>
                <c:pt idx="287">
                  <c:v>40336</c:v>
                </c:pt>
                <c:pt idx="288">
                  <c:v>40337</c:v>
                </c:pt>
                <c:pt idx="289">
                  <c:v>40338</c:v>
                </c:pt>
                <c:pt idx="290">
                  <c:v>40339</c:v>
                </c:pt>
                <c:pt idx="291">
                  <c:v>40340</c:v>
                </c:pt>
                <c:pt idx="292">
                  <c:v>40343</c:v>
                </c:pt>
                <c:pt idx="293">
                  <c:v>40344</c:v>
                </c:pt>
                <c:pt idx="294">
                  <c:v>40345</c:v>
                </c:pt>
                <c:pt idx="295">
                  <c:v>40346</c:v>
                </c:pt>
                <c:pt idx="296">
                  <c:v>40347</c:v>
                </c:pt>
                <c:pt idx="297">
                  <c:v>40350</c:v>
                </c:pt>
                <c:pt idx="298">
                  <c:v>40351</c:v>
                </c:pt>
                <c:pt idx="299">
                  <c:v>40352</c:v>
                </c:pt>
                <c:pt idx="300">
                  <c:v>40353</c:v>
                </c:pt>
                <c:pt idx="301">
                  <c:v>40354</c:v>
                </c:pt>
                <c:pt idx="302">
                  <c:v>40357</c:v>
                </c:pt>
                <c:pt idx="303">
                  <c:v>40358</c:v>
                </c:pt>
                <c:pt idx="304">
                  <c:v>40359</c:v>
                </c:pt>
                <c:pt idx="305">
                  <c:v>40360</c:v>
                </c:pt>
                <c:pt idx="306">
                  <c:v>40361</c:v>
                </c:pt>
                <c:pt idx="307">
                  <c:v>40364</c:v>
                </c:pt>
                <c:pt idx="308">
                  <c:v>40365</c:v>
                </c:pt>
                <c:pt idx="309">
                  <c:v>40366</c:v>
                </c:pt>
                <c:pt idx="310">
                  <c:v>40367</c:v>
                </c:pt>
                <c:pt idx="311">
                  <c:v>40368</c:v>
                </c:pt>
                <c:pt idx="312">
                  <c:v>40371</c:v>
                </c:pt>
                <c:pt idx="313">
                  <c:v>40372</c:v>
                </c:pt>
                <c:pt idx="314">
                  <c:v>40373</c:v>
                </c:pt>
                <c:pt idx="315">
                  <c:v>40374</c:v>
                </c:pt>
                <c:pt idx="316">
                  <c:v>40375</c:v>
                </c:pt>
                <c:pt idx="317">
                  <c:v>40378</c:v>
                </c:pt>
                <c:pt idx="318">
                  <c:v>40379</c:v>
                </c:pt>
                <c:pt idx="319">
                  <c:v>40380</c:v>
                </c:pt>
                <c:pt idx="320">
                  <c:v>40381</c:v>
                </c:pt>
                <c:pt idx="321">
                  <c:v>40382</c:v>
                </c:pt>
                <c:pt idx="322">
                  <c:v>40385</c:v>
                </c:pt>
                <c:pt idx="323">
                  <c:v>40386</c:v>
                </c:pt>
                <c:pt idx="324">
                  <c:v>40387</c:v>
                </c:pt>
                <c:pt idx="325">
                  <c:v>40388</c:v>
                </c:pt>
                <c:pt idx="326">
                  <c:v>40389</c:v>
                </c:pt>
                <c:pt idx="327">
                  <c:v>40392</c:v>
                </c:pt>
                <c:pt idx="328">
                  <c:v>40393</c:v>
                </c:pt>
                <c:pt idx="329">
                  <c:v>40394</c:v>
                </c:pt>
                <c:pt idx="330">
                  <c:v>40395</c:v>
                </c:pt>
                <c:pt idx="331">
                  <c:v>40396</c:v>
                </c:pt>
                <c:pt idx="332">
                  <c:v>40399</c:v>
                </c:pt>
                <c:pt idx="333">
                  <c:v>40400</c:v>
                </c:pt>
                <c:pt idx="334">
                  <c:v>40401</c:v>
                </c:pt>
                <c:pt idx="335">
                  <c:v>40402</c:v>
                </c:pt>
                <c:pt idx="336">
                  <c:v>40403</c:v>
                </c:pt>
                <c:pt idx="337">
                  <c:v>40406</c:v>
                </c:pt>
                <c:pt idx="338">
                  <c:v>40407</c:v>
                </c:pt>
                <c:pt idx="339">
                  <c:v>40408</c:v>
                </c:pt>
                <c:pt idx="340">
                  <c:v>40409</c:v>
                </c:pt>
                <c:pt idx="341">
                  <c:v>40410</c:v>
                </c:pt>
                <c:pt idx="342">
                  <c:v>40413</c:v>
                </c:pt>
                <c:pt idx="343">
                  <c:v>40414</c:v>
                </c:pt>
                <c:pt idx="344">
                  <c:v>40415</c:v>
                </c:pt>
                <c:pt idx="345">
                  <c:v>40416</c:v>
                </c:pt>
                <c:pt idx="346">
                  <c:v>40417</c:v>
                </c:pt>
                <c:pt idx="347">
                  <c:v>40420</c:v>
                </c:pt>
                <c:pt idx="348">
                  <c:v>40421</c:v>
                </c:pt>
                <c:pt idx="349">
                  <c:v>40422</c:v>
                </c:pt>
                <c:pt idx="350">
                  <c:v>40423</c:v>
                </c:pt>
                <c:pt idx="351">
                  <c:v>40424</c:v>
                </c:pt>
                <c:pt idx="352">
                  <c:v>40427</c:v>
                </c:pt>
                <c:pt idx="353">
                  <c:v>40428</c:v>
                </c:pt>
                <c:pt idx="354">
                  <c:v>40429</c:v>
                </c:pt>
                <c:pt idx="355">
                  <c:v>40430</c:v>
                </c:pt>
                <c:pt idx="356">
                  <c:v>40431</c:v>
                </c:pt>
                <c:pt idx="357">
                  <c:v>40434</c:v>
                </c:pt>
                <c:pt idx="358">
                  <c:v>40435</c:v>
                </c:pt>
                <c:pt idx="359">
                  <c:v>40436</c:v>
                </c:pt>
                <c:pt idx="360">
                  <c:v>40437</c:v>
                </c:pt>
                <c:pt idx="361">
                  <c:v>40438</c:v>
                </c:pt>
                <c:pt idx="362">
                  <c:v>40441</c:v>
                </c:pt>
                <c:pt idx="363">
                  <c:v>40442</c:v>
                </c:pt>
                <c:pt idx="364">
                  <c:v>40443</c:v>
                </c:pt>
                <c:pt idx="365">
                  <c:v>40444</c:v>
                </c:pt>
                <c:pt idx="366">
                  <c:v>40445</c:v>
                </c:pt>
                <c:pt idx="367">
                  <c:v>40448</c:v>
                </c:pt>
                <c:pt idx="368">
                  <c:v>40449</c:v>
                </c:pt>
                <c:pt idx="369">
                  <c:v>40450</c:v>
                </c:pt>
                <c:pt idx="370">
                  <c:v>40451</c:v>
                </c:pt>
                <c:pt idx="371">
                  <c:v>40452</c:v>
                </c:pt>
                <c:pt idx="372">
                  <c:v>40455</c:v>
                </c:pt>
                <c:pt idx="373">
                  <c:v>40456</c:v>
                </c:pt>
                <c:pt idx="374">
                  <c:v>40457</c:v>
                </c:pt>
                <c:pt idx="375">
                  <c:v>40458</c:v>
                </c:pt>
                <c:pt idx="376">
                  <c:v>40459</c:v>
                </c:pt>
                <c:pt idx="377">
                  <c:v>40462</c:v>
                </c:pt>
                <c:pt idx="378">
                  <c:v>40463</c:v>
                </c:pt>
                <c:pt idx="379">
                  <c:v>40464</c:v>
                </c:pt>
                <c:pt idx="380">
                  <c:v>40465</c:v>
                </c:pt>
                <c:pt idx="381">
                  <c:v>40466</c:v>
                </c:pt>
                <c:pt idx="382">
                  <c:v>40469</c:v>
                </c:pt>
                <c:pt idx="383">
                  <c:v>40470</c:v>
                </c:pt>
                <c:pt idx="384">
                  <c:v>40471</c:v>
                </c:pt>
                <c:pt idx="385">
                  <c:v>40472</c:v>
                </c:pt>
                <c:pt idx="386">
                  <c:v>40473</c:v>
                </c:pt>
                <c:pt idx="387">
                  <c:v>40476</c:v>
                </c:pt>
                <c:pt idx="388">
                  <c:v>40477</c:v>
                </c:pt>
                <c:pt idx="389">
                  <c:v>40478</c:v>
                </c:pt>
                <c:pt idx="390">
                  <c:v>40479</c:v>
                </c:pt>
                <c:pt idx="391">
                  <c:v>40480</c:v>
                </c:pt>
                <c:pt idx="392">
                  <c:v>40483</c:v>
                </c:pt>
                <c:pt idx="393">
                  <c:v>40484</c:v>
                </c:pt>
                <c:pt idx="394">
                  <c:v>40485</c:v>
                </c:pt>
                <c:pt idx="395">
                  <c:v>40486</c:v>
                </c:pt>
                <c:pt idx="396">
                  <c:v>40487</c:v>
                </c:pt>
                <c:pt idx="397">
                  <c:v>40490</c:v>
                </c:pt>
                <c:pt idx="398">
                  <c:v>40491</c:v>
                </c:pt>
                <c:pt idx="399">
                  <c:v>40492</c:v>
                </c:pt>
                <c:pt idx="400">
                  <c:v>40493</c:v>
                </c:pt>
                <c:pt idx="401">
                  <c:v>40494</c:v>
                </c:pt>
                <c:pt idx="402">
                  <c:v>40497</c:v>
                </c:pt>
                <c:pt idx="403">
                  <c:v>40498</c:v>
                </c:pt>
                <c:pt idx="404">
                  <c:v>40499</c:v>
                </c:pt>
                <c:pt idx="405">
                  <c:v>40500</c:v>
                </c:pt>
                <c:pt idx="406">
                  <c:v>40501</c:v>
                </c:pt>
                <c:pt idx="407">
                  <c:v>40504</c:v>
                </c:pt>
                <c:pt idx="408">
                  <c:v>40505</c:v>
                </c:pt>
                <c:pt idx="409">
                  <c:v>40506</c:v>
                </c:pt>
                <c:pt idx="410">
                  <c:v>40507</c:v>
                </c:pt>
                <c:pt idx="411">
                  <c:v>40508</c:v>
                </c:pt>
                <c:pt idx="412">
                  <c:v>40511</c:v>
                </c:pt>
                <c:pt idx="413">
                  <c:v>40512</c:v>
                </c:pt>
                <c:pt idx="414">
                  <c:v>40513</c:v>
                </c:pt>
                <c:pt idx="415">
                  <c:v>40514</c:v>
                </c:pt>
                <c:pt idx="416">
                  <c:v>40515</c:v>
                </c:pt>
                <c:pt idx="417">
                  <c:v>40518</c:v>
                </c:pt>
                <c:pt idx="418">
                  <c:v>40519</c:v>
                </c:pt>
                <c:pt idx="419">
                  <c:v>40520</c:v>
                </c:pt>
                <c:pt idx="420">
                  <c:v>40521</c:v>
                </c:pt>
                <c:pt idx="421">
                  <c:v>40522</c:v>
                </c:pt>
                <c:pt idx="422">
                  <c:v>40525</c:v>
                </c:pt>
                <c:pt idx="423">
                  <c:v>40526</c:v>
                </c:pt>
                <c:pt idx="424">
                  <c:v>40527</c:v>
                </c:pt>
                <c:pt idx="425">
                  <c:v>40528</c:v>
                </c:pt>
                <c:pt idx="426">
                  <c:v>40529</c:v>
                </c:pt>
                <c:pt idx="427">
                  <c:v>40532</c:v>
                </c:pt>
                <c:pt idx="428">
                  <c:v>40533</c:v>
                </c:pt>
                <c:pt idx="429">
                  <c:v>40534</c:v>
                </c:pt>
                <c:pt idx="430">
                  <c:v>40535</c:v>
                </c:pt>
                <c:pt idx="431">
                  <c:v>40536</c:v>
                </c:pt>
                <c:pt idx="432">
                  <c:v>40539</c:v>
                </c:pt>
                <c:pt idx="433">
                  <c:v>40540</c:v>
                </c:pt>
                <c:pt idx="434">
                  <c:v>40541</c:v>
                </c:pt>
                <c:pt idx="435">
                  <c:v>40542</c:v>
                </c:pt>
                <c:pt idx="436">
                  <c:v>40543</c:v>
                </c:pt>
                <c:pt idx="437">
                  <c:v>40546</c:v>
                </c:pt>
                <c:pt idx="438">
                  <c:v>40547</c:v>
                </c:pt>
                <c:pt idx="439">
                  <c:v>40548</c:v>
                </c:pt>
                <c:pt idx="440">
                  <c:v>40549</c:v>
                </c:pt>
                <c:pt idx="441">
                  <c:v>40550</c:v>
                </c:pt>
                <c:pt idx="442">
                  <c:v>40553</c:v>
                </c:pt>
                <c:pt idx="443">
                  <c:v>40554</c:v>
                </c:pt>
                <c:pt idx="444">
                  <c:v>40555</c:v>
                </c:pt>
                <c:pt idx="445">
                  <c:v>40556</c:v>
                </c:pt>
                <c:pt idx="446">
                  <c:v>40557</c:v>
                </c:pt>
                <c:pt idx="447">
                  <c:v>40560</c:v>
                </c:pt>
                <c:pt idx="448">
                  <c:v>40561</c:v>
                </c:pt>
                <c:pt idx="449">
                  <c:v>40562</c:v>
                </c:pt>
                <c:pt idx="450">
                  <c:v>40563</c:v>
                </c:pt>
                <c:pt idx="451">
                  <c:v>40564</c:v>
                </c:pt>
                <c:pt idx="452">
                  <c:v>40567</c:v>
                </c:pt>
                <c:pt idx="453">
                  <c:v>40568</c:v>
                </c:pt>
                <c:pt idx="454">
                  <c:v>40569</c:v>
                </c:pt>
                <c:pt idx="455">
                  <c:v>40570</c:v>
                </c:pt>
                <c:pt idx="456">
                  <c:v>40571</c:v>
                </c:pt>
                <c:pt idx="457">
                  <c:v>40574</c:v>
                </c:pt>
                <c:pt idx="458">
                  <c:v>40575</c:v>
                </c:pt>
                <c:pt idx="459">
                  <c:v>40576</c:v>
                </c:pt>
                <c:pt idx="460">
                  <c:v>40577</c:v>
                </c:pt>
                <c:pt idx="461">
                  <c:v>40578</c:v>
                </c:pt>
                <c:pt idx="462">
                  <c:v>40581</c:v>
                </c:pt>
                <c:pt idx="463">
                  <c:v>40582</c:v>
                </c:pt>
                <c:pt idx="464">
                  <c:v>40583</c:v>
                </c:pt>
                <c:pt idx="465">
                  <c:v>40584</c:v>
                </c:pt>
                <c:pt idx="466">
                  <c:v>40585</c:v>
                </c:pt>
                <c:pt idx="467">
                  <c:v>40588</c:v>
                </c:pt>
                <c:pt idx="468">
                  <c:v>40589</c:v>
                </c:pt>
                <c:pt idx="469">
                  <c:v>40590</c:v>
                </c:pt>
                <c:pt idx="470">
                  <c:v>40591</c:v>
                </c:pt>
                <c:pt idx="471">
                  <c:v>40592</c:v>
                </c:pt>
                <c:pt idx="472">
                  <c:v>40595</c:v>
                </c:pt>
                <c:pt idx="473">
                  <c:v>40596</c:v>
                </c:pt>
                <c:pt idx="474">
                  <c:v>40597</c:v>
                </c:pt>
                <c:pt idx="475">
                  <c:v>40598</c:v>
                </c:pt>
                <c:pt idx="476">
                  <c:v>40599</c:v>
                </c:pt>
                <c:pt idx="477">
                  <c:v>40602</c:v>
                </c:pt>
                <c:pt idx="478">
                  <c:v>40603</c:v>
                </c:pt>
                <c:pt idx="479">
                  <c:v>40604</c:v>
                </c:pt>
                <c:pt idx="480">
                  <c:v>40605</c:v>
                </c:pt>
                <c:pt idx="481">
                  <c:v>40606</c:v>
                </c:pt>
                <c:pt idx="482">
                  <c:v>40609</c:v>
                </c:pt>
                <c:pt idx="483">
                  <c:v>40610</c:v>
                </c:pt>
                <c:pt idx="484">
                  <c:v>40611</c:v>
                </c:pt>
                <c:pt idx="485">
                  <c:v>40612</c:v>
                </c:pt>
                <c:pt idx="486">
                  <c:v>40613</c:v>
                </c:pt>
                <c:pt idx="487">
                  <c:v>40616</c:v>
                </c:pt>
                <c:pt idx="488">
                  <c:v>40617</c:v>
                </c:pt>
                <c:pt idx="489">
                  <c:v>40618</c:v>
                </c:pt>
                <c:pt idx="490">
                  <c:v>40619</c:v>
                </c:pt>
                <c:pt idx="491">
                  <c:v>40620</c:v>
                </c:pt>
                <c:pt idx="492">
                  <c:v>40623</c:v>
                </c:pt>
                <c:pt idx="493">
                  <c:v>40624</c:v>
                </c:pt>
                <c:pt idx="494">
                  <c:v>40625</c:v>
                </c:pt>
                <c:pt idx="495">
                  <c:v>40626</c:v>
                </c:pt>
                <c:pt idx="496">
                  <c:v>40627</c:v>
                </c:pt>
                <c:pt idx="497">
                  <c:v>40630</c:v>
                </c:pt>
                <c:pt idx="498">
                  <c:v>40631</c:v>
                </c:pt>
                <c:pt idx="499">
                  <c:v>40632</c:v>
                </c:pt>
                <c:pt idx="500">
                  <c:v>40633</c:v>
                </c:pt>
                <c:pt idx="501">
                  <c:v>40634</c:v>
                </c:pt>
                <c:pt idx="502">
                  <c:v>40637</c:v>
                </c:pt>
                <c:pt idx="503">
                  <c:v>40638</c:v>
                </c:pt>
                <c:pt idx="504">
                  <c:v>40639</c:v>
                </c:pt>
                <c:pt idx="505">
                  <c:v>40640</c:v>
                </c:pt>
                <c:pt idx="506">
                  <c:v>40641</c:v>
                </c:pt>
                <c:pt idx="507">
                  <c:v>40644</c:v>
                </c:pt>
                <c:pt idx="508">
                  <c:v>40645</c:v>
                </c:pt>
                <c:pt idx="509">
                  <c:v>40646</c:v>
                </c:pt>
                <c:pt idx="510">
                  <c:v>40647</c:v>
                </c:pt>
                <c:pt idx="511">
                  <c:v>40648</c:v>
                </c:pt>
                <c:pt idx="512">
                  <c:v>40651</c:v>
                </c:pt>
                <c:pt idx="513">
                  <c:v>40652</c:v>
                </c:pt>
                <c:pt idx="514">
                  <c:v>40653</c:v>
                </c:pt>
                <c:pt idx="515">
                  <c:v>40654</c:v>
                </c:pt>
                <c:pt idx="516">
                  <c:v>40655</c:v>
                </c:pt>
                <c:pt idx="517">
                  <c:v>40658</c:v>
                </c:pt>
                <c:pt idx="518">
                  <c:v>40659</c:v>
                </c:pt>
                <c:pt idx="519">
                  <c:v>40660</c:v>
                </c:pt>
                <c:pt idx="520">
                  <c:v>40661</c:v>
                </c:pt>
                <c:pt idx="521">
                  <c:v>40662</c:v>
                </c:pt>
                <c:pt idx="522">
                  <c:v>40665</c:v>
                </c:pt>
                <c:pt idx="523">
                  <c:v>40666</c:v>
                </c:pt>
                <c:pt idx="524">
                  <c:v>40667</c:v>
                </c:pt>
                <c:pt idx="525">
                  <c:v>40668</c:v>
                </c:pt>
                <c:pt idx="526">
                  <c:v>40669</c:v>
                </c:pt>
                <c:pt idx="527">
                  <c:v>40672</c:v>
                </c:pt>
                <c:pt idx="528">
                  <c:v>40673</c:v>
                </c:pt>
                <c:pt idx="529">
                  <c:v>40674</c:v>
                </c:pt>
                <c:pt idx="530">
                  <c:v>40675</c:v>
                </c:pt>
                <c:pt idx="531">
                  <c:v>40676</c:v>
                </c:pt>
                <c:pt idx="532">
                  <c:v>40679</c:v>
                </c:pt>
                <c:pt idx="533">
                  <c:v>40680</c:v>
                </c:pt>
                <c:pt idx="534">
                  <c:v>40681</c:v>
                </c:pt>
                <c:pt idx="535">
                  <c:v>40682</c:v>
                </c:pt>
                <c:pt idx="536">
                  <c:v>40683</c:v>
                </c:pt>
                <c:pt idx="537">
                  <c:v>40686</c:v>
                </c:pt>
                <c:pt idx="538">
                  <c:v>40687</c:v>
                </c:pt>
                <c:pt idx="539">
                  <c:v>40688</c:v>
                </c:pt>
                <c:pt idx="540">
                  <c:v>40689</c:v>
                </c:pt>
                <c:pt idx="541">
                  <c:v>40690</c:v>
                </c:pt>
                <c:pt idx="542">
                  <c:v>40693</c:v>
                </c:pt>
                <c:pt idx="543">
                  <c:v>40694</c:v>
                </c:pt>
                <c:pt idx="544">
                  <c:v>40695</c:v>
                </c:pt>
                <c:pt idx="545">
                  <c:v>40696</c:v>
                </c:pt>
                <c:pt idx="546">
                  <c:v>40697</c:v>
                </c:pt>
                <c:pt idx="547">
                  <c:v>40700</c:v>
                </c:pt>
                <c:pt idx="548">
                  <c:v>40701</c:v>
                </c:pt>
                <c:pt idx="549">
                  <c:v>40702</c:v>
                </c:pt>
                <c:pt idx="550">
                  <c:v>40703</c:v>
                </c:pt>
                <c:pt idx="551">
                  <c:v>40704</c:v>
                </c:pt>
                <c:pt idx="552">
                  <c:v>40707</c:v>
                </c:pt>
                <c:pt idx="553">
                  <c:v>40708</c:v>
                </c:pt>
                <c:pt idx="554">
                  <c:v>40709</c:v>
                </c:pt>
                <c:pt idx="555">
                  <c:v>40710</c:v>
                </c:pt>
                <c:pt idx="556">
                  <c:v>40711</c:v>
                </c:pt>
                <c:pt idx="557">
                  <c:v>40714</c:v>
                </c:pt>
                <c:pt idx="558">
                  <c:v>40715</c:v>
                </c:pt>
                <c:pt idx="559">
                  <c:v>40716</c:v>
                </c:pt>
                <c:pt idx="560">
                  <c:v>40717</c:v>
                </c:pt>
                <c:pt idx="561">
                  <c:v>40718</c:v>
                </c:pt>
                <c:pt idx="562">
                  <c:v>40721</c:v>
                </c:pt>
                <c:pt idx="563">
                  <c:v>40722</c:v>
                </c:pt>
                <c:pt idx="564">
                  <c:v>40723</c:v>
                </c:pt>
                <c:pt idx="565">
                  <c:v>40724</c:v>
                </c:pt>
                <c:pt idx="566">
                  <c:v>40725</c:v>
                </c:pt>
                <c:pt idx="567">
                  <c:v>40728</c:v>
                </c:pt>
                <c:pt idx="568">
                  <c:v>40729</c:v>
                </c:pt>
                <c:pt idx="569">
                  <c:v>40730</c:v>
                </c:pt>
                <c:pt idx="570">
                  <c:v>40731</c:v>
                </c:pt>
                <c:pt idx="571">
                  <c:v>40732</c:v>
                </c:pt>
                <c:pt idx="572">
                  <c:v>40735</c:v>
                </c:pt>
                <c:pt idx="573">
                  <c:v>40736</c:v>
                </c:pt>
                <c:pt idx="574">
                  <c:v>40737</c:v>
                </c:pt>
                <c:pt idx="575">
                  <c:v>40738</c:v>
                </c:pt>
                <c:pt idx="576">
                  <c:v>40739</c:v>
                </c:pt>
                <c:pt idx="577">
                  <c:v>40742</c:v>
                </c:pt>
                <c:pt idx="578">
                  <c:v>40743</c:v>
                </c:pt>
                <c:pt idx="579">
                  <c:v>40744</c:v>
                </c:pt>
                <c:pt idx="580">
                  <c:v>40745</c:v>
                </c:pt>
                <c:pt idx="581">
                  <c:v>40746</c:v>
                </c:pt>
                <c:pt idx="582">
                  <c:v>40749</c:v>
                </c:pt>
                <c:pt idx="583">
                  <c:v>40750</c:v>
                </c:pt>
                <c:pt idx="584">
                  <c:v>40751</c:v>
                </c:pt>
                <c:pt idx="585">
                  <c:v>40752</c:v>
                </c:pt>
                <c:pt idx="586">
                  <c:v>40753</c:v>
                </c:pt>
                <c:pt idx="587">
                  <c:v>40756</c:v>
                </c:pt>
                <c:pt idx="588">
                  <c:v>40757</c:v>
                </c:pt>
                <c:pt idx="589">
                  <c:v>40758</c:v>
                </c:pt>
                <c:pt idx="590">
                  <c:v>40759</c:v>
                </c:pt>
                <c:pt idx="591">
                  <c:v>40760</c:v>
                </c:pt>
                <c:pt idx="592">
                  <c:v>40763</c:v>
                </c:pt>
                <c:pt idx="593">
                  <c:v>40764</c:v>
                </c:pt>
                <c:pt idx="594">
                  <c:v>40765</c:v>
                </c:pt>
                <c:pt idx="595">
                  <c:v>40766</c:v>
                </c:pt>
                <c:pt idx="596">
                  <c:v>40767</c:v>
                </c:pt>
                <c:pt idx="597">
                  <c:v>40770</c:v>
                </c:pt>
                <c:pt idx="598">
                  <c:v>40771</c:v>
                </c:pt>
                <c:pt idx="599">
                  <c:v>40772</c:v>
                </c:pt>
                <c:pt idx="600">
                  <c:v>40773</c:v>
                </c:pt>
                <c:pt idx="601">
                  <c:v>40774</c:v>
                </c:pt>
                <c:pt idx="602">
                  <c:v>40777</c:v>
                </c:pt>
                <c:pt idx="603">
                  <c:v>40778</c:v>
                </c:pt>
                <c:pt idx="604">
                  <c:v>40779</c:v>
                </c:pt>
                <c:pt idx="605">
                  <c:v>40780</c:v>
                </c:pt>
                <c:pt idx="606">
                  <c:v>40781</c:v>
                </c:pt>
                <c:pt idx="607">
                  <c:v>40784</c:v>
                </c:pt>
                <c:pt idx="608">
                  <c:v>40785</c:v>
                </c:pt>
                <c:pt idx="609">
                  <c:v>40786</c:v>
                </c:pt>
                <c:pt idx="610">
                  <c:v>40787</c:v>
                </c:pt>
                <c:pt idx="611">
                  <c:v>40788</c:v>
                </c:pt>
                <c:pt idx="612">
                  <c:v>40791</c:v>
                </c:pt>
                <c:pt idx="613">
                  <c:v>40792</c:v>
                </c:pt>
                <c:pt idx="614">
                  <c:v>40793</c:v>
                </c:pt>
                <c:pt idx="615">
                  <c:v>40794</c:v>
                </c:pt>
                <c:pt idx="616">
                  <c:v>40795</c:v>
                </c:pt>
                <c:pt idx="617">
                  <c:v>40798</c:v>
                </c:pt>
                <c:pt idx="618">
                  <c:v>40799</c:v>
                </c:pt>
                <c:pt idx="619">
                  <c:v>40800</c:v>
                </c:pt>
                <c:pt idx="620">
                  <c:v>40801</c:v>
                </c:pt>
                <c:pt idx="621">
                  <c:v>40802</c:v>
                </c:pt>
                <c:pt idx="622">
                  <c:v>40805</c:v>
                </c:pt>
                <c:pt idx="623">
                  <c:v>40806</c:v>
                </c:pt>
                <c:pt idx="624">
                  <c:v>40807</c:v>
                </c:pt>
                <c:pt idx="625">
                  <c:v>40808</c:v>
                </c:pt>
                <c:pt idx="626">
                  <c:v>40809</c:v>
                </c:pt>
                <c:pt idx="627">
                  <c:v>40812</c:v>
                </c:pt>
                <c:pt idx="628">
                  <c:v>40813</c:v>
                </c:pt>
                <c:pt idx="629">
                  <c:v>40814</c:v>
                </c:pt>
                <c:pt idx="630">
                  <c:v>40815</c:v>
                </c:pt>
                <c:pt idx="631">
                  <c:v>40816</c:v>
                </c:pt>
                <c:pt idx="632">
                  <c:v>40819</c:v>
                </c:pt>
                <c:pt idx="633">
                  <c:v>40820</c:v>
                </c:pt>
                <c:pt idx="634">
                  <c:v>40821</c:v>
                </c:pt>
                <c:pt idx="635">
                  <c:v>40822</c:v>
                </c:pt>
                <c:pt idx="636">
                  <c:v>40823</c:v>
                </c:pt>
                <c:pt idx="637">
                  <c:v>40826</c:v>
                </c:pt>
                <c:pt idx="638">
                  <c:v>40827</c:v>
                </c:pt>
                <c:pt idx="639">
                  <c:v>40828</c:v>
                </c:pt>
                <c:pt idx="640">
                  <c:v>40829</c:v>
                </c:pt>
                <c:pt idx="641">
                  <c:v>40830</c:v>
                </c:pt>
                <c:pt idx="642">
                  <c:v>40833</c:v>
                </c:pt>
                <c:pt idx="643">
                  <c:v>40834</c:v>
                </c:pt>
                <c:pt idx="644">
                  <c:v>40835</c:v>
                </c:pt>
                <c:pt idx="645">
                  <c:v>40836</c:v>
                </c:pt>
                <c:pt idx="646">
                  <c:v>40837</c:v>
                </c:pt>
                <c:pt idx="647">
                  <c:v>40840</c:v>
                </c:pt>
                <c:pt idx="648">
                  <c:v>40841</c:v>
                </c:pt>
                <c:pt idx="649">
                  <c:v>40842</c:v>
                </c:pt>
                <c:pt idx="650">
                  <c:v>40843</c:v>
                </c:pt>
                <c:pt idx="651">
                  <c:v>40844</c:v>
                </c:pt>
                <c:pt idx="652">
                  <c:v>40847</c:v>
                </c:pt>
                <c:pt idx="653">
                  <c:v>40848</c:v>
                </c:pt>
                <c:pt idx="654">
                  <c:v>40849</c:v>
                </c:pt>
                <c:pt idx="655">
                  <c:v>40850</c:v>
                </c:pt>
                <c:pt idx="656">
                  <c:v>40851</c:v>
                </c:pt>
                <c:pt idx="657">
                  <c:v>40854</c:v>
                </c:pt>
                <c:pt idx="658">
                  <c:v>40855</c:v>
                </c:pt>
                <c:pt idx="659">
                  <c:v>40856</c:v>
                </c:pt>
                <c:pt idx="660">
                  <c:v>40857</c:v>
                </c:pt>
                <c:pt idx="661">
                  <c:v>40858</c:v>
                </c:pt>
                <c:pt idx="662">
                  <c:v>40861</c:v>
                </c:pt>
                <c:pt idx="663">
                  <c:v>40862</c:v>
                </c:pt>
                <c:pt idx="664">
                  <c:v>40863</c:v>
                </c:pt>
                <c:pt idx="665">
                  <c:v>40864</c:v>
                </c:pt>
                <c:pt idx="666">
                  <c:v>40865</c:v>
                </c:pt>
                <c:pt idx="667">
                  <c:v>40868</c:v>
                </c:pt>
                <c:pt idx="668">
                  <c:v>40869</c:v>
                </c:pt>
                <c:pt idx="669">
                  <c:v>40870</c:v>
                </c:pt>
                <c:pt idx="670">
                  <c:v>40871</c:v>
                </c:pt>
                <c:pt idx="671">
                  <c:v>40872</c:v>
                </c:pt>
                <c:pt idx="672">
                  <c:v>40875</c:v>
                </c:pt>
                <c:pt idx="673">
                  <c:v>40876</c:v>
                </c:pt>
                <c:pt idx="674">
                  <c:v>40877</c:v>
                </c:pt>
                <c:pt idx="675">
                  <c:v>40878</c:v>
                </c:pt>
                <c:pt idx="676">
                  <c:v>40879</c:v>
                </c:pt>
                <c:pt idx="677">
                  <c:v>40882</c:v>
                </c:pt>
                <c:pt idx="678">
                  <c:v>40883</c:v>
                </c:pt>
                <c:pt idx="679">
                  <c:v>40884</c:v>
                </c:pt>
                <c:pt idx="680">
                  <c:v>40885</c:v>
                </c:pt>
                <c:pt idx="681">
                  <c:v>40886</c:v>
                </c:pt>
                <c:pt idx="682">
                  <c:v>40889</c:v>
                </c:pt>
                <c:pt idx="683">
                  <c:v>40890</c:v>
                </c:pt>
                <c:pt idx="684">
                  <c:v>40891</c:v>
                </c:pt>
                <c:pt idx="685">
                  <c:v>40892</c:v>
                </c:pt>
                <c:pt idx="686">
                  <c:v>40893</c:v>
                </c:pt>
                <c:pt idx="687">
                  <c:v>40896</c:v>
                </c:pt>
                <c:pt idx="688">
                  <c:v>40897</c:v>
                </c:pt>
                <c:pt idx="689">
                  <c:v>40898</c:v>
                </c:pt>
                <c:pt idx="690">
                  <c:v>40899</c:v>
                </c:pt>
                <c:pt idx="691">
                  <c:v>40900</c:v>
                </c:pt>
                <c:pt idx="692">
                  <c:v>40903</c:v>
                </c:pt>
                <c:pt idx="693">
                  <c:v>40904</c:v>
                </c:pt>
                <c:pt idx="694">
                  <c:v>40905</c:v>
                </c:pt>
                <c:pt idx="695">
                  <c:v>40906</c:v>
                </c:pt>
                <c:pt idx="696">
                  <c:v>40907</c:v>
                </c:pt>
                <c:pt idx="697">
                  <c:v>40910</c:v>
                </c:pt>
                <c:pt idx="698">
                  <c:v>40911</c:v>
                </c:pt>
                <c:pt idx="699">
                  <c:v>40912</c:v>
                </c:pt>
                <c:pt idx="700">
                  <c:v>40913</c:v>
                </c:pt>
                <c:pt idx="701">
                  <c:v>40914</c:v>
                </c:pt>
                <c:pt idx="702">
                  <c:v>40917</c:v>
                </c:pt>
                <c:pt idx="703">
                  <c:v>40918</c:v>
                </c:pt>
                <c:pt idx="704">
                  <c:v>40919</c:v>
                </c:pt>
                <c:pt idx="705">
                  <c:v>40920</c:v>
                </c:pt>
                <c:pt idx="706">
                  <c:v>40921</c:v>
                </c:pt>
                <c:pt idx="707">
                  <c:v>40924</c:v>
                </c:pt>
                <c:pt idx="708">
                  <c:v>40925</c:v>
                </c:pt>
                <c:pt idx="709">
                  <c:v>40926</c:v>
                </c:pt>
                <c:pt idx="710">
                  <c:v>40927</c:v>
                </c:pt>
                <c:pt idx="711">
                  <c:v>40928</c:v>
                </c:pt>
                <c:pt idx="712">
                  <c:v>40931</c:v>
                </c:pt>
                <c:pt idx="713">
                  <c:v>40932</c:v>
                </c:pt>
                <c:pt idx="714">
                  <c:v>40933</c:v>
                </c:pt>
                <c:pt idx="715">
                  <c:v>40934</c:v>
                </c:pt>
                <c:pt idx="716">
                  <c:v>40935</c:v>
                </c:pt>
                <c:pt idx="717">
                  <c:v>40938</c:v>
                </c:pt>
                <c:pt idx="718">
                  <c:v>40939</c:v>
                </c:pt>
                <c:pt idx="719">
                  <c:v>40940</c:v>
                </c:pt>
                <c:pt idx="720">
                  <c:v>40941</c:v>
                </c:pt>
                <c:pt idx="721">
                  <c:v>40942</c:v>
                </c:pt>
                <c:pt idx="722">
                  <c:v>40945</c:v>
                </c:pt>
                <c:pt idx="723">
                  <c:v>40946</c:v>
                </c:pt>
                <c:pt idx="724">
                  <c:v>40947</c:v>
                </c:pt>
                <c:pt idx="725">
                  <c:v>40948</c:v>
                </c:pt>
                <c:pt idx="726">
                  <c:v>40949</c:v>
                </c:pt>
                <c:pt idx="727">
                  <c:v>40952</c:v>
                </c:pt>
                <c:pt idx="728">
                  <c:v>40953</c:v>
                </c:pt>
                <c:pt idx="729">
                  <c:v>40954</c:v>
                </c:pt>
                <c:pt idx="730">
                  <c:v>40955</c:v>
                </c:pt>
                <c:pt idx="731">
                  <c:v>40956</c:v>
                </c:pt>
                <c:pt idx="732">
                  <c:v>40959</c:v>
                </c:pt>
                <c:pt idx="733">
                  <c:v>40960</c:v>
                </c:pt>
                <c:pt idx="734">
                  <c:v>40961</c:v>
                </c:pt>
                <c:pt idx="735">
                  <c:v>40962</c:v>
                </c:pt>
                <c:pt idx="736">
                  <c:v>40963</c:v>
                </c:pt>
                <c:pt idx="737">
                  <c:v>40966</c:v>
                </c:pt>
                <c:pt idx="738">
                  <c:v>40967</c:v>
                </c:pt>
                <c:pt idx="739">
                  <c:v>40968</c:v>
                </c:pt>
                <c:pt idx="740">
                  <c:v>40969</c:v>
                </c:pt>
                <c:pt idx="741">
                  <c:v>40970</c:v>
                </c:pt>
                <c:pt idx="742">
                  <c:v>40973</c:v>
                </c:pt>
                <c:pt idx="743">
                  <c:v>40974</c:v>
                </c:pt>
                <c:pt idx="744">
                  <c:v>40975</c:v>
                </c:pt>
                <c:pt idx="745">
                  <c:v>40976</c:v>
                </c:pt>
                <c:pt idx="746">
                  <c:v>40977</c:v>
                </c:pt>
                <c:pt idx="747">
                  <c:v>40980</c:v>
                </c:pt>
                <c:pt idx="748">
                  <c:v>40981</c:v>
                </c:pt>
                <c:pt idx="749">
                  <c:v>40982</c:v>
                </c:pt>
                <c:pt idx="750">
                  <c:v>40983</c:v>
                </c:pt>
                <c:pt idx="751">
                  <c:v>40984</c:v>
                </c:pt>
                <c:pt idx="752">
                  <c:v>40987</c:v>
                </c:pt>
                <c:pt idx="753">
                  <c:v>40988</c:v>
                </c:pt>
                <c:pt idx="754">
                  <c:v>40989</c:v>
                </c:pt>
                <c:pt idx="755">
                  <c:v>40990</c:v>
                </c:pt>
                <c:pt idx="756">
                  <c:v>40991</c:v>
                </c:pt>
                <c:pt idx="757">
                  <c:v>40994</c:v>
                </c:pt>
                <c:pt idx="758">
                  <c:v>40995</c:v>
                </c:pt>
                <c:pt idx="759">
                  <c:v>40996</c:v>
                </c:pt>
                <c:pt idx="760">
                  <c:v>40997</c:v>
                </c:pt>
                <c:pt idx="761">
                  <c:v>40998</c:v>
                </c:pt>
                <c:pt idx="762">
                  <c:v>41001</c:v>
                </c:pt>
                <c:pt idx="763">
                  <c:v>41002</c:v>
                </c:pt>
                <c:pt idx="764">
                  <c:v>41003</c:v>
                </c:pt>
                <c:pt idx="765">
                  <c:v>41004</c:v>
                </c:pt>
                <c:pt idx="766">
                  <c:v>41005</c:v>
                </c:pt>
                <c:pt idx="767">
                  <c:v>41008</c:v>
                </c:pt>
                <c:pt idx="768">
                  <c:v>41009</c:v>
                </c:pt>
                <c:pt idx="769">
                  <c:v>41010</c:v>
                </c:pt>
                <c:pt idx="770">
                  <c:v>41011</c:v>
                </c:pt>
                <c:pt idx="771">
                  <c:v>41012</c:v>
                </c:pt>
                <c:pt idx="772">
                  <c:v>41015</c:v>
                </c:pt>
                <c:pt idx="773">
                  <c:v>41016</c:v>
                </c:pt>
                <c:pt idx="774">
                  <c:v>41017</c:v>
                </c:pt>
                <c:pt idx="775">
                  <c:v>41018</c:v>
                </c:pt>
                <c:pt idx="776">
                  <c:v>41019</c:v>
                </c:pt>
                <c:pt idx="777">
                  <c:v>41022</c:v>
                </c:pt>
                <c:pt idx="778">
                  <c:v>41023</c:v>
                </c:pt>
                <c:pt idx="779">
                  <c:v>41024</c:v>
                </c:pt>
                <c:pt idx="780">
                  <c:v>41025</c:v>
                </c:pt>
                <c:pt idx="781">
                  <c:v>41026</c:v>
                </c:pt>
                <c:pt idx="782">
                  <c:v>41029</c:v>
                </c:pt>
                <c:pt idx="783">
                  <c:v>41030</c:v>
                </c:pt>
                <c:pt idx="784">
                  <c:v>41031</c:v>
                </c:pt>
                <c:pt idx="785">
                  <c:v>41032</c:v>
                </c:pt>
                <c:pt idx="786">
                  <c:v>41033</c:v>
                </c:pt>
                <c:pt idx="787">
                  <c:v>41036</c:v>
                </c:pt>
                <c:pt idx="788">
                  <c:v>41037</c:v>
                </c:pt>
                <c:pt idx="789">
                  <c:v>41038</c:v>
                </c:pt>
                <c:pt idx="790">
                  <c:v>41039</c:v>
                </c:pt>
                <c:pt idx="791">
                  <c:v>41040</c:v>
                </c:pt>
                <c:pt idx="792">
                  <c:v>41043</c:v>
                </c:pt>
                <c:pt idx="793">
                  <c:v>41044</c:v>
                </c:pt>
                <c:pt idx="794">
                  <c:v>41045</c:v>
                </c:pt>
                <c:pt idx="795">
                  <c:v>41046</c:v>
                </c:pt>
                <c:pt idx="796">
                  <c:v>41047</c:v>
                </c:pt>
                <c:pt idx="797">
                  <c:v>41050</c:v>
                </c:pt>
                <c:pt idx="798">
                  <c:v>41051</c:v>
                </c:pt>
                <c:pt idx="799">
                  <c:v>41052</c:v>
                </c:pt>
                <c:pt idx="800">
                  <c:v>41053</c:v>
                </c:pt>
                <c:pt idx="801">
                  <c:v>41054</c:v>
                </c:pt>
                <c:pt idx="802">
                  <c:v>41057</c:v>
                </c:pt>
                <c:pt idx="803">
                  <c:v>41058</c:v>
                </c:pt>
                <c:pt idx="804">
                  <c:v>41059</c:v>
                </c:pt>
                <c:pt idx="805">
                  <c:v>41060</c:v>
                </c:pt>
                <c:pt idx="806">
                  <c:v>41061</c:v>
                </c:pt>
                <c:pt idx="807">
                  <c:v>41064</c:v>
                </c:pt>
                <c:pt idx="808">
                  <c:v>41065</c:v>
                </c:pt>
                <c:pt idx="809">
                  <c:v>41066</c:v>
                </c:pt>
                <c:pt idx="810">
                  <c:v>41067</c:v>
                </c:pt>
                <c:pt idx="811">
                  <c:v>41068</c:v>
                </c:pt>
                <c:pt idx="812">
                  <c:v>41071</c:v>
                </c:pt>
                <c:pt idx="813">
                  <c:v>41072</c:v>
                </c:pt>
                <c:pt idx="814">
                  <c:v>41073</c:v>
                </c:pt>
                <c:pt idx="815">
                  <c:v>41074</c:v>
                </c:pt>
                <c:pt idx="816">
                  <c:v>41075</c:v>
                </c:pt>
                <c:pt idx="817">
                  <c:v>41078</c:v>
                </c:pt>
                <c:pt idx="818">
                  <c:v>41079</c:v>
                </c:pt>
                <c:pt idx="819">
                  <c:v>41080</c:v>
                </c:pt>
                <c:pt idx="820">
                  <c:v>41081</c:v>
                </c:pt>
                <c:pt idx="821">
                  <c:v>41082</c:v>
                </c:pt>
                <c:pt idx="822">
                  <c:v>41085</c:v>
                </c:pt>
                <c:pt idx="823">
                  <c:v>41086</c:v>
                </c:pt>
                <c:pt idx="824">
                  <c:v>41087</c:v>
                </c:pt>
                <c:pt idx="825">
                  <c:v>41088</c:v>
                </c:pt>
                <c:pt idx="826">
                  <c:v>41089</c:v>
                </c:pt>
                <c:pt idx="827">
                  <c:v>41092</c:v>
                </c:pt>
                <c:pt idx="828">
                  <c:v>41093</c:v>
                </c:pt>
                <c:pt idx="829">
                  <c:v>41094</c:v>
                </c:pt>
                <c:pt idx="830">
                  <c:v>41095</c:v>
                </c:pt>
                <c:pt idx="831">
                  <c:v>41096</c:v>
                </c:pt>
                <c:pt idx="832">
                  <c:v>41099</c:v>
                </c:pt>
                <c:pt idx="833">
                  <c:v>41100</c:v>
                </c:pt>
                <c:pt idx="834">
                  <c:v>41101</c:v>
                </c:pt>
                <c:pt idx="835">
                  <c:v>41102</c:v>
                </c:pt>
                <c:pt idx="836">
                  <c:v>41103</c:v>
                </c:pt>
                <c:pt idx="837">
                  <c:v>41106</c:v>
                </c:pt>
                <c:pt idx="838">
                  <c:v>41107</c:v>
                </c:pt>
                <c:pt idx="839">
                  <c:v>41108</c:v>
                </c:pt>
                <c:pt idx="840">
                  <c:v>41109</c:v>
                </c:pt>
                <c:pt idx="841">
                  <c:v>41110</c:v>
                </c:pt>
                <c:pt idx="842">
                  <c:v>41113</c:v>
                </c:pt>
                <c:pt idx="843">
                  <c:v>41114</c:v>
                </c:pt>
                <c:pt idx="844">
                  <c:v>41115</c:v>
                </c:pt>
                <c:pt idx="845">
                  <c:v>41116</c:v>
                </c:pt>
                <c:pt idx="846">
                  <c:v>41117</c:v>
                </c:pt>
                <c:pt idx="847">
                  <c:v>41120</c:v>
                </c:pt>
                <c:pt idx="848">
                  <c:v>41121</c:v>
                </c:pt>
                <c:pt idx="849">
                  <c:v>41122</c:v>
                </c:pt>
                <c:pt idx="850">
                  <c:v>41123</c:v>
                </c:pt>
                <c:pt idx="851">
                  <c:v>41124</c:v>
                </c:pt>
                <c:pt idx="852">
                  <c:v>41127</c:v>
                </c:pt>
                <c:pt idx="853">
                  <c:v>41128</c:v>
                </c:pt>
                <c:pt idx="854">
                  <c:v>41129</c:v>
                </c:pt>
                <c:pt idx="855">
                  <c:v>41130</c:v>
                </c:pt>
                <c:pt idx="856">
                  <c:v>41131</c:v>
                </c:pt>
                <c:pt idx="857">
                  <c:v>41134</c:v>
                </c:pt>
                <c:pt idx="858">
                  <c:v>41135</c:v>
                </c:pt>
                <c:pt idx="859">
                  <c:v>41136</c:v>
                </c:pt>
                <c:pt idx="860">
                  <c:v>41137</c:v>
                </c:pt>
                <c:pt idx="861">
                  <c:v>41138</c:v>
                </c:pt>
                <c:pt idx="862">
                  <c:v>41141</c:v>
                </c:pt>
                <c:pt idx="863">
                  <c:v>41142</c:v>
                </c:pt>
                <c:pt idx="864">
                  <c:v>41143</c:v>
                </c:pt>
                <c:pt idx="865">
                  <c:v>41144</c:v>
                </c:pt>
                <c:pt idx="866">
                  <c:v>41145</c:v>
                </c:pt>
                <c:pt idx="867">
                  <c:v>41148</c:v>
                </c:pt>
                <c:pt idx="868">
                  <c:v>41149</c:v>
                </c:pt>
                <c:pt idx="869">
                  <c:v>41150</c:v>
                </c:pt>
                <c:pt idx="870">
                  <c:v>41151</c:v>
                </c:pt>
                <c:pt idx="871">
                  <c:v>41152</c:v>
                </c:pt>
                <c:pt idx="872">
                  <c:v>41155</c:v>
                </c:pt>
                <c:pt idx="873">
                  <c:v>41156</c:v>
                </c:pt>
                <c:pt idx="874">
                  <c:v>41157</c:v>
                </c:pt>
                <c:pt idx="875">
                  <c:v>41158</c:v>
                </c:pt>
                <c:pt idx="876">
                  <c:v>41159</c:v>
                </c:pt>
                <c:pt idx="877">
                  <c:v>41162</c:v>
                </c:pt>
                <c:pt idx="878">
                  <c:v>41163</c:v>
                </c:pt>
                <c:pt idx="879">
                  <c:v>41164</c:v>
                </c:pt>
                <c:pt idx="880">
                  <c:v>41165</c:v>
                </c:pt>
                <c:pt idx="881">
                  <c:v>41166</c:v>
                </c:pt>
                <c:pt idx="882">
                  <c:v>41169</c:v>
                </c:pt>
                <c:pt idx="883">
                  <c:v>41170</c:v>
                </c:pt>
                <c:pt idx="884">
                  <c:v>41171</c:v>
                </c:pt>
                <c:pt idx="885">
                  <c:v>41172</c:v>
                </c:pt>
                <c:pt idx="886">
                  <c:v>41173</c:v>
                </c:pt>
                <c:pt idx="887">
                  <c:v>41176</c:v>
                </c:pt>
                <c:pt idx="888">
                  <c:v>41177</c:v>
                </c:pt>
                <c:pt idx="889">
                  <c:v>41178</c:v>
                </c:pt>
                <c:pt idx="890">
                  <c:v>41179</c:v>
                </c:pt>
                <c:pt idx="891">
                  <c:v>41180</c:v>
                </c:pt>
                <c:pt idx="892">
                  <c:v>41183</c:v>
                </c:pt>
                <c:pt idx="893">
                  <c:v>41184</c:v>
                </c:pt>
                <c:pt idx="894">
                  <c:v>41185</c:v>
                </c:pt>
                <c:pt idx="895">
                  <c:v>41186</c:v>
                </c:pt>
                <c:pt idx="896">
                  <c:v>41187</c:v>
                </c:pt>
                <c:pt idx="897">
                  <c:v>41190</c:v>
                </c:pt>
                <c:pt idx="898">
                  <c:v>41191</c:v>
                </c:pt>
                <c:pt idx="899">
                  <c:v>41192</c:v>
                </c:pt>
                <c:pt idx="900">
                  <c:v>41193</c:v>
                </c:pt>
                <c:pt idx="901">
                  <c:v>41194</c:v>
                </c:pt>
                <c:pt idx="902">
                  <c:v>41197</c:v>
                </c:pt>
                <c:pt idx="903">
                  <c:v>41198</c:v>
                </c:pt>
                <c:pt idx="904">
                  <c:v>41199</c:v>
                </c:pt>
                <c:pt idx="905">
                  <c:v>41200</c:v>
                </c:pt>
                <c:pt idx="906">
                  <c:v>41201</c:v>
                </c:pt>
                <c:pt idx="907">
                  <c:v>41204</c:v>
                </c:pt>
                <c:pt idx="908">
                  <c:v>41205</c:v>
                </c:pt>
                <c:pt idx="909">
                  <c:v>41206</c:v>
                </c:pt>
                <c:pt idx="910">
                  <c:v>41207</c:v>
                </c:pt>
                <c:pt idx="911">
                  <c:v>41208</c:v>
                </c:pt>
                <c:pt idx="912">
                  <c:v>41211</c:v>
                </c:pt>
                <c:pt idx="913">
                  <c:v>41212</c:v>
                </c:pt>
                <c:pt idx="914">
                  <c:v>41213</c:v>
                </c:pt>
                <c:pt idx="915">
                  <c:v>41214</c:v>
                </c:pt>
                <c:pt idx="916">
                  <c:v>41215</c:v>
                </c:pt>
                <c:pt idx="917">
                  <c:v>41218</c:v>
                </c:pt>
                <c:pt idx="918">
                  <c:v>41219</c:v>
                </c:pt>
                <c:pt idx="919">
                  <c:v>41220</c:v>
                </c:pt>
                <c:pt idx="920">
                  <c:v>41221</c:v>
                </c:pt>
                <c:pt idx="921">
                  <c:v>41222</c:v>
                </c:pt>
                <c:pt idx="922">
                  <c:v>41225</c:v>
                </c:pt>
                <c:pt idx="923">
                  <c:v>41226</c:v>
                </c:pt>
                <c:pt idx="924">
                  <c:v>41227</c:v>
                </c:pt>
                <c:pt idx="925">
                  <c:v>41228</c:v>
                </c:pt>
                <c:pt idx="926">
                  <c:v>41229</c:v>
                </c:pt>
                <c:pt idx="927">
                  <c:v>41232</c:v>
                </c:pt>
                <c:pt idx="928">
                  <c:v>41233</c:v>
                </c:pt>
                <c:pt idx="929">
                  <c:v>41234</c:v>
                </c:pt>
                <c:pt idx="930">
                  <c:v>41235</c:v>
                </c:pt>
                <c:pt idx="931">
                  <c:v>41236</c:v>
                </c:pt>
                <c:pt idx="932">
                  <c:v>41239</c:v>
                </c:pt>
                <c:pt idx="933">
                  <c:v>41240</c:v>
                </c:pt>
                <c:pt idx="934">
                  <c:v>41241</c:v>
                </c:pt>
                <c:pt idx="935">
                  <c:v>41242</c:v>
                </c:pt>
                <c:pt idx="936">
                  <c:v>41243</c:v>
                </c:pt>
                <c:pt idx="937">
                  <c:v>41246</c:v>
                </c:pt>
                <c:pt idx="938">
                  <c:v>41247</c:v>
                </c:pt>
                <c:pt idx="939">
                  <c:v>41248</c:v>
                </c:pt>
                <c:pt idx="940">
                  <c:v>41249</c:v>
                </c:pt>
                <c:pt idx="941">
                  <c:v>41250</c:v>
                </c:pt>
                <c:pt idx="942">
                  <c:v>41253</c:v>
                </c:pt>
                <c:pt idx="943">
                  <c:v>41254</c:v>
                </c:pt>
                <c:pt idx="944">
                  <c:v>41255</c:v>
                </c:pt>
                <c:pt idx="945">
                  <c:v>41256</c:v>
                </c:pt>
                <c:pt idx="946">
                  <c:v>41257</c:v>
                </c:pt>
                <c:pt idx="947">
                  <c:v>41260</c:v>
                </c:pt>
                <c:pt idx="948">
                  <c:v>41261</c:v>
                </c:pt>
                <c:pt idx="949">
                  <c:v>41262</c:v>
                </c:pt>
                <c:pt idx="950">
                  <c:v>41263</c:v>
                </c:pt>
                <c:pt idx="951">
                  <c:v>41264</c:v>
                </c:pt>
                <c:pt idx="952">
                  <c:v>41267</c:v>
                </c:pt>
                <c:pt idx="953">
                  <c:v>41268</c:v>
                </c:pt>
                <c:pt idx="954">
                  <c:v>41269</c:v>
                </c:pt>
                <c:pt idx="955">
                  <c:v>41270</c:v>
                </c:pt>
                <c:pt idx="956">
                  <c:v>41271</c:v>
                </c:pt>
                <c:pt idx="957">
                  <c:v>41274</c:v>
                </c:pt>
                <c:pt idx="958">
                  <c:v>41275</c:v>
                </c:pt>
                <c:pt idx="959">
                  <c:v>41276</c:v>
                </c:pt>
                <c:pt idx="960">
                  <c:v>41277</c:v>
                </c:pt>
                <c:pt idx="961">
                  <c:v>41278</c:v>
                </c:pt>
                <c:pt idx="962">
                  <c:v>41281</c:v>
                </c:pt>
                <c:pt idx="963">
                  <c:v>41282</c:v>
                </c:pt>
                <c:pt idx="964">
                  <c:v>41283</c:v>
                </c:pt>
                <c:pt idx="965">
                  <c:v>41284</c:v>
                </c:pt>
                <c:pt idx="966">
                  <c:v>41285</c:v>
                </c:pt>
                <c:pt idx="967">
                  <c:v>41288</c:v>
                </c:pt>
                <c:pt idx="968">
                  <c:v>41289</c:v>
                </c:pt>
                <c:pt idx="969">
                  <c:v>41290</c:v>
                </c:pt>
                <c:pt idx="970">
                  <c:v>41291</c:v>
                </c:pt>
                <c:pt idx="971">
                  <c:v>41292</c:v>
                </c:pt>
                <c:pt idx="972">
                  <c:v>41295</c:v>
                </c:pt>
                <c:pt idx="973">
                  <c:v>41296</c:v>
                </c:pt>
                <c:pt idx="974">
                  <c:v>41297</c:v>
                </c:pt>
                <c:pt idx="975">
                  <c:v>41298</c:v>
                </c:pt>
                <c:pt idx="976">
                  <c:v>41299</c:v>
                </c:pt>
                <c:pt idx="977">
                  <c:v>41302</c:v>
                </c:pt>
                <c:pt idx="978">
                  <c:v>41303</c:v>
                </c:pt>
                <c:pt idx="979">
                  <c:v>41304</c:v>
                </c:pt>
                <c:pt idx="980">
                  <c:v>41305</c:v>
                </c:pt>
                <c:pt idx="981">
                  <c:v>41306</c:v>
                </c:pt>
                <c:pt idx="982">
                  <c:v>41309</c:v>
                </c:pt>
                <c:pt idx="983">
                  <c:v>41310</c:v>
                </c:pt>
                <c:pt idx="984">
                  <c:v>41311</c:v>
                </c:pt>
                <c:pt idx="985">
                  <c:v>41312</c:v>
                </c:pt>
                <c:pt idx="986">
                  <c:v>41313</c:v>
                </c:pt>
                <c:pt idx="987">
                  <c:v>41316</c:v>
                </c:pt>
                <c:pt idx="988">
                  <c:v>41317</c:v>
                </c:pt>
                <c:pt idx="989">
                  <c:v>41318</c:v>
                </c:pt>
                <c:pt idx="990">
                  <c:v>41319</c:v>
                </c:pt>
                <c:pt idx="991">
                  <c:v>41320</c:v>
                </c:pt>
                <c:pt idx="992">
                  <c:v>41323</c:v>
                </c:pt>
                <c:pt idx="993">
                  <c:v>41324</c:v>
                </c:pt>
                <c:pt idx="994">
                  <c:v>41325</c:v>
                </c:pt>
                <c:pt idx="995">
                  <c:v>41326</c:v>
                </c:pt>
                <c:pt idx="996">
                  <c:v>41327</c:v>
                </c:pt>
                <c:pt idx="997">
                  <c:v>41330</c:v>
                </c:pt>
                <c:pt idx="998">
                  <c:v>41331</c:v>
                </c:pt>
                <c:pt idx="999">
                  <c:v>41332</c:v>
                </c:pt>
                <c:pt idx="1000">
                  <c:v>41333</c:v>
                </c:pt>
                <c:pt idx="1001">
                  <c:v>41334</c:v>
                </c:pt>
                <c:pt idx="1002">
                  <c:v>41337</c:v>
                </c:pt>
                <c:pt idx="1003">
                  <c:v>41338</c:v>
                </c:pt>
                <c:pt idx="1004">
                  <c:v>41339</c:v>
                </c:pt>
                <c:pt idx="1005">
                  <c:v>41340</c:v>
                </c:pt>
                <c:pt idx="1006">
                  <c:v>41341</c:v>
                </c:pt>
                <c:pt idx="1007">
                  <c:v>41344</c:v>
                </c:pt>
                <c:pt idx="1008">
                  <c:v>41345</c:v>
                </c:pt>
                <c:pt idx="1009">
                  <c:v>41346</c:v>
                </c:pt>
                <c:pt idx="1010">
                  <c:v>41347</c:v>
                </c:pt>
                <c:pt idx="1011">
                  <c:v>41348</c:v>
                </c:pt>
                <c:pt idx="1012">
                  <c:v>41351</c:v>
                </c:pt>
                <c:pt idx="1013">
                  <c:v>41352</c:v>
                </c:pt>
                <c:pt idx="1014">
                  <c:v>41353</c:v>
                </c:pt>
                <c:pt idx="1015">
                  <c:v>41354</c:v>
                </c:pt>
                <c:pt idx="1016">
                  <c:v>41355</c:v>
                </c:pt>
                <c:pt idx="1017">
                  <c:v>41358</c:v>
                </c:pt>
                <c:pt idx="1018">
                  <c:v>41359</c:v>
                </c:pt>
                <c:pt idx="1019">
                  <c:v>41360</c:v>
                </c:pt>
                <c:pt idx="1020">
                  <c:v>41361</c:v>
                </c:pt>
                <c:pt idx="1021">
                  <c:v>41362</c:v>
                </c:pt>
                <c:pt idx="1022">
                  <c:v>41365</c:v>
                </c:pt>
                <c:pt idx="1023">
                  <c:v>41366</c:v>
                </c:pt>
                <c:pt idx="1024">
                  <c:v>41367</c:v>
                </c:pt>
                <c:pt idx="1025">
                  <c:v>41368</c:v>
                </c:pt>
                <c:pt idx="1026">
                  <c:v>41369</c:v>
                </c:pt>
                <c:pt idx="1027">
                  <c:v>41372</c:v>
                </c:pt>
                <c:pt idx="1028">
                  <c:v>41373</c:v>
                </c:pt>
                <c:pt idx="1029">
                  <c:v>41374</c:v>
                </c:pt>
                <c:pt idx="1030">
                  <c:v>41375</c:v>
                </c:pt>
                <c:pt idx="1031">
                  <c:v>41376</c:v>
                </c:pt>
                <c:pt idx="1032">
                  <c:v>41379</c:v>
                </c:pt>
                <c:pt idx="1033">
                  <c:v>41380</c:v>
                </c:pt>
                <c:pt idx="1034">
                  <c:v>41381</c:v>
                </c:pt>
                <c:pt idx="1035">
                  <c:v>41382</c:v>
                </c:pt>
                <c:pt idx="1036">
                  <c:v>41383</c:v>
                </c:pt>
                <c:pt idx="1037">
                  <c:v>41386</c:v>
                </c:pt>
                <c:pt idx="1038">
                  <c:v>41387</c:v>
                </c:pt>
                <c:pt idx="1039">
                  <c:v>41388</c:v>
                </c:pt>
                <c:pt idx="1040">
                  <c:v>41389</c:v>
                </c:pt>
                <c:pt idx="1041">
                  <c:v>41390</c:v>
                </c:pt>
                <c:pt idx="1042">
                  <c:v>41393</c:v>
                </c:pt>
                <c:pt idx="1043">
                  <c:v>41394</c:v>
                </c:pt>
                <c:pt idx="1044">
                  <c:v>41395</c:v>
                </c:pt>
                <c:pt idx="1045">
                  <c:v>41396</c:v>
                </c:pt>
                <c:pt idx="1046">
                  <c:v>41397</c:v>
                </c:pt>
                <c:pt idx="1047">
                  <c:v>41400</c:v>
                </c:pt>
                <c:pt idx="1048">
                  <c:v>41401</c:v>
                </c:pt>
                <c:pt idx="1049">
                  <c:v>41402</c:v>
                </c:pt>
                <c:pt idx="1050">
                  <c:v>41403</c:v>
                </c:pt>
                <c:pt idx="1051">
                  <c:v>41404</c:v>
                </c:pt>
                <c:pt idx="1052">
                  <c:v>41407</c:v>
                </c:pt>
                <c:pt idx="1053">
                  <c:v>41408</c:v>
                </c:pt>
                <c:pt idx="1054">
                  <c:v>41409</c:v>
                </c:pt>
                <c:pt idx="1055">
                  <c:v>41410</c:v>
                </c:pt>
                <c:pt idx="1056">
                  <c:v>41411</c:v>
                </c:pt>
                <c:pt idx="1057">
                  <c:v>41414</c:v>
                </c:pt>
                <c:pt idx="1058">
                  <c:v>41415</c:v>
                </c:pt>
                <c:pt idx="1059">
                  <c:v>41416</c:v>
                </c:pt>
                <c:pt idx="1060">
                  <c:v>41417</c:v>
                </c:pt>
                <c:pt idx="1061">
                  <c:v>41418</c:v>
                </c:pt>
                <c:pt idx="1062">
                  <c:v>41421</c:v>
                </c:pt>
                <c:pt idx="1063">
                  <c:v>41422</c:v>
                </c:pt>
                <c:pt idx="1064">
                  <c:v>41423</c:v>
                </c:pt>
                <c:pt idx="1065">
                  <c:v>41424</c:v>
                </c:pt>
                <c:pt idx="1066">
                  <c:v>41425</c:v>
                </c:pt>
                <c:pt idx="1067">
                  <c:v>41428</c:v>
                </c:pt>
                <c:pt idx="1068">
                  <c:v>41429</c:v>
                </c:pt>
                <c:pt idx="1069">
                  <c:v>41430</c:v>
                </c:pt>
                <c:pt idx="1070">
                  <c:v>41431</c:v>
                </c:pt>
                <c:pt idx="1071">
                  <c:v>41432</c:v>
                </c:pt>
                <c:pt idx="1072">
                  <c:v>41435</c:v>
                </c:pt>
                <c:pt idx="1073">
                  <c:v>41436</c:v>
                </c:pt>
                <c:pt idx="1074">
                  <c:v>41437</c:v>
                </c:pt>
                <c:pt idx="1075">
                  <c:v>41438</c:v>
                </c:pt>
                <c:pt idx="1076">
                  <c:v>41439</c:v>
                </c:pt>
                <c:pt idx="1077">
                  <c:v>41442</c:v>
                </c:pt>
                <c:pt idx="1078">
                  <c:v>41443</c:v>
                </c:pt>
                <c:pt idx="1079">
                  <c:v>41444</c:v>
                </c:pt>
                <c:pt idx="1080">
                  <c:v>41445</c:v>
                </c:pt>
                <c:pt idx="1081">
                  <c:v>41446</c:v>
                </c:pt>
                <c:pt idx="1082">
                  <c:v>41449</c:v>
                </c:pt>
                <c:pt idx="1083">
                  <c:v>41450</c:v>
                </c:pt>
                <c:pt idx="1084">
                  <c:v>41451</c:v>
                </c:pt>
                <c:pt idx="1085">
                  <c:v>41452</c:v>
                </c:pt>
                <c:pt idx="1086">
                  <c:v>41453</c:v>
                </c:pt>
                <c:pt idx="1087">
                  <c:v>41456</c:v>
                </c:pt>
                <c:pt idx="1088">
                  <c:v>41457</c:v>
                </c:pt>
                <c:pt idx="1089">
                  <c:v>41458</c:v>
                </c:pt>
                <c:pt idx="1090">
                  <c:v>41459</c:v>
                </c:pt>
                <c:pt idx="1091">
                  <c:v>41460</c:v>
                </c:pt>
                <c:pt idx="1092">
                  <c:v>41463</c:v>
                </c:pt>
                <c:pt idx="1093">
                  <c:v>41464</c:v>
                </c:pt>
                <c:pt idx="1094">
                  <c:v>41465</c:v>
                </c:pt>
                <c:pt idx="1095">
                  <c:v>41466</c:v>
                </c:pt>
                <c:pt idx="1096">
                  <c:v>41467</c:v>
                </c:pt>
                <c:pt idx="1097">
                  <c:v>41470</c:v>
                </c:pt>
                <c:pt idx="1098">
                  <c:v>41471</c:v>
                </c:pt>
                <c:pt idx="1099">
                  <c:v>41472</c:v>
                </c:pt>
                <c:pt idx="1100">
                  <c:v>41473</c:v>
                </c:pt>
                <c:pt idx="1101">
                  <c:v>41474</c:v>
                </c:pt>
                <c:pt idx="1102">
                  <c:v>41477</c:v>
                </c:pt>
                <c:pt idx="1103">
                  <c:v>41478</c:v>
                </c:pt>
                <c:pt idx="1104">
                  <c:v>41479</c:v>
                </c:pt>
                <c:pt idx="1105">
                  <c:v>41480</c:v>
                </c:pt>
                <c:pt idx="1106">
                  <c:v>41481</c:v>
                </c:pt>
                <c:pt idx="1107">
                  <c:v>41484</c:v>
                </c:pt>
                <c:pt idx="1108">
                  <c:v>41485</c:v>
                </c:pt>
                <c:pt idx="1109">
                  <c:v>41486</c:v>
                </c:pt>
                <c:pt idx="1110">
                  <c:v>41487</c:v>
                </c:pt>
                <c:pt idx="1111">
                  <c:v>41488</c:v>
                </c:pt>
                <c:pt idx="1112">
                  <c:v>41491</c:v>
                </c:pt>
                <c:pt idx="1113">
                  <c:v>41492</c:v>
                </c:pt>
                <c:pt idx="1114">
                  <c:v>41493</c:v>
                </c:pt>
                <c:pt idx="1115">
                  <c:v>41494</c:v>
                </c:pt>
                <c:pt idx="1116">
                  <c:v>41495</c:v>
                </c:pt>
                <c:pt idx="1117">
                  <c:v>41498</c:v>
                </c:pt>
                <c:pt idx="1118">
                  <c:v>41499</c:v>
                </c:pt>
                <c:pt idx="1119">
                  <c:v>41500</c:v>
                </c:pt>
                <c:pt idx="1120">
                  <c:v>41501</c:v>
                </c:pt>
                <c:pt idx="1121">
                  <c:v>41502</c:v>
                </c:pt>
                <c:pt idx="1122">
                  <c:v>41505</c:v>
                </c:pt>
                <c:pt idx="1123">
                  <c:v>41506</c:v>
                </c:pt>
                <c:pt idx="1124">
                  <c:v>41507</c:v>
                </c:pt>
                <c:pt idx="1125">
                  <c:v>41508</c:v>
                </c:pt>
                <c:pt idx="1126">
                  <c:v>41509</c:v>
                </c:pt>
                <c:pt idx="1127">
                  <c:v>41512</c:v>
                </c:pt>
                <c:pt idx="1128">
                  <c:v>41513</c:v>
                </c:pt>
                <c:pt idx="1129">
                  <c:v>41514</c:v>
                </c:pt>
                <c:pt idx="1130">
                  <c:v>41515</c:v>
                </c:pt>
                <c:pt idx="1131">
                  <c:v>41516</c:v>
                </c:pt>
                <c:pt idx="1132">
                  <c:v>41519</c:v>
                </c:pt>
                <c:pt idx="1133">
                  <c:v>41520</c:v>
                </c:pt>
                <c:pt idx="1134">
                  <c:v>41521</c:v>
                </c:pt>
                <c:pt idx="1135">
                  <c:v>41522</c:v>
                </c:pt>
                <c:pt idx="1136">
                  <c:v>41523</c:v>
                </c:pt>
                <c:pt idx="1137">
                  <c:v>41526</c:v>
                </c:pt>
                <c:pt idx="1138">
                  <c:v>41527</c:v>
                </c:pt>
                <c:pt idx="1139">
                  <c:v>41528</c:v>
                </c:pt>
                <c:pt idx="1140">
                  <c:v>41529</c:v>
                </c:pt>
                <c:pt idx="1141">
                  <c:v>41530</c:v>
                </c:pt>
                <c:pt idx="1142">
                  <c:v>41533</c:v>
                </c:pt>
                <c:pt idx="1143">
                  <c:v>41534</c:v>
                </c:pt>
                <c:pt idx="1144">
                  <c:v>41535</c:v>
                </c:pt>
                <c:pt idx="1145">
                  <c:v>41536</c:v>
                </c:pt>
                <c:pt idx="1146">
                  <c:v>41537</c:v>
                </c:pt>
                <c:pt idx="1147">
                  <c:v>41540</c:v>
                </c:pt>
                <c:pt idx="1148">
                  <c:v>41541</c:v>
                </c:pt>
                <c:pt idx="1149">
                  <c:v>41542</c:v>
                </c:pt>
                <c:pt idx="1150">
                  <c:v>41543</c:v>
                </c:pt>
                <c:pt idx="1151">
                  <c:v>41544</c:v>
                </c:pt>
                <c:pt idx="1152">
                  <c:v>41547</c:v>
                </c:pt>
                <c:pt idx="1153">
                  <c:v>41548</c:v>
                </c:pt>
                <c:pt idx="1154">
                  <c:v>41549</c:v>
                </c:pt>
                <c:pt idx="1155">
                  <c:v>41550</c:v>
                </c:pt>
                <c:pt idx="1156">
                  <c:v>41551</c:v>
                </c:pt>
                <c:pt idx="1157">
                  <c:v>41554</c:v>
                </c:pt>
                <c:pt idx="1158">
                  <c:v>41555</c:v>
                </c:pt>
                <c:pt idx="1159">
                  <c:v>41556</c:v>
                </c:pt>
                <c:pt idx="1160">
                  <c:v>41557</c:v>
                </c:pt>
                <c:pt idx="1161">
                  <c:v>41558</c:v>
                </c:pt>
                <c:pt idx="1162">
                  <c:v>41561</c:v>
                </c:pt>
                <c:pt idx="1163">
                  <c:v>41562</c:v>
                </c:pt>
                <c:pt idx="1164">
                  <c:v>41563</c:v>
                </c:pt>
                <c:pt idx="1165">
                  <c:v>41564</c:v>
                </c:pt>
                <c:pt idx="1166">
                  <c:v>41565</c:v>
                </c:pt>
                <c:pt idx="1167">
                  <c:v>41568</c:v>
                </c:pt>
                <c:pt idx="1168">
                  <c:v>41569</c:v>
                </c:pt>
                <c:pt idx="1169">
                  <c:v>41570</c:v>
                </c:pt>
                <c:pt idx="1170">
                  <c:v>41571</c:v>
                </c:pt>
                <c:pt idx="1171">
                  <c:v>41572</c:v>
                </c:pt>
                <c:pt idx="1172">
                  <c:v>41575</c:v>
                </c:pt>
                <c:pt idx="1173">
                  <c:v>41576</c:v>
                </c:pt>
                <c:pt idx="1174">
                  <c:v>41577</c:v>
                </c:pt>
                <c:pt idx="1175">
                  <c:v>41578</c:v>
                </c:pt>
                <c:pt idx="1176">
                  <c:v>41579</c:v>
                </c:pt>
                <c:pt idx="1177">
                  <c:v>41582</c:v>
                </c:pt>
                <c:pt idx="1178">
                  <c:v>41583</c:v>
                </c:pt>
                <c:pt idx="1179">
                  <c:v>41584</c:v>
                </c:pt>
                <c:pt idx="1180">
                  <c:v>41585</c:v>
                </c:pt>
                <c:pt idx="1181">
                  <c:v>41586</c:v>
                </c:pt>
                <c:pt idx="1182">
                  <c:v>41589</c:v>
                </c:pt>
                <c:pt idx="1183">
                  <c:v>41590</c:v>
                </c:pt>
                <c:pt idx="1184">
                  <c:v>41591</c:v>
                </c:pt>
                <c:pt idx="1185">
                  <c:v>41592</c:v>
                </c:pt>
                <c:pt idx="1186">
                  <c:v>41593</c:v>
                </c:pt>
                <c:pt idx="1187">
                  <c:v>41596</c:v>
                </c:pt>
                <c:pt idx="1188">
                  <c:v>41597</c:v>
                </c:pt>
                <c:pt idx="1189">
                  <c:v>41598</c:v>
                </c:pt>
                <c:pt idx="1190">
                  <c:v>41599</c:v>
                </c:pt>
                <c:pt idx="1191">
                  <c:v>41600</c:v>
                </c:pt>
                <c:pt idx="1192">
                  <c:v>41603</c:v>
                </c:pt>
                <c:pt idx="1193">
                  <c:v>41604</c:v>
                </c:pt>
                <c:pt idx="1194">
                  <c:v>41605</c:v>
                </c:pt>
                <c:pt idx="1195">
                  <c:v>41606</c:v>
                </c:pt>
                <c:pt idx="1196">
                  <c:v>41607</c:v>
                </c:pt>
                <c:pt idx="1197">
                  <c:v>41610</c:v>
                </c:pt>
                <c:pt idx="1198">
                  <c:v>41611</c:v>
                </c:pt>
                <c:pt idx="1199">
                  <c:v>41612</c:v>
                </c:pt>
                <c:pt idx="1200">
                  <c:v>41613</c:v>
                </c:pt>
                <c:pt idx="1201">
                  <c:v>41614</c:v>
                </c:pt>
                <c:pt idx="1202">
                  <c:v>41617</c:v>
                </c:pt>
                <c:pt idx="1203">
                  <c:v>41618</c:v>
                </c:pt>
                <c:pt idx="1204">
                  <c:v>41619</c:v>
                </c:pt>
                <c:pt idx="1205">
                  <c:v>41620</c:v>
                </c:pt>
                <c:pt idx="1206">
                  <c:v>41621</c:v>
                </c:pt>
                <c:pt idx="1207">
                  <c:v>41624</c:v>
                </c:pt>
                <c:pt idx="1208">
                  <c:v>41625</c:v>
                </c:pt>
                <c:pt idx="1209">
                  <c:v>41626</c:v>
                </c:pt>
                <c:pt idx="1210">
                  <c:v>41627</c:v>
                </c:pt>
                <c:pt idx="1211">
                  <c:v>41628</c:v>
                </c:pt>
                <c:pt idx="1212">
                  <c:v>41631</c:v>
                </c:pt>
                <c:pt idx="1213">
                  <c:v>41632</c:v>
                </c:pt>
                <c:pt idx="1214">
                  <c:v>41633</c:v>
                </c:pt>
                <c:pt idx="1215">
                  <c:v>41634</c:v>
                </c:pt>
                <c:pt idx="1216">
                  <c:v>41635</c:v>
                </c:pt>
                <c:pt idx="1217">
                  <c:v>41638</c:v>
                </c:pt>
                <c:pt idx="1218">
                  <c:v>41639</c:v>
                </c:pt>
                <c:pt idx="1219">
                  <c:v>41640</c:v>
                </c:pt>
                <c:pt idx="1220">
                  <c:v>41641</c:v>
                </c:pt>
                <c:pt idx="1221">
                  <c:v>41642</c:v>
                </c:pt>
                <c:pt idx="1222">
                  <c:v>41645</c:v>
                </c:pt>
                <c:pt idx="1223">
                  <c:v>41646</c:v>
                </c:pt>
                <c:pt idx="1224">
                  <c:v>41647</c:v>
                </c:pt>
                <c:pt idx="1225">
                  <c:v>41648</c:v>
                </c:pt>
                <c:pt idx="1226">
                  <c:v>41649</c:v>
                </c:pt>
                <c:pt idx="1227">
                  <c:v>41652</c:v>
                </c:pt>
                <c:pt idx="1228">
                  <c:v>41653</c:v>
                </c:pt>
                <c:pt idx="1229">
                  <c:v>41654</c:v>
                </c:pt>
                <c:pt idx="1230">
                  <c:v>41655</c:v>
                </c:pt>
                <c:pt idx="1231">
                  <c:v>41656</c:v>
                </c:pt>
                <c:pt idx="1232">
                  <c:v>41659</c:v>
                </c:pt>
                <c:pt idx="1233">
                  <c:v>41660</c:v>
                </c:pt>
                <c:pt idx="1234">
                  <c:v>41661</c:v>
                </c:pt>
                <c:pt idx="1235">
                  <c:v>41662</c:v>
                </c:pt>
                <c:pt idx="1236">
                  <c:v>41663</c:v>
                </c:pt>
                <c:pt idx="1237">
                  <c:v>41666</c:v>
                </c:pt>
                <c:pt idx="1238">
                  <c:v>41667</c:v>
                </c:pt>
                <c:pt idx="1239">
                  <c:v>41668</c:v>
                </c:pt>
                <c:pt idx="1240">
                  <c:v>41669</c:v>
                </c:pt>
                <c:pt idx="1241">
                  <c:v>41670</c:v>
                </c:pt>
                <c:pt idx="1242">
                  <c:v>41673</c:v>
                </c:pt>
                <c:pt idx="1243">
                  <c:v>41674</c:v>
                </c:pt>
                <c:pt idx="1244">
                  <c:v>41675</c:v>
                </c:pt>
                <c:pt idx="1245">
                  <c:v>41676</c:v>
                </c:pt>
                <c:pt idx="1246">
                  <c:v>41677</c:v>
                </c:pt>
                <c:pt idx="1247">
                  <c:v>41680</c:v>
                </c:pt>
                <c:pt idx="1248">
                  <c:v>41681</c:v>
                </c:pt>
                <c:pt idx="1249">
                  <c:v>41682</c:v>
                </c:pt>
                <c:pt idx="1250">
                  <c:v>41683</c:v>
                </c:pt>
                <c:pt idx="1251">
                  <c:v>41684</c:v>
                </c:pt>
                <c:pt idx="1252">
                  <c:v>41687</c:v>
                </c:pt>
                <c:pt idx="1253">
                  <c:v>41688</c:v>
                </c:pt>
                <c:pt idx="1254">
                  <c:v>41689</c:v>
                </c:pt>
                <c:pt idx="1255">
                  <c:v>41690</c:v>
                </c:pt>
                <c:pt idx="1256">
                  <c:v>41691</c:v>
                </c:pt>
                <c:pt idx="1257">
                  <c:v>41694</c:v>
                </c:pt>
                <c:pt idx="1258">
                  <c:v>41695</c:v>
                </c:pt>
                <c:pt idx="1259">
                  <c:v>41696</c:v>
                </c:pt>
                <c:pt idx="1260">
                  <c:v>41697</c:v>
                </c:pt>
                <c:pt idx="1261">
                  <c:v>41698</c:v>
                </c:pt>
                <c:pt idx="1262">
                  <c:v>41701</c:v>
                </c:pt>
                <c:pt idx="1263">
                  <c:v>41702</c:v>
                </c:pt>
                <c:pt idx="1264">
                  <c:v>41703</c:v>
                </c:pt>
                <c:pt idx="1265">
                  <c:v>41704</c:v>
                </c:pt>
                <c:pt idx="1266">
                  <c:v>41705</c:v>
                </c:pt>
                <c:pt idx="1267">
                  <c:v>41708</c:v>
                </c:pt>
                <c:pt idx="1268">
                  <c:v>41709</c:v>
                </c:pt>
                <c:pt idx="1269">
                  <c:v>41710</c:v>
                </c:pt>
                <c:pt idx="1270">
                  <c:v>41711</c:v>
                </c:pt>
                <c:pt idx="1271">
                  <c:v>41712</c:v>
                </c:pt>
                <c:pt idx="1272">
                  <c:v>41715</c:v>
                </c:pt>
                <c:pt idx="1273">
                  <c:v>41716</c:v>
                </c:pt>
                <c:pt idx="1274">
                  <c:v>41717</c:v>
                </c:pt>
                <c:pt idx="1275">
                  <c:v>41718</c:v>
                </c:pt>
                <c:pt idx="1276">
                  <c:v>41719</c:v>
                </c:pt>
                <c:pt idx="1277">
                  <c:v>41722</c:v>
                </c:pt>
                <c:pt idx="1278">
                  <c:v>41723</c:v>
                </c:pt>
                <c:pt idx="1279">
                  <c:v>41724</c:v>
                </c:pt>
                <c:pt idx="1280">
                  <c:v>41725</c:v>
                </c:pt>
                <c:pt idx="1281">
                  <c:v>41726</c:v>
                </c:pt>
                <c:pt idx="1282">
                  <c:v>41729</c:v>
                </c:pt>
                <c:pt idx="1283">
                  <c:v>41730</c:v>
                </c:pt>
                <c:pt idx="1284">
                  <c:v>41731</c:v>
                </c:pt>
                <c:pt idx="1285">
                  <c:v>41732</c:v>
                </c:pt>
                <c:pt idx="1286">
                  <c:v>41733</c:v>
                </c:pt>
                <c:pt idx="1287">
                  <c:v>41736</c:v>
                </c:pt>
                <c:pt idx="1288">
                  <c:v>41737</c:v>
                </c:pt>
                <c:pt idx="1289">
                  <c:v>41738</c:v>
                </c:pt>
                <c:pt idx="1290">
                  <c:v>41739</c:v>
                </c:pt>
                <c:pt idx="1291">
                  <c:v>41740</c:v>
                </c:pt>
                <c:pt idx="1292">
                  <c:v>41743</c:v>
                </c:pt>
                <c:pt idx="1293">
                  <c:v>41744</c:v>
                </c:pt>
                <c:pt idx="1294">
                  <c:v>41745</c:v>
                </c:pt>
                <c:pt idx="1295">
                  <c:v>41746</c:v>
                </c:pt>
                <c:pt idx="1296">
                  <c:v>41747</c:v>
                </c:pt>
                <c:pt idx="1297">
                  <c:v>41750</c:v>
                </c:pt>
                <c:pt idx="1298">
                  <c:v>41751</c:v>
                </c:pt>
                <c:pt idx="1299">
                  <c:v>41752</c:v>
                </c:pt>
                <c:pt idx="1300">
                  <c:v>41753</c:v>
                </c:pt>
                <c:pt idx="1301">
                  <c:v>41754</c:v>
                </c:pt>
                <c:pt idx="1302">
                  <c:v>41757</c:v>
                </c:pt>
                <c:pt idx="1303">
                  <c:v>41758</c:v>
                </c:pt>
                <c:pt idx="1304">
                  <c:v>41759</c:v>
                </c:pt>
                <c:pt idx="1305">
                  <c:v>41760</c:v>
                </c:pt>
                <c:pt idx="1306">
                  <c:v>41761</c:v>
                </c:pt>
                <c:pt idx="1307">
                  <c:v>41764</c:v>
                </c:pt>
                <c:pt idx="1308">
                  <c:v>41765</c:v>
                </c:pt>
                <c:pt idx="1309">
                  <c:v>41766</c:v>
                </c:pt>
                <c:pt idx="1310">
                  <c:v>41767</c:v>
                </c:pt>
                <c:pt idx="1311">
                  <c:v>41768</c:v>
                </c:pt>
                <c:pt idx="1312">
                  <c:v>41771</c:v>
                </c:pt>
                <c:pt idx="1313">
                  <c:v>41772</c:v>
                </c:pt>
                <c:pt idx="1314">
                  <c:v>41773</c:v>
                </c:pt>
                <c:pt idx="1315">
                  <c:v>41774</c:v>
                </c:pt>
                <c:pt idx="1316">
                  <c:v>41775</c:v>
                </c:pt>
                <c:pt idx="1317">
                  <c:v>41778</c:v>
                </c:pt>
                <c:pt idx="1318">
                  <c:v>41779</c:v>
                </c:pt>
                <c:pt idx="1319">
                  <c:v>41780</c:v>
                </c:pt>
                <c:pt idx="1320">
                  <c:v>41781</c:v>
                </c:pt>
                <c:pt idx="1321">
                  <c:v>41782</c:v>
                </c:pt>
                <c:pt idx="1322">
                  <c:v>41785</c:v>
                </c:pt>
                <c:pt idx="1323">
                  <c:v>41786</c:v>
                </c:pt>
                <c:pt idx="1324">
                  <c:v>41787</c:v>
                </c:pt>
                <c:pt idx="1325">
                  <c:v>41788</c:v>
                </c:pt>
                <c:pt idx="1326">
                  <c:v>41789</c:v>
                </c:pt>
                <c:pt idx="1327">
                  <c:v>41792</c:v>
                </c:pt>
                <c:pt idx="1328">
                  <c:v>41793</c:v>
                </c:pt>
                <c:pt idx="1329">
                  <c:v>41794</c:v>
                </c:pt>
                <c:pt idx="1330">
                  <c:v>41795</c:v>
                </c:pt>
                <c:pt idx="1331">
                  <c:v>41796</c:v>
                </c:pt>
                <c:pt idx="1332">
                  <c:v>41799</c:v>
                </c:pt>
                <c:pt idx="1333">
                  <c:v>41800</c:v>
                </c:pt>
                <c:pt idx="1334">
                  <c:v>41801</c:v>
                </c:pt>
                <c:pt idx="1335">
                  <c:v>41802</c:v>
                </c:pt>
                <c:pt idx="1336">
                  <c:v>41803</c:v>
                </c:pt>
                <c:pt idx="1337">
                  <c:v>41806</c:v>
                </c:pt>
                <c:pt idx="1338">
                  <c:v>41807</c:v>
                </c:pt>
                <c:pt idx="1339">
                  <c:v>41808</c:v>
                </c:pt>
                <c:pt idx="1340">
                  <c:v>41809</c:v>
                </c:pt>
                <c:pt idx="1341">
                  <c:v>41810</c:v>
                </c:pt>
                <c:pt idx="1342">
                  <c:v>41813</c:v>
                </c:pt>
                <c:pt idx="1343">
                  <c:v>41814</c:v>
                </c:pt>
                <c:pt idx="1344">
                  <c:v>41815</c:v>
                </c:pt>
                <c:pt idx="1345">
                  <c:v>41816</c:v>
                </c:pt>
                <c:pt idx="1346">
                  <c:v>41817</c:v>
                </c:pt>
                <c:pt idx="1347">
                  <c:v>41820</c:v>
                </c:pt>
                <c:pt idx="1348">
                  <c:v>41821</c:v>
                </c:pt>
                <c:pt idx="1349">
                  <c:v>41822</c:v>
                </c:pt>
                <c:pt idx="1350">
                  <c:v>41823</c:v>
                </c:pt>
                <c:pt idx="1351">
                  <c:v>41824</c:v>
                </c:pt>
                <c:pt idx="1352">
                  <c:v>41827</c:v>
                </c:pt>
                <c:pt idx="1353">
                  <c:v>41828</c:v>
                </c:pt>
                <c:pt idx="1354">
                  <c:v>41829</c:v>
                </c:pt>
                <c:pt idx="1355">
                  <c:v>41830</c:v>
                </c:pt>
                <c:pt idx="1356">
                  <c:v>41831</c:v>
                </c:pt>
                <c:pt idx="1357">
                  <c:v>41834</c:v>
                </c:pt>
                <c:pt idx="1358">
                  <c:v>41835</c:v>
                </c:pt>
                <c:pt idx="1359">
                  <c:v>41836</c:v>
                </c:pt>
                <c:pt idx="1360">
                  <c:v>41837</c:v>
                </c:pt>
                <c:pt idx="1361">
                  <c:v>41838</c:v>
                </c:pt>
                <c:pt idx="1362">
                  <c:v>41841</c:v>
                </c:pt>
                <c:pt idx="1363">
                  <c:v>41842</c:v>
                </c:pt>
                <c:pt idx="1364">
                  <c:v>41843</c:v>
                </c:pt>
                <c:pt idx="1365">
                  <c:v>41844</c:v>
                </c:pt>
                <c:pt idx="1366">
                  <c:v>41845</c:v>
                </c:pt>
                <c:pt idx="1367">
                  <c:v>41848</c:v>
                </c:pt>
                <c:pt idx="1368">
                  <c:v>41849</c:v>
                </c:pt>
                <c:pt idx="1369">
                  <c:v>41850</c:v>
                </c:pt>
                <c:pt idx="1370">
                  <c:v>41851</c:v>
                </c:pt>
                <c:pt idx="1371">
                  <c:v>41852</c:v>
                </c:pt>
                <c:pt idx="1372">
                  <c:v>41855</c:v>
                </c:pt>
                <c:pt idx="1373">
                  <c:v>41856</c:v>
                </c:pt>
                <c:pt idx="1374">
                  <c:v>41857</c:v>
                </c:pt>
                <c:pt idx="1375">
                  <c:v>41858</c:v>
                </c:pt>
                <c:pt idx="1376">
                  <c:v>41859</c:v>
                </c:pt>
                <c:pt idx="1377">
                  <c:v>41862</c:v>
                </c:pt>
                <c:pt idx="1378">
                  <c:v>41863</c:v>
                </c:pt>
                <c:pt idx="1379">
                  <c:v>41864</c:v>
                </c:pt>
                <c:pt idx="1380">
                  <c:v>41865</c:v>
                </c:pt>
                <c:pt idx="1381">
                  <c:v>41866</c:v>
                </c:pt>
                <c:pt idx="1382">
                  <c:v>41869</c:v>
                </c:pt>
                <c:pt idx="1383">
                  <c:v>41870</c:v>
                </c:pt>
                <c:pt idx="1384">
                  <c:v>41871</c:v>
                </c:pt>
                <c:pt idx="1385">
                  <c:v>41872</c:v>
                </c:pt>
                <c:pt idx="1386">
                  <c:v>41873</c:v>
                </c:pt>
                <c:pt idx="1387">
                  <c:v>41876</c:v>
                </c:pt>
                <c:pt idx="1388">
                  <c:v>41877</c:v>
                </c:pt>
                <c:pt idx="1389">
                  <c:v>41878</c:v>
                </c:pt>
                <c:pt idx="1390">
                  <c:v>41879</c:v>
                </c:pt>
                <c:pt idx="1391">
                  <c:v>41880</c:v>
                </c:pt>
                <c:pt idx="1392">
                  <c:v>41883</c:v>
                </c:pt>
                <c:pt idx="1393">
                  <c:v>41884</c:v>
                </c:pt>
                <c:pt idx="1394">
                  <c:v>41885</c:v>
                </c:pt>
                <c:pt idx="1395">
                  <c:v>41886</c:v>
                </c:pt>
                <c:pt idx="1396">
                  <c:v>41887</c:v>
                </c:pt>
                <c:pt idx="1397">
                  <c:v>41890</c:v>
                </c:pt>
                <c:pt idx="1398">
                  <c:v>41891</c:v>
                </c:pt>
                <c:pt idx="1399">
                  <c:v>41892</c:v>
                </c:pt>
                <c:pt idx="1400">
                  <c:v>41893</c:v>
                </c:pt>
                <c:pt idx="1401">
                  <c:v>41894</c:v>
                </c:pt>
                <c:pt idx="1402">
                  <c:v>41897</c:v>
                </c:pt>
                <c:pt idx="1403">
                  <c:v>41898</c:v>
                </c:pt>
                <c:pt idx="1404">
                  <c:v>41899</c:v>
                </c:pt>
                <c:pt idx="1405">
                  <c:v>41900</c:v>
                </c:pt>
                <c:pt idx="1406">
                  <c:v>41901</c:v>
                </c:pt>
                <c:pt idx="1407">
                  <c:v>41904</c:v>
                </c:pt>
                <c:pt idx="1408">
                  <c:v>41905</c:v>
                </c:pt>
                <c:pt idx="1409">
                  <c:v>41906</c:v>
                </c:pt>
                <c:pt idx="1410">
                  <c:v>41907</c:v>
                </c:pt>
                <c:pt idx="1411">
                  <c:v>41908</c:v>
                </c:pt>
                <c:pt idx="1412">
                  <c:v>41911</c:v>
                </c:pt>
                <c:pt idx="1413">
                  <c:v>41912</c:v>
                </c:pt>
                <c:pt idx="1414">
                  <c:v>41913</c:v>
                </c:pt>
                <c:pt idx="1415">
                  <c:v>41914</c:v>
                </c:pt>
                <c:pt idx="1416">
                  <c:v>41915</c:v>
                </c:pt>
                <c:pt idx="1417">
                  <c:v>41918</c:v>
                </c:pt>
                <c:pt idx="1418">
                  <c:v>41919</c:v>
                </c:pt>
                <c:pt idx="1419">
                  <c:v>41920</c:v>
                </c:pt>
                <c:pt idx="1420">
                  <c:v>41921</c:v>
                </c:pt>
                <c:pt idx="1421">
                  <c:v>41922</c:v>
                </c:pt>
                <c:pt idx="1422">
                  <c:v>41925</c:v>
                </c:pt>
                <c:pt idx="1423">
                  <c:v>41926</c:v>
                </c:pt>
                <c:pt idx="1424">
                  <c:v>41927</c:v>
                </c:pt>
                <c:pt idx="1425">
                  <c:v>41928</c:v>
                </c:pt>
                <c:pt idx="1426">
                  <c:v>41929</c:v>
                </c:pt>
                <c:pt idx="1427">
                  <c:v>41932</c:v>
                </c:pt>
                <c:pt idx="1428">
                  <c:v>41933</c:v>
                </c:pt>
                <c:pt idx="1429">
                  <c:v>41934</c:v>
                </c:pt>
                <c:pt idx="1430">
                  <c:v>41935</c:v>
                </c:pt>
                <c:pt idx="1431">
                  <c:v>41936</c:v>
                </c:pt>
                <c:pt idx="1432">
                  <c:v>41939</c:v>
                </c:pt>
                <c:pt idx="1433">
                  <c:v>41940</c:v>
                </c:pt>
                <c:pt idx="1434">
                  <c:v>41941</c:v>
                </c:pt>
                <c:pt idx="1435">
                  <c:v>41942</c:v>
                </c:pt>
                <c:pt idx="1436">
                  <c:v>41943</c:v>
                </c:pt>
                <c:pt idx="1437">
                  <c:v>41946</c:v>
                </c:pt>
                <c:pt idx="1438">
                  <c:v>41947</c:v>
                </c:pt>
                <c:pt idx="1439">
                  <c:v>41948</c:v>
                </c:pt>
                <c:pt idx="1440">
                  <c:v>41949</c:v>
                </c:pt>
                <c:pt idx="1441">
                  <c:v>41950</c:v>
                </c:pt>
                <c:pt idx="1442">
                  <c:v>41953</c:v>
                </c:pt>
                <c:pt idx="1443">
                  <c:v>41954</c:v>
                </c:pt>
                <c:pt idx="1444">
                  <c:v>41955</c:v>
                </c:pt>
                <c:pt idx="1445">
                  <c:v>41956</c:v>
                </c:pt>
                <c:pt idx="1446">
                  <c:v>41957</c:v>
                </c:pt>
                <c:pt idx="1447">
                  <c:v>41960</c:v>
                </c:pt>
                <c:pt idx="1448">
                  <c:v>41961</c:v>
                </c:pt>
                <c:pt idx="1449">
                  <c:v>41962</c:v>
                </c:pt>
                <c:pt idx="1450">
                  <c:v>41963</c:v>
                </c:pt>
                <c:pt idx="1451">
                  <c:v>41964</c:v>
                </c:pt>
                <c:pt idx="1452">
                  <c:v>41967</c:v>
                </c:pt>
                <c:pt idx="1453">
                  <c:v>41968</c:v>
                </c:pt>
                <c:pt idx="1454">
                  <c:v>41969</c:v>
                </c:pt>
                <c:pt idx="1455">
                  <c:v>41970</c:v>
                </c:pt>
                <c:pt idx="1456">
                  <c:v>41971</c:v>
                </c:pt>
                <c:pt idx="1457">
                  <c:v>41974</c:v>
                </c:pt>
                <c:pt idx="1458">
                  <c:v>41975</c:v>
                </c:pt>
                <c:pt idx="1459">
                  <c:v>41976</c:v>
                </c:pt>
                <c:pt idx="1460">
                  <c:v>41977</c:v>
                </c:pt>
                <c:pt idx="1461">
                  <c:v>41978</c:v>
                </c:pt>
                <c:pt idx="1462">
                  <c:v>41981</c:v>
                </c:pt>
                <c:pt idx="1463">
                  <c:v>41982</c:v>
                </c:pt>
                <c:pt idx="1464">
                  <c:v>41983</c:v>
                </c:pt>
                <c:pt idx="1465">
                  <c:v>41984</c:v>
                </c:pt>
                <c:pt idx="1466">
                  <c:v>41985</c:v>
                </c:pt>
                <c:pt idx="1467">
                  <c:v>41988</c:v>
                </c:pt>
                <c:pt idx="1468">
                  <c:v>41989</c:v>
                </c:pt>
                <c:pt idx="1469">
                  <c:v>41990</c:v>
                </c:pt>
                <c:pt idx="1470">
                  <c:v>41991</c:v>
                </c:pt>
                <c:pt idx="1471">
                  <c:v>41992</c:v>
                </c:pt>
                <c:pt idx="1472">
                  <c:v>41995</c:v>
                </c:pt>
                <c:pt idx="1473">
                  <c:v>41996</c:v>
                </c:pt>
                <c:pt idx="1474">
                  <c:v>41997</c:v>
                </c:pt>
                <c:pt idx="1475">
                  <c:v>41998</c:v>
                </c:pt>
                <c:pt idx="1476">
                  <c:v>41999</c:v>
                </c:pt>
                <c:pt idx="1477">
                  <c:v>42002</c:v>
                </c:pt>
                <c:pt idx="1478">
                  <c:v>42003</c:v>
                </c:pt>
                <c:pt idx="1479">
                  <c:v>42004</c:v>
                </c:pt>
                <c:pt idx="1480">
                  <c:v>42005</c:v>
                </c:pt>
                <c:pt idx="1481">
                  <c:v>42006</c:v>
                </c:pt>
                <c:pt idx="1482">
                  <c:v>42009</c:v>
                </c:pt>
                <c:pt idx="1483">
                  <c:v>42010</c:v>
                </c:pt>
                <c:pt idx="1484">
                  <c:v>42011</c:v>
                </c:pt>
                <c:pt idx="1485">
                  <c:v>42012</c:v>
                </c:pt>
                <c:pt idx="1486">
                  <c:v>42013</c:v>
                </c:pt>
                <c:pt idx="1487">
                  <c:v>42016</c:v>
                </c:pt>
                <c:pt idx="1488">
                  <c:v>42017</c:v>
                </c:pt>
                <c:pt idx="1489">
                  <c:v>42018</c:v>
                </c:pt>
                <c:pt idx="1490">
                  <c:v>42019</c:v>
                </c:pt>
                <c:pt idx="1491">
                  <c:v>42020</c:v>
                </c:pt>
                <c:pt idx="1492">
                  <c:v>42023</c:v>
                </c:pt>
                <c:pt idx="1493">
                  <c:v>42024</c:v>
                </c:pt>
                <c:pt idx="1494">
                  <c:v>42025</c:v>
                </c:pt>
                <c:pt idx="1495">
                  <c:v>42026</c:v>
                </c:pt>
                <c:pt idx="1496">
                  <c:v>42027</c:v>
                </c:pt>
                <c:pt idx="1497">
                  <c:v>42030</c:v>
                </c:pt>
                <c:pt idx="1498">
                  <c:v>42031</c:v>
                </c:pt>
                <c:pt idx="1499">
                  <c:v>42032</c:v>
                </c:pt>
                <c:pt idx="1500">
                  <c:v>42033</c:v>
                </c:pt>
                <c:pt idx="1501">
                  <c:v>42034</c:v>
                </c:pt>
                <c:pt idx="1502">
                  <c:v>42037</c:v>
                </c:pt>
                <c:pt idx="1503">
                  <c:v>42038</c:v>
                </c:pt>
                <c:pt idx="1504">
                  <c:v>42039</c:v>
                </c:pt>
                <c:pt idx="1505">
                  <c:v>42040</c:v>
                </c:pt>
                <c:pt idx="1506">
                  <c:v>42041</c:v>
                </c:pt>
                <c:pt idx="1507">
                  <c:v>42044</c:v>
                </c:pt>
                <c:pt idx="1508">
                  <c:v>42045</c:v>
                </c:pt>
                <c:pt idx="1509">
                  <c:v>42046</c:v>
                </c:pt>
                <c:pt idx="1510">
                  <c:v>42047</c:v>
                </c:pt>
                <c:pt idx="1511">
                  <c:v>42048</c:v>
                </c:pt>
                <c:pt idx="1512">
                  <c:v>42051</c:v>
                </c:pt>
                <c:pt idx="1513">
                  <c:v>42052</c:v>
                </c:pt>
                <c:pt idx="1514">
                  <c:v>42053</c:v>
                </c:pt>
                <c:pt idx="1515">
                  <c:v>42054</c:v>
                </c:pt>
                <c:pt idx="1516">
                  <c:v>42055</c:v>
                </c:pt>
                <c:pt idx="1517">
                  <c:v>42058</c:v>
                </c:pt>
                <c:pt idx="1518">
                  <c:v>42059</c:v>
                </c:pt>
                <c:pt idx="1519">
                  <c:v>42060</c:v>
                </c:pt>
                <c:pt idx="1520">
                  <c:v>42061</c:v>
                </c:pt>
                <c:pt idx="1521">
                  <c:v>42062</c:v>
                </c:pt>
                <c:pt idx="1522">
                  <c:v>42065</c:v>
                </c:pt>
                <c:pt idx="1523">
                  <c:v>42066</c:v>
                </c:pt>
                <c:pt idx="1524">
                  <c:v>42067</c:v>
                </c:pt>
                <c:pt idx="1525">
                  <c:v>42068</c:v>
                </c:pt>
                <c:pt idx="1526">
                  <c:v>42069</c:v>
                </c:pt>
                <c:pt idx="1527">
                  <c:v>42072</c:v>
                </c:pt>
                <c:pt idx="1528">
                  <c:v>42073</c:v>
                </c:pt>
                <c:pt idx="1529">
                  <c:v>42074</c:v>
                </c:pt>
                <c:pt idx="1530">
                  <c:v>42075</c:v>
                </c:pt>
                <c:pt idx="1531">
                  <c:v>42076</c:v>
                </c:pt>
                <c:pt idx="1532">
                  <c:v>42079</c:v>
                </c:pt>
                <c:pt idx="1533">
                  <c:v>42080</c:v>
                </c:pt>
                <c:pt idx="1534">
                  <c:v>42081</c:v>
                </c:pt>
                <c:pt idx="1535">
                  <c:v>42082</c:v>
                </c:pt>
                <c:pt idx="1536">
                  <c:v>42083</c:v>
                </c:pt>
                <c:pt idx="1537">
                  <c:v>42086</c:v>
                </c:pt>
                <c:pt idx="1538">
                  <c:v>42087</c:v>
                </c:pt>
                <c:pt idx="1539">
                  <c:v>42088</c:v>
                </c:pt>
                <c:pt idx="1540">
                  <c:v>42089</c:v>
                </c:pt>
                <c:pt idx="1541">
                  <c:v>42090</c:v>
                </c:pt>
                <c:pt idx="1542">
                  <c:v>42093</c:v>
                </c:pt>
                <c:pt idx="1543">
                  <c:v>42094</c:v>
                </c:pt>
                <c:pt idx="1544">
                  <c:v>42095</c:v>
                </c:pt>
                <c:pt idx="1545">
                  <c:v>42096</c:v>
                </c:pt>
                <c:pt idx="1546">
                  <c:v>42097</c:v>
                </c:pt>
                <c:pt idx="1547">
                  <c:v>42100</c:v>
                </c:pt>
                <c:pt idx="1548">
                  <c:v>42101</c:v>
                </c:pt>
                <c:pt idx="1549">
                  <c:v>42102</c:v>
                </c:pt>
                <c:pt idx="1550">
                  <c:v>42103</c:v>
                </c:pt>
                <c:pt idx="1551">
                  <c:v>42104</c:v>
                </c:pt>
                <c:pt idx="1552">
                  <c:v>42107</c:v>
                </c:pt>
                <c:pt idx="1553">
                  <c:v>42108</c:v>
                </c:pt>
                <c:pt idx="1554">
                  <c:v>42109</c:v>
                </c:pt>
                <c:pt idx="1555">
                  <c:v>42110</c:v>
                </c:pt>
                <c:pt idx="1556">
                  <c:v>42111</c:v>
                </c:pt>
                <c:pt idx="1557">
                  <c:v>42114</c:v>
                </c:pt>
                <c:pt idx="1558">
                  <c:v>42115</c:v>
                </c:pt>
                <c:pt idx="1559">
                  <c:v>42116</c:v>
                </c:pt>
                <c:pt idx="1560">
                  <c:v>42117</c:v>
                </c:pt>
                <c:pt idx="1561">
                  <c:v>42118</c:v>
                </c:pt>
                <c:pt idx="1562">
                  <c:v>42121</c:v>
                </c:pt>
                <c:pt idx="1563">
                  <c:v>42122</c:v>
                </c:pt>
                <c:pt idx="1564">
                  <c:v>42123</c:v>
                </c:pt>
                <c:pt idx="1565">
                  <c:v>42124</c:v>
                </c:pt>
                <c:pt idx="1566">
                  <c:v>42125</c:v>
                </c:pt>
                <c:pt idx="1567">
                  <c:v>42128</c:v>
                </c:pt>
                <c:pt idx="1568">
                  <c:v>42129</c:v>
                </c:pt>
                <c:pt idx="1569">
                  <c:v>42130</c:v>
                </c:pt>
                <c:pt idx="1570">
                  <c:v>42131</c:v>
                </c:pt>
                <c:pt idx="1571">
                  <c:v>42132</c:v>
                </c:pt>
                <c:pt idx="1572">
                  <c:v>42135</c:v>
                </c:pt>
                <c:pt idx="1573">
                  <c:v>42136</c:v>
                </c:pt>
                <c:pt idx="1574">
                  <c:v>42137</c:v>
                </c:pt>
                <c:pt idx="1575">
                  <c:v>42138</c:v>
                </c:pt>
                <c:pt idx="1576">
                  <c:v>42139</c:v>
                </c:pt>
                <c:pt idx="1577">
                  <c:v>42142</c:v>
                </c:pt>
                <c:pt idx="1578">
                  <c:v>42143</c:v>
                </c:pt>
                <c:pt idx="1579">
                  <c:v>42144</c:v>
                </c:pt>
                <c:pt idx="1580">
                  <c:v>42145</c:v>
                </c:pt>
                <c:pt idx="1581">
                  <c:v>42146</c:v>
                </c:pt>
                <c:pt idx="1582">
                  <c:v>42149</c:v>
                </c:pt>
                <c:pt idx="1583">
                  <c:v>42150</c:v>
                </c:pt>
                <c:pt idx="1584">
                  <c:v>42151</c:v>
                </c:pt>
                <c:pt idx="1585">
                  <c:v>42152</c:v>
                </c:pt>
                <c:pt idx="1586">
                  <c:v>42153</c:v>
                </c:pt>
                <c:pt idx="1587">
                  <c:v>42156</c:v>
                </c:pt>
                <c:pt idx="1588">
                  <c:v>42157</c:v>
                </c:pt>
                <c:pt idx="1589">
                  <c:v>42158</c:v>
                </c:pt>
                <c:pt idx="1590">
                  <c:v>42159</c:v>
                </c:pt>
                <c:pt idx="1591">
                  <c:v>42160</c:v>
                </c:pt>
                <c:pt idx="1592">
                  <c:v>42163</c:v>
                </c:pt>
                <c:pt idx="1593">
                  <c:v>42164</c:v>
                </c:pt>
                <c:pt idx="1594">
                  <c:v>42165</c:v>
                </c:pt>
                <c:pt idx="1595">
                  <c:v>42166</c:v>
                </c:pt>
                <c:pt idx="1596">
                  <c:v>42167</c:v>
                </c:pt>
                <c:pt idx="1597">
                  <c:v>42170</c:v>
                </c:pt>
                <c:pt idx="1598">
                  <c:v>42171</c:v>
                </c:pt>
                <c:pt idx="1599">
                  <c:v>42172</c:v>
                </c:pt>
                <c:pt idx="1600">
                  <c:v>42173</c:v>
                </c:pt>
                <c:pt idx="1601">
                  <c:v>42174</c:v>
                </c:pt>
                <c:pt idx="1602">
                  <c:v>42177</c:v>
                </c:pt>
                <c:pt idx="1603">
                  <c:v>42178</c:v>
                </c:pt>
                <c:pt idx="1604">
                  <c:v>42179</c:v>
                </c:pt>
                <c:pt idx="1605">
                  <c:v>42180</c:v>
                </c:pt>
                <c:pt idx="1606">
                  <c:v>42181</c:v>
                </c:pt>
                <c:pt idx="1607">
                  <c:v>42184</c:v>
                </c:pt>
                <c:pt idx="1608">
                  <c:v>42185</c:v>
                </c:pt>
                <c:pt idx="1609">
                  <c:v>42186</c:v>
                </c:pt>
                <c:pt idx="1610">
                  <c:v>42187</c:v>
                </c:pt>
                <c:pt idx="1611">
                  <c:v>42188</c:v>
                </c:pt>
                <c:pt idx="1612">
                  <c:v>42191</c:v>
                </c:pt>
                <c:pt idx="1613">
                  <c:v>42192</c:v>
                </c:pt>
                <c:pt idx="1614">
                  <c:v>42193</c:v>
                </c:pt>
                <c:pt idx="1615">
                  <c:v>42194</c:v>
                </c:pt>
                <c:pt idx="1616">
                  <c:v>42195</c:v>
                </c:pt>
                <c:pt idx="1617">
                  <c:v>42198</c:v>
                </c:pt>
                <c:pt idx="1618">
                  <c:v>42199</c:v>
                </c:pt>
                <c:pt idx="1619">
                  <c:v>42200</c:v>
                </c:pt>
                <c:pt idx="1620">
                  <c:v>42201</c:v>
                </c:pt>
                <c:pt idx="1621">
                  <c:v>42202</c:v>
                </c:pt>
                <c:pt idx="1622">
                  <c:v>42205</c:v>
                </c:pt>
                <c:pt idx="1623">
                  <c:v>42206</c:v>
                </c:pt>
                <c:pt idx="1624">
                  <c:v>42207</c:v>
                </c:pt>
                <c:pt idx="1625">
                  <c:v>42208</c:v>
                </c:pt>
                <c:pt idx="1626">
                  <c:v>42209</c:v>
                </c:pt>
                <c:pt idx="1627">
                  <c:v>42212</c:v>
                </c:pt>
                <c:pt idx="1628">
                  <c:v>42213</c:v>
                </c:pt>
                <c:pt idx="1629">
                  <c:v>42214</c:v>
                </c:pt>
                <c:pt idx="1630">
                  <c:v>42215</c:v>
                </c:pt>
                <c:pt idx="1631">
                  <c:v>42216</c:v>
                </c:pt>
                <c:pt idx="1632">
                  <c:v>42219</c:v>
                </c:pt>
                <c:pt idx="1633">
                  <c:v>42220</c:v>
                </c:pt>
                <c:pt idx="1634">
                  <c:v>42221</c:v>
                </c:pt>
                <c:pt idx="1635">
                  <c:v>42222</c:v>
                </c:pt>
                <c:pt idx="1636">
                  <c:v>42223</c:v>
                </c:pt>
                <c:pt idx="1637">
                  <c:v>42226</c:v>
                </c:pt>
                <c:pt idx="1638">
                  <c:v>42227</c:v>
                </c:pt>
                <c:pt idx="1639">
                  <c:v>42228</c:v>
                </c:pt>
                <c:pt idx="1640">
                  <c:v>42229</c:v>
                </c:pt>
                <c:pt idx="1641">
                  <c:v>42230</c:v>
                </c:pt>
                <c:pt idx="1642">
                  <c:v>42233</c:v>
                </c:pt>
                <c:pt idx="1643">
                  <c:v>42234</c:v>
                </c:pt>
                <c:pt idx="1644">
                  <c:v>42235</c:v>
                </c:pt>
                <c:pt idx="1645">
                  <c:v>42236</c:v>
                </c:pt>
                <c:pt idx="1646">
                  <c:v>42237</c:v>
                </c:pt>
                <c:pt idx="1647">
                  <c:v>42240</c:v>
                </c:pt>
                <c:pt idx="1648">
                  <c:v>42241</c:v>
                </c:pt>
                <c:pt idx="1649">
                  <c:v>42242</c:v>
                </c:pt>
                <c:pt idx="1650">
                  <c:v>42243</c:v>
                </c:pt>
                <c:pt idx="1651">
                  <c:v>42244</c:v>
                </c:pt>
                <c:pt idx="1652">
                  <c:v>42247</c:v>
                </c:pt>
                <c:pt idx="1653">
                  <c:v>42248</c:v>
                </c:pt>
                <c:pt idx="1654">
                  <c:v>42249</c:v>
                </c:pt>
                <c:pt idx="1655">
                  <c:v>42250</c:v>
                </c:pt>
                <c:pt idx="1656">
                  <c:v>42251</c:v>
                </c:pt>
                <c:pt idx="1657">
                  <c:v>42254</c:v>
                </c:pt>
                <c:pt idx="1658">
                  <c:v>42255</c:v>
                </c:pt>
                <c:pt idx="1659">
                  <c:v>42256</c:v>
                </c:pt>
                <c:pt idx="1660">
                  <c:v>42257</c:v>
                </c:pt>
                <c:pt idx="1661">
                  <c:v>42258</c:v>
                </c:pt>
                <c:pt idx="1662">
                  <c:v>42261</c:v>
                </c:pt>
                <c:pt idx="1663">
                  <c:v>42262</c:v>
                </c:pt>
                <c:pt idx="1664">
                  <c:v>42263</c:v>
                </c:pt>
                <c:pt idx="1665">
                  <c:v>42264</c:v>
                </c:pt>
                <c:pt idx="1666">
                  <c:v>42265</c:v>
                </c:pt>
                <c:pt idx="1667">
                  <c:v>42268</c:v>
                </c:pt>
                <c:pt idx="1668">
                  <c:v>42269</c:v>
                </c:pt>
                <c:pt idx="1669">
                  <c:v>42270</c:v>
                </c:pt>
                <c:pt idx="1670">
                  <c:v>42271</c:v>
                </c:pt>
                <c:pt idx="1671">
                  <c:v>42272</c:v>
                </c:pt>
                <c:pt idx="1672">
                  <c:v>42275</c:v>
                </c:pt>
                <c:pt idx="1673">
                  <c:v>42276</c:v>
                </c:pt>
                <c:pt idx="1674">
                  <c:v>42277</c:v>
                </c:pt>
                <c:pt idx="1675">
                  <c:v>42278</c:v>
                </c:pt>
                <c:pt idx="1676">
                  <c:v>42279</c:v>
                </c:pt>
                <c:pt idx="1677">
                  <c:v>42282</c:v>
                </c:pt>
                <c:pt idx="1678">
                  <c:v>42283</c:v>
                </c:pt>
                <c:pt idx="1679">
                  <c:v>42284</c:v>
                </c:pt>
                <c:pt idx="1680">
                  <c:v>42285</c:v>
                </c:pt>
                <c:pt idx="1681">
                  <c:v>42286</c:v>
                </c:pt>
                <c:pt idx="1682">
                  <c:v>42289</c:v>
                </c:pt>
                <c:pt idx="1683">
                  <c:v>42290</c:v>
                </c:pt>
                <c:pt idx="1684">
                  <c:v>42291</c:v>
                </c:pt>
                <c:pt idx="1685">
                  <c:v>42292</c:v>
                </c:pt>
                <c:pt idx="1686">
                  <c:v>42293</c:v>
                </c:pt>
                <c:pt idx="1687">
                  <c:v>42296</c:v>
                </c:pt>
                <c:pt idx="1688">
                  <c:v>42297</c:v>
                </c:pt>
                <c:pt idx="1689">
                  <c:v>42298</c:v>
                </c:pt>
                <c:pt idx="1690">
                  <c:v>42299</c:v>
                </c:pt>
                <c:pt idx="1691">
                  <c:v>42300</c:v>
                </c:pt>
                <c:pt idx="1692">
                  <c:v>42303</c:v>
                </c:pt>
                <c:pt idx="1693">
                  <c:v>42304</c:v>
                </c:pt>
                <c:pt idx="1694">
                  <c:v>42305</c:v>
                </c:pt>
                <c:pt idx="1695">
                  <c:v>42306</c:v>
                </c:pt>
                <c:pt idx="1696">
                  <c:v>42307</c:v>
                </c:pt>
                <c:pt idx="1697">
                  <c:v>42310</c:v>
                </c:pt>
                <c:pt idx="1698">
                  <c:v>42311</c:v>
                </c:pt>
                <c:pt idx="1699">
                  <c:v>42312</c:v>
                </c:pt>
                <c:pt idx="1700">
                  <c:v>42313</c:v>
                </c:pt>
                <c:pt idx="1701">
                  <c:v>42314</c:v>
                </c:pt>
                <c:pt idx="1702">
                  <c:v>42317</c:v>
                </c:pt>
                <c:pt idx="1703">
                  <c:v>42318</c:v>
                </c:pt>
                <c:pt idx="1704">
                  <c:v>42319</c:v>
                </c:pt>
                <c:pt idx="1705">
                  <c:v>42320</c:v>
                </c:pt>
                <c:pt idx="1706">
                  <c:v>42321</c:v>
                </c:pt>
                <c:pt idx="1707">
                  <c:v>42324</c:v>
                </c:pt>
                <c:pt idx="1708">
                  <c:v>42325</c:v>
                </c:pt>
                <c:pt idx="1709">
                  <c:v>42326</c:v>
                </c:pt>
                <c:pt idx="1710">
                  <c:v>42327</c:v>
                </c:pt>
                <c:pt idx="1711">
                  <c:v>42328</c:v>
                </c:pt>
                <c:pt idx="1712">
                  <c:v>42331</c:v>
                </c:pt>
                <c:pt idx="1713">
                  <c:v>42332</c:v>
                </c:pt>
                <c:pt idx="1714">
                  <c:v>42333</c:v>
                </c:pt>
                <c:pt idx="1715">
                  <c:v>42334</c:v>
                </c:pt>
                <c:pt idx="1716">
                  <c:v>42335</c:v>
                </c:pt>
                <c:pt idx="1717">
                  <c:v>42338</c:v>
                </c:pt>
                <c:pt idx="1718">
                  <c:v>42339</c:v>
                </c:pt>
                <c:pt idx="1719">
                  <c:v>42340</c:v>
                </c:pt>
                <c:pt idx="1720">
                  <c:v>42341</c:v>
                </c:pt>
                <c:pt idx="1721">
                  <c:v>42342</c:v>
                </c:pt>
                <c:pt idx="1722">
                  <c:v>42345</c:v>
                </c:pt>
                <c:pt idx="1723">
                  <c:v>42346</c:v>
                </c:pt>
                <c:pt idx="1724">
                  <c:v>42347</c:v>
                </c:pt>
                <c:pt idx="1725">
                  <c:v>42348</c:v>
                </c:pt>
                <c:pt idx="1726">
                  <c:v>42349</c:v>
                </c:pt>
                <c:pt idx="1727">
                  <c:v>42352</c:v>
                </c:pt>
                <c:pt idx="1728">
                  <c:v>42353</c:v>
                </c:pt>
                <c:pt idx="1729">
                  <c:v>42354</c:v>
                </c:pt>
                <c:pt idx="1730">
                  <c:v>42355</c:v>
                </c:pt>
                <c:pt idx="1731">
                  <c:v>42356</c:v>
                </c:pt>
                <c:pt idx="1732">
                  <c:v>42359</c:v>
                </c:pt>
                <c:pt idx="1733">
                  <c:v>42360</c:v>
                </c:pt>
                <c:pt idx="1734">
                  <c:v>42361</c:v>
                </c:pt>
                <c:pt idx="1735">
                  <c:v>42362</c:v>
                </c:pt>
                <c:pt idx="1736">
                  <c:v>42363</c:v>
                </c:pt>
                <c:pt idx="1737">
                  <c:v>42366</c:v>
                </c:pt>
                <c:pt idx="1738">
                  <c:v>42367</c:v>
                </c:pt>
                <c:pt idx="1739">
                  <c:v>42368</c:v>
                </c:pt>
                <c:pt idx="1740">
                  <c:v>42369</c:v>
                </c:pt>
                <c:pt idx="1741">
                  <c:v>42370</c:v>
                </c:pt>
                <c:pt idx="1742">
                  <c:v>42373</c:v>
                </c:pt>
                <c:pt idx="1743">
                  <c:v>42374</c:v>
                </c:pt>
                <c:pt idx="1744">
                  <c:v>42375</c:v>
                </c:pt>
                <c:pt idx="1745">
                  <c:v>42376</c:v>
                </c:pt>
                <c:pt idx="1746">
                  <c:v>42377</c:v>
                </c:pt>
                <c:pt idx="1747">
                  <c:v>42380</c:v>
                </c:pt>
                <c:pt idx="1748">
                  <c:v>42381</c:v>
                </c:pt>
                <c:pt idx="1749">
                  <c:v>42382</c:v>
                </c:pt>
                <c:pt idx="1750">
                  <c:v>42383</c:v>
                </c:pt>
                <c:pt idx="1751">
                  <c:v>42384</c:v>
                </c:pt>
                <c:pt idx="1752">
                  <c:v>42387</c:v>
                </c:pt>
                <c:pt idx="1753">
                  <c:v>42388</c:v>
                </c:pt>
                <c:pt idx="1754">
                  <c:v>42389</c:v>
                </c:pt>
                <c:pt idx="1755">
                  <c:v>42390</c:v>
                </c:pt>
                <c:pt idx="1756">
                  <c:v>42391</c:v>
                </c:pt>
                <c:pt idx="1757">
                  <c:v>42394</c:v>
                </c:pt>
                <c:pt idx="1758">
                  <c:v>42395</c:v>
                </c:pt>
                <c:pt idx="1759">
                  <c:v>42396</c:v>
                </c:pt>
                <c:pt idx="1760">
                  <c:v>42397</c:v>
                </c:pt>
                <c:pt idx="1761">
                  <c:v>42398</c:v>
                </c:pt>
                <c:pt idx="1762">
                  <c:v>42401</c:v>
                </c:pt>
                <c:pt idx="1763">
                  <c:v>42402</c:v>
                </c:pt>
                <c:pt idx="1764">
                  <c:v>42403</c:v>
                </c:pt>
                <c:pt idx="1765">
                  <c:v>42404</c:v>
                </c:pt>
                <c:pt idx="1766">
                  <c:v>42405</c:v>
                </c:pt>
                <c:pt idx="1767">
                  <c:v>42408</c:v>
                </c:pt>
                <c:pt idx="1768">
                  <c:v>42409</c:v>
                </c:pt>
                <c:pt idx="1769">
                  <c:v>42410</c:v>
                </c:pt>
                <c:pt idx="1770">
                  <c:v>42411</c:v>
                </c:pt>
                <c:pt idx="1771">
                  <c:v>42412</c:v>
                </c:pt>
                <c:pt idx="1772">
                  <c:v>42415</c:v>
                </c:pt>
                <c:pt idx="1773">
                  <c:v>42416</c:v>
                </c:pt>
                <c:pt idx="1774">
                  <c:v>42417</c:v>
                </c:pt>
                <c:pt idx="1775">
                  <c:v>42418</c:v>
                </c:pt>
                <c:pt idx="1776">
                  <c:v>42419</c:v>
                </c:pt>
                <c:pt idx="1777">
                  <c:v>42422</c:v>
                </c:pt>
                <c:pt idx="1778">
                  <c:v>42423</c:v>
                </c:pt>
                <c:pt idx="1779">
                  <c:v>42424</c:v>
                </c:pt>
                <c:pt idx="1780">
                  <c:v>42425</c:v>
                </c:pt>
                <c:pt idx="1781">
                  <c:v>42426</c:v>
                </c:pt>
                <c:pt idx="1782">
                  <c:v>42429</c:v>
                </c:pt>
                <c:pt idx="1783">
                  <c:v>42430</c:v>
                </c:pt>
                <c:pt idx="1784">
                  <c:v>42431</c:v>
                </c:pt>
                <c:pt idx="1785">
                  <c:v>42432</c:v>
                </c:pt>
                <c:pt idx="1786">
                  <c:v>42433</c:v>
                </c:pt>
                <c:pt idx="1787">
                  <c:v>42436</c:v>
                </c:pt>
                <c:pt idx="1788">
                  <c:v>42437</c:v>
                </c:pt>
                <c:pt idx="1789">
                  <c:v>42438</c:v>
                </c:pt>
                <c:pt idx="1790">
                  <c:v>42439</c:v>
                </c:pt>
                <c:pt idx="1791">
                  <c:v>42440</c:v>
                </c:pt>
                <c:pt idx="1792">
                  <c:v>42443</c:v>
                </c:pt>
                <c:pt idx="1793">
                  <c:v>42444</c:v>
                </c:pt>
                <c:pt idx="1794">
                  <c:v>42445</c:v>
                </c:pt>
                <c:pt idx="1795">
                  <c:v>42446</c:v>
                </c:pt>
                <c:pt idx="1796">
                  <c:v>42447</c:v>
                </c:pt>
                <c:pt idx="1797">
                  <c:v>42450</c:v>
                </c:pt>
                <c:pt idx="1798">
                  <c:v>42451</c:v>
                </c:pt>
                <c:pt idx="1799">
                  <c:v>42452</c:v>
                </c:pt>
                <c:pt idx="1800">
                  <c:v>42453</c:v>
                </c:pt>
                <c:pt idx="1801">
                  <c:v>42454</c:v>
                </c:pt>
                <c:pt idx="1802">
                  <c:v>42457</c:v>
                </c:pt>
                <c:pt idx="1803">
                  <c:v>42458</c:v>
                </c:pt>
                <c:pt idx="1804">
                  <c:v>42459</c:v>
                </c:pt>
                <c:pt idx="1805">
                  <c:v>42460</c:v>
                </c:pt>
                <c:pt idx="1806">
                  <c:v>42461</c:v>
                </c:pt>
                <c:pt idx="1807">
                  <c:v>42464</c:v>
                </c:pt>
                <c:pt idx="1808">
                  <c:v>42465</c:v>
                </c:pt>
                <c:pt idx="1809">
                  <c:v>42466</c:v>
                </c:pt>
                <c:pt idx="1810">
                  <c:v>42467</c:v>
                </c:pt>
                <c:pt idx="1811">
                  <c:v>42468</c:v>
                </c:pt>
                <c:pt idx="1812">
                  <c:v>42471</c:v>
                </c:pt>
                <c:pt idx="1813">
                  <c:v>42472</c:v>
                </c:pt>
                <c:pt idx="1814">
                  <c:v>42473</c:v>
                </c:pt>
                <c:pt idx="1815">
                  <c:v>42474</c:v>
                </c:pt>
                <c:pt idx="1816">
                  <c:v>42475</c:v>
                </c:pt>
                <c:pt idx="1817">
                  <c:v>42478</c:v>
                </c:pt>
                <c:pt idx="1818">
                  <c:v>42479</c:v>
                </c:pt>
                <c:pt idx="1819">
                  <c:v>42480</c:v>
                </c:pt>
                <c:pt idx="1820">
                  <c:v>42481</c:v>
                </c:pt>
                <c:pt idx="1821">
                  <c:v>42482</c:v>
                </c:pt>
                <c:pt idx="1822">
                  <c:v>42485</c:v>
                </c:pt>
                <c:pt idx="1823">
                  <c:v>42486</c:v>
                </c:pt>
                <c:pt idx="1824">
                  <c:v>42487</c:v>
                </c:pt>
                <c:pt idx="1825">
                  <c:v>42488</c:v>
                </c:pt>
                <c:pt idx="1826">
                  <c:v>42489</c:v>
                </c:pt>
                <c:pt idx="1827">
                  <c:v>42492</c:v>
                </c:pt>
                <c:pt idx="1828">
                  <c:v>42493</c:v>
                </c:pt>
                <c:pt idx="1829">
                  <c:v>42494</c:v>
                </c:pt>
                <c:pt idx="1830">
                  <c:v>42495</c:v>
                </c:pt>
                <c:pt idx="1831">
                  <c:v>42496</c:v>
                </c:pt>
                <c:pt idx="1832">
                  <c:v>42499</c:v>
                </c:pt>
                <c:pt idx="1833">
                  <c:v>42500</c:v>
                </c:pt>
                <c:pt idx="1834">
                  <c:v>42501</c:v>
                </c:pt>
                <c:pt idx="1835">
                  <c:v>42502</c:v>
                </c:pt>
                <c:pt idx="1836">
                  <c:v>42503</c:v>
                </c:pt>
                <c:pt idx="1837">
                  <c:v>42506</c:v>
                </c:pt>
                <c:pt idx="1838">
                  <c:v>42507</c:v>
                </c:pt>
                <c:pt idx="1839">
                  <c:v>42508</c:v>
                </c:pt>
                <c:pt idx="1840">
                  <c:v>42509</c:v>
                </c:pt>
                <c:pt idx="1841">
                  <c:v>42510</c:v>
                </c:pt>
                <c:pt idx="1842">
                  <c:v>42513</c:v>
                </c:pt>
                <c:pt idx="1843">
                  <c:v>42514</c:v>
                </c:pt>
                <c:pt idx="1844">
                  <c:v>42515</c:v>
                </c:pt>
                <c:pt idx="1845">
                  <c:v>42516</c:v>
                </c:pt>
                <c:pt idx="1846">
                  <c:v>42517</c:v>
                </c:pt>
                <c:pt idx="1847">
                  <c:v>42520</c:v>
                </c:pt>
                <c:pt idx="1848">
                  <c:v>42521</c:v>
                </c:pt>
                <c:pt idx="1849">
                  <c:v>42522</c:v>
                </c:pt>
                <c:pt idx="1850">
                  <c:v>42523</c:v>
                </c:pt>
                <c:pt idx="1851">
                  <c:v>42524</c:v>
                </c:pt>
                <c:pt idx="1852">
                  <c:v>42527</c:v>
                </c:pt>
                <c:pt idx="1853">
                  <c:v>42528</c:v>
                </c:pt>
                <c:pt idx="1854">
                  <c:v>42529</c:v>
                </c:pt>
                <c:pt idx="1855">
                  <c:v>42530</c:v>
                </c:pt>
                <c:pt idx="1856">
                  <c:v>42531</c:v>
                </c:pt>
                <c:pt idx="1857">
                  <c:v>42534</c:v>
                </c:pt>
                <c:pt idx="1858">
                  <c:v>42535</c:v>
                </c:pt>
                <c:pt idx="1859">
                  <c:v>42536</c:v>
                </c:pt>
                <c:pt idx="1860">
                  <c:v>42537</c:v>
                </c:pt>
                <c:pt idx="1861">
                  <c:v>42538</c:v>
                </c:pt>
                <c:pt idx="1862">
                  <c:v>42541</c:v>
                </c:pt>
                <c:pt idx="1863">
                  <c:v>42542</c:v>
                </c:pt>
                <c:pt idx="1864">
                  <c:v>42543</c:v>
                </c:pt>
                <c:pt idx="1865">
                  <c:v>42544</c:v>
                </c:pt>
                <c:pt idx="1866">
                  <c:v>42545</c:v>
                </c:pt>
                <c:pt idx="1867">
                  <c:v>42548</c:v>
                </c:pt>
                <c:pt idx="1868">
                  <c:v>42549</c:v>
                </c:pt>
                <c:pt idx="1869">
                  <c:v>42550</c:v>
                </c:pt>
                <c:pt idx="1870">
                  <c:v>42551</c:v>
                </c:pt>
                <c:pt idx="1871">
                  <c:v>42552</c:v>
                </c:pt>
                <c:pt idx="1872">
                  <c:v>42555</c:v>
                </c:pt>
                <c:pt idx="1873">
                  <c:v>42556</c:v>
                </c:pt>
                <c:pt idx="1874">
                  <c:v>42557</c:v>
                </c:pt>
                <c:pt idx="1875">
                  <c:v>42558</c:v>
                </c:pt>
                <c:pt idx="1876">
                  <c:v>42559</c:v>
                </c:pt>
                <c:pt idx="1877">
                  <c:v>42562</c:v>
                </c:pt>
                <c:pt idx="1878">
                  <c:v>42563</c:v>
                </c:pt>
                <c:pt idx="1879">
                  <c:v>42564</c:v>
                </c:pt>
                <c:pt idx="1880">
                  <c:v>42565</c:v>
                </c:pt>
                <c:pt idx="1881">
                  <c:v>42566</c:v>
                </c:pt>
                <c:pt idx="1882">
                  <c:v>42569</c:v>
                </c:pt>
                <c:pt idx="1883">
                  <c:v>42570</c:v>
                </c:pt>
                <c:pt idx="1884">
                  <c:v>42571</c:v>
                </c:pt>
                <c:pt idx="1885">
                  <c:v>42572</c:v>
                </c:pt>
                <c:pt idx="1886">
                  <c:v>42573</c:v>
                </c:pt>
                <c:pt idx="1887">
                  <c:v>42576</c:v>
                </c:pt>
                <c:pt idx="1888">
                  <c:v>42577</c:v>
                </c:pt>
                <c:pt idx="1889">
                  <c:v>42578</c:v>
                </c:pt>
                <c:pt idx="1890">
                  <c:v>42579</c:v>
                </c:pt>
                <c:pt idx="1891">
                  <c:v>42580</c:v>
                </c:pt>
                <c:pt idx="1892">
                  <c:v>42583</c:v>
                </c:pt>
                <c:pt idx="1893">
                  <c:v>42584</c:v>
                </c:pt>
                <c:pt idx="1894">
                  <c:v>42585</c:v>
                </c:pt>
                <c:pt idx="1895">
                  <c:v>42586</c:v>
                </c:pt>
                <c:pt idx="1896">
                  <c:v>42587</c:v>
                </c:pt>
                <c:pt idx="1897">
                  <c:v>42590</c:v>
                </c:pt>
                <c:pt idx="1898">
                  <c:v>42591</c:v>
                </c:pt>
                <c:pt idx="1899">
                  <c:v>42592</c:v>
                </c:pt>
                <c:pt idx="1900">
                  <c:v>42593</c:v>
                </c:pt>
                <c:pt idx="1901">
                  <c:v>42594</c:v>
                </c:pt>
                <c:pt idx="1902">
                  <c:v>42597</c:v>
                </c:pt>
                <c:pt idx="1903">
                  <c:v>42598</c:v>
                </c:pt>
                <c:pt idx="1904">
                  <c:v>42599</c:v>
                </c:pt>
                <c:pt idx="1905">
                  <c:v>42600</c:v>
                </c:pt>
                <c:pt idx="1906">
                  <c:v>42601</c:v>
                </c:pt>
                <c:pt idx="1907">
                  <c:v>42604</c:v>
                </c:pt>
                <c:pt idx="1908">
                  <c:v>42605</c:v>
                </c:pt>
                <c:pt idx="1909">
                  <c:v>42606</c:v>
                </c:pt>
                <c:pt idx="1910">
                  <c:v>42607</c:v>
                </c:pt>
                <c:pt idx="1911">
                  <c:v>42608</c:v>
                </c:pt>
                <c:pt idx="1912">
                  <c:v>42611</c:v>
                </c:pt>
                <c:pt idx="1913">
                  <c:v>42612</c:v>
                </c:pt>
                <c:pt idx="1914">
                  <c:v>42613</c:v>
                </c:pt>
                <c:pt idx="1915">
                  <c:v>42614</c:v>
                </c:pt>
                <c:pt idx="1916">
                  <c:v>42615</c:v>
                </c:pt>
                <c:pt idx="1917">
                  <c:v>42618</c:v>
                </c:pt>
                <c:pt idx="1918">
                  <c:v>42619</c:v>
                </c:pt>
                <c:pt idx="1919">
                  <c:v>42620</c:v>
                </c:pt>
                <c:pt idx="1920">
                  <c:v>42621</c:v>
                </c:pt>
                <c:pt idx="1921">
                  <c:v>42622</c:v>
                </c:pt>
                <c:pt idx="1922">
                  <c:v>42625</c:v>
                </c:pt>
                <c:pt idx="1923">
                  <c:v>42626</c:v>
                </c:pt>
                <c:pt idx="1924">
                  <c:v>42627</c:v>
                </c:pt>
                <c:pt idx="1925">
                  <c:v>42628</c:v>
                </c:pt>
                <c:pt idx="1926">
                  <c:v>42629</c:v>
                </c:pt>
                <c:pt idx="1927">
                  <c:v>42632</c:v>
                </c:pt>
                <c:pt idx="1928">
                  <c:v>42633</c:v>
                </c:pt>
                <c:pt idx="1929">
                  <c:v>42634</c:v>
                </c:pt>
                <c:pt idx="1930">
                  <c:v>42635</c:v>
                </c:pt>
                <c:pt idx="1931">
                  <c:v>42636</c:v>
                </c:pt>
                <c:pt idx="1932">
                  <c:v>42639</c:v>
                </c:pt>
                <c:pt idx="1933">
                  <c:v>42640</c:v>
                </c:pt>
                <c:pt idx="1934">
                  <c:v>42641</c:v>
                </c:pt>
                <c:pt idx="1935">
                  <c:v>42642</c:v>
                </c:pt>
                <c:pt idx="1936">
                  <c:v>42643</c:v>
                </c:pt>
                <c:pt idx="1937">
                  <c:v>42646</c:v>
                </c:pt>
                <c:pt idx="1938">
                  <c:v>42647</c:v>
                </c:pt>
                <c:pt idx="1939">
                  <c:v>42648</c:v>
                </c:pt>
                <c:pt idx="1940">
                  <c:v>42649</c:v>
                </c:pt>
                <c:pt idx="1941">
                  <c:v>42650</c:v>
                </c:pt>
                <c:pt idx="1942">
                  <c:v>42653</c:v>
                </c:pt>
                <c:pt idx="1943">
                  <c:v>42654</c:v>
                </c:pt>
                <c:pt idx="1944">
                  <c:v>42655</c:v>
                </c:pt>
                <c:pt idx="1945">
                  <c:v>42656</c:v>
                </c:pt>
                <c:pt idx="1946">
                  <c:v>42657</c:v>
                </c:pt>
                <c:pt idx="1947">
                  <c:v>42660</c:v>
                </c:pt>
                <c:pt idx="1948">
                  <c:v>42661</c:v>
                </c:pt>
                <c:pt idx="1949">
                  <c:v>42662</c:v>
                </c:pt>
                <c:pt idx="1950">
                  <c:v>42663</c:v>
                </c:pt>
                <c:pt idx="1951">
                  <c:v>42664</c:v>
                </c:pt>
                <c:pt idx="1952">
                  <c:v>42667</c:v>
                </c:pt>
                <c:pt idx="1953">
                  <c:v>42668</c:v>
                </c:pt>
                <c:pt idx="1954">
                  <c:v>42669</c:v>
                </c:pt>
                <c:pt idx="1955">
                  <c:v>42670</c:v>
                </c:pt>
                <c:pt idx="1956">
                  <c:v>42671</c:v>
                </c:pt>
                <c:pt idx="1957">
                  <c:v>42674</c:v>
                </c:pt>
                <c:pt idx="1958">
                  <c:v>42675</c:v>
                </c:pt>
                <c:pt idx="1959">
                  <c:v>42676</c:v>
                </c:pt>
                <c:pt idx="1960">
                  <c:v>42677</c:v>
                </c:pt>
                <c:pt idx="1961">
                  <c:v>42678</c:v>
                </c:pt>
                <c:pt idx="1962">
                  <c:v>42681</c:v>
                </c:pt>
                <c:pt idx="1963">
                  <c:v>42682</c:v>
                </c:pt>
                <c:pt idx="1964">
                  <c:v>42683</c:v>
                </c:pt>
                <c:pt idx="1965">
                  <c:v>42684</c:v>
                </c:pt>
                <c:pt idx="1966">
                  <c:v>42685</c:v>
                </c:pt>
                <c:pt idx="1967">
                  <c:v>42688</c:v>
                </c:pt>
                <c:pt idx="1968">
                  <c:v>42689</c:v>
                </c:pt>
                <c:pt idx="1969">
                  <c:v>42690</c:v>
                </c:pt>
                <c:pt idx="1970">
                  <c:v>42691</c:v>
                </c:pt>
                <c:pt idx="1971">
                  <c:v>42692</c:v>
                </c:pt>
                <c:pt idx="1972">
                  <c:v>42695</c:v>
                </c:pt>
                <c:pt idx="1973">
                  <c:v>42696</c:v>
                </c:pt>
                <c:pt idx="1974">
                  <c:v>42697</c:v>
                </c:pt>
                <c:pt idx="1975">
                  <c:v>42698</c:v>
                </c:pt>
                <c:pt idx="1976">
                  <c:v>42699</c:v>
                </c:pt>
                <c:pt idx="1977">
                  <c:v>42702</c:v>
                </c:pt>
                <c:pt idx="1978">
                  <c:v>42703</c:v>
                </c:pt>
                <c:pt idx="1979">
                  <c:v>42704</c:v>
                </c:pt>
                <c:pt idx="1980">
                  <c:v>42705</c:v>
                </c:pt>
                <c:pt idx="1981">
                  <c:v>42706</c:v>
                </c:pt>
                <c:pt idx="1982">
                  <c:v>42709</c:v>
                </c:pt>
                <c:pt idx="1983">
                  <c:v>42710</c:v>
                </c:pt>
                <c:pt idx="1984">
                  <c:v>42711</c:v>
                </c:pt>
                <c:pt idx="1985">
                  <c:v>42712</c:v>
                </c:pt>
                <c:pt idx="1986">
                  <c:v>42713</c:v>
                </c:pt>
                <c:pt idx="1987">
                  <c:v>42716</c:v>
                </c:pt>
                <c:pt idx="1988">
                  <c:v>42717</c:v>
                </c:pt>
                <c:pt idx="1989">
                  <c:v>42718</c:v>
                </c:pt>
                <c:pt idx="1990">
                  <c:v>42719</c:v>
                </c:pt>
                <c:pt idx="1991">
                  <c:v>42720</c:v>
                </c:pt>
                <c:pt idx="1992">
                  <c:v>42723</c:v>
                </c:pt>
                <c:pt idx="1993">
                  <c:v>42724</c:v>
                </c:pt>
                <c:pt idx="1994">
                  <c:v>42725</c:v>
                </c:pt>
                <c:pt idx="1995">
                  <c:v>42726</c:v>
                </c:pt>
                <c:pt idx="1996">
                  <c:v>42727</c:v>
                </c:pt>
                <c:pt idx="1997">
                  <c:v>42730</c:v>
                </c:pt>
                <c:pt idx="1998">
                  <c:v>42731</c:v>
                </c:pt>
                <c:pt idx="1999">
                  <c:v>42732</c:v>
                </c:pt>
                <c:pt idx="2000">
                  <c:v>42733</c:v>
                </c:pt>
                <c:pt idx="2001">
                  <c:v>42734</c:v>
                </c:pt>
                <c:pt idx="2002">
                  <c:v>42737</c:v>
                </c:pt>
                <c:pt idx="2003">
                  <c:v>42738</c:v>
                </c:pt>
                <c:pt idx="2004">
                  <c:v>42739</c:v>
                </c:pt>
                <c:pt idx="2005">
                  <c:v>42740</c:v>
                </c:pt>
                <c:pt idx="2006">
                  <c:v>42741</c:v>
                </c:pt>
                <c:pt idx="2007">
                  <c:v>42744</c:v>
                </c:pt>
                <c:pt idx="2008">
                  <c:v>42745</c:v>
                </c:pt>
                <c:pt idx="2009">
                  <c:v>42746</c:v>
                </c:pt>
                <c:pt idx="2010">
                  <c:v>42747</c:v>
                </c:pt>
                <c:pt idx="2011">
                  <c:v>42748</c:v>
                </c:pt>
                <c:pt idx="2012">
                  <c:v>42751</c:v>
                </c:pt>
                <c:pt idx="2013">
                  <c:v>42752</c:v>
                </c:pt>
                <c:pt idx="2014">
                  <c:v>42753</c:v>
                </c:pt>
                <c:pt idx="2015">
                  <c:v>42754</c:v>
                </c:pt>
                <c:pt idx="2016">
                  <c:v>42755</c:v>
                </c:pt>
                <c:pt idx="2017">
                  <c:v>42758</c:v>
                </c:pt>
                <c:pt idx="2018">
                  <c:v>42759</c:v>
                </c:pt>
                <c:pt idx="2019">
                  <c:v>42760</c:v>
                </c:pt>
                <c:pt idx="2020">
                  <c:v>42761</c:v>
                </c:pt>
                <c:pt idx="2021">
                  <c:v>42762</c:v>
                </c:pt>
                <c:pt idx="2022">
                  <c:v>42765</c:v>
                </c:pt>
                <c:pt idx="2023">
                  <c:v>42766</c:v>
                </c:pt>
                <c:pt idx="2024">
                  <c:v>42767</c:v>
                </c:pt>
                <c:pt idx="2025">
                  <c:v>42768</c:v>
                </c:pt>
                <c:pt idx="2026">
                  <c:v>42769</c:v>
                </c:pt>
                <c:pt idx="2027">
                  <c:v>42772</c:v>
                </c:pt>
                <c:pt idx="2028">
                  <c:v>42773</c:v>
                </c:pt>
                <c:pt idx="2029">
                  <c:v>42774</c:v>
                </c:pt>
                <c:pt idx="2030">
                  <c:v>42775</c:v>
                </c:pt>
                <c:pt idx="2031">
                  <c:v>42776</c:v>
                </c:pt>
                <c:pt idx="2032">
                  <c:v>42779</c:v>
                </c:pt>
                <c:pt idx="2033">
                  <c:v>42780</c:v>
                </c:pt>
                <c:pt idx="2034">
                  <c:v>42781</c:v>
                </c:pt>
                <c:pt idx="2035">
                  <c:v>42782</c:v>
                </c:pt>
                <c:pt idx="2036">
                  <c:v>42783</c:v>
                </c:pt>
                <c:pt idx="2037">
                  <c:v>42786</c:v>
                </c:pt>
                <c:pt idx="2038">
                  <c:v>42787</c:v>
                </c:pt>
                <c:pt idx="2039">
                  <c:v>42788</c:v>
                </c:pt>
                <c:pt idx="2040">
                  <c:v>42789</c:v>
                </c:pt>
                <c:pt idx="2041">
                  <c:v>42790</c:v>
                </c:pt>
                <c:pt idx="2042">
                  <c:v>42793</c:v>
                </c:pt>
                <c:pt idx="2043">
                  <c:v>42794</c:v>
                </c:pt>
                <c:pt idx="2044">
                  <c:v>42795</c:v>
                </c:pt>
                <c:pt idx="2045">
                  <c:v>42796</c:v>
                </c:pt>
                <c:pt idx="2046">
                  <c:v>42797</c:v>
                </c:pt>
                <c:pt idx="2047">
                  <c:v>42800</c:v>
                </c:pt>
                <c:pt idx="2048">
                  <c:v>42801</c:v>
                </c:pt>
                <c:pt idx="2049">
                  <c:v>42802</c:v>
                </c:pt>
                <c:pt idx="2050">
                  <c:v>42803</c:v>
                </c:pt>
                <c:pt idx="2051">
                  <c:v>42804</c:v>
                </c:pt>
                <c:pt idx="2052">
                  <c:v>42807</c:v>
                </c:pt>
                <c:pt idx="2053">
                  <c:v>42808</c:v>
                </c:pt>
                <c:pt idx="2054">
                  <c:v>42809</c:v>
                </c:pt>
                <c:pt idx="2055">
                  <c:v>42810</c:v>
                </c:pt>
                <c:pt idx="2056">
                  <c:v>42811</c:v>
                </c:pt>
                <c:pt idx="2057">
                  <c:v>42814</c:v>
                </c:pt>
                <c:pt idx="2058">
                  <c:v>42815</c:v>
                </c:pt>
                <c:pt idx="2059">
                  <c:v>42816</c:v>
                </c:pt>
                <c:pt idx="2060">
                  <c:v>42817</c:v>
                </c:pt>
                <c:pt idx="2061">
                  <c:v>42818</c:v>
                </c:pt>
                <c:pt idx="2062">
                  <c:v>42821</c:v>
                </c:pt>
                <c:pt idx="2063">
                  <c:v>42822</c:v>
                </c:pt>
                <c:pt idx="2064">
                  <c:v>42823</c:v>
                </c:pt>
                <c:pt idx="2065">
                  <c:v>42824</c:v>
                </c:pt>
                <c:pt idx="2066">
                  <c:v>42825</c:v>
                </c:pt>
                <c:pt idx="2067">
                  <c:v>42828</c:v>
                </c:pt>
                <c:pt idx="2068">
                  <c:v>42829</c:v>
                </c:pt>
                <c:pt idx="2069">
                  <c:v>42830</c:v>
                </c:pt>
                <c:pt idx="2070">
                  <c:v>42831</c:v>
                </c:pt>
                <c:pt idx="2071">
                  <c:v>42832</c:v>
                </c:pt>
                <c:pt idx="2072">
                  <c:v>42835</c:v>
                </c:pt>
                <c:pt idx="2073">
                  <c:v>42836</c:v>
                </c:pt>
                <c:pt idx="2074">
                  <c:v>42837</c:v>
                </c:pt>
                <c:pt idx="2075">
                  <c:v>42838</c:v>
                </c:pt>
                <c:pt idx="2076">
                  <c:v>42839</c:v>
                </c:pt>
                <c:pt idx="2077">
                  <c:v>42842</c:v>
                </c:pt>
                <c:pt idx="2078">
                  <c:v>42843</c:v>
                </c:pt>
                <c:pt idx="2079">
                  <c:v>42844</c:v>
                </c:pt>
                <c:pt idx="2080">
                  <c:v>42845</c:v>
                </c:pt>
                <c:pt idx="2081">
                  <c:v>42846</c:v>
                </c:pt>
                <c:pt idx="2082">
                  <c:v>42849</c:v>
                </c:pt>
                <c:pt idx="2083">
                  <c:v>42850</c:v>
                </c:pt>
                <c:pt idx="2084">
                  <c:v>42851</c:v>
                </c:pt>
                <c:pt idx="2085">
                  <c:v>42852</c:v>
                </c:pt>
                <c:pt idx="2086">
                  <c:v>42853</c:v>
                </c:pt>
                <c:pt idx="2087">
                  <c:v>42856</c:v>
                </c:pt>
                <c:pt idx="2088">
                  <c:v>42857</c:v>
                </c:pt>
                <c:pt idx="2089">
                  <c:v>42858</c:v>
                </c:pt>
                <c:pt idx="2090">
                  <c:v>42859</c:v>
                </c:pt>
                <c:pt idx="2091">
                  <c:v>42860</c:v>
                </c:pt>
                <c:pt idx="2092">
                  <c:v>42863</c:v>
                </c:pt>
                <c:pt idx="2093">
                  <c:v>42864</c:v>
                </c:pt>
                <c:pt idx="2094">
                  <c:v>42865</c:v>
                </c:pt>
                <c:pt idx="2095">
                  <c:v>42866</c:v>
                </c:pt>
                <c:pt idx="2096">
                  <c:v>42867</c:v>
                </c:pt>
                <c:pt idx="2097">
                  <c:v>42870</c:v>
                </c:pt>
                <c:pt idx="2098">
                  <c:v>42871</c:v>
                </c:pt>
                <c:pt idx="2099">
                  <c:v>42872</c:v>
                </c:pt>
                <c:pt idx="2100">
                  <c:v>42873</c:v>
                </c:pt>
                <c:pt idx="2101">
                  <c:v>42874</c:v>
                </c:pt>
                <c:pt idx="2102">
                  <c:v>42877</c:v>
                </c:pt>
                <c:pt idx="2103">
                  <c:v>42878</c:v>
                </c:pt>
                <c:pt idx="2104">
                  <c:v>42879</c:v>
                </c:pt>
                <c:pt idx="2105">
                  <c:v>42880</c:v>
                </c:pt>
                <c:pt idx="2106">
                  <c:v>42881</c:v>
                </c:pt>
                <c:pt idx="2107">
                  <c:v>42884</c:v>
                </c:pt>
                <c:pt idx="2108">
                  <c:v>42885</c:v>
                </c:pt>
                <c:pt idx="2109">
                  <c:v>42886</c:v>
                </c:pt>
                <c:pt idx="2110">
                  <c:v>42887</c:v>
                </c:pt>
                <c:pt idx="2111">
                  <c:v>42888</c:v>
                </c:pt>
                <c:pt idx="2112">
                  <c:v>42891</c:v>
                </c:pt>
                <c:pt idx="2113">
                  <c:v>42892</c:v>
                </c:pt>
                <c:pt idx="2114">
                  <c:v>42893</c:v>
                </c:pt>
                <c:pt idx="2115">
                  <c:v>42894</c:v>
                </c:pt>
                <c:pt idx="2116">
                  <c:v>42895</c:v>
                </c:pt>
                <c:pt idx="2117">
                  <c:v>42898</c:v>
                </c:pt>
                <c:pt idx="2118">
                  <c:v>42899</c:v>
                </c:pt>
                <c:pt idx="2119">
                  <c:v>42900</c:v>
                </c:pt>
                <c:pt idx="2120">
                  <c:v>42901</c:v>
                </c:pt>
                <c:pt idx="2121">
                  <c:v>42902</c:v>
                </c:pt>
                <c:pt idx="2122">
                  <c:v>42905</c:v>
                </c:pt>
                <c:pt idx="2123">
                  <c:v>42906</c:v>
                </c:pt>
                <c:pt idx="2124">
                  <c:v>42907</c:v>
                </c:pt>
                <c:pt idx="2125">
                  <c:v>42908</c:v>
                </c:pt>
                <c:pt idx="2126">
                  <c:v>42909</c:v>
                </c:pt>
                <c:pt idx="2127">
                  <c:v>42912</c:v>
                </c:pt>
                <c:pt idx="2128">
                  <c:v>42913</c:v>
                </c:pt>
                <c:pt idx="2129">
                  <c:v>42914</c:v>
                </c:pt>
                <c:pt idx="2130">
                  <c:v>42915</c:v>
                </c:pt>
                <c:pt idx="2131">
                  <c:v>42916</c:v>
                </c:pt>
                <c:pt idx="2132">
                  <c:v>42919</c:v>
                </c:pt>
                <c:pt idx="2133">
                  <c:v>42920</c:v>
                </c:pt>
                <c:pt idx="2134">
                  <c:v>42921</c:v>
                </c:pt>
                <c:pt idx="2135">
                  <c:v>42922</c:v>
                </c:pt>
                <c:pt idx="2136">
                  <c:v>42923</c:v>
                </c:pt>
                <c:pt idx="2137">
                  <c:v>42926</c:v>
                </c:pt>
                <c:pt idx="2138">
                  <c:v>42927</c:v>
                </c:pt>
                <c:pt idx="2139">
                  <c:v>42928</c:v>
                </c:pt>
                <c:pt idx="2140">
                  <c:v>42929</c:v>
                </c:pt>
                <c:pt idx="2141">
                  <c:v>42930</c:v>
                </c:pt>
                <c:pt idx="2142">
                  <c:v>42933</c:v>
                </c:pt>
                <c:pt idx="2143">
                  <c:v>42934</c:v>
                </c:pt>
                <c:pt idx="2144">
                  <c:v>42935</c:v>
                </c:pt>
                <c:pt idx="2145">
                  <c:v>42936</c:v>
                </c:pt>
                <c:pt idx="2146">
                  <c:v>42937</c:v>
                </c:pt>
                <c:pt idx="2147">
                  <c:v>42940</c:v>
                </c:pt>
                <c:pt idx="2148">
                  <c:v>42941</c:v>
                </c:pt>
                <c:pt idx="2149">
                  <c:v>42942</c:v>
                </c:pt>
                <c:pt idx="2150">
                  <c:v>42943</c:v>
                </c:pt>
                <c:pt idx="2151">
                  <c:v>42944</c:v>
                </c:pt>
                <c:pt idx="2152">
                  <c:v>42947</c:v>
                </c:pt>
                <c:pt idx="2153">
                  <c:v>42948</c:v>
                </c:pt>
                <c:pt idx="2154">
                  <c:v>42949</c:v>
                </c:pt>
                <c:pt idx="2155">
                  <c:v>42950</c:v>
                </c:pt>
                <c:pt idx="2156">
                  <c:v>42951</c:v>
                </c:pt>
                <c:pt idx="2157">
                  <c:v>42954</c:v>
                </c:pt>
                <c:pt idx="2158">
                  <c:v>42955</c:v>
                </c:pt>
                <c:pt idx="2159">
                  <c:v>42956</c:v>
                </c:pt>
                <c:pt idx="2160">
                  <c:v>42957</c:v>
                </c:pt>
                <c:pt idx="2161">
                  <c:v>42958</c:v>
                </c:pt>
                <c:pt idx="2162">
                  <c:v>42961</c:v>
                </c:pt>
                <c:pt idx="2163">
                  <c:v>42962</c:v>
                </c:pt>
                <c:pt idx="2164">
                  <c:v>42963</c:v>
                </c:pt>
                <c:pt idx="2165">
                  <c:v>42964</c:v>
                </c:pt>
                <c:pt idx="2166">
                  <c:v>42965</c:v>
                </c:pt>
                <c:pt idx="2167">
                  <c:v>42968</c:v>
                </c:pt>
                <c:pt idx="2168">
                  <c:v>42969</c:v>
                </c:pt>
                <c:pt idx="2169">
                  <c:v>42970</c:v>
                </c:pt>
                <c:pt idx="2170">
                  <c:v>42971</c:v>
                </c:pt>
                <c:pt idx="2171">
                  <c:v>42972</c:v>
                </c:pt>
                <c:pt idx="2172">
                  <c:v>42975</c:v>
                </c:pt>
                <c:pt idx="2173">
                  <c:v>42976</c:v>
                </c:pt>
                <c:pt idx="2174">
                  <c:v>42977</c:v>
                </c:pt>
                <c:pt idx="2175">
                  <c:v>42978</c:v>
                </c:pt>
                <c:pt idx="2176">
                  <c:v>42979</c:v>
                </c:pt>
                <c:pt idx="2177">
                  <c:v>42982</c:v>
                </c:pt>
                <c:pt idx="2178">
                  <c:v>42983</c:v>
                </c:pt>
                <c:pt idx="2179">
                  <c:v>42984</c:v>
                </c:pt>
                <c:pt idx="2180">
                  <c:v>42985</c:v>
                </c:pt>
                <c:pt idx="2181">
                  <c:v>42986</c:v>
                </c:pt>
                <c:pt idx="2182">
                  <c:v>42989</c:v>
                </c:pt>
                <c:pt idx="2183">
                  <c:v>42990</c:v>
                </c:pt>
                <c:pt idx="2184">
                  <c:v>42991</c:v>
                </c:pt>
                <c:pt idx="2185">
                  <c:v>42992</c:v>
                </c:pt>
                <c:pt idx="2186">
                  <c:v>42993</c:v>
                </c:pt>
                <c:pt idx="2187">
                  <c:v>42996</c:v>
                </c:pt>
                <c:pt idx="2188">
                  <c:v>42997</c:v>
                </c:pt>
                <c:pt idx="2189">
                  <c:v>42998</c:v>
                </c:pt>
                <c:pt idx="2190">
                  <c:v>42999</c:v>
                </c:pt>
                <c:pt idx="2191">
                  <c:v>43000</c:v>
                </c:pt>
                <c:pt idx="2192">
                  <c:v>43003</c:v>
                </c:pt>
                <c:pt idx="2193">
                  <c:v>43004</c:v>
                </c:pt>
                <c:pt idx="2194">
                  <c:v>43005</c:v>
                </c:pt>
                <c:pt idx="2195">
                  <c:v>43006</c:v>
                </c:pt>
                <c:pt idx="2196">
                  <c:v>43007</c:v>
                </c:pt>
                <c:pt idx="2197">
                  <c:v>43010</c:v>
                </c:pt>
                <c:pt idx="2198">
                  <c:v>43011</c:v>
                </c:pt>
                <c:pt idx="2199">
                  <c:v>43012</c:v>
                </c:pt>
                <c:pt idx="2200">
                  <c:v>43013</c:v>
                </c:pt>
                <c:pt idx="2201">
                  <c:v>43014</c:v>
                </c:pt>
                <c:pt idx="2202">
                  <c:v>43017</c:v>
                </c:pt>
                <c:pt idx="2203">
                  <c:v>43018</c:v>
                </c:pt>
                <c:pt idx="2204">
                  <c:v>43019</c:v>
                </c:pt>
                <c:pt idx="2205">
                  <c:v>43020</c:v>
                </c:pt>
                <c:pt idx="2206">
                  <c:v>43021</c:v>
                </c:pt>
                <c:pt idx="2207">
                  <c:v>43024</c:v>
                </c:pt>
                <c:pt idx="2208">
                  <c:v>43025</c:v>
                </c:pt>
                <c:pt idx="2209">
                  <c:v>43026</c:v>
                </c:pt>
                <c:pt idx="2210">
                  <c:v>43027</c:v>
                </c:pt>
                <c:pt idx="2211">
                  <c:v>43028</c:v>
                </c:pt>
                <c:pt idx="2212">
                  <c:v>43031</c:v>
                </c:pt>
                <c:pt idx="2213">
                  <c:v>43032</c:v>
                </c:pt>
                <c:pt idx="2214">
                  <c:v>43033</c:v>
                </c:pt>
                <c:pt idx="2215">
                  <c:v>43034</c:v>
                </c:pt>
                <c:pt idx="2216">
                  <c:v>43035</c:v>
                </c:pt>
                <c:pt idx="2217">
                  <c:v>43038</c:v>
                </c:pt>
                <c:pt idx="2218">
                  <c:v>43039</c:v>
                </c:pt>
                <c:pt idx="2219">
                  <c:v>43040</c:v>
                </c:pt>
                <c:pt idx="2220">
                  <c:v>43041</c:v>
                </c:pt>
                <c:pt idx="2221">
                  <c:v>43042</c:v>
                </c:pt>
                <c:pt idx="2222">
                  <c:v>43045</c:v>
                </c:pt>
                <c:pt idx="2223">
                  <c:v>43046</c:v>
                </c:pt>
                <c:pt idx="2224">
                  <c:v>43047</c:v>
                </c:pt>
                <c:pt idx="2225">
                  <c:v>43048</c:v>
                </c:pt>
                <c:pt idx="2226">
                  <c:v>43049</c:v>
                </c:pt>
                <c:pt idx="2227">
                  <c:v>43052</c:v>
                </c:pt>
                <c:pt idx="2228">
                  <c:v>43053</c:v>
                </c:pt>
                <c:pt idx="2229">
                  <c:v>43054</c:v>
                </c:pt>
                <c:pt idx="2230">
                  <c:v>43055</c:v>
                </c:pt>
                <c:pt idx="2231">
                  <c:v>43056</c:v>
                </c:pt>
                <c:pt idx="2232">
                  <c:v>43059</c:v>
                </c:pt>
                <c:pt idx="2233">
                  <c:v>43060</c:v>
                </c:pt>
                <c:pt idx="2234">
                  <c:v>43061</c:v>
                </c:pt>
                <c:pt idx="2235">
                  <c:v>43062</c:v>
                </c:pt>
                <c:pt idx="2236">
                  <c:v>43063</c:v>
                </c:pt>
                <c:pt idx="2237">
                  <c:v>43066</c:v>
                </c:pt>
                <c:pt idx="2238">
                  <c:v>43067</c:v>
                </c:pt>
                <c:pt idx="2239">
                  <c:v>43068</c:v>
                </c:pt>
                <c:pt idx="2240">
                  <c:v>43069</c:v>
                </c:pt>
                <c:pt idx="2241">
                  <c:v>43070</c:v>
                </c:pt>
                <c:pt idx="2242">
                  <c:v>43073</c:v>
                </c:pt>
                <c:pt idx="2243">
                  <c:v>43074</c:v>
                </c:pt>
                <c:pt idx="2244">
                  <c:v>43075</c:v>
                </c:pt>
                <c:pt idx="2245">
                  <c:v>43076</c:v>
                </c:pt>
                <c:pt idx="2246">
                  <c:v>43077</c:v>
                </c:pt>
                <c:pt idx="2247">
                  <c:v>43080</c:v>
                </c:pt>
                <c:pt idx="2248">
                  <c:v>43081</c:v>
                </c:pt>
                <c:pt idx="2249">
                  <c:v>43082</c:v>
                </c:pt>
                <c:pt idx="2250">
                  <c:v>43083</c:v>
                </c:pt>
                <c:pt idx="2251">
                  <c:v>43084</c:v>
                </c:pt>
                <c:pt idx="2252">
                  <c:v>43087</c:v>
                </c:pt>
                <c:pt idx="2253">
                  <c:v>43088</c:v>
                </c:pt>
                <c:pt idx="2254">
                  <c:v>43089</c:v>
                </c:pt>
                <c:pt idx="2255">
                  <c:v>43090</c:v>
                </c:pt>
                <c:pt idx="2256">
                  <c:v>43091</c:v>
                </c:pt>
                <c:pt idx="2257">
                  <c:v>43094</c:v>
                </c:pt>
                <c:pt idx="2258">
                  <c:v>43095</c:v>
                </c:pt>
                <c:pt idx="2259">
                  <c:v>43096</c:v>
                </c:pt>
                <c:pt idx="2260">
                  <c:v>43097</c:v>
                </c:pt>
                <c:pt idx="2261">
                  <c:v>43098</c:v>
                </c:pt>
                <c:pt idx="2262">
                  <c:v>43101</c:v>
                </c:pt>
                <c:pt idx="2263">
                  <c:v>43102</c:v>
                </c:pt>
                <c:pt idx="2264">
                  <c:v>43103</c:v>
                </c:pt>
                <c:pt idx="2265">
                  <c:v>43104</c:v>
                </c:pt>
                <c:pt idx="2266">
                  <c:v>43105</c:v>
                </c:pt>
                <c:pt idx="2267">
                  <c:v>43108</c:v>
                </c:pt>
                <c:pt idx="2268">
                  <c:v>43109</c:v>
                </c:pt>
                <c:pt idx="2269">
                  <c:v>43110</c:v>
                </c:pt>
                <c:pt idx="2270">
                  <c:v>43111</c:v>
                </c:pt>
                <c:pt idx="2271">
                  <c:v>43112</c:v>
                </c:pt>
                <c:pt idx="2272">
                  <c:v>43115</c:v>
                </c:pt>
                <c:pt idx="2273">
                  <c:v>43116</c:v>
                </c:pt>
                <c:pt idx="2274">
                  <c:v>43117</c:v>
                </c:pt>
                <c:pt idx="2275">
                  <c:v>43118</c:v>
                </c:pt>
                <c:pt idx="2276">
                  <c:v>43119</c:v>
                </c:pt>
                <c:pt idx="2277">
                  <c:v>43122</c:v>
                </c:pt>
                <c:pt idx="2278">
                  <c:v>43123</c:v>
                </c:pt>
                <c:pt idx="2279">
                  <c:v>43124</c:v>
                </c:pt>
                <c:pt idx="2280">
                  <c:v>43125</c:v>
                </c:pt>
                <c:pt idx="2281">
                  <c:v>43126</c:v>
                </c:pt>
                <c:pt idx="2282">
                  <c:v>43129</c:v>
                </c:pt>
                <c:pt idx="2283">
                  <c:v>43130</c:v>
                </c:pt>
                <c:pt idx="2284">
                  <c:v>43131</c:v>
                </c:pt>
              </c:numCache>
            </c:numRef>
          </c:cat>
          <c:val>
            <c:numRef>
              <c:f>'Amundi Fds Europe MinVar BRUT'!$D$5:$D$2289</c:f>
              <c:numCache>
                <c:formatCode>#,##0.00_);[Red]\(#,##0.00\)</c:formatCode>
                <c:ptCount val="2285"/>
                <c:pt idx="0">
                  <c:v>100</c:v>
                </c:pt>
                <c:pt idx="1">
                  <c:v>100</c:v>
                </c:pt>
                <c:pt idx="2">
                  <c:v>102.03285498972181</c:v>
                </c:pt>
                <c:pt idx="3">
                  <c:v>101.10327530284893</c:v>
                </c:pt>
                <c:pt idx="4">
                  <c:v>101.79796660127209</c:v>
                </c:pt>
                <c:pt idx="5">
                  <c:v>101.30543006724848</c:v>
                </c:pt>
                <c:pt idx="6">
                  <c:v>102.16820358649265</c:v>
                </c:pt>
                <c:pt idx="7">
                  <c:v>101.24164983064973</c:v>
                </c:pt>
                <c:pt idx="8">
                  <c:v>102.3806058020659</c:v>
                </c:pt>
                <c:pt idx="9">
                  <c:v>102.15510849226146</c:v>
                </c:pt>
                <c:pt idx="10">
                  <c:v>102.25458443688224</c:v>
                </c:pt>
                <c:pt idx="11">
                  <c:v>102.28006750381154</c:v>
                </c:pt>
                <c:pt idx="12">
                  <c:v>103.67690218066679</c:v>
                </c:pt>
                <c:pt idx="13">
                  <c:v>103.59940613819865</c:v>
                </c:pt>
                <c:pt idx="14">
                  <c:v>104.339433790332</c:v>
                </c:pt>
                <c:pt idx="15">
                  <c:v>104.339433790332</c:v>
                </c:pt>
                <c:pt idx="16">
                  <c:v>102.17239431714158</c:v>
                </c:pt>
                <c:pt idx="17">
                  <c:v>102.57530073239936</c:v>
                </c:pt>
                <c:pt idx="18">
                  <c:v>103.59457457531458</c:v>
                </c:pt>
                <c:pt idx="19">
                  <c:v>103.87736122756273</c:v>
                </c:pt>
                <c:pt idx="20">
                  <c:v>103.12537870138412</c:v>
                </c:pt>
                <c:pt idx="21">
                  <c:v>102.84572766567122</c:v>
                </c:pt>
                <c:pt idx="22">
                  <c:v>102.84572766567122</c:v>
                </c:pt>
                <c:pt idx="23">
                  <c:v>104.39661699823262</c:v>
                </c:pt>
                <c:pt idx="24">
                  <c:v>103.26718336853706</c:v>
                </c:pt>
                <c:pt idx="25">
                  <c:v>103.22367762974469</c:v>
                </c:pt>
                <c:pt idx="26">
                  <c:v>102.96396823440304</c:v>
                </c:pt>
                <c:pt idx="27">
                  <c:v>102.8484296738083</c:v>
                </c:pt>
                <c:pt idx="28">
                  <c:v>102.94104779647961</c:v>
                </c:pt>
                <c:pt idx="29">
                  <c:v>103.5321966255319</c:v>
                </c:pt>
                <c:pt idx="30">
                  <c:v>104.11136206900298</c:v>
                </c:pt>
                <c:pt idx="31">
                  <c:v>104.22407836943857</c:v>
                </c:pt>
                <c:pt idx="32">
                  <c:v>102.30860017082988</c:v>
                </c:pt>
                <c:pt idx="33">
                  <c:v>102.49504392958002</c:v>
                </c:pt>
                <c:pt idx="34">
                  <c:v>102.37739650722833</c:v>
                </c:pt>
                <c:pt idx="35">
                  <c:v>102.71237158891728</c:v>
                </c:pt>
                <c:pt idx="36">
                  <c:v>103.52804297261532</c:v>
                </c:pt>
                <c:pt idx="37">
                  <c:v>101.67089426838993</c:v>
                </c:pt>
                <c:pt idx="38">
                  <c:v>101.67089426838993</c:v>
                </c:pt>
                <c:pt idx="39">
                  <c:v>102.93274360697407</c:v>
                </c:pt>
                <c:pt idx="40">
                  <c:v>102.07993514564424</c:v>
                </c:pt>
                <c:pt idx="41">
                  <c:v>101.71986588291627</c:v>
                </c:pt>
                <c:pt idx="42">
                  <c:v>102.83809033273201</c:v>
                </c:pt>
                <c:pt idx="43">
                  <c:v>101.96206089667992</c:v>
                </c:pt>
                <c:pt idx="44">
                  <c:v>103.65233023318537</c:v>
                </c:pt>
                <c:pt idx="45">
                  <c:v>101.50236514418015</c:v>
                </c:pt>
                <c:pt idx="46">
                  <c:v>101.45051416413308</c:v>
                </c:pt>
                <c:pt idx="47">
                  <c:v>101.21275483793258</c:v>
                </c:pt>
                <c:pt idx="48">
                  <c:v>100.04317095161875</c:v>
                </c:pt>
                <c:pt idx="49">
                  <c:v>99.750444304039064</c:v>
                </c:pt>
                <c:pt idx="50">
                  <c:v>100.06824429761924</c:v>
                </c:pt>
                <c:pt idx="51">
                  <c:v>99.118738764520813</c:v>
                </c:pt>
                <c:pt idx="52">
                  <c:v>100.29879463369826</c:v>
                </c:pt>
                <c:pt idx="53">
                  <c:v>100.71723994934632</c:v>
                </c:pt>
                <c:pt idx="54">
                  <c:v>102.06634058864152</c:v>
                </c:pt>
                <c:pt idx="55">
                  <c:v>102.86837799255231</c:v>
                </c:pt>
                <c:pt idx="56">
                  <c:v>103.12336532954873</c:v>
                </c:pt>
                <c:pt idx="57">
                  <c:v>104.02169641904659</c:v>
                </c:pt>
                <c:pt idx="58">
                  <c:v>104.5984512506769</c:v>
                </c:pt>
                <c:pt idx="59">
                  <c:v>104.88257793698168</c:v>
                </c:pt>
                <c:pt idx="60">
                  <c:v>105.78812792513301</c:v>
                </c:pt>
                <c:pt idx="61">
                  <c:v>105.33861659567711</c:v>
                </c:pt>
                <c:pt idx="62">
                  <c:v>105.65388563756719</c:v>
                </c:pt>
                <c:pt idx="63">
                  <c:v>105.45592815126075</c:v>
                </c:pt>
                <c:pt idx="64">
                  <c:v>106.26138156971476</c:v>
                </c:pt>
                <c:pt idx="65">
                  <c:v>107.69640869725366</c:v>
                </c:pt>
                <c:pt idx="66">
                  <c:v>107.04782908256732</c:v>
                </c:pt>
                <c:pt idx="67">
                  <c:v>107.48257175438154</c:v>
                </c:pt>
                <c:pt idx="68">
                  <c:v>107.23951711234633</c:v>
                </c:pt>
                <c:pt idx="69">
                  <c:v>106.49015572985047</c:v>
                </c:pt>
                <c:pt idx="70">
                  <c:v>106.41549891002491</c:v>
                </c:pt>
                <c:pt idx="71">
                  <c:v>107.85779043718054</c:v>
                </c:pt>
                <c:pt idx="72">
                  <c:v>107.62688253463983</c:v>
                </c:pt>
                <c:pt idx="73">
                  <c:v>106.91452203627389</c:v>
                </c:pt>
                <c:pt idx="74">
                  <c:v>107.83658173495132</c:v>
                </c:pt>
                <c:pt idx="75">
                  <c:v>107.70579147543565</c:v>
                </c:pt>
                <c:pt idx="76">
                  <c:v>107.05154250738683</c:v>
                </c:pt>
                <c:pt idx="77">
                  <c:v>105.90703395574685</c:v>
                </c:pt>
                <c:pt idx="78">
                  <c:v>106.68581254218155</c:v>
                </c:pt>
                <c:pt idx="79">
                  <c:v>106.86587912933649</c:v>
                </c:pt>
                <c:pt idx="80">
                  <c:v>107.90849725007381</c:v>
                </c:pt>
                <c:pt idx="81">
                  <c:v>109.86488259884895</c:v>
                </c:pt>
                <c:pt idx="82">
                  <c:v>110.18170795322548</c:v>
                </c:pt>
                <c:pt idx="83">
                  <c:v>110.87947697413891</c:v>
                </c:pt>
                <c:pt idx="84">
                  <c:v>110.52101389127711</c:v>
                </c:pt>
                <c:pt idx="85">
                  <c:v>110.10338671139897</c:v>
                </c:pt>
                <c:pt idx="86">
                  <c:v>110.55446681789476</c:v>
                </c:pt>
                <c:pt idx="87">
                  <c:v>110.20269273392435</c:v>
                </c:pt>
                <c:pt idx="88">
                  <c:v>109.23123463710873</c:v>
                </c:pt>
                <c:pt idx="89">
                  <c:v>109.62615462584439</c:v>
                </c:pt>
                <c:pt idx="90">
                  <c:v>108.94053011145486</c:v>
                </c:pt>
                <c:pt idx="91">
                  <c:v>109.77992315460664</c:v>
                </c:pt>
                <c:pt idx="92">
                  <c:v>110.66787198148633</c:v>
                </c:pt>
                <c:pt idx="93">
                  <c:v>111.11405905525203</c:v>
                </c:pt>
                <c:pt idx="94">
                  <c:v>111.92952781386873</c:v>
                </c:pt>
                <c:pt idx="95">
                  <c:v>112.07272780980992</c:v>
                </c:pt>
                <c:pt idx="96">
                  <c:v>112.37247635080136</c:v>
                </c:pt>
                <c:pt idx="97">
                  <c:v>112.616496228622</c:v>
                </c:pt>
                <c:pt idx="98">
                  <c:v>112.63178663231888</c:v>
                </c:pt>
                <c:pt idx="99">
                  <c:v>113.26374691193169</c:v>
                </c:pt>
                <c:pt idx="100">
                  <c:v>113.49629263989604</c:v>
                </c:pt>
                <c:pt idx="101">
                  <c:v>113.31032478470399</c:v>
                </c:pt>
                <c:pt idx="102">
                  <c:v>113.32549628451538</c:v>
                </c:pt>
                <c:pt idx="103">
                  <c:v>113.90741510826726</c:v>
                </c:pt>
                <c:pt idx="104">
                  <c:v>113.75258910079118</c:v>
                </c:pt>
                <c:pt idx="105">
                  <c:v>112.18339560532429</c:v>
                </c:pt>
                <c:pt idx="106">
                  <c:v>112.17812604128274</c:v>
                </c:pt>
                <c:pt idx="107">
                  <c:v>113.91189636353745</c:v>
                </c:pt>
                <c:pt idx="108">
                  <c:v>113.86141828064846</c:v>
                </c:pt>
                <c:pt idx="109">
                  <c:v>113.41653443276813</c:v>
                </c:pt>
                <c:pt idx="110">
                  <c:v>112.46865940416035</c:v>
                </c:pt>
                <c:pt idx="111">
                  <c:v>111.22556719017729</c:v>
                </c:pt>
                <c:pt idx="112">
                  <c:v>111.97398983590536</c:v>
                </c:pt>
                <c:pt idx="113">
                  <c:v>113.1335202166488</c:v>
                </c:pt>
                <c:pt idx="114">
                  <c:v>112.76686920272776</c:v>
                </c:pt>
                <c:pt idx="115">
                  <c:v>113.53185528434781</c:v>
                </c:pt>
                <c:pt idx="116">
                  <c:v>113.1913036089301</c:v>
                </c:pt>
                <c:pt idx="117">
                  <c:v>114.12277816756151</c:v>
                </c:pt>
                <c:pt idx="118">
                  <c:v>113.19772739406389</c:v>
                </c:pt>
                <c:pt idx="119">
                  <c:v>114.51519789228735</c:v>
                </c:pt>
                <c:pt idx="120">
                  <c:v>114.64320486552992</c:v>
                </c:pt>
                <c:pt idx="121">
                  <c:v>114.08464160336753</c:v>
                </c:pt>
                <c:pt idx="122">
                  <c:v>115.35592429609397</c:v>
                </c:pt>
                <c:pt idx="123">
                  <c:v>115.23327710588612</c:v>
                </c:pt>
                <c:pt idx="124">
                  <c:v>115.73946029116475</c:v>
                </c:pt>
                <c:pt idx="125">
                  <c:v>115.07736926559342</c:v>
                </c:pt>
                <c:pt idx="126">
                  <c:v>114.06564965055853</c:v>
                </c:pt>
                <c:pt idx="127">
                  <c:v>113.4082112539939</c:v>
                </c:pt>
                <c:pt idx="128">
                  <c:v>114.57550833426716</c:v>
                </c:pt>
                <c:pt idx="129">
                  <c:v>113.87008334669464</c:v>
                </c:pt>
                <c:pt idx="130">
                  <c:v>113.95434545246523</c:v>
                </c:pt>
                <c:pt idx="131">
                  <c:v>112.04415841463707</c:v>
                </c:pt>
                <c:pt idx="132">
                  <c:v>112.28394472397056</c:v>
                </c:pt>
                <c:pt idx="133">
                  <c:v>111.51004230303923</c:v>
                </c:pt>
                <c:pt idx="134">
                  <c:v>112.55189143323476</c:v>
                </c:pt>
                <c:pt idx="135">
                  <c:v>112.91348249132429</c:v>
                </c:pt>
                <c:pt idx="136">
                  <c:v>112.77162879903382</c:v>
                </c:pt>
                <c:pt idx="137">
                  <c:v>114.51781402699679</c:v>
                </c:pt>
                <c:pt idx="138">
                  <c:v>114.39910148084577</c:v>
                </c:pt>
                <c:pt idx="139">
                  <c:v>114.31455439701845</c:v>
                </c:pt>
                <c:pt idx="140">
                  <c:v>114.46418440869365</c:v>
                </c:pt>
                <c:pt idx="141">
                  <c:v>114.8420134638433</c:v>
                </c:pt>
                <c:pt idx="142">
                  <c:v>115.86403516290376</c:v>
                </c:pt>
                <c:pt idx="143">
                  <c:v>115.8760116062971</c:v>
                </c:pt>
                <c:pt idx="144">
                  <c:v>115.38331694995871</c:v>
                </c:pt>
                <c:pt idx="145">
                  <c:v>113.94758111581203</c:v>
                </c:pt>
                <c:pt idx="146">
                  <c:v>113.45179640774548</c:v>
                </c:pt>
                <c:pt idx="147">
                  <c:v>115.26819902435538</c:v>
                </c:pt>
                <c:pt idx="148">
                  <c:v>114.76736926384665</c:v>
                </c:pt>
                <c:pt idx="149">
                  <c:v>115.61388639135004</c:v>
                </c:pt>
                <c:pt idx="150">
                  <c:v>113.33526694409493</c:v>
                </c:pt>
                <c:pt idx="151">
                  <c:v>113.98369691295129</c:v>
                </c:pt>
                <c:pt idx="152">
                  <c:v>112.8177660743783</c:v>
                </c:pt>
                <c:pt idx="153">
                  <c:v>115.29352510638813</c:v>
                </c:pt>
                <c:pt idx="154">
                  <c:v>115.96018944004169</c:v>
                </c:pt>
                <c:pt idx="155">
                  <c:v>115.93093801079206</c:v>
                </c:pt>
                <c:pt idx="156">
                  <c:v>117.22724153725714</c:v>
                </c:pt>
                <c:pt idx="157">
                  <c:v>116.74328520686169</c:v>
                </c:pt>
                <c:pt idx="158">
                  <c:v>115.53118611379548</c:v>
                </c:pt>
                <c:pt idx="159">
                  <c:v>114.75865815795198</c:v>
                </c:pt>
                <c:pt idx="160">
                  <c:v>115.87309431162087</c:v>
                </c:pt>
                <c:pt idx="161">
                  <c:v>116.74113198861562</c:v>
                </c:pt>
                <c:pt idx="162">
                  <c:v>117.32039722723495</c:v>
                </c:pt>
                <c:pt idx="163">
                  <c:v>117.62919996296002</c:v>
                </c:pt>
                <c:pt idx="164">
                  <c:v>118.47123499544003</c:v>
                </c:pt>
                <c:pt idx="165">
                  <c:v>117.39972042712239</c:v>
                </c:pt>
                <c:pt idx="166">
                  <c:v>117.34634525902679</c:v>
                </c:pt>
                <c:pt idx="167">
                  <c:v>118.47916696366676</c:v>
                </c:pt>
                <c:pt idx="168">
                  <c:v>119.1321821798595</c:v>
                </c:pt>
                <c:pt idx="169">
                  <c:v>119.34449363342341</c:v>
                </c:pt>
                <c:pt idx="170">
                  <c:v>119.34449363342341</c:v>
                </c:pt>
                <c:pt idx="171">
                  <c:v>119.34449363342341</c:v>
                </c:pt>
                <c:pt idx="172">
                  <c:v>119.65344167033098</c:v>
                </c:pt>
                <c:pt idx="173">
                  <c:v>120.04594421220965</c:v>
                </c:pt>
                <c:pt idx="174">
                  <c:v>119.68062560321671</c:v>
                </c:pt>
                <c:pt idx="175">
                  <c:v>119.93022012271757</c:v>
                </c:pt>
                <c:pt idx="176">
                  <c:v>119.93022012271757</c:v>
                </c:pt>
                <c:pt idx="177">
                  <c:v>120.94986058926027</c:v>
                </c:pt>
                <c:pt idx="178">
                  <c:v>119.92424124612423</c:v>
                </c:pt>
                <c:pt idx="179">
                  <c:v>119.88097106357138</c:v>
                </c:pt>
                <c:pt idx="180">
                  <c:v>119.45922284581292</c:v>
                </c:pt>
                <c:pt idx="181">
                  <c:v>119.49244089569677</c:v>
                </c:pt>
                <c:pt idx="182">
                  <c:v>119.57599791768547</c:v>
                </c:pt>
                <c:pt idx="183">
                  <c:v>119.06861717612109</c:v>
                </c:pt>
                <c:pt idx="184">
                  <c:v>119.43606653753203</c:v>
                </c:pt>
                <c:pt idx="185">
                  <c:v>120.14382070146286</c:v>
                </c:pt>
                <c:pt idx="186">
                  <c:v>119.60833668775028</c:v>
                </c:pt>
                <c:pt idx="187">
                  <c:v>120.24066946352603</c:v>
                </c:pt>
                <c:pt idx="188">
                  <c:v>121.32714515369155</c:v>
                </c:pt>
                <c:pt idx="189">
                  <c:v>120.71195294864729</c:v>
                </c:pt>
                <c:pt idx="190">
                  <c:v>119.81679371272085</c:v>
                </c:pt>
                <c:pt idx="191">
                  <c:v>118.79370157921079</c:v>
                </c:pt>
                <c:pt idx="192">
                  <c:v>118.01820733797639</c:v>
                </c:pt>
                <c:pt idx="193">
                  <c:v>118.87218255673464</c:v>
                </c:pt>
                <c:pt idx="194">
                  <c:v>118.62340825041674</c:v>
                </c:pt>
                <c:pt idx="195">
                  <c:v>117.62429990288834</c:v>
                </c:pt>
                <c:pt idx="196">
                  <c:v>118.3886924589135</c:v>
                </c:pt>
                <c:pt idx="197">
                  <c:v>118.33625954614593</c:v>
                </c:pt>
                <c:pt idx="198">
                  <c:v>118.62732299627497</c:v>
                </c:pt>
                <c:pt idx="199">
                  <c:v>118.22036230551622</c:v>
                </c:pt>
                <c:pt idx="200">
                  <c:v>116.45957371485243</c:v>
                </c:pt>
                <c:pt idx="201">
                  <c:v>114.60904400035589</c:v>
                </c:pt>
                <c:pt idx="202">
                  <c:v>115.76214130948253</c:v>
                </c:pt>
                <c:pt idx="203">
                  <c:v>115.22911702789796</c:v>
                </c:pt>
                <c:pt idx="204">
                  <c:v>115.92817861011736</c:v>
                </c:pt>
                <c:pt idx="205">
                  <c:v>116.919444067177</c:v>
                </c:pt>
                <c:pt idx="206">
                  <c:v>117.23976312290571</c:v>
                </c:pt>
                <c:pt idx="207">
                  <c:v>117.49120611433884</c:v>
                </c:pt>
                <c:pt idx="208">
                  <c:v>117.86498056166866</c:v>
                </c:pt>
                <c:pt idx="209">
                  <c:v>119.04892171773294</c:v>
                </c:pt>
                <c:pt idx="210">
                  <c:v>119.83086201919184</c:v>
                </c:pt>
                <c:pt idx="211">
                  <c:v>120.49494127430538</c:v>
                </c:pt>
                <c:pt idx="212">
                  <c:v>120.0475574122984</c:v>
                </c:pt>
                <c:pt idx="213">
                  <c:v>119.39451329239601</c:v>
                </c:pt>
                <c:pt idx="214">
                  <c:v>119.67166040001531</c:v>
                </c:pt>
                <c:pt idx="215">
                  <c:v>118.15585127740735</c:v>
                </c:pt>
                <c:pt idx="216">
                  <c:v>118.91777051321483</c:v>
                </c:pt>
                <c:pt idx="217">
                  <c:v>119.95489163067701</c:v>
                </c:pt>
                <c:pt idx="218">
                  <c:v>120.42665906142558</c:v>
                </c:pt>
                <c:pt idx="219">
                  <c:v>121.02344995240631</c:v>
                </c:pt>
                <c:pt idx="220">
                  <c:v>121.05271949576652</c:v>
                </c:pt>
                <c:pt idx="221">
                  <c:v>122.33708789998946</c:v>
                </c:pt>
                <c:pt idx="222">
                  <c:v>122.34233314410609</c:v>
                </c:pt>
                <c:pt idx="223">
                  <c:v>122.39684451602402</c:v>
                </c:pt>
                <c:pt idx="224">
                  <c:v>122.68022914151521</c:v>
                </c:pt>
                <c:pt idx="225">
                  <c:v>122.60871874047984</c:v>
                </c:pt>
                <c:pt idx="226">
                  <c:v>122.62694252008835</c:v>
                </c:pt>
                <c:pt idx="227">
                  <c:v>122.29917240150432</c:v>
                </c:pt>
                <c:pt idx="228">
                  <c:v>123.13016721012815</c:v>
                </c:pt>
                <c:pt idx="229">
                  <c:v>123.72724751179982</c:v>
                </c:pt>
                <c:pt idx="230">
                  <c:v>124.18519066952467</c:v>
                </c:pt>
                <c:pt idx="231">
                  <c:v>124.04310784902724</c:v>
                </c:pt>
                <c:pt idx="232">
                  <c:v>124.12614039140981</c:v>
                </c:pt>
                <c:pt idx="233">
                  <c:v>124.54078234093527</c:v>
                </c:pt>
                <c:pt idx="234">
                  <c:v>124.41079336464868</c:v>
                </c:pt>
                <c:pt idx="235">
                  <c:v>125.01307092164905</c:v>
                </c:pt>
                <c:pt idx="236">
                  <c:v>124.37673649859488</c:v>
                </c:pt>
                <c:pt idx="237">
                  <c:v>124.55664683148085</c:v>
                </c:pt>
                <c:pt idx="238">
                  <c:v>124.83317183489757</c:v>
                </c:pt>
                <c:pt idx="239">
                  <c:v>124.76961926879066</c:v>
                </c:pt>
                <c:pt idx="240">
                  <c:v>126.0539113586531</c:v>
                </c:pt>
                <c:pt idx="241">
                  <c:v>126.0539113586531</c:v>
                </c:pt>
                <c:pt idx="242">
                  <c:v>126.0539113586531</c:v>
                </c:pt>
                <c:pt idx="243">
                  <c:v>126.582365458184</c:v>
                </c:pt>
                <c:pt idx="244">
                  <c:v>126.39992306199423</c:v>
                </c:pt>
                <c:pt idx="245">
                  <c:v>125.86332962107909</c:v>
                </c:pt>
                <c:pt idx="246">
                  <c:v>126.92593658625529</c:v>
                </c:pt>
                <c:pt idx="247">
                  <c:v>126.64293702857007</c:v>
                </c:pt>
                <c:pt idx="248">
                  <c:v>126.38377762698245</c:v>
                </c:pt>
                <c:pt idx="249">
                  <c:v>126.76437777992284</c:v>
                </c:pt>
                <c:pt idx="250">
                  <c:v>127.24382751360264</c:v>
                </c:pt>
                <c:pt idx="251">
                  <c:v>125.98860583420144</c:v>
                </c:pt>
                <c:pt idx="252">
                  <c:v>125.59748877245787</c:v>
                </c:pt>
                <c:pt idx="253">
                  <c:v>127.13476266471521</c:v>
                </c:pt>
                <c:pt idx="254">
                  <c:v>127.12687404686893</c:v>
                </c:pt>
                <c:pt idx="255">
                  <c:v>126.39933468946218</c:v>
                </c:pt>
                <c:pt idx="256">
                  <c:v>126.76185957703183</c:v>
                </c:pt>
                <c:pt idx="257">
                  <c:v>127.64563948313786</c:v>
                </c:pt>
                <c:pt idx="258">
                  <c:v>124.66491327281857</c:v>
                </c:pt>
                <c:pt idx="259">
                  <c:v>123.30526400047397</c:v>
                </c:pt>
                <c:pt idx="260">
                  <c:v>124.63689297681472</c:v>
                </c:pt>
                <c:pt idx="261">
                  <c:v>124.12619104483191</c:v>
                </c:pt>
                <c:pt idx="262">
                  <c:v>124.37084383924804</c:v>
                </c:pt>
                <c:pt idx="263">
                  <c:v>123.10588399481294</c:v>
                </c:pt>
                <c:pt idx="264">
                  <c:v>122.8686962675194</c:v>
                </c:pt>
                <c:pt idx="265">
                  <c:v>122.52345982306613</c:v>
                </c:pt>
                <c:pt idx="266">
                  <c:v>117.89600861297708</c:v>
                </c:pt>
                <c:pt idx="267">
                  <c:v>122.97106846671157</c:v>
                </c:pt>
                <c:pt idx="268">
                  <c:v>123.1529145352918</c:v>
                </c:pt>
                <c:pt idx="269">
                  <c:v>124.79096351146694</c:v>
                </c:pt>
                <c:pt idx="270">
                  <c:v>124.79096351146694</c:v>
                </c:pt>
                <c:pt idx="271">
                  <c:v>122.57146508669278</c:v>
                </c:pt>
                <c:pt idx="272">
                  <c:v>122.49289330481471</c:v>
                </c:pt>
                <c:pt idx="273">
                  <c:v>123.51002421554857</c:v>
                </c:pt>
                <c:pt idx="274">
                  <c:v>121.22847272243642</c:v>
                </c:pt>
                <c:pt idx="275">
                  <c:v>119.27709171286325</c:v>
                </c:pt>
                <c:pt idx="276">
                  <c:v>117.79933701502017</c:v>
                </c:pt>
                <c:pt idx="277">
                  <c:v>117.79933701502017</c:v>
                </c:pt>
                <c:pt idx="278">
                  <c:v>116.8323811408758</c:v>
                </c:pt>
                <c:pt idx="279">
                  <c:v>118.92645571559588</c:v>
                </c:pt>
                <c:pt idx="280">
                  <c:v>121.54292621079199</c:v>
                </c:pt>
                <c:pt idx="281">
                  <c:v>121.82078822667339</c:v>
                </c:pt>
                <c:pt idx="282">
                  <c:v>122.25127637791844</c:v>
                </c:pt>
                <c:pt idx="283">
                  <c:v>122.99494098226829</c:v>
                </c:pt>
                <c:pt idx="284">
                  <c:v>123.63053502831023</c:v>
                </c:pt>
                <c:pt idx="285">
                  <c:v>125.33615932210932</c:v>
                </c:pt>
                <c:pt idx="286">
                  <c:v>124.22080238772479</c:v>
                </c:pt>
                <c:pt idx="287">
                  <c:v>123.83209100228545</c:v>
                </c:pt>
                <c:pt idx="288">
                  <c:v>123.14876168002758</c:v>
                </c:pt>
                <c:pt idx="289">
                  <c:v>125.07404593466083</c:v>
                </c:pt>
                <c:pt idx="290">
                  <c:v>126.63753297123598</c:v>
                </c:pt>
                <c:pt idx="291">
                  <c:v>126.24356881991407</c:v>
                </c:pt>
                <c:pt idx="292">
                  <c:v>127.25169068627076</c:v>
                </c:pt>
                <c:pt idx="293">
                  <c:v>128.00620105205724</c:v>
                </c:pt>
                <c:pt idx="294">
                  <c:v>128.52896081927801</c:v>
                </c:pt>
                <c:pt idx="295">
                  <c:v>128.4675202829585</c:v>
                </c:pt>
                <c:pt idx="296">
                  <c:v>127.87136408968335</c:v>
                </c:pt>
                <c:pt idx="297">
                  <c:v>128.92024185287681</c:v>
                </c:pt>
                <c:pt idx="298">
                  <c:v>128.64853527896094</c:v>
                </c:pt>
                <c:pt idx="299">
                  <c:v>128.64853527896094</c:v>
                </c:pt>
                <c:pt idx="300">
                  <c:v>126.18932430351732</c:v>
                </c:pt>
                <c:pt idx="301">
                  <c:v>126.11264682710168</c:v>
                </c:pt>
                <c:pt idx="302">
                  <c:v>127.36884330614238</c:v>
                </c:pt>
                <c:pt idx="303">
                  <c:v>124.84435627117487</c:v>
                </c:pt>
                <c:pt idx="304">
                  <c:v>124.47138006233232</c:v>
                </c:pt>
                <c:pt idx="305">
                  <c:v>121.77957781604923</c:v>
                </c:pt>
                <c:pt idx="306">
                  <c:v>121.07069176547569</c:v>
                </c:pt>
                <c:pt idx="307">
                  <c:v>121.03011825242875</c:v>
                </c:pt>
                <c:pt idx="308">
                  <c:v>123.18732624729239</c:v>
                </c:pt>
                <c:pt idx="309">
                  <c:v>123.84068018889467</c:v>
                </c:pt>
                <c:pt idx="310">
                  <c:v>124.60935387211633</c:v>
                </c:pt>
                <c:pt idx="311">
                  <c:v>125.5075144412918</c:v>
                </c:pt>
                <c:pt idx="312">
                  <c:v>125.94586154990799</c:v>
                </c:pt>
                <c:pt idx="313">
                  <c:v>127.88691608158499</c:v>
                </c:pt>
                <c:pt idx="314">
                  <c:v>128.2431416884157</c:v>
                </c:pt>
                <c:pt idx="315">
                  <c:v>127.28683448462417</c:v>
                </c:pt>
                <c:pt idx="316">
                  <c:v>125.09301509029686</c:v>
                </c:pt>
                <c:pt idx="317">
                  <c:v>124.23151086398721</c:v>
                </c:pt>
                <c:pt idx="318">
                  <c:v>124.09504627284869</c:v>
                </c:pt>
                <c:pt idx="319">
                  <c:v>125.34555546026876</c:v>
                </c:pt>
                <c:pt idx="320">
                  <c:v>127.11613284313465</c:v>
                </c:pt>
                <c:pt idx="321">
                  <c:v>127.75267559315515</c:v>
                </c:pt>
                <c:pt idx="322">
                  <c:v>127.66320928406105</c:v>
                </c:pt>
                <c:pt idx="323">
                  <c:v>126.74568775083905</c:v>
                </c:pt>
                <c:pt idx="324">
                  <c:v>126.01126218989145</c:v>
                </c:pt>
                <c:pt idx="325">
                  <c:v>125.60363104854434</c:v>
                </c:pt>
                <c:pt idx="326">
                  <c:v>125.59162782016331</c:v>
                </c:pt>
                <c:pt idx="327">
                  <c:v>128.03473040466764</c:v>
                </c:pt>
                <c:pt idx="328">
                  <c:v>128.04808651233947</c:v>
                </c:pt>
                <c:pt idx="329">
                  <c:v>128.48951620875272</c:v>
                </c:pt>
                <c:pt idx="330">
                  <c:v>128.07075238817472</c:v>
                </c:pt>
                <c:pt idx="331">
                  <c:v>126.84233183222074</c:v>
                </c:pt>
                <c:pt idx="332">
                  <c:v>128.42984872960591</c:v>
                </c:pt>
                <c:pt idx="333">
                  <c:v>127.87034082033746</c:v>
                </c:pt>
                <c:pt idx="334">
                  <c:v>126.5951977512475</c:v>
                </c:pt>
                <c:pt idx="335">
                  <c:v>127.64501215896769</c:v>
                </c:pt>
                <c:pt idx="336">
                  <c:v>128.11499980760595</c:v>
                </c:pt>
                <c:pt idx="337">
                  <c:v>128.10042011843518</c:v>
                </c:pt>
                <c:pt idx="338">
                  <c:v>128.97124558701302</c:v>
                </c:pt>
                <c:pt idx="339">
                  <c:v>128.94109713075352</c:v>
                </c:pt>
                <c:pt idx="340">
                  <c:v>127.46421926633063</c:v>
                </c:pt>
                <c:pt idx="341">
                  <c:v>127.16674923672646</c:v>
                </c:pt>
                <c:pt idx="342">
                  <c:v>127.8426242343929</c:v>
                </c:pt>
                <c:pt idx="343">
                  <c:v>126.60145009218596</c:v>
                </c:pt>
                <c:pt idx="344">
                  <c:v>126.57832385539378</c:v>
                </c:pt>
                <c:pt idx="345">
                  <c:v>127.35108935158124</c:v>
                </c:pt>
                <c:pt idx="346">
                  <c:v>128.16439879726019</c:v>
                </c:pt>
                <c:pt idx="347">
                  <c:v>128.36855518023731</c:v>
                </c:pt>
                <c:pt idx="348">
                  <c:v>128.44653224631045</c:v>
                </c:pt>
                <c:pt idx="349">
                  <c:v>131.1425918033915</c:v>
                </c:pt>
                <c:pt idx="350">
                  <c:v>130.58687297524128</c:v>
                </c:pt>
                <c:pt idx="351">
                  <c:v>131.2697415309176</c:v>
                </c:pt>
                <c:pt idx="352">
                  <c:v>131.5744350846908</c:v>
                </c:pt>
                <c:pt idx="353">
                  <c:v>131.57978673041663</c:v>
                </c:pt>
                <c:pt idx="354">
                  <c:v>133.23109775387726</c:v>
                </c:pt>
                <c:pt idx="355">
                  <c:v>133.79359959742538</c:v>
                </c:pt>
                <c:pt idx="356">
                  <c:v>133.70379030802098</c:v>
                </c:pt>
                <c:pt idx="357">
                  <c:v>133.87398862355082</c:v>
                </c:pt>
                <c:pt idx="358">
                  <c:v>133.88446401505146</c:v>
                </c:pt>
                <c:pt idx="359">
                  <c:v>133.66862464283449</c:v>
                </c:pt>
                <c:pt idx="360">
                  <c:v>132.67812762189246</c:v>
                </c:pt>
                <c:pt idx="361">
                  <c:v>132.72707341797789</c:v>
                </c:pt>
                <c:pt idx="362">
                  <c:v>134.34411918447157</c:v>
                </c:pt>
                <c:pt idx="363">
                  <c:v>133.47003635248947</c:v>
                </c:pt>
                <c:pt idx="364">
                  <c:v>131.70016913552749</c:v>
                </c:pt>
                <c:pt idx="365">
                  <c:v>132.14225985457259</c:v>
                </c:pt>
                <c:pt idx="366">
                  <c:v>132.86405280351383</c:v>
                </c:pt>
                <c:pt idx="367">
                  <c:v>132.26405667643999</c:v>
                </c:pt>
                <c:pt idx="368">
                  <c:v>132.23902382699444</c:v>
                </c:pt>
                <c:pt idx="369">
                  <c:v>132.12075117691461</c:v>
                </c:pt>
                <c:pt idx="370">
                  <c:v>131.55755147820446</c:v>
                </c:pt>
                <c:pt idx="371">
                  <c:v>130.93048748580492</c:v>
                </c:pt>
                <c:pt idx="372">
                  <c:v>130.33835947325275</c:v>
                </c:pt>
                <c:pt idx="373">
                  <c:v>131.27010410633056</c:v>
                </c:pt>
                <c:pt idx="374">
                  <c:v>131.41836973818332</c:v>
                </c:pt>
                <c:pt idx="375">
                  <c:v>131.42777359555501</c:v>
                </c:pt>
                <c:pt idx="376">
                  <c:v>131.57503691712299</c:v>
                </c:pt>
                <c:pt idx="377">
                  <c:v>131.9753079220136</c:v>
                </c:pt>
                <c:pt idx="378">
                  <c:v>132.05670451746528</c:v>
                </c:pt>
                <c:pt idx="379">
                  <c:v>133.10729691440923</c:v>
                </c:pt>
                <c:pt idx="380">
                  <c:v>133.03563861417703</c:v>
                </c:pt>
                <c:pt idx="381">
                  <c:v>133.47456657403239</c:v>
                </c:pt>
                <c:pt idx="382">
                  <c:v>133.62360006896768</c:v>
                </c:pt>
                <c:pt idx="383">
                  <c:v>132.91212572723583</c:v>
                </c:pt>
                <c:pt idx="384">
                  <c:v>132.90433145118899</c:v>
                </c:pt>
                <c:pt idx="385">
                  <c:v>133.97951688166609</c:v>
                </c:pt>
                <c:pt idx="386">
                  <c:v>132.98811835732315</c:v>
                </c:pt>
                <c:pt idx="387">
                  <c:v>133.12902673697479</c:v>
                </c:pt>
                <c:pt idx="388">
                  <c:v>133.44069552076897</c:v>
                </c:pt>
                <c:pt idx="389">
                  <c:v>132.71182932780357</c:v>
                </c:pt>
                <c:pt idx="390">
                  <c:v>133.57827489630625</c:v>
                </c:pt>
                <c:pt idx="391">
                  <c:v>133.86766549322041</c:v>
                </c:pt>
                <c:pt idx="392">
                  <c:v>133.86766549322041</c:v>
                </c:pt>
                <c:pt idx="393">
                  <c:v>134.54218684836562</c:v>
                </c:pt>
                <c:pt idx="394">
                  <c:v>133.95930070921122</c:v>
                </c:pt>
                <c:pt idx="395">
                  <c:v>134.49218466992471</c:v>
                </c:pt>
                <c:pt idx="396">
                  <c:v>135.01698051454915</c:v>
                </c:pt>
                <c:pt idx="397">
                  <c:v>135.23822915380282</c:v>
                </c:pt>
                <c:pt idx="398">
                  <c:v>135.84931870317644</c:v>
                </c:pt>
                <c:pt idx="399">
                  <c:v>135.71680719499628</c:v>
                </c:pt>
                <c:pt idx="400">
                  <c:v>135.41181625171072</c:v>
                </c:pt>
                <c:pt idx="401">
                  <c:v>134.93534728542451</c:v>
                </c:pt>
                <c:pt idx="402">
                  <c:v>135.56798374602957</c:v>
                </c:pt>
                <c:pt idx="403">
                  <c:v>133.42713997665615</c:v>
                </c:pt>
                <c:pt idx="404">
                  <c:v>133.90342118081148</c:v>
                </c:pt>
                <c:pt idx="405">
                  <c:v>135.66858706620911</c:v>
                </c:pt>
                <c:pt idx="406">
                  <c:v>134.99915315558076</c:v>
                </c:pt>
                <c:pt idx="407">
                  <c:v>134.52728818000347</c:v>
                </c:pt>
                <c:pt idx="408">
                  <c:v>133.0366372148352</c:v>
                </c:pt>
                <c:pt idx="409">
                  <c:v>134.35138848379995</c:v>
                </c:pt>
                <c:pt idx="410">
                  <c:v>134.74252707870474</c:v>
                </c:pt>
                <c:pt idx="411">
                  <c:v>134.66066825387236</c:v>
                </c:pt>
                <c:pt idx="412">
                  <c:v>132.76851668645259</c:v>
                </c:pt>
                <c:pt idx="413">
                  <c:v>132.88760115403144</c:v>
                </c:pt>
                <c:pt idx="414">
                  <c:v>134.65017520306461</c:v>
                </c:pt>
                <c:pt idx="415">
                  <c:v>136.11245150106271</c:v>
                </c:pt>
                <c:pt idx="416">
                  <c:v>135.51791154770319</c:v>
                </c:pt>
                <c:pt idx="417">
                  <c:v>135.7211848042781</c:v>
                </c:pt>
                <c:pt idx="418">
                  <c:v>136.85063180330306</c:v>
                </c:pt>
                <c:pt idx="419">
                  <c:v>137.41454431703028</c:v>
                </c:pt>
                <c:pt idx="420">
                  <c:v>137.96430091536266</c:v>
                </c:pt>
                <c:pt idx="421">
                  <c:v>137.94240279362231</c:v>
                </c:pt>
                <c:pt idx="422">
                  <c:v>137.99754635130517</c:v>
                </c:pt>
                <c:pt idx="423">
                  <c:v>138.55348044309662</c:v>
                </c:pt>
                <c:pt idx="424">
                  <c:v>138.0695746747225</c:v>
                </c:pt>
                <c:pt idx="425">
                  <c:v>138.7281367010894</c:v>
                </c:pt>
                <c:pt idx="426">
                  <c:v>138.44827968655628</c:v>
                </c:pt>
                <c:pt idx="427">
                  <c:v>139.32417175023446</c:v>
                </c:pt>
                <c:pt idx="428">
                  <c:v>140.14028970896439</c:v>
                </c:pt>
                <c:pt idx="429">
                  <c:v>140.42012208304862</c:v>
                </c:pt>
                <c:pt idx="430">
                  <c:v>140.97524955827771</c:v>
                </c:pt>
                <c:pt idx="431">
                  <c:v>140.79393335522767</c:v>
                </c:pt>
                <c:pt idx="432">
                  <c:v>139.92484125471989</c:v>
                </c:pt>
                <c:pt idx="433">
                  <c:v>140.34490818065566</c:v>
                </c:pt>
                <c:pt idx="434">
                  <c:v>140.7761720924949</c:v>
                </c:pt>
                <c:pt idx="435">
                  <c:v>139.054598192132</c:v>
                </c:pt>
                <c:pt idx="436">
                  <c:v>138.25442639677036</c:v>
                </c:pt>
                <c:pt idx="437">
                  <c:v>139.0696100642657</c:v>
                </c:pt>
                <c:pt idx="438">
                  <c:v>140.0322864175792</c:v>
                </c:pt>
                <c:pt idx="439">
                  <c:v>139.8529306258051</c:v>
                </c:pt>
                <c:pt idx="440">
                  <c:v>140.43768195684294</c:v>
                </c:pt>
                <c:pt idx="441">
                  <c:v>140.60483021619328</c:v>
                </c:pt>
                <c:pt idx="442">
                  <c:v>139.39298641003381</c:v>
                </c:pt>
                <c:pt idx="443">
                  <c:v>140.58246440132945</c:v>
                </c:pt>
                <c:pt idx="444">
                  <c:v>141.34008893372066</c:v>
                </c:pt>
                <c:pt idx="445">
                  <c:v>140.33041216618386</c:v>
                </c:pt>
                <c:pt idx="446">
                  <c:v>140.04257937048118</c:v>
                </c:pt>
                <c:pt idx="447">
                  <c:v>140.56546651600118</c:v>
                </c:pt>
                <c:pt idx="448">
                  <c:v>141.66270210093265</c:v>
                </c:pt>
                <c:pt idx="449">
                  <c:v>140.07755711698329</c:v>
                </c:pt>
                <c:pt idx="450">
                  <c:v>138.32867736504826</c:v>
                </c:pt>
                <c:pt idx="451">
                  <c:v>138.97459959860268</c:v>
                </c:pt>
                <c:pt idx="452">
                  <c:v>139.40092410698244</c:v>
                </c:pt>
                <c:pt idx="453">
                  <c:v>138.68570088474732</c:v>
                </c:pt>
                <c:pt idx="454">
                  <c:v>139.57367767358878</c:v>
                </c:pt>
                <c:pt idx="455">
                  <c:v>139.70123924972955</c:v>
                </c:pt>
                <c:pt idx="456">
                  <c:v>138.53150689528277</c:v>
                </c:pt>
                <c:pt idx="457">
                  <c:v>138.52529314575762</c:v>
                </c:pt>
                <c:pt idx="458">
                  <c:v>140.44744147870867</c:v>
                </c:pt>
                <c:pt idx="459">
                  <c:v>140.79669843537943</c:v>
                </c:pt>
                <c:pt idx="460">
                  <c:v>140.75755091523351</c:v>
                </c:pt>
                <c:pt idx="461">
                  <c:v>141.01633216304211</c:v>
                </c:pt>
                <c:pt idx="462">
                  <c:v>142.17411973347996</c:v>
                </c:pt>
                <c:pt idx="463">
                  <c:v>141.78923751896619</c:v>
                </c:pt>
                <c:pt idx="464">
                  <c:v>140.84296350946479</c:v>
                </c:pt>
                <c:pt idx="465">
                  <c:v>141.30722698801739</c:v>
                </c:pt>
                <c:pt idx="466">
                  <c:v>141.81219514579158</c:v>
                </c:pt>
                <c:pt idx="467">
                  <c:v>142.23182026379155</c:v>
                </c:pt>
                <c:pt idx="468">
                  <c:v>142.24861742748115</c:v>
                </c:pt>
                <c:pt idx="469">
                  <c:v>142.60721247864291</c:v>
                </c:pt>
                <c:pt idx="470">
                  <c:v>142.64133380831873</c:v>
                </c:pt>
                <c:pt idx="471">
                  <c:v>142.72631886806263</c:v>
                </c:pt>
                <c:pt idx="472">
                  <c:v>141.68421768809156</c:v>
                </c:pt>
                <c:pt idx="473">
                  <c:v>140.80677774275583</c:v>
                </c:pt>
                <c:pt idx="474">
                  <c:v>139.98826262211028</c:v>
                </c:pt>
                <c:pt idx="475">
                  <c:v>139.2663970469082</c:v>
                </c:pt>
                <c:pt idx="476">
                  <c:v>140.61698585251307</c:v>
                </c:pt>
                <c:pt idx="477">
                  <c:v>141.52003115220333</c:v>
                </c:pt>
                <c:pt idx="478">
                  <c:v>141.18170155495307</c:v>
                </c:pt>
                <c:pt idx="479">
                  <c:v>140.2215980104215</c:v>
                </c:pt>
                <c:pt idx="480">
                  <c:v>140.40017518505093</c:v>
                </c:pt>
                <c:pt idx="481">
                  <c:v>139.7626000596799</c:v>
                </c:pt>
                <c:pt idx="482">
                  <c:v>139.13100901517885</c:v>
                </c:pt>
                <c:pt idx="483">
                  <c:v>139.58742961888169</c:v>
                </c:pt>
                <c:pt idx="484">
                  <c:v>139.5919759670638</c:v>
                </c:pt>
                <c:pt idx="485">
                  <c:v>138.59764446085293</c:v>
                </c:pt>
                <c:pt idx="486">
                  <c:v>137.05200132145001</c:v>
                </c:pt>
                <c:pt idx="487">
                  <c:v>135.38792773560738</c:v>
                </c:pt>
                <c:pt idx="488">
                  <c:v>132.41949743464917</c:v>
                </c:pt>
                <c:pt idx="489">
                  <c:v>130.63216780584992</c:v>
                </c:pt>
                <c:pt idx="490">
                  <c:v>132.44451683135057</c:v>
                </c:pt>
                <c:pt idx="491">
                  <c:v>132.69219941682283</c:v>
                </c:pt>
                <c:pt idx="492">
                  <c:v>134.82609885598623</c:v>
                </c:pt>
                <c:pt idx="493">
                  <c:v>134.55867488333598</c:v>
                </c:pt>
                <c:pt idx="494">
                  <c:v>135.1699363858792</c:v>
                </c:pt>
                <c:pt idx="495">
                  <c:v>136.03069211999173</c:v>
                </c:pt>
                <c:pt idx="496">
                  <c:v>136.61962059460879</c:v>
                </c:pt>
                <c:pt idx="497">
                  <c:v>136.61878040567044</c:v>
                </c:pt>
                <c:pt idx="498">
                  <c:v>137.02753601754299</c:v>
                </c:pt>
                <c:pt idx="499">
                  <c:v>138.42413499604118</c:v>
                </c:pt>
                <c:pt idx="500">
                  <c:v>137.41390774300095</c:v>
                </c:pt>
                <c:pt idx="501">
                  <c:v>139.00502670812699</c:v>
                </c:pt>
                <c:pt idx="502">
                  <c:v>139.22842505398941</c:v>
                </c:pt>
                <c:pt idx="503">
                  <c:v>139.78701530406883</c:v>
                </c:pt>
                <c:pt idx="504">
                  <c:v>139.11935449287304</c:v>
                </c:pt>
                <c:pt idx="505">
                  <c:v>138.63397659326085</c:v>
                </c:pt>
                <c:pt idx="506">
                  <c:v>138.88397164343314</c:v>
                </c:pt>
                <c:pt idx="507">
                  <c:v>138.59502614334176</c:v>
                </c:pt>
                <c:pt idx="508">
                  <c:v>136.92283310166161</c:v>
                </c:pt>
                <c:pt idx="509">
                  <c:v>138.17214783561261</c:v>
                </c:pt>
                <c:pt idx="510">
                  <c:v>138.01875874138611</c:v>
                </c:pt>
                <c:pt idx="511">
                  <c:v>138.90401720082988</c:v>
                </c:pt>
                <c:pt idx="512">
                  <c:v>137.37693752520278</c:v>
                </c:pt>
                <c:pt idx="513">
                  <c:v>138.11713907114424</c:v>
                </c:pt>
                <c:pt idx="514">
                  <c:v>140.39507178276628</c:v>
                </c:pt>
                <c:pt idx="515">
                  <c:v>140.42715378004533</c:v>
                </c:pt>
                <c:pt idx="516">
                  <c:v>140.42715378004533</c:v>
                </c:pt>
                <c:pt idx="517">
                  <c:v>140.42715378004533</c:v>
                </c:pt>
                <c:pt idx="518">
                  <c:v>140.68339044263786</c:v>
                </c:pt>
                <c:pt idx="519">
                  <c:v>141.0324546123835</c:v>
                </c:pt>
                <c:pt idx="520">
                  <c:v>140.85561705429234</c:v>
                </c:pt>
                <c:pt idx="521">
                  <c:v>141.36676378714893</c:v>
                </c:pt>
                <c:pt idx="522">
                  <c:v>141.5966385436937</c:v>
                </c:pt>
                <c:pt idx="523">
                  <c:v>141.54211457002381</c:v>
                </c:pt>
                <c:pt idx="524">
                  <c:v>140.32243702498909</c:v>
                </c:pt>
                <c:pt idx="525">
                  <c:v>140.15064638830989</c:v>
                </c:pt>
                <c:pt idx="526">
                  <c:v>141.60993774660929</c:v>
                </c:pt>
                <c:pt idx="527">
                  <c:v>141.83069626634529</c:v>
                </c:pt>
                <c:pt idx="528">
                  <c:v>142.96086869637031</c:v>
                </c:pt>
                <c:pt idx="529">
                  <c:v>143.77605408991789</c:v>
                </c:pt>
                <c:pt idx="530">
                  <c:v>143.37185314187076</c:v>
                </c:pt>
                <c:pt idx="531">
                  <c:v>143.17303568930288</c:v>
                </c:pt>
                <c:pt idx="532">
                  <c:v>142.51091431834772</c:v>
                </c:pt>
                <c:pt idx="533">
                  <c:v>141.24601887899985</c:v>
                </c:pt>
                <c:pt idx="534">
                  <c:v>141.5106372991003</c:v>
                </c:pt>
                <c:pt idx="535">
                  <c:v>142.68182227181728</c:v>
                </c:pt>
                <c:pt idx="536">
                  <c:v>142.83839463966009</c:v>
                </c:pt>
                <c:pt idx="537">
                  <c:v>141.1379214706165</c:v>
                </c:pt>
                <c:pt idx="538">
                  <c:v>141.26285424515905</c:v>
                </c:pt>
                <c:pt idx="539">
                  <c:v>141.55709700095366</c:v>
                </c:pt>
                <c:pt idx="540">
                  <c:v>141.64940901298669</c:v>
                </c:pt>
                <c:pt idx="541">
                  <c:v>141.95693567019887</c:v>
                </c:pt>
                <c:pt idx="542">
                  <c:v>142.03604383386337</c:v>
                </c:pt>
                <c:pt idx="543">
                  <c:v>143.04689509460383</c:v>
                </c:pt>
                <c:pt idx="544">
                  <c:v>142.40685480229794</c:v>
                </c:pt>
                <c:pt idx="545">
                  <c:v>142.40685480229794</c:v>
                </c:pt>
                <c:pt idx="546">
                  <c:v>140.32589061932106</c:v>
                </c:pt>
                <c:pt idx="547">
                  <c:v>140.14677798637814</c:v>
                </c:pt>
                <c:pt idx="548">
                  <c:v>139.96857963285154</c:v>
                </c:pt>
                <c:pt idx="549">
                  <c:v>138.937595642665</c:v>
                </c:pt>
                <c:pt idx="550">
                  <c:v>140.26541140023102</c:v>
                </c:pt>
                <c:pt idx="551">
                  <c:v>138.84769165752934</c:v>
                </c:pt>
                <c:pt idx="552">
                  <c:v>138.84769165752934</c:v>
                </c:pt>
                <c:pt idx="553">
                  <c:v>139.83620885188714</c:v>
                </c:pt>
                <c:pt idx="554">
                  <c:v>138.70763802880955</c:v>
                </c:pt>
                <c:pt idx="555">
                  <c:v>138.1218539744203</c:v>
                </c:pt>
                <c:pt idx="556">
                  <c:v>138.24992590696633</c:v>
                </c:pt>
                <c:pt idx="557">
                  <c:v>138.01033674378144</c:v>
                </c:pt>
                <c:pt idx="558">
                  <c:v>139.04068647578487</c:v>
                </c:pt>
                <c:pt idx="559">
                  <c:v>138.37968448338717</c:v>
                </c:pt>
                <c:pt idx="560">
                  <c:v>138.37968448338717</c:v>
                </c:pt>
                <c:pt idx="561">
                  <c:v>137.53838355819025</c:v>
                </c:pt>
                <c:pt idx="562">
                  <c:v>137.58454566363591</c:v>
                </c:pt>
                <c:pt idx="563">
                  <c:v>137.8340649401087</c:v>
                </c:pt>
                <c:pt idx="564">
                  <c:v>139.3291506032414</c:v>
                </c:pt>
                <c:pt idx="565">
                  <c:v>140.36589625231056</c:v>
                </c:pt>
                <c:pt idx="566">
                  <c:v>140.84623878538034</c:v>
                </c:pt>
                <c:pt idx="567">
                  <c:v>141.50222427710565</c:v>
                </c:pt>
                <c:pt idx="568">
                  <c:v>141.97808367826048</c:v>
                </c:pt>
                <c:pt idx="569">
                  <c:v>141.818862246565</c:v>
                </c:pt>
                <c:pt idx="570">
                  <c:v>142.35128083457229</c:v>
                </c:pt>
                <c:pt idx="571">
                  <c:v>142.26915647337833</c:v>
                </c:pt>
                <c:pt idx="572">
                  <c:v>141.45192182218304</c:v>
                </c:pt>
                <c:pt idx="573">
                  <c:v>140.6416466943171</c:v>
                </c:pt>
                <c:pt idx="574">
                  <c:v>141.14672951013495</c:v>
                </c:pt>
                <c:pt idx="575">
                  <c:v>139.67130840021747</c:v>
                </c:pt>
                <c:pt idx="576">
                  <c:v>139.9007027603551</c:v>
                </c:pt>
                <c:pt idx="577">
                  <c:v>138.43574387032621</c:v>
                </c:pt>
                <c:pt idx="578">
                  <c:v>138.80371754108378</c:v>
                </c:pt>
                <c:pt idx="579">
                  <c:v>139.62109126963432</c:v>
                </c:pt>
                <c:pt idx="580">
                  <c:v>140.49992363525701</c:v>
                </c:pt>
                <c:pt idx="581">
                  <c:v>141.47055110441039</c:v>
                </c:pt>
                <c:pt idx="582">
                  <c:v>141.48604790928502</c:v>
                </c:pt>
                <c:pt idx="583">
                  <c:v>140.85858586148078</c:v>
                </c:pt>
                <c:pt idx="584">
                  <c:v>140.00571432071828</c:v>
                </c:pt>
                <c:pt idx="585">
                  <c:v>140.50327368191824</c:v>
                </c:pt>
                <c:pt idx="586">
                  <c:v>139.86394174497235</c:v>
                </c:pt>
                <c:pt idx="587">
                  <c:v>138.823812437507</c:v>
                </c:pt>
                <c:pt idx="588">
                  <c:v>137.26775312773296</c:v>
                </c:pt>
                <c:pt idx="589">
                  <c:v>135.21261421347529</c:v>
                </c:pt>
                <c:pt idx="590">
                  <c:v>131.30234228612983</c:v>
                </c:pt>
                <c:pt idx="591">
                  <c:v>129.23078601143007</c:v>
                </c:pt>
                <c:pt idx="592">
                  <c:v>124.62171658821765</c:v>
                </c:pt>
                <c:pt idx="593">
                  <c:v>126.06669030195448</c:v>
                </c:pt>
                <c:pt idx="594">
                  <c:v>123.29099675287833</c:v>
                </c:pt>
                <c:pt idx="595">
                  <c:v>125.1388661340668</c:v>
                </c:pt>
                <c:pt idx="596">
                  <c:v>129.49230883093884</c:v>
                </c:pt>
                <c:pt idx="597">
                  <c:v>129.49230883093884</c:v>
                </c:pt>
                <c:pt idx="598">
                  <c:v>129.52955330761151</c:v>
                </c:pt>
                <c:pt idx="599">
                  <c:v>130.46429066419108</c:v>
                </c:pt>
                <c:pt idx="600">
                  <c:v>126.29122050571775</c:v>
                </c:pt>
                <c:pt idx="601">
                  <c:v>125.29978390165178</c:v>
                </c:pt>
                <c:pt idx="602">
                  <c:v>126.73843711172843</c:v>
                </c:pt>
                <c:pt idx="603">
                  <c:v>127.77631580454347</c:v>
                </c:pt>
                <c:pt idx="604">
                  <c:v>128.51589055208504</c:v>
                </c:pt>
                <c:pt idx="605">
                  <c:v>126.59293294317054</c:v>
                </c:pt>
                <c:pt idx="606">
                  <c:v>126.17806269650835</c:v>
                </c:pt>
                <c:pt idx="607">
                  <c:v>126.92386567805976</c:v>
                </c:pt>
                <c:pt idx="608">
                  <c:v>127.81341371539385</c:v>
                </c:pt>
                <c:pt idx="609">
                  <c:v>131.1737718501391</c:v>
                </c:pt>
                <c:pt idx="610">
                  <c:v>132.6845011208209</c:v>
                </c:pt>
                <c:pt idx="611">
                  <c:v>131.00595171428816</c:v>
                </c:pt>
                <c:pt idx="612">
                  <c:v>127.1231184020982</c:v>
                </c:pt>
                <c:pt idx="613">
                  <c:v>126.51718163499355</c:v>
                </c:pt>
                <c:pt idx="614">
                  <c:v>129.17589765776722</c:v>
                </c:pt>
                <c:pt idx="615">
                  <c:v>129.87192785840583</c:v>
                </c:pt>
                <c:pt idx="616">
                  <c:v>128.38566041024762</c:v>
                </c:pt>
                <c:pt idx="617">
                  <c:v>125.63940717187027</c:v>
                </c:pt>
                <c:pt idx="618">
                  <c:v>125.71006392168013</c:v>
                </c:pt>
                <c:pt idx="619">
                  <c:v>127.34835453740551</c:v>
                </c:pt>
                <c:pt idx="620">
                  <c:v>128.95430717377744</c:v>
                </c:pt>
                <c:pt idx="621">
                  <c:v>129.97132703656155</c:v>
                </c:pt>
                <c:pt idx="622">
                  <c:v>127.97202651646383</c:v>
                </c:pt>
                <c:pt idx="623">
                  <c:v>130.33330873994348</c:v>
                </c:pt>
                <c:pt idx="624">
                  <c:v>128.58449157662776</c:v>
                </c:pt>
                <c:pt idx="625">
                  <c:v>123.88178238033171</c:v>
                </c:pt>
                <c:pt idx="626">
                  <c:v>124.50250462719492</c:v>
                </c:pt>
                <c:pt idx="627">
                  <c:v>126.34452533980188</c:v>
                </c:pt>
                <c:pt idx="628">
                  <c:v>130.05517556827724</c:v>
                </c:pt>
                <c:pt idx="629">
                  <c:v>129.05206167603438</c:v>
                </c:pt>
                <c:pt idx="630">
                  <c:v>129.09262921912122</c:v>
                </c:pt>
                <c:pt idx="631">
                  <c:v>128.46272885846659</c:v>
                </c:pt>
                <c:pt idx="632">
                  <c:v>127.88617631372875</c:v>
                </c:pt>
                <c:pt idx="633">
                  <c:v>125.70877891708101</c:v>
                </c:pt>
                <c:pt idx="634">
                  <c:v>128.13203929991047</c:v>
                </c:pt>
                <c:pt idx="635">
                  <c:v>129.77961571417524</c:v>
                </c:pt>
                <c:pt idx="636">
                  <c:v>130.88302444135326</c:v>
                </c:pt>
                <c:pt idx="637">
                  <c:v>132.26751180315782</c:v>
                </c:pt>
                <c:pt idx="638">
                  <c:v>131.6063732691934</c:v>
                </c:pt>
                <c:pt idx="639">
                  <c:v>132.95410854612842</c:v>
                </c:pt>
                <c:pt idx="640">
                  <c:v>132.48056251181467</c:v>
                </c:pt>
                <c:pt idx="641">
                  <c:v>133.63550411538645</c:v>
                </c:pt>
                <c:pt idx="642">
                  <c:v>132.6475505281073</c:v>
                </c:pt>
                <c:pt idx="643">
                  <c:v>132.32863852634176</c:v>
                </c:pt>
                <c:pt idx="644">
                  <c:v>132.79736329873009</c:v>
                </c:pt>
                <c:pt idx="645">
                  <c:v>131.74901983255</c:v>
                </c:pt>
                <c:pt idx="646">
                  <c:v>134.11638317917308</c:v>
                </c:pt>
                <c:pt idx="647">
                  <c:v>134.66675246720746</c:v>
                </c:pt>
                <c:pt idx="648">
                  <c:v>133.65425269832096</c:v>
                </c:pt>
                <c:pt idx="649">
                  <c:v>134.26642100298747</c:v>
                </c:pt>
                <c:pt idx="650">
                  <c:v>136.89971882981354</c:v>
                </c:pt>
                <c:pt idx="651">
                  <c:v>136.75940483532992</c:v>
                </c:pt>
                <c:pt idx="652">
                  <c:v>135.17695289152357</c:v>
                </c:pt>
                <c:pt idx="653">
                  <c:v>135.17695289152357</c:v>
                </c:pt>
                <c:pt idx="654">
                  <c:v>132.80281357376006</c:v>
                </c:pt>
                <c:pt idx="655">
                  <c:v>135.19102051407884</c:v>
                </c:pt>
                <c:pt idx="656">
                  <c:v>134.689581098925</c:v>
                </c:pt>
                <c:pt idx="657">
                  <c:v>134.23757927477766</c:v>
                </c:pt>
                <c:pt idx="658">
                  <c:v>135.19865264494837</c:v>
                </c:pt>
                <c:pt idx="659">
                  <c:v>133.26614080763761</c:v>
                </c:pt>
                <c:pt idx="660">
                  <c:v>133.04834438477045</c:v>
                </c:pt>
                <c:pt idx="661">
                  <c:v>135.29873129376139</c:v>
                </c:pt>
                <c:pt idx="662">
                  <c:v>134.36728856821088</c:v>
                </c:pt>
                <c:pt idx="663">
                  <c:v>134.10017246239701</c:v>
                </c:pt>
                <c:pt idx="664">
                  <c:v>134.06079995857729</c:v>
                </c:pt>
                <c:pt idx="665">
                  <c:v>133.0345097666912</c:v>
                </c:pt>
                <c:pt idx="666">
                  <c:v>131.96896909461552</c:v>
                </c:pt>
                <c:pt idx="667">
                  <c:v>128.75446900023618</c:v>
                </c:pt>
                <c:pt idx="668">
                  <c:v>128.78706729302459</c:v>
                </c:pt>
                <c:pt idx="669">
                  <c:v>127.53407828679255</c:v>
                </c:pt>
                <c:pt idx="670">
                  <c:v>127.10061726679061</c:v>
                </c:pt>
                <c:pt idx="671">
                  <c:v>127.88668244689502</c:v>
                </c:pt>
                <c:pt idx="672">
                  <c:v>131.40332959892592</c:v>
                </c:pt>
                <c:pt idx="673">
                  <c:v>132.48666535008661</c:v>
                </c:pt>
                <c:pt idx="674">
                  <c:v>136.41209198438045</c:v>
                </c:pt>
                <c:pt idx="675">
                  <c:v>135.41475333483697</c:v>
                </c:pt>
                <c:pt idx="676">
                  <c:v>135.48182275951984</c:v>
                </c:pt>
                <c:pt idx="677">
                  <c:v>135.97192621343964</c:v>
                </c:pt>
                <c:pt idx="678">
                  <c:v>135.88874889827679</c:v>
                </c:pt>
                <c:pt idx="679">
                  <c:v>136.17276617967639</c:v>
                </c:pt>
                <c:pt idx="680">
                  <c:v>135.22247561542824</c:v>
                </c:pt>
                <c:pt idx="681">
                  <c:v>136.0459672609885</c:v>
                </c:pt>
                <c:pt idx="682">
                  <c:v>135.10429484936805</c:v>
                </c:pt>
                <c:pt idx="683">
                  <c:v>136.04155029706695</c:v>
                </c:pt>
                <c:pt idx="684">
                  <c:v>134.1843142511498</c:v>
                </c:pt>
                <c:pt idx="685">
                  <c:v>135.27210641605853</c:v>
                </c:pt>
                <c:pt idx="686">
                  <c:v>134.37422264287605</c:v>
                </c:pt>
                <c:pt idx="687">
                  <c:v>134.98103540263071</c:v>
                </c:pt>
                <c:pt idx="688">
                  <c:v>136.64580962880606</c:v>
                </c:pt>
                <c:pt idx="689">
                  <c:v>136.17607584777724</c:v>
                </c:pt>
                <c:pt idx="690">
                  <c:v>137.10843723259649</c:v>
                </c:pt>
                <c:pt idx="691">
                  <c:v>138.43094468053917</c:v>
                </c:pt>
                <c:pt idx="692">
                  <c:v>138.43094468053917</c:v>
                </c:pt>
                <c:pt idx="693">
                  <c:v>138.42161596645192</c:v>
                </c:pt>
                <c:pt idx="694">
                  <c:v>138.42794808087837</c:v>
                </c:pt>
                <c:pt idx="695">
                  <c:v>139.59803070598616</c:v>
                </c:pt>
                <c:pt idx="696">
                  <c:v>140.45760281723949</c:v>
                </c:pt>
                <c:pt idx="697">
                  <c:v>141.3546037474388</c:v>
                </c:pt>
                <c:pt idx="698">
                  <c:v>142.76869792618797</c:v>
                </c:pt>
                <c:pt idx="699">
                  <c:v>142.18931737683417</c:v>
                </c:pt>
                <c:pt idx="700">
                  <c:v>141.0022749158972</c:v>
                </c:pt>
                <c:pt idx="701">
                  <c:v>141.38315745186199</c:v>
                </c:pt>
                <c:pt idx="702">
                  <c:v>141.1776824341639</c:v>
                </c:pt>
                <c:pt idx="703">
                  <c:v>142.75412477063242</c:v>
                </c:pt>
                <c:pt idx="704">
                  <c:v>141.95788550805062</c:v>
                </c:pt>
                <c:pt idx="705">
                  <c:v>140.51414987877035</c:v>
                </c:pt>
                <c:pt idx="706">
                  <c:v>139.99605846958991</c:v>
                </c:pt>
                <c:pt idx="707">
                  <c:v>140.872089996255</c:v>
                </c:pt>
                <c:pt idx="708">
                  <c:v>141.4336869867744</c:v>
                </c:pt>
                <c:pt idx="709">
                  <c:v>141.25613777656923</c:v>
                </c:pt>
                <c:pt idx="710">
                  <c:v>141.00656273186644</c:v>
                </c:pt>
                <c:pt idx="711">
                  <c:v>140.57587344903507</c:v>
                </c:pt>
                <c:pt idx="712">
                  <c:v>140.35795458168724</c:v>
                </c:pt>
                <c:pt idx="713">
                  <c:v>140.31865203427321</c:v>
                </c:pt>
                <c:pt idx="714">
                  <c:v>139.62170583750606</c:v>
                </c:pt>
                <c:pt idx="715">
                  <c:v>140.44818024470024</c:v>
                </c:pt>
                <c:pt idx="716">
                  <c:v>139.30431542364073</c:v>
                </c:pt>
                <c:pt idx="717">
                  <c:v>138.88086236484008</c:v>
                </c:pt>
                <c:pt idx="718">
                  <c:v>139.83626363543647</c:v>
                </c:pt>
                <c:pt idx="719">
                  <c:v>141.54039461228206</c:v>
                </c:pt>
                <c:pt idx="720">
                  <c:v>140.91825894603087</c:v>
                </c:pt>
                <c:pt idx="721">
                  <c:v>143.13220490154984</c:v>
                </c:pt>
                <c:pt idx="722">
                  <c:v>143.18312077744599</c:v>
                </c:pt>
                <c:pt idx="723">
                  <c:v>143.18478853628881</c:v>
                </c:pt>
                <c:pt idx="724">
                  <c:v>142.42922551516841</c:v>
                </c:pt>
                <c:pt idx="725">
                  <c:v>142.76442782604067</c:v>
                </c:pt>
                <c:pt idx="726">
                  <c:v>142.61883327424516</c:v>
                </c:pt>
                <c:pt idx="727">
                  <c:v>143.67079335605155</c:v>
                </c:pt>
                <c:pt idx="728">
                  <c:v>144.05475532748693</c:v>
                </c:pt>
                <c:pt idx="729">
                  <c:v>144.95012702336493</c:v>
                </c:pt>
                <c:pt idx="730">
                  <c:v>144.9174916056713</c:v>
                </c:pt>
                <c:pt idx="731">
                  <c:v>144.4990671618516</c:v>
                </c:pt>
                <c:pt idx="732">
                  <c:v>144.34638225138303</c:v>
                </c:pt>
                <c:pt idx="733">
                  <c:v>144.1584422258592</c:v>
                </c:pt>
                <c:pt idx="734">
                  <c:v>143.68121731153173</c:v>
                </c:pt>
                <c:pt idx="735">
                  <c:v>144.11872440465595</c:v>
                </c:pt>
                <c:pt idx="736">
                  <c:v>143.98959307484853</c:v>
                </c:pt>
                <c:pt idx="737">
                  <c:v>143.95280259801001</c:v>
                </c:pt>
                <c:pt idx="738">
                  <c:v>144.05216103900761</c:v>
                </c:pt>
                <c:pt idx="739">
                  <c:v>144.26742768668836</c:v>
                </c:pt>
                <c:pt idx="740">
                  <c:v>145.62454651963174</c:v>
                </c:pt>
                <c:pt idx="741">
                  <c:v>145.52240537738012</c:v>
                </c:pt>
                <c:pt idx="742">
                  <c:v>145.57707633631387</c:v>
                </c:pt>
                <c:pt idx="743">
                  <c:v>143.05172429512376</c:v>
                </c:pt>
                <c:pt idx="744">
                  <c:v>144.15603767292421</c:v>
                </c:pt>
                <c:pt idx="745">
                  <c:v>145.45989720345369</c:v>
                </c:pt>
                <c:pt idx="746">
                  <c:v>146.51684813757299</c:v>
                </c:pt>
                <c:pt idx="747">
                  <c:v>146.51776611123501</c:v>
                </c:pt>
                <c:pt idx="748">
                  <c:v>148.19089158860393</c:v>
                </c:pt>
                <c:pt idx="749">
                  <c:v>147.85843395410652</c:v>
                </c:pt>
                <c:pt idx="750">
                  <c:v>147.45164474164201</c:v>
                </c:pt>
                <c:pt idx="751">
                  <c:v>147.75044565532133</c:v>
                </c:pt>
                <c:pt idx="752">
                  <c:v>147.4416967049319</c:v>
                </c:pt>
                <c:pt idx="753">
                  <c:v>146.90525587965885</c:v>
                </c:pt>
                <c:pt idx="754">
                  <c:v>147.07806342190617</c:v>
                </c:pt>
                <c:pt idx="755">
                  <c:v>146.66704926398279</c:v>
                </c:pt>
                <c:pt idx="756">
                  <c:v>147.14821997293996</c:v>
                </c:pt>
                <c:pt idx="757">
                  <c:v>148.63542408791582</c:v>
                </c:pt>
                <c:pt idx="758">
                  <c:v>147.64861463659955</c:v>
                </c:pt>
                <c:pt idx="759">
                  <c:v>147.17378529874097</c:v>
                </c:pt>
                <c:pt idx="760">
                  <c:v>146.15336854025085</c:v>
                </c:pt>
                <c:pt idx="761">
                  <c:v>147.42134210310266</c:v>
                </c:pt>
                <c:pt idx="762">
                  <c:v>150.33291340033415</c:v>
                </c:pt>
                <c:pt idx="763">
                  <c:v>149.44505395048941</c:v>
                </c:pt>
                <c:pt idx="764">
                  <c:v>146.9801607731342</c:v>
                </c:pt>
                <c:pt idx="765">
                  <c:v>147.54245374472484</c:v>
                </c:pt>
                <c:pt idx="766">
                  <c:v>147.54245374472484</c:v>
                </c:pt>
                <c:pt idx="767">
                  <c:v>147.54245374472484</c:v>
                </c:pt>
                <c:pt idx="768">
                  <c:v>145.36223191654423</c:v>
                </c:pt>
                <c:pt idx="769">
                  <c:v>145.66445524395144</c:v>
                </c:pt>
                <c:pt idx="770">
                  <c:v>147.07008690245601</c:v>
                </c:pt>
                <c:pt idx="771">
                  <c:v>146.05906369624893</c:v>
                </c:pt>
                <c:pt idx="772">
                  <c:v>147.10882429535653</c:v>
                </c:pt>
                <c:pt idx="773">
                  <c:v>148.82109582092133</c:v>
                </c:pt>
                <c:pt idx="774">
                  <c:v>148.76457830112895</c:v>
                </c:pt>
                <c:pt idx="775">
                  <c:v>148.76981140481305</c:v>
                </c:pt>
                <c:pt idx="776">
                  <c:v>148.95715651671765</c:v>
                </c:pt>
                <c:pt idx="777">
                  <c:v>146.78123200470853</c:v>
                </c:pt>
                <c:pt idx="778">
                  <c:v>147.96564270243113</c:v>
                </c:pt>
                <c:pt idx="779">
                  <c:v>149.23553223226114</c:v>
                </c:pt>
                <c:pt idx="780">
                  <c:v>151.26986200822125</c:v>
                </c:pt>
                <c:pt idx="781">
                  <c:v>151.50581950021206</c:v>
                </c:pt>
                <c:pt idx="782">
                  <c:v>151.16440638707778</c:v>
                </c:pt>
                <c:pt idx="783">
                  <c:v>151.16440638707778</c:v>
                </c:pt>
                <c:pt idx="784">
                  <c:v>152.2902775358435</c:v>
                </c:pt>
                <c:pt idx="785">
                  <c:v>152.81772200981402</c:v>
                </c:pt>
                <c:pt idx="786">
                  <c:v>150.84353819229722</c:v>
                </c:pt>
                <c:pt idx="787">
                  <c:v>151.60742948643082</c:v>
                </c:pt>
                <c:pt idx="788">
                  <c:v>149.8975126446943</c:v>
                </c:pt>
                <c:pt idx="789">
                  <c:v>150.21518597607923</c:v>
                </c:pt>
                <c:pt idx="790">
                  <c:v>149.99976943016833</c:v>
                </c:pt>
                <c:pt idx="791">
                  <c:v>151.21812096590963</c:v>
                </c:pt>
                <c:pt idx="792">
                  <c:v>149.95045032363373</c:v>
                </c:pt>
                <c:pt idx="793">
                  <c:v>149.86078470865522</c:v>
                </c:pt>
                <c:pt idx="794">
                  <c:v>149.07650047054022</c:v>
                </c:pt>
                <c:pt idx="795">
                  <c:v>149.07650047054022</c:v>
                </c:pt>
                <c:pt idx="796">
                  <c:v>146.81591770166648</c:v>
                </c:pt>
                <c:pt idx="797">
                  <c:v>147.17950944532669</c:v>
                </c:pt>
                <c:pt idx="798">
                  <c:v>149.16787887960535</c:v>
                </c:pt>
                <c:pt idx="799">
                  <c:v>147.02729559372537</c:v>
                </c:pt>
                <c:pt idx="800">
                  <c:v>148.30622511223837</c:v>
                </c:pt>
                <c:pt idx="801">
                  <c:v>148.93427986247823</c:v>
                </c:pt>
                <c:pt idx="802">
                  <c:v>148.93427986247823</c:v>
                </c:pt>
                <c:pt idx="803">
                  <c:v>150.25647793215049</c:v>
                </c:pt>
                <c:pt idx="804">
                  <c:v>148.75954392287917</c:v>
                </c:pt>
                <c:pt idx="805">
                  <c:v>148.58041549474791</c:v>
                </c:pt>
                <c:pt idx="806">
                  <c:v>145.94485038947113</c:v>
                </c:pt>
                <c:pt idx="807">
                  <c:v>144.80218141889605</c:v>
                </c:pt>
                <c:pt idx="808">
                  <c:v>145.0836716297452</c:v>
                </c:pt>
                <c:pt idx="809">
                  <c:v>147.3228408620167</c:v>
                </c:pt>
                <c:pt idx="810">
                  <c:v>148.72100209317352</c:v>
                </c:pt>
                <c:pt idx="811">
                  <c:v>149.15472601201785</c:v>
                </c:pt>
                <c:pt idx="812">
                  <c:v>149.30092290965683</c:v>
                </c:pt>
                <c:pt idx="813">
                  <c:v>150.46997084521178</c:v>
                </c:pt>
                <c:pt idx="814">
                  <c:v>150.09735428850999</c:v>
                </c:pt>
                <c:pt idx="815">
                  <c:v>149.74737190835313</c:v>
                </c:pt>
                <c:pt idx="816">
                  <c:v>149.60708638004758</c:v>
                </c:pt>
                <c:pt idx="817">
                  <c:v>150.3841331016832</c:v>
                </c:pt>
                <c:pt idx="818">
                  <c:v>151.58476890041294</c:v>
                </c:pt>
                <c:pt idx="819">
                  <c:v>151.56791878854492</c:v>
                </c:pt>
                <c:pt idx="820">
                  <c:v>151.13672262835476</c:v>
                </c:pt>
                <c:pt idx="821">
                  <c:v>150.25229911684784</c:v>
                </c:pt>
                <c:pt idx="822">
                  <c:v>148.73649262217612</c:v>
                </c:pt>
                <c:pt idx="823">
                  <c:v>148.90235921184919</c:v>
                </c:pt>
                <c:pt idx="824">
                  <c:v>150.50839226595093</c:v>
                </c:pt>
                <c:pt idx="825">
                  <c:v>150.1258140018756</c:v>
                </c:pt>
                <c:pt idx="826">
                  <c:v>152.8146214793168</c:v>
                </c:pt>
                <c:pt idx="827">
                  <c:v>154.90776587425358</c:v>
                </c:pt>
                <c:pt idx="828">
                  <c:v>155.9419837685096</c:v>
                </c:pt>
                <c:pt idx="829">
                  <c:v>155.96798279629539</c:v>
                </c:pt>
                <c:pt idx="830">
                  <c:v>156.16429429997041</c:v>
                </c:pt>
                <c:pt idx="831">
                  <c:v>155.45387783758403</c:v>
                </c:pt>
                <c:pt idx="832">
                  <c:v>154.94406360000119</c:v>
                </c:pt>
                <c:pt idx="833">
                  <c:v>155.72032852545476</c:v>
                </c:pt>
                <c:pt idx="834">
                  <c:v>155.76048667873872</c:v>
                </c:pt>
                <c:pt idx="835">
                  <c:v>154.52871554974325</c:v>
                </c:pt>
                <c:pt idx="836">
                  <c:v>156.51671881607592</c:v>
                </c:pt>
                <c:pt idx="837">
                  <c:v>157.07364564644701</c:v>
                </c:pt>
                <c:pt idx="838">
                  <c:v>156.70588631038774</c:v>
                </c:pt>
                <c:pt idx="839">
                  <c:v>158.5056663532809</c:v>
                </c:pt>
                <c:pt idx="840">
                  <c:v>159.75909452643256</c:v>
                </c:pt>
                <c:pt idx="841">
                  <c:v>158.3072828854969</c:v>
                </c:pt>
                <c:pt idx="842">
                  <c:v>154.81324828201807</c:v>
                </c:pt>
                <c:pt idx="843">
                  <c:v>154.647311822023</c:v>
                </c:pt>
                <c:pt idx="844">
                  <c:v>154.15462583219175</c:v>
                </c:pt>
                <c:pt idx="845">
                  <c:v>157.2187907356373</c:v>
                </c:pt>
                <c:pt idx="846">
                  <c:v>158.27775187251959</c:v>
                </c:pt>
                <c:pt idx="847">
                  <c:v>159.45566024495125</c:v>
                </c:pt>
                <c:pt idx="848">
                  <c:v>158.09737573049983</c:v>
                </c:pt>
                <c:pt idx="849">
                  <c:v>159.1551333429563</c:v>
                </c:pt>
                <c:pt idx="850">
                  <c:v>158.23594838546998</c:v>
                </c:pt>
                <c:pt idx="851">
                  <c:v>160.64827846121074</c:v>
                </c:pt>
                <c:pt idx="852">
                  <c:v>160.78767329258335</c:v>
                </c:pt>
                <c:pt idx="853">
                  <c:v>161.46260454405274</c:v>
                </c:pt>
                <c:pt idx="854">
                  <c:v>161.89042070740553</c:v>
                </c:pt>
                <c:pt idx="855">
                  <c:v>162.20509120268048</c:v>
                </c:pt>
                <c:pt idx="856">
                  <c:v>161.9050019299072</c:v>
                </c:pt>
                <c:pt idx="857">
                  <c:v>161.28976703371731</c:v>
                </c:pt>
                <c:pt idx="858">
                  <c:v>162.43227287746836</c:v>
                </c:pt>
                <c:pt idx="859">
                  <c:v>162.43227287746836</c:v>
                </c:pt>
                <c:pt idx="860">
                  <c:v>162.65526835448415</c:v>
                </c:pt>
                <c:pt idx="861">
                  <c:v>163.02333040361009</c:v>
                </c:pt>
                <c:pt idx="862">
                  <c:v>162.64506897982915</c:v>
                </c:pt>
                <c:pt idx="863">
                  <c:v>162.73633599227776</c:v>
                </c:pt>
                <c:pt idx="864">
                  <c:v>160.84776707927759</c:v>
                </c:pt>
                <c:pt idx="865">
                  <c:v>159.93833966126664</c:v>
                </c:pt>
                <c:pt idx="866">
                  <c:v>160.77747960359036</c:v>
                </c:pt>
                <c:pt idx="867">
                  <c:v>161.28547295448999</c:v>
                </c:pt>
                <c:pt idx="868">
                  <c:v>160.35779597424849</c:v>
                </c:pt>
                <c:pt idx="869">
                  <c:v>160.52044838044429</c:v>
                </c:pt>
                <c:pt idx="870">
                  <c:v>160.17033618026332</c:v>
                </c:pt>
                <c:pt idx="871">
                  <c:v>160.52751080777952</c:v>
                </c:pt>
                <c:pt idx="872">
                  <c:v>161.83818830735132</c:v>
                </c:pt>
                <c:pt idx="873">
                  <c:v>160.15367146503613</c:v>
                </c:pt>
                <c:pt idx="874">
                  <c:v>160.2597630927678</c:v>
                </c:pt>
                <c:pt idx="875">
                  <c:v>162.5441256447254</c:v>
                </c:pt>
                <c:pt idx="876">
                  <c:v>161.44417024126122</c:v>
                </c:pt>
                <c:pt idx="877">
                  <c:v>161.18501839070342</c:v>
                </c:pt>
                <c:pt idx="878">
                  <c:v>161.25673809723685</c:v>
                </c:pt>
                <c:pt idx="879">
                  <c:v>160.86042747198729</c:v>
                </c:pt>
                <c:pt idx="880">
                  <c:v>161.08465194215105</c:v>
                </c:pt>
                <c:pt idx="881">
                  <c:v>161.35937235949518</c:v>
                </c:pt>
                <c:pt idx="882">
                  <c:v>161.03811506076806</c:v>
                </c:pt>
                <c:pt idx="883">
                  <c:v>160.98466648630122</c:v>
                </c:pt>
                <c:pt idx="884">
                  <c:v>161.21418104481606</c:v>
                </c:pt>
                <c:pt idx="885">
                  <c:v>161.41105781242518</c:v>
                </c:pt>
                <c:pt idx="886">
                  <c:v>162.21155301742843</c:v>
                </c:pt>
                <c:pt idx="887">
                  <c:v>161.91737921074494</c:v>
                </c:pt>
                <c:pt idx="888">
                  <c:v>162.70051568653119</c:v>
                </c:pt>
                <c:pt idx="889">
                  <c:v>160.86153616875933</c:v>
                </c:pt>
                <c:pt idx="890">
                  <c:v>161.55099686912803</c:v>
                </c:pt>
                <c:pt idx="891">
                  <c:v>160.44095962981288</c:v>
                </c:pt>
                <c:pt idx="892">
                  <c:v>161.712267625111</c:v>
                </c:pt>
                <c:pt idx="893">
                  <c:v>161.74866364103985</c:v>
                </c:pt>
                <c:pt idx="894">
                  <c:v>161.86885651049471</c:v>
                </c:pt>
                <c:pt idx="895">
                  <c:v>161.69121415390313</c:v>
                </c:pt>
                <c:pt idx="896">
                  <c:v>162.66236644954446</c:v>
                </c:pt>
                <c:pt idx="897">
                  <c:v>161.62731070436624</c:v>
                </c:pt>
                <c:pt idx="898">
                  <c:v>161.29492518451539</c:v>
                </c:pt>
                <c:pt idx="899">
                  <c:v>160.35302887214348</c:v>
                </c:pt>
                <c:pt idx="900">
                  <c:v>161.38280384415151</c:v>
                </c:pt>
                <c:pt idx="901">
                  <c:v>160.85456740406681</c:v>
                </c:pt>
                <c:pt idx="902">
                  <c:v>161.2857114901156</c:v>
                </c:pt>
                <c:pt idx="903">
                  <c:v>162.49520586558924</c:v>
                </c:pt>
                <c:pt idx="904">
                  <c:v>162.07551237236427</c:v>
                </c:pt>
                <c:pt idx="905">
                  <c:v>161.85898926527119</c:v>
                </c:pt>
                <c:pt idx="906">
                  <c:v>161.21486116122219</c:v>
                </c:pt>
                <c:pt idx="907">
                  <c:v>160.20006616793418</c:v>
                </c:pt>
                <c:pt idx="908">
                  <c:v>158.1143615119185</c:v>
                </c:pt>
                <c:pt idx="909">
                  <c:v>159.49006695540851</c:v>
                </c:pt>
                <c:pt idx="910">
                  <c:v>160.06520421489662</c:v>
                </c:pt>
                <c:pt idx="911">
                  <c:v>160.55295906965387</c:v>
                </c:pt>
                <c:pt idx="912">
                  <c:v>160.0193423478178</c:v>
                </c:pt>
                <c:pt idx="913">
                  <c:v>160.61667076418215</c:v>
                </c:pt>
                <c:pt idx="914">
                  <c:v>160.27767127937665</c:v>
                </c:pt>
                <c:pt idx="915">
                  <c:v>160.27767127937665</c:v>
                </c:pt>
                <c:pt idx="916">
                  <c:v>162.32342949042746</c:v>
                </c:pt>
                <c:pt idx="917">
                  <c:v>162.0182838538077</c:v>
                </c:pt>
                <c:pt idx="918">
                  <c:v>162.26922758868062</c:v>
                </c:pt>
                <c:pt idx="919">
                  <c:v>161.07687334519488</c:v>
                </c:pt>
                <c:pt idx="920">
                  <c:v>160.68304639401546</c:v>
                </c:pt>
                <c:pt idx="921">
                  <c:v>160.65268703534929</c:v>
                </c:pt>
                <c:pt idx="922">
                  <c:v>160.02212464596019</c:v>
                </c:pt>
                <c:pt idx="923">
                  <c:v>160.56702979293479</c:v>
                </c:pt>
                <c:pt idx="924">
                  <c:v>159.23116500450243</c:v>
                </c:pt>
                <c:pt idx="925">
                  <c:v>157.60969496353155</c:v>
                </c:pt>
                <c:pt idx="926">
                  <c:v>156.96414157585522</c:v>
                </c:pt>
                <c:pt idx="927">
                  <c:v>158.81912559783575</c:v>
                </c:pt>
                <c:pt idx="928">
                  <c:v>159.55166786465023</c:v>
                </c:pt>
                <c:pt idx="929">
                  <c:v>159.93974117329927</c:v>
                </c:pt>
                <c:pt idx="930">
                  <c:v>160.70958123593564</c:v>
                </c:pt>
                <c:pt idx="931">
                  <c:v>161.34841626353048</c:v>
                </c:pt>
                <c:pt idx="932">
                  <c:v>161.18568902734918</c:v>
                </c:pt>
                <c:pt idx="933">
                  <c:v>161.65700698780552</c:v>
                </c:pt>
                <c:pt idx="934">
                  <c:v>161.62829570423375</c:v>
                </c:pt>
                <c:pt idx="935">
                  <c:v>162.94092079142729</c:v>
                </c:pt>
                <c:pt idx="936">
                  <c:v>162.48891065169971</c:v>
                </c:pt>
                <c:pt idx="937">
                  <c:v>162.94922421045644</c:v>
                </c:pt>
                <c:pt idx="938">
                  <c:v>162.88830757542397</c:v>
                </c:pt>
                <c:pt idx="939">
                  <c:v>163.42516953690972</c:v>
                </c:pt>
                <c:pt idx="940">
                  <c:v>164.17080626926949</c:v>
                </c:pt>
                <c:pt idx="941">
                  <c:v>164.62337025528925</c:v>
                </c:pt>
                <c:pt idx="942">
                  <c:v>165.09969972681262</c:v>
                </c:pt>
                <c:pt idx="943">
                  <c:v>165.50487195291402</c:v>
                </c:pt>
                <c:pt idx="944">
                  <c:v>165.344880257878</c:v>
                </c:pt>
                <c:pt idx="945">
                  <c:v>164.68084776324454</c:v>
                </c:pt>
                <c:pt idx="946">
                  <c:v>164.76758184258827</c:v>
                </c:pt>
                <c:pt idx="947">
                  <c:v>164.35078294549623</c:v>
                </c:pt>
                <c:pt idx="948">
                  <c:v>164.88993141356761</c:v>
                </c:pt>
                <c:pt idx="949">
                  <c:v>165.24771033811078</c:v>
                </c:pt>
                <c:pt idx="950">
                  <c:v>165.34184916456024</c:v>
                </c:pt>
                <c:pt idx="951">
                  <c:v>164.90128813065743</c:v>
                </c:pt>
                <c:pt idx="952">
                  <c:v>164.90128813065743</c:v>
                </c:pt>
                <c:pt idx="953">
                  <c:v>164.90128813065743</c:v>
                </c:pt>
                <c:pt idx="954">
                  <c:v>164.90128813065743</c:v>
                </c:pt>
                <c:pt idx="955">
                  <c:v>164.36603094196454</c:v>
                </c:pt>
                <c:pt idx="956">
                  <c:v>163.78710276533329</c:v>
                </c:pt>
                <c:pt idx="957">
                  <c:v>164.25942895417967</c:v>
                </c:pt>
                <c:pt idx="958">
                  <c:v>164.25942895417967</c:v>
                </c:pt>
                <c:pt idx="959">
                  <c:v>166.06008428327115</c:v>
                </c:pt>
                <c:pt idx="960">
                  <c:v>167.24818190099367</c:v>
                </c:pt>
                <c:pt idx="961">
                  <c:v>167.76966082281143</c:v>
                </c:pt>
                <c:pt idx="962">
                  <c:v>167.17114304176101</c:v>
                </c:pt>
                <c:pt idx="963">
                  <c:v>167.06352485116869</c:v>
                </c:pt>
                <c:pt idx="964">
                  <c:v>167.77832815546105</c:v>
                </c:pt>
                <c:pt idx="965">
                  <c:v>167.1044301230254</c:v>
                </c:pt>
                <c:pt idx="966">
                  <c:v>166.47059947976632</c:v>
                </c:pt>
                <c:pt idx="967">
                  <c:v>165.83800621760818</c:v>
                </c:pt>
                <c:pt idx="968">
                  <c:v>165.30434577608995</c:v>
                </c:pt>
                <c:pt idx="969">
                  <c:v>165.46607934932561</c:v>
                </c:pt>
                <c:pt idx="970">
                  <c:v>165.6692640514558</c:v>
                </c:pt>
                <c:pt idx="971">
                  <c:v>165.42962974120243</c:v>
                </c:pt>
                <c:pt idx="972">
                  <c:v>165.53938188979106</c:v>
                </c:pt>
                <c:pt idx="973">
                  <c:v>165.77885727042235</c:v>
                </c:pt>
                <c:pt idx="974">
                  <c:v>166.26370716733624</c:v>
                </c:pt>
                <c:pt idx="975">
                  <c:v>166.0095778827436</c:v>
                </c:pt>
                <c:pt idx="976">
                  <c:v>166.52842246909159</c:v>
                </c:pt>
                <c:pt idx="977">
                  <c:v>165.89266880010092</c:v>
                </c:pt>
                <c:pt idx="978">
                  <c:v>166.45466171158111</c:v>
                </c:pt>
                <c:pt idx="979">
                  <c:v>166.09068911306883</c:v>
                </c:pt>
                <c:pt idx="980">
                  <c:v>165.88818630531284</c:v>
                </c:pt>
                <c:pt idx="981">
                  <c:v>166.7870474059244</c:v>
                </c:pt>
                <c:pt idx="982">
                  <c:v>165.89779525515064</c:v>
                </c:pt>
                <c:pt idx="983">
                  <c:v>166.11711519885259</c:v>
                </c:pt>
                <c:pt idx="984">
                  <c:v>165.48070119552983</c:v>
                </c:pt>
                <c:pt idx="985">
                  <c:v>165.40771752051012</c:v>
                </c:pt>
                <c:pt idx="986">
                  <c:v>166.8548258241361</c:v>
                </c:pt>
                <c:pt idx="987">
                  <c:v>166.38256809566147</c:v>
                </c:pt>
                <c:pt idx="988">
                  <c:v>166.75146787420096</c:v>
                </c:pt>
                <c:pt idx="989">
                  <c:v>167.2872614647932</c:v>
                </c:pt>
                <c:pt idx="990">
                  <c:v>167.2453316894707</c:v>
                </c:pt>
                <c:pt idx="991">
                  <c:v>167.20867777007584</c:v>
                </c:pt>
                <c:pt idx="992">
                  <c:v>166.83251835002878</c:v>
                </c:pt>
                <c:pt idx="993">
                  <c:v>168.62531828260521</c:v>
                </c:pt>
                <c:pt idx="994">
                  <c:v>168.49480455200342</c:v>
                </c:pt>
                <c:pt idx="995">
                  <c:v>167.38279044002522</c:v>
                </c:pt>
                <c:pt idx="996">
                  <c:v>169.34507232872025</c:v>
                </c:pt>
                <c:pt idx="997">
                  <c:v>168.22960889206385</c:v>
                </c:pt>
                <c:pt idx="998">
                  <c:v>167.91334063688865</c:v>
                </c:pt>
                <c:pt idx="999">
                  <c:v>168.62285555062024</c:v>
                </c:pt>
                <c:pt idx="1000">
                  <c:v>170.51495624377262</c:v>
                </c:pt>
                <c:pt idx="1001">
                  <c:v>170.94015847015663</c:v>
                </c:pt>
                <c:pt idx="1002">
                  <c:v>171.68023369993136</c:v>
                </c:pt>
                <c:pt idx="1003">
                  <c:v>173.62523641491507</c:v>
                </c:pt>
                <c:pt idx="1004">
                  <c:v>172.82421056740822</c:v>
                </c:pt>
                <c:pt idx="1005">
                  <c:v>172.54257352177669</c:v>
                </c:pt>
                <c:pt idx="1006">
                  <c:v>172.77350020574178</c:v>
                </c:pt>
                <c:pt idx="1007">
                  <c:v>172.84983524024832</c:v>
                </c:pt>
                <c:pt idx="1008">
                  <c:v>173.15997677392417</c:v>
                </c:pt>
                <c:pt idx="1009">
                  <c:v>173.87081743193602</c:v>
                </c:pt>
                <c:pt idx="1010">
                  <c:v>175.54046326171689</c:v>
                </c:pt>
                <c:pt idx="1011">
                  <c:v>174.99230963282039</c:v>
                </c:pt>
                <c:pt idx="1012">
                  <c:v>175.25167963964273</c:v>
                </c:pt>
                <c:pt idx="1013">
                  <c:v>175.64649260635326</c:v>
                </c:pt>
                <c:pt idx="1014">
                  <c:v>175.89859744274347</c:v>
                </c:pt>
                <c:pt idx="1015">
                  <c:v>175.16324802309146</c:v>
                </c:pt>
                <c:pt idx="1016">
                  <c:v>175.63544687371348</c:v>
                </c:pt>
                <c:pt idx="1017">
                  <c:v>175.99745764751142</c:v>
                </c:pt>
                <c:pt idx="1018">
                  <c:v>175.91814107651288</c:v>
                </c:pt>
                <c:pt idx="1019">
                  <c:v>175.83389072546709</c:v>
                </c:pt>
                <c:pt idx="1020">
                  <c:v>177.11554895880911</c:v>
                </c:pt>
                <c:pt idx="1021">
                  <c:v>177.11554895880911</c:v>
                </c:pt>
                <c:pt idx="1022">
                  <c:v>177.11554895880911</c:v>
                </c:pt>
                <c:pt idx="1023">
                  <c:v>179.02765257585844</c:v>
                </c:pt>
                <c:pt idx="1024">
                  <c:v>178.1146974410037</c:v>
                </c:pt>
                <c:pt idx="1025">
                  <c:v>176.55982008350642</c:v>
                </c:pt>
                <c:pt idx="1026">
                  <c:v>173.82560092381621</c:v>
                </c:pt>
                <c:pt idx="1027">
                  <c:v>174.37364572437261</c:v>
                </c:pt>
                <c:pt idx="1028">
                  <c:v>173.61810431603016</c:v>
                </c:pt>
                <c:pt idx="1029">
                  <c:v>175.97331989467617</c:v>
                </c:pt>
                <c:pt idx="1030">
                  <c:v>176.73221129435302</c:v>
                </c:pt>
                <c:pt idx="1031">
                  <c:v>175.93801270087761</c:v>
                </c:pt>
                <c:pt idx="1032">
                  <c:v>175.27168138369359</c:v>
                </c:pt>
                <c:pt idx="1033">
                  <c:v>173.56928509920766</c:v>
                </c:pt>
                <c:pt idx="1034">
                  <c:v>171.72768595184499</c:v>
                </c:pt>
                <c:pt idx="1035">
                  <c:v>171.62700854074052</c:v>
                </c:pt>
                <c:pt idx="1036">
                  <c:v>172.22247443543748</c:v>
                </c:pt>
                <c:pt idx="1037">
                  <c:v>172.28563177882324</c:v>
                </c:pt>
                <c:pt idx="1038">
                  <c:v>175.91989750820903</c:v>
                </c:pt>
                <c:pt idx="1039">
                  <c:v>176.81827839478984</c:v>
                </c:pt>
                <c:pt idx="1040">
                  <c:v>177.87764350604405</c:v>
                </c:pt>
                <c:pt idx="1041">
                  <c:v>177.44723067815087</c:v>
                </c:pt>
                <c:pt idx="1042">
                  <c:v>178.08723827792275</c:v>
                </c:pt>
                <c:pt idx="1043">
                  <c:v>177.69911863442823</c:v>
                </c:pt>
                <c:pt idx="1044">
                  <c:v>177.69911863442823</c:v>
                </c:pt>
                <c:pt idx="1045">
                  <c:v>178.0835665462042</c:v>
                </c:pt>
                <c:pt idx="1046">
                  <c:v>179.14210208134563</c:v>
                </c:pt>
                <c:pt idx="1047">
                  <c:v>179.26450372962628</c:v>
                </c:pt>
                <c:pt idx="1048">
                  <c:v>178.87846893957376</c:v>
                </c:pt>
                <c:pt idx="1049">
                  <c:v>180.15746955873368</c:v>
                </c:pt>
                <c:pt idx="1050">
                  <c:v>180.15746955873368</c:v>
                </c:pt>
                <c:pt idx="1051">
                  <c:v>181.7220263321318</c:v>
                </c:pt>
                <c:pt idx="1052">
                  <c:v>181.88804885454093</c:v>
                </c:pt>
                <c:pt idx="1053">
                  <c:v>182.43104836182295</c:v>
                </c:pt>
                <c:pt idx="1054">
                  <c:v>183.53449470513453</c:v>
                </c:pt>
                <c:pt idx="1055">
                  <c:v>183.50443506599888</c:v>
                </c:pt>
                <c:pt idx="1056">
                  <c:v>183.2646274284985</c:v>
                </c:pt>
                <c:pt idx="1057">
                  <c:v>183.2646274284985</c:v>
                </c:pt>
                <c:pt idx="1058">
                  <c:v>184.59998972908343</c:v>
                </c:pt>
                <c:pt idx="1059">
                  <c:v>184.52756930811154</c:v>
                </c:pt>
                <c:pt idx="1060">
                  <c:v>182.04262437809822</c:v>
                </c:pt>
                <c:pt idx="1061">
                  <c:v>181.87583068639762</c:v>
                </c:pt>
                <c:pt idx="1062">
                  <c:v>182.14467746790245</c:v>
                </c:pt>
                <c:pt idx="1063">
                  <c:v>183.94342244226308</c:v>
                </c:pt>
                <c:pt idx="1064">
                  <c:v>180.38897166522102</c:v>
                </c:pt>
                <c:pt idx="1065">
                  <c:v>180.35886819738656</c:v>
                </c:pt>
                <c:pt idx="1066">
                  <c:v>179.0378373600341</c:v>
                </c:pt>
                <c:pt idx="1067">
                  <c:v>177.64683480639155</c:v>
                </c:pt>
                <c:pt idx="1068">
                  <c:v>177.78511187471031</c:v>
                </c:pt>
                <c:pt idx="1069">
                  <c:v>175.87142192048969</c:v>
                </c:pt>
                <c:pt idx="1070">
                  <c:v>174.66255733011303</c:v>
                </c:pt>
                <c:pt idx="1071">
                  <c:v>176.36736424595665</c:v>
                </c:pt>
                <c:pt idx="1072">
                  <c:v>176.65716701717545</c:v>
                </c:pt>
                <c:pt idx="1073">
                  <c:v>175.23928262050481</c:v>
                </c:pt>
                <c:pt idx="1074">
                  <c:v>175.65420851180744</c:v>
                </c:pt>
                <c:pt idx="1075">
                  <c:v>175.18613421219607</c:v>
                </c:pt>
                <c:pt idx="1076">
                  <c:v>175.02965664099418</c:v>
                </c:pt>
                <c:pt idx="1077">
                  <c:v>176.58631451284529</c:v>
                </c:pt>
                <c:pt idx="1078">
                  <c:v>176.40872718170726</c:v>
                </c:pt>
                <c:pt idx="1079">
                  <c:v>176.21095960102556</c:v>
                </c:pt>
                <c:pt idx="1080">
                  <c:v>171.8093525425414</c:v>
                </c:pt>
                <c:pt idx="1081">
                  <c:v>170.32287812926032</c:v>
                </c:pt>
                <c:pt idx="1082">
                  <c:v>167.78676705698737</c:v>
                </c:pt>
                <c:pt idx="1083">
                  <c:v>170.01697577129192</c:v>
                </c:pt>
                <c:pt idx="1084">
                  <c:v>172.52388230508785</c:v>
                </c:pt>
                <c:pt idx="1085">
                  <c:v>173.98573311252574</c:v>
                </c:pt>
                <c:pt idx="1086">
                  <c:v>173.31881657641517</c:v>
                </c:pt>
                <c:pt idx="1087">
                  <c:v>174.92111453251064</c:v>
                </c:pt>
                <c:pt idx="1088">
                  <c:v>174.65803805417463</c:v>
                </c:pt>
                <c:pt idx="1089">
                  <c:v>174.41843954175286</c:v>
                </c:pt>
                <c:pt idx="1090">
                  <c:v>177.5326895580728</c:v>
                </c:pt>
                <c:pt idx="1091">
                  <c:v>175.99398447321977</c:v>
                </c:pt>
                <c:pt idx="1092">
                  <c:v>177.68245113705029</c:v>
                </c:pt>
                <c:pt idx="1093">
                  <c:v>178.69026279204735</c:v>
                </c:pt>
                <c:pt idx="1094">
                  <c:v>179.13533601472821</c:v>
                </c:pt>
                <c:pt idx="1095">
                  <c:v>179.74593825520478</c:v>
                </c:pt>
                <c:pt idx="1096">
                  <c:v>179.50884549026958</c:v>
                </c:pt>
                <c:pt idx="1097">
                  <c:v>179.92007891975177</c:v>
                </c:pt>
                <c:pt idx="1098">
                  <c:v>178.59759770530664</c:v>
                </c:pt>
                <c:pt idx="1099">
                  <c:v>179.445728271234</c:v>
                </c:pt>
                <c:pt idx="1100">
                  <c:v>180.46495765451246</c:v>
                </c:pt>
                <c:pt idx="1101">
                  <c:v>180.30423890414184</c:v>
                </c:pt>
                <c:pt idx="1102">
                  <c:v>180.15632754797574</c:v>
                </c:pt>
                <c:pt idx="1103">
                  <c:v>179.59974261705858</c:v>
                </c:pt>
                <c:pt idx="1104">
                  <c:v>180.42277164023443</c:v>
                </c:pt>
                <c:pt idx="1105">
                  <c:v>179.87784885445765</c:v>
                </c:pt>
                <c:pt idx="1106">
                  <c:v>179.43423796302764</c:v>
                </c:pt>
                <c:pt idx="1107">
                  <c:v>180.01008429123436</c:v>
                </c:pt>
                <c:pt idx="1108">
                  <c:v>180.23672023924397</c:v>
                </c:pt>
                <c:pt idx="1109">
                  <c:v>180.17779891563811</c:v>
                </c:pt>
                <c:pt idx="1110">
                  <c:v>181.34700539066344</c:v>
                </c:pt>
                <c:pt idx="1111">
                  <c:v>181.76261848793058</c:v>
                </c:pt>
                <c:pt idx="1112">
                  <c:v>182.23572799573395</c:v>
                </c:pt>
                <c:pt idx="1113">
                  <c:v>181.93915881379291</c:v>
                </c:pt>
                <c:pt idx="1114">
                  <c:v>181.63828414563653</c:v>
                </c:pt>
                <c:pt idx="1115">
                  <c:v>181.52529494090794</c:v>
                </c:pt>
                <c:pt idx="1116">
                  <c:v>182.03120793518553</c:v>
                </c:pt>
                <c:pt idx="1117">
                  <c:v>181.74319406832461</c:v>
                </c:pt>
                <c:pt idx="1118">
                  <c:v>182.78424092068838</c:v>
                </c:pt>
                <c:pt idx="1119">
                  <c:v>182.78698591411916</c:v>
                </c:pt>
                <c:pt idx="1120">
                  <c:v>182.78698591411916</c:v>
                </c:pt>
                <c:pt idx="1121">
                  <c:v>181.19666950937696</c:v>
                </c:pt>
                <c:pt idx="1122">
                  <c:v>181.47662995953814</c:v>
                </c:pt>
                <c:pt idx="1123">
                  <c:v>180.73815553696454</c:v>
                </c:pt>
                <c:pt idx="1124">
                  <c:v>180.01823972781693</c:v>
                </c:pt>
                <c:pt idx="1125">
                  <c:v>180.65379328877287</c:v>
                </c:pt>
                <c:pt idx="1126">
                  <c:v>180.86668563070077</c:v>
                </c:pt>
                <c:pt idx="1127">
                  <c:v>181.24542070954627</c:v>
                </c:pt>
                <c:pt idx="1128">
                  <c:v>178.90436181270255</c:v>
                </c:pt>
                <c:pt idx="1129">
                  <c:v>177.84609382404096</c:v>
                </c:pt>
                <c:pt idx="1130">
                  <c:v>179.07753339250104</c:v>
                </c:pt>
                <c:pt idx="1131">
                  <c:v>177.71441871383286</c:v>
                </c:pt>
                <c:pt idx="1132">
                  <c:v>180.50500255664008</c:v>
                </c:pt>
                <c:pt idx="1133">
                  <c:v>179.72915958223854</c:v>
                </c:pt>
                <c:pt idx="1134">
                  <c:v>179.98569447863758</c:v>
                </c:pt>
                <c:pt idx="1135">
                  <c:v>180.70322311217328</c:v>
                </c:pt>
                <c:pt idx="1136">
                  <c:v>181.31031346960827</c:v>
                </c:pt>
                <c:pt idx="1137">
                  <c:v>180.88186552580618</c:v>
                </c:pt>
                <c:pt idx="1138">
                  <c:v>182.46206360213208</c:v>
                </c:pt>
                <c:pt idx="1139">
                  <c:v>182.91202694236674</c:v>
                </c:pt>
                <c:pt idx="1140">
                  <c:v>182.92645959315584</c:v>
                </c:pt>
                <c:pt idx="1141">
                  <c:v>183.58793097602737</c:v>
                </c:pt>
                <c:pt idx="1142">
                  <c:v>184.61295030956813</c:v>
                </c:pt>
                <c:pt idx="1143">
                  <c:v>184.1620693772752</c:v>
                </c:pt>
                <c:pt idx="1144">
                  <c:v>184.51021920688774</c:v>
                </c:pt>
                <c:pt idx="1145">
                  <c:v>185.1908936962142</c:v>
                </c:pt>
                <c:pt idx="1146">
                  <c:v>185.3786072739851</c:v>
                </c:pt>
                <c:pt idx="1147">
                  <c:v>184.64319795618687</c:v>
                </c:pt>
                <c:pt idx="1148">
                  <c:v>184.53972052735008</c:v>
                </c:pt>
                <c:pt idx="1149">
                  <c:v>184.2385909635087</c:v>
                </c:pt>
                <c:pt idx="1150">
                  <c:v>184.41255349039972</c:v>
                </c:pt>
                <c:pt idx="1151">
                  <c:v>184.28143519420487</c:v>
                </c:pt>
                <c:pt idx="1152">
                  <c:v>183.90491156494926</c:v>
                </c:pt>
                <c:pt idx="1153">
                  <c:v>184.28283794575438</c:v>
                </c:pt>
                <c:pt idx="1154">
                  <c:v>182.46610603834952</c:v>
                </c:pt>
                <c:pt idx="1155">
                  <c:v>181.89385897604794</c:v>
                </c:pt>
                <c:pt idx="1156">
                  <c:v>181.5787948211017</c:v>
                </c:pt>
                <c:pt idx="1157">
                  <c:v>181.06400074583519</c:v>
                </c:pt>
                <c:pt idx="1158">
                  <c:v>180.07815989006912</c:v>
                </c:pt>
                <c:pt idx="1159">
                  <c:v>178.90947305637303</c:v>
                </c:pt>
                <c:pt idx="1160">
                  <c:v>180.81273615235122</c:v>
                </c:pt>
                <c:pt idx="1161">
                  <c:v>181.7487509230252</c:v>
                </c:pt>
                <c:pt idx="1162">
                  <c:v>181.80262939097557</c:v>
                </c:pt>
                <c:pt idx="1163">
                  <c:v>182.67602197455628</c:v>
                </c:pt>
                <c:pt idx="1164">
                  <c:v>182.90945819303727</c:v>
                </c:pt>
                <c:pt idx="1165">
                  <c:v>184.43993758477197</c:v>
                </c:pt>
                <c:pt idx="1166">
                  <c:v>186.13844760177275</c:v>
                </c:pt>
                <c:pt idx="1167">
                  <c:v>186.84438457810703</c:v>
                </c:pt>
                <c:pt idx="1168">
                  <c:v>187.44794597927537</c:v>
                </c:pt>
                <c:pt idx="1169">
                  <c:v>187.3380801853767</c:v>
                </c:pt>
                <c:pt idx="1170">
                  <c:v>187.75241354643012</c:v>
                </c:pt>
                <c:pt idx="1171">
                  <c:v>187.98387255736918</c:v>
                </c:pt>
                <c:pt idx="1172">
                  <c:v>188.4635048607872</c:v>
                </c:pt>
                <c:pt idx="1173">
                  <c:v>188.89598084459476</c:v>
                </c:pt>
                <c:pt idx="1174">
                  <c:v>189.10196550241642</c:v>
                </c:pt>
                <c:pt idx="1175">
                  <c:v>189.79081659021088</c:v>
                </c:pt>
                <c:pt idx="1176">
                  <c:v>189.79081659021088</c:v>
                </c:pt>
                <c:pt idx="1177">
                  <c:v>190.06826962310609</c:v>
                </c:pt>
                <c:pt idx="1178">
                  <c:v>190.23176628623472</c:v>
                </c:pt>
                <c:pt idx="1179">
                  <c:v>190.52503084138911</c:v>
                </c:pt>
                <c:pt idx="1180">
                  <c:v>190.71917303215872</c:v>
                </c:pt>
                <c:pt idx="1181">
                  <c:v>190.40297810087102</c:v>
                </c:pt>
                <c:pt idx="1182">
                  <c:v>190.40636500446536</c:v>
                </c:pt>
                <c:pt idx="1183">
                  <c:v>189.66251753555525</c:v>
                </c:pt>
                <c:pt idx="1184">
                  <c:v>188.89842751330627</c:v>
                </c:pt>
                <c:pt idx="1185">
                  <c:v>190.40762423148544</c:v>
                </c:pt>
                <c:pt idx="1186">
                  <c:v>190.91543871448548</c:v>
                </c:pt>
                <c:pt idx="1187">
                  <c:v>191.49597324819533</c:v>
                </c:pt>
                <c:pt idx="1188">
                  <c:v>190.52927604009741</c:v>
                </c:pt>
                <c:pt idx="1189">
                  <c:v>190.69921324634797</c:v>
                </c:pt>
                <c:pt idx="1190">
                  <c:v>190.08823463016344</c:v>
                </c:pt>
                <c:pt idx="1191">
                  <c:v>189.89429873222895</c:v>
                </c:pt>
                <c:pt idx="1192">
                  <c:v>190.69670337786815</c:v>
                </c:pt>
                <c:pt idx="1193">
                  <c:v>189.13346468553786</c:v>
                </c:pt>
                <c:pt idx="1194">
                  <c:v>189.96209780369381</c:v>
                </c:pt>
                <c:pt idx="1195">
                  <c:v>190.23211467955397</c:v>
                </c:pt>
                <c:pt idx="1196">
                  <c:v>189.96364646209079</c:v>
                </c:pt>
                <c:pt idx="1197">
                  <c:v>189.2294761049412</c:v>
                </c:pt>
                <c:pt idx="1198">
                  <c:v>187.38690950161154</c:v>
                </c:pt>
                <c:pt idx="1199">
                  <c:v>186.48829270428834</c:v>
                </c:pt>
                <c:pt idx="1200">
                  <c:v>185.87913147346976</c:v>
                </c:pt>
                <c:pt idx="1201">
                  <c:v>186.3896267650326</c:v>
                </c:pt>
                <c:pt idx="1202">
                  <c:v>186.48110298795061</c:v>
                </c:pt>
                <c:pt idx="1203">
                  <c:v>185.30985982867762</c:v>
                </c:pt>
                <c:pt idx="1204">
                  <c:v>184.80945371510524</c:v>
                </c:pt>
                <c:pt idx="1205">
                  <c:v>183.44544724953172</c:v>
                </c:pt>
                <c:pt idx="1206">
                  <c:v>183.1277883540447</c:v>
                </c:pt>
                <c:pt idx="1207">
                  <c:v>184.75950291547602</c:v>
                </c:pt>
                <c:pt idx="1208">
                  <c:v>184.02452429792859</c:v>
                </c:pt>
                <c:pt idx="1209">
                  <c:v>185.31228077524693</c:v>
                </c:pt>
                <c:pt idx="1210">
                  <c:v>188.67295758044958</c:v>
                </c:pt>
                <c:pt idx="1211">
                  <c:v>189.41895433755482</c:v>
                </c:pt>
                <c:pt idx="1212">
                  <c:v>190.5966805009551</c:v>
                </c:pt>
                <c:pt idx="1213">
                  <c:v>190.5966805009551</c:v>
                </c:pt>
                <c:pt idx="1214">
                  <c:v>190.5966805009551</c:v>
                </c:pt>
                <c:pt idx="1215">
                  <c:v>190.5966805009551</c:v>
                </c:pt>
                <c:pt idx="1216">
                  <c:v>193.10742283880953</c:v>
                </c:pt>
                <c:pt idx="1217">
                  <c:v>192.84532841304082</c:v>
                </c:pt>
                <c:pt idx="1218">
                  <c:v>193.77049385106807</c:v>
                </c:pt>
                <c:pt idx="1219">
                  <c:v>193.77049385106807</c:v>
                </c:pt>
                <c:pt idx="1220">
                  <c:v>192.4569094226425</c:v>
                </c:pt>
                <c:pt idx="1221">
                  <c:v>193.97856420398099</c:v>
                </c:pt>
                <c:pt idx="1222">
                  <c:v>193.28773007099903</c:v>
                </c:pt>
                <c:pt idx="1223">
                  <c:v>193.51542756511694</c:v>
                </c:pt>
                <c:pt idx="1224">
                  <c:v>193.55992951343842</c:v>
                </c:pt>
                <c:pt idx="1225">
                  <c:v>193.00156141329626</c:v>
                </c:pt>
                <c:pt idx="1226">
                  <c:v>193.81298760885593</c:v>
                </c:pt>
                <c:pt idx="1227">
                  <c:v>193.57050506201608</c:v>
                </c:pt>
                <c:pt idx="1228">
                  <c:v>194.2062370013472</c:v>
                </c:pt>
                <c:pt idx="1229">
                  <c:v>195.09340281785984</c:v>
                </c:pt>
                <c:pt idx="1230">
                  <c:v>194.33683667161444</c:v>
                </c:pt>
                <c:pt idx="1231">
                  <c:v>195.13668542091929</c:v>
                </c:pt>
                <c:pt idx="1232">
                  <c:v>195.55585917573336</c:v>
                </c:pt>
                <c:pt idx="1233">
                  <c:v>196.8490898842098</c:v>
                </c:pt>
                <c:pt idx="1234">
                  <c:v>197.73750670385496</c:v>
                </c:pt>
                <c:pt idx="1235">
                  <c:v>196.05819024367298</c:v>
                </c:pt>
                <c:pt idx="1236">
                  <c:v>192.14341085681471</c:v>
                </c:pt>
                <c:pt idx="1237">
                  <c:v>190.3023705256137</c:v>
                </c:pt>
                <c:pt idx="1238">
                  <c:v>190.70912403497425</c:v>
                </c:pt>
                <c:pt idx="1239">
                  <c:v>189.74227022105057</c:v>
                </c:pt>
                <c:pt idx="1240">
                  <c:v>189.981725471218</c:v>
                </c:pt>
                <c:pt idx="1241">
                  <c:v>189.63503056872599</c:v>
                </c:pt>
                <c:pt idx="1242">
                  <c:v>188.36801979724675</c:v>
                </c:pt>
                <c:pt idx="1243">
                  <c:v>187.25931097793995</c:v>
                </c:pt>
                <c:pt idx="1244">
                  <c:v>187.3452745096771</c:v>
                </c:pt>
                <c:pt idx="1245">
                  <c:v>189.2420088251026</c:v>
                </c:pt>
                <c:pt idx="1246">
                  <c:v>190.59099812058511</c:v>
                </c:pt>
                <c:pt idx="1247">
                  <c:v>190.64980497236567</c:v>
                </c:pt>
                <c:pt idx="1248">
                  <c:v>192.73736367121006</c:v>
                </c:pt>
                <c:pt idx="1249">
                  <c:v>193.9256060965337</c:v>
                </c:pt>
                <c:pt idx="1250">
                  <c:v>194.12042760846606</c:v>
                </c:pt>
                <c:pt idx="1251">
                  <c:v>195.28947576947232</c:v>
                </c:pt>
                <c:pt idx="1252">
                  <c:v>195.98710100821219</c:v>
                </c:pt>
                <c:pt idx="1253">
                  <c:v>196.21505236110158</c:v>
                </c:pt>
                <c:pt idx="1254">
                  <c:v>196.65614561643969</c:v>
                </c:pt>
                <c:pt idx="1255">
                  <c:v>197.02386021536918</c:v>
                </c:pt>
                <c:pt idx="1256">
                  <c:v>197.52579059598389</c:v>
                </c:pt>
                <c:pt idx="1257">
                  <c:v>199.04249479300222</c:v>
                </c:pt>
                <c:pt idx="1258">
                  <c:v>199.42620859236209</c:v>
                </c:pt>
                <c:pt idx="1259">
                  <c:v>199.02164764896736</c:v>
                </c:pt>
                <c:pt idx="1260">
                  <c:v>198.42014141118904</c:v>
                </c:pt>
                <c:pt idx="1261">
                  <c:v>198.31455403186692</c:v>
                </c:pt>
                <c:pt idx="1262">
                  <c:v>194.74284973190603</c:v>
                </c:pt>
                <c:pt idx="1263">
                  <c:v>198.55928690140209</c:v>
                </c:pt>
                <c:pt idx="1264">
                  <c:v>198.37253236609723</c:v>
                </c:pt>
                <c:pt idx="1265">
                  <c:v>197.85944336474412</c:v>
                </c:pt>
                <c:pt idx="1266">
                  <c:v>196.14239259356881</c:v>
                </c:pt>
                <c:pt idx="1267">
                  <c:v>195.360078901956</c:v>
                </c:pt>
                <c:pt idx="1268">
                  <c:v>195.57639249921766</c:v>
                </c:pt>
                <c:pt idx="1269">
                  <c:v>193.58382565910532</c:v>
                </c:pt>
                <c:pt idx="1270">
                  <c:v>192.17774092280254</c:v>
                </c:pt>
                <c:pt idx="1271">
                  <c:v>191.35830000851706</c:v>
                </c:pt>
                <c:pt idx="1272">
                  <c:v>192.66953616209304</c:v>
                </c:pt>
                <c:pt idx="1273">
                  <c:v>193.49278626563571</c:v>
                </c:pt>
                <c:pt idx="1274">
                  <c:v>193.74310832710856</c:v>
                </c:pt>
                <c:pt idx="1275">
                  <c:v>193.83363158969621</c:v>
                </c:pt>
                <c:pt idx="1276">
                  <c:v>194.26656246006894</c:v>
                </c:pt>
                <c:pt idx="1277">
                  <c:v>192.46805652751726</c:v>
                </c:pt>
                <c:pt idx="1278">
                  <c:v>194.5740360571281</c:v>
                </c:pt>
                <c:pt idx="1279">
                  <c:v>195.90331881994334</c:v>
                </c:pt>
                <c:pt idx="1280">
                  <c:v>195.95648240801447</c:v>
                </c:pt>
                <c:pt idx="1281">
                  <c:v>197.53337071076186</c:v>
                </c:pt>
                <c:pt idx="1282">
                  <c:v>197.14015054058115</c:v>
                </c:pt>
                <c:pt idx="1283">
                  <c:v>197.258438191876</c:v>
                </c:pt>
                <c:pt idx="1284">
                  <c:v>197.11528049320574</c:v>
                </c:pt>
                <c:pt idx="1285">
                  <c:v>197.0606967297592</c:v>
                </c:pt>
                <c:pt idx="1286">
                  <c:v>198.25791791403202</c:v>
                </c:pt>
                <c:pt idx="1287">
                  <c:v>196.29481468499276</c:v>
                </c:pt>
                <c:pt idx="1288">
                  <c:v>195.31486215411701</c:v>
                </c:pt>
                <c:pt idx="1289">
                  <c:v>196.17063630307069</c:v>
                </c:pt>
                <c:pt idx="1290">
                  <c:v>195.5033750107867</c:v>
                </c:pt>
                <c:pt idx="1291">
                  <c:v>192.96289258674409</c:v>
                </c:pt>
                <c:pt idx="1292">
                  <c:v>194.36472129253067</c:v>
                </c:pt>
                <c:pt idx="1293">
                  <c:v>193.3130743543401</c:v>
                </c:pt>
                <c:pt idx="1294">
                  <c:v>195.48299536347497</c:v>
                </c:pt>
                <c:pt idx="1295">
                  <c:v>196.28020480858166</c:v>
                </c:pt>
                <c:pt idx="1296">
                  <c:v>196.28020480858166</c:v>
                </c:pt>
                <c:pt idx="1297">
                  <c:v>196.28020480858166</c:v>
                </c:pt>
                <c:pt idx="1298">
                  <c:v>198.80125758184175</c:v>
                </c:pt>
                <c:pt idx="1299">
                  <c:v>197.97688115951482</c:v>
                </c:pt>
                <c:pt idx="1300">
                  <c:v>198.36636881222171</c:v>
                </c:pt>
                <c:pt idx="1301">
                  <c:v>197.56442936987725</c:v>
                </c:pt>
                <c:pt idx="1302">
                  <c:v>197.67607774999283</c:v>
                </c:pt>
                <c:pt idx="1303">
                  <c:v>199.53498238322504</c:v>
                </c:pt>
                <c:pt idx="1304">
                  <c:v>199.66407446835731</c:v>
                </c:pt>
                <c:pt idx="1305">
                  <c:v>199.66407446835731</c:v>
                </c:pt>
                <c:pt idx="1306">
                  <c:v>199.45134801945224</c:v>
                </c:pt>
                <c:pt idx="1307">
                  <c:v>199.3538115665192</c:v>
                </c:pt>
                <c:pt idx="1308">
                  <c:v>198.91155222903342</c:v>
                </c:pt>
                <c:pt idx="1309">
                  <c:v>199.20619440874009</c:v>
                </c:pt>
                <c:pt idx="1310">
                  <c:v>200.49195998936412</c:v>
                </c:pt>
                <c:pt idx="1311">
                  <c:v>200.61361950174046</c:v>
                </c:pt>
                <c:pt idx="1312">
                  <c:v>201.69212164982687</c:v>
                </c:pt>
                <c:pt idx="1313">
                  <c:v>202.26883803946637</c:v>
                </c:pt>
                <c:pt idx="1314">
                  <c:v>202.34995728067088</c:v>
                </c:pt>
                <c:pt idx="1315">
                  <c:v>201.27211318247919</c:v>
                </c:pt>
                <c:pt idx="1316">
                  <c:v>201.804952045145</c:v>
                </c:pt>
                <c:pt idx="1317">
                  <c:v>202.3912172893227</c:v>
                </c:pt>
                <c:pt idx="1318">
                  <c:v>202.17750223774812</c:v>
                </c:pt>
                <c:pt idx="1319">
                  <c:v>203.15814513662187</c:v>
                </c:pt>
                <c:pt idx="1320">
                  <c:v>203.37818417941298</c:v>
                </c:pt>
                <c:pt idx="1321">
                  <c:v>203.53119471744878</c:v>
                </c:pt>
                <c:pt idx="1322">
                  <c:v>204.37093420697531</c:v>
                </c:pt>
                <c:pt idx="1323">
                  <c:v>204.83145689201768</c:v>
                </c:pt>
                <c:pt idx="1324">
                  <c:v>204.76635429770536</c:v>
                </c:pt>
                <c:pt idx="1325">
                  <c:v>204.76635429770536</c:v>
                </c:pt>
                <c:pt idx="1326">
                  <c:v>205.12110850721049</c:v>
                </c:pt>
                <c:pt idx="1327">
                  <c:v>205.75582948287371</c:v>
                </c:pt>
                <c:pt idx="1328">
                  <c:v>204.8079155687366</c:v>
                </c:pt>
                <c:pt idx="1329">
                  <c:v>204.98317421706071</c:v>
                </c:pt>
                <c:pt idx="1330">
                  <c:v>205.47799059122119</c:v>
                </c:pt>
                <c:pt idx="1331">
                  <c:v>206.17268451974158</c:v>
                </c:pt>
                <c:pt idx="1332">
                  <c:v>206.17268451974158</c:v>
                </c:pt>
                <c:pt idx="1333">
                  <c:v>207.6403757433045</c:v>
                </c:pt>
                <c:pt idx="1334">
                  <c:v>206.96062514809327</c:v>
                </c:pt>
                <c:pt idx="1335">
                  <c:v>207.18512651776672</c:v>
                </c:pt>
                <c:pt idx="1336">
                  <c:v>207.13385797152753</c:v>
                </c:pt>
                <c:pt idx="1337">
                  <c:v>206.42951527447511</c:v>
                </c:pt>
                <c:pt idx="1338">
                  <c:v>207.33605187713457</c:v>
                </c:pt>
                <c:pt idx="1339">
                  <c:v>207.03569788019101</c:v>
                </c:pt>
                <c:pt idx="1340">
                  <c:v>208.34317808452124</c:v>
                </c:pt>
                <c:pt idx="1341">
                  <c:v>209.46255691774866</c:v>
                </c:pt>
                <c:pt idx="1342">
                  <c:v>209.46255691774866</c:v>
                </c:pt>
                <c:pt idx="1343">
                  <c:v>208.00243319913082</c:v>
                </c:pt>
                <c:pt idx="1344">
                  <c:v>206.11110398911489</c:v>
                </c:pt>
                <c:pt idx="1345">
                  <c:v>206.48407242190638</c:v>
                </c:pt>
                <c:pt idx="1346">
                  <c:v>206.59432019726731</c:v>
                </c:pt>
                <c:pt idx="1347">
                  <c:v>206.8467252331555</c:v>
                </c:pt>
                <c:pt idx="1348">
                  <c:v>208.08385526872053</c:v>
                </c:pt>
                <c:pt idx="1349">
                  <c:v>208.42397351028654</c:v>
                </c:pt>
                <c:pt idx="1350">
                  <c:v>210.44734361889687</c:v>
                </c:pt>
                <c:pt idx="1351">
                  <c:v>210.47097399834794</c:v>
                </c:pt>
                <c:pt idx="1352">
                  <c:v>208.895930512815</c:v>
                </c:pt>
                <c:pt idx="1353">
                  <c:v>206.78692078867041</c:v>
                </c:pt>
                <c:pt idx="1354">
                  <c:v>206.50673521068393</c:v>
                </c:pt>
                <c:pt idx="1355">
                  <c:v>204.74733259565755</c:v>
                </c:pt>
                <c:pt idx="1356">
                  <c:v>205.24681302378568</c:v>
                </c:pt>
                <c:pt idx="1357">
                  <c:v>206.61273056181562</c:v>
                </c:pt>
                <c:pt idx="1358">
                  <c:v>205.43290654739067</c:v>
                </c:pt>
                <c:pt idx="1359">
                  <c:v>207.25994438433622</c:v>
                </c:pt>
                <c:pt idx="1360">
                  <c:v>205.88432571708387</c:v>
                </c:pt>
                <c:pt idx="1361">
                  <c:v>205.60135891301644</c:v>
                </c:pt>
                <c:pt idx="1362">
                  <c:v>204.6930465159904</c:v>
                </c:pt>
                <c:pt idx="1363">
                  <c:v>206.77825289062764</c:v>
                </c:pt>
                <c:pt idx="1364">
                  <c:v>207.1613097191352</c:v>
                </c:pt>
                <c:pt idx="1365">
                  <c:v>207.90495195886663</c:v>
                </c:pt>
                <c:pt idx="1366">
                  <c:v>205.98549078107524</c:v>
                </c:pt>
                <c:pt idx="1367">
                  <c:v>205.96091004082712</c:v>
                </c:pt>
                <c:pt idx="1368">
                  <c:v>206.59117969965638</c:v>
                </c:pt>
                <c:pt idx="1369">
                  <c:v>205.43873164534682</c:v>
                </c:pt>
                <c:pt idx="1370">
                  <c:v>203.67944358019648</c:v>
                </c:pt>
                <c:pt idx="1371">
                  <c:v>201.38935027654813</c:v>
                </c:pt>
                <c:pt idx="1372">
                  <c:v>200.70844751458884</c:v>
                </c:pt>
                <c:pt idx="1373">
                  <c:v>201.83848750116448</c:v>
                </c:pt>
                <c:pt idx="1374">
                  <c:v>200.52309514946543</c:v>
                </c:pt>
                <c:pt idx="1375">
                  <c:v>199.59293923581097</c:v>
                </c:pt>
                <c:pt idx="1376">
                  <c:v>197.94779930931972</c:v>
                </c:pt>
                <c:pt idx="1377">
                  <c:v>200.50433994637294</c:v>
                </c:pt>
                <c:pt idx="1378">
                  <c:v>199.96690310842712</c:v>
                </c:pt>
                <c:pt idx="1379">
                  <c:v>200.80811232975182</c:v>
                </c:pt>
                <c:pt idx="1380">
                  <c:v>201.70493718544327</c:v>
                </c:pt>
                <c:pt idx="1381">
                  <c:v>201.70493718544327</c:v>
                </c:pt>
                <c:pt idx="1382">
                  <c:v>203.17976419485976</c:v>
                </c:pt>
                <c:pt idx="1383">
                  <c:v>204.58317050047782</c:v>
                </c:pt>
                <c:pt idx="1384">
                  <c:v>204.1474360999365</c:v>
                </c:pt>
                <c:pt idx="1385">
                  <c:v>205.26508070407874</c:v>
                </c:pt>
                <c:pt idx="1386">
                  <c:v>204.78330642845722</c:v>
                </c:pt>
                <c:pt idx="1387">
                  <c:v>207.05412360792309</c:v>
                </c:pt>
                <c:pt idx="1388">
                  <c:v>208.20834956912822</c:v>
                </c:pt>
                <c:pt idx="1389">
                  <c:v>208.16343327144136</c:v>
                </c:pt>
                <c:pt idx="1390">
                  <c:v>207.17199285224112</c:v>
                </c:pt>
                <c:pt idx="1391">
                  <c:v>207.62816444906625</c:v>
                </c:pt>
                <c:pt idx="1392">
                  <c:v>208.43640237761124</c:v>
                </c:pt>
                <c:pt idx="1393">
                  <c:v>208.31973642903881</c:v>
                </c:pt>
                <c:pt idx="1394">
                  <c:v>209.27287341985053</c:v>
                </c:pt>
                <c:pt idx="1395">
                  <c:v>210.86536964113907</c:v>
                </c:pt>
                <c:pt idx="1396">
                  <c:v>210.29146217599916</c:v>
                </c:pt>
                <c:pt idx="1397">
                  <c:v>209.66306549891343</c:v>
                </c:pt>
                <c:pt idx="1398">
                  <c:v>209.28722174759278</c:v>
                </c:pt>
                <c:pt idx="1399">
                  <c:v>209.15662975641897</c:v>
                </c:pt>
                <c:pt idx="1400">
                  <c:v>208.9199973231608</c:v>
                </c:pt>
                <c:pt idx="1401">
                  <c:v>208.87936286118207</c:v>
                </c:pt>
                <c:pt idx="1402">
                  <c:v>209.07665172886607</c:v>
                </c:pt>
                <c:pt idx="1403">
                  <c:v>208.51542675449116</c:v>
                </c:pt>
                <c:pt idx="1404">
                  <c:v>209.0371565151525</c:v>
                </c:pt>
                <c:pt idx="1405">
                  <c:v>211.20001351177442</c:v>
                </c:pt>
                <c:pt idx="1406">
                  <c:v>211.3479582208833</c:v>
                </c:pt>
                <c:pt idx="1407">
                  <c:v>211.13618902669126</c:v>
                </c:pt>
                <c:pt idx="1408">
                  <c:v>208.24906385227374</c:v>
                </c:pt>
                <c:pt idx="1409">
                  <c:v>209.19083505701082</c:v>
                </c:pt>
                <c:pt idx="1410">
                  <c:v>207.23243103438298</c:v>
                </c:pt>
                <c:pt idx="1411">
                  <c:v>207.65301975965983</c:v>
                </c:pt>
                <c:pt idx="1412">
                  <c:v>207.55455761217848</c:v>
                </c:pt>
                <c:pt idx="1413">
                  <c:v>208.61219435170298</c:v>
                </c:pt>
                <c:pt idx="1414">
                  <c:v>207.32963578480513</c:v>
                </c:pt>
                <c:pt idx="1415">
                  <c:v>203.05633011293475</c:v>
                </c:pt>
                <c:pt idx="1416">
                  <c:v>204.34323018334285</c:v>
                </c:pt>
                <c:pt idx="1417">
                  <c:v>204.5810419304436</c:v>
                </c:pt>
                <c:pt idx="1418">
                  <c:v>201.61465535603554</c:v>
                </c:pt>
                <c:pt idx="1419">
                  <c:v>200.34248014326619</c:v>
                </c:pt>
                <c:pt idx="1420">
                  <c:v>199.8483086323744</c:v>
                </c:pt>
                <c:pt idx="1421">
                  <c:v>197.29103631770099</c:v>
                </c:pt>
                <c:pt idx="1422">
                  <c:v>196.68064919528811</c:v>
                </c:pt>
                <c:pt idx="1423">
                  <c:v>196.55505501102806</c:v>
                </c:pt>
                <c:pt idx="1424">
                  <c:v>191.65975453129687</c:v>
                </c:pt>
                <c:pt idx="1425">
                  <c:v>191.09458552000845</c:v>
                </c:pt>
                <c:pt idx="1426">
                  <c:v>196.1439368926213</c:v>
                </c:pt>
                <c:pt idx="1427">
                  <c:v>194.65438282733541</c:v>
                </c:pt>
                <c:pt idx="1428">
                  <c:v>198.02766535068309</c:v>
                </c:pt>
                <c:pt idx="1429">
                  <c:v>199.20027093189202</c:v>
                </c:pt>
                <c:pt idx="1430">
                  <c:v>200.33754883892772</c:v>
                </c:pt>
                <c:pt idx="1431">
                  <c:v>199.35758229610661</c:v>
                </c:pt>
                <c:pt idx="1432">
                  <c:v>198.85864010247377</c:v>
                </c:pt>
                <c:pt idx="1433">
                  <c:v>200.53638748614085</c:v>
                </c:pt>
                <c:pt idx="1434">
                  <c:v>201.60307422878597</c:v>
                </c:pt>
                <c:pt idx="1435">
                  <c:v>202.85648968776707</c:v>
                </c:pt>
                <c:pt idx="1436">
                  <c:v>206.02584206965719</c:v>
                </c:pt>
                <c:pt idx="1437">
                  <c:v>204.78521494044321</c:v>
                </c:pt>
                <c:pt idx="1438">
                  <c:v>203.37508398350462</c:v>
                </c:pt>
                <c:pt idx="1439">
                  <c:v>206.58022322073691</c:v>
                </c:pt>
                <c:pt idx="1440">
                  <c:v>207.48101450491922</c:v>
                </c:pt>
                <c:pt idx="1441">
                  <c:v>206.4033091446139</c:v>
                </c:pt>
                <c:pt idx="1442">
                  <c:v>208.11709898733278</c:v>
                </c:pt>
                <c:pt idx="1443">
                  <c:v>209.28076847007532</c:v>
                </c:pt>
                <c:pt idx="1444">
                  <c:v>206.97176974770542</c:v>
                </c:pt>
                <c:pt idx="1445">
                  <c:v>207.90272948638653</c:v>
                </c:pt>
                <c:pt idx="1446">
                  <c:v>207.67431952951236</c:v>
                </c:pt>
                <c:pt idx="1447">
                  <c:v>208.68588666146474</c:v>
                </c:pt>
                <c:pt idx="1448">
                  <c:v>209.92375035177645</c:v>
                </c:pt>
                <c:pt idx="1449">
                  <c:v>209.76829788153731</c:v>
                </c:pt>
                <c:pt idx="1450">
                  <c:v>209.70187038316291</c:v>
                </c:pt>
                <c:pt idx="1451">
                  <c:v>212.92967727622855</c:v>
                </c:pt>
                <c:pt idx="1452">
                  <c:v>213.63705692558815</c:v>
                </c:pt>
                <c:pt idx="1453">
                  <c:v>214.05881857493384</c:v>
                </c:pt>
                <c:pt idx="1454">
                  <c:v>214.30573064035841</c:v>
                </c:pt>
                <c:pt idx="1455">
                  <c:v>215.16507898272388</c:v>
                </c:pt>
                <c:pt idx="1456">
                  <c:v>215.48065006567879</c:v>
                </c:pt>
                <c:pt idx="1457">
                  <c:v>215.05417947958415</c:v>
                </c:pt>
                <c:pt idx="1458">
                  <c:v>215.75611332377892</c:v>
                </c:pt>
                <c:pt idx="1459">
                  <c:v>216.82786906270536</c:v>
                </c:pt>
                <c:pt idx="1460">
                  <c:v>215.19052392115631</c:v>
                </c:pt>
                <c:pt idx="1461">
                  <c:v>218.20734274704617</c:v>
                </c:pt>
                <c:pt idx="1462">
                  <c:v>217.11841520145438</c:v>
                </c:pt>
                <c:pt idx="1463">
                  <c:v>212.24385428179585</c:v>
                </c:pt>
                <c:pt idx="1464">
                  <c:v>211.99981647095302</c:v>
                </c:pt>
                <c:pt idx="1465">
                  <c:v>212.34755563229791</c:v>
                </c:pt>
                <c:pt idx="1466">
                  <c:v>207.1890454820778</c:v>
                </c:pt>
                <c:pt idx="1467">
                  <c:v>203.61548191357369</c:v>
                </c:pt>
                <c:pt idx="1468">
                  <c:v>207.12018736031138</c:v>
                </c:pt>
                <c:pt idx="1469">
                  <c:v>206.94925239074692</c:v>
                </c:pt>
                <c:pt idx="1470">
                  <c:v>212.882260660838</c:v>
                </c:pt>
                <c:pt idx="1471">
                  <c:v>213.91946554289487</c:v>
                </c:pt>
                <c:pt idx="1472">
                  <c:v>215.43304420737036</c:v>
                </c:pt>
                <c:pt idx="1473">
                  <c:v>216.45716069679969</c:v>
                </c:pt>
                <c:pt idx="1474">
                  <c:v>216.45716069679969</c:v>
                </c:pt>
                <c:pt idx="1475">
                  <c:v>216.45716069679969</c:v>
                </c:pt>
                <c:pt idx="1476">
                  <c:v>216.45716069679969</c:v>
                </c:pt>
                <c:pt idx="1477">
                  <c:v>216.93030369322938</c:v>
                </c:pt>
                <c:pt idx="1478">
                  <c:v>215.15504832139229</c:v>
                </c:pt>
                <c:pt idx="1479">
                  <c:v>216.13008419335978</c:v>
                </c:pt>
                <c:pt idx="1480">
                  <c:v>216.13008419335978</c:v>
                </c:pt>
                <c:pt idx="1481">
                  <c:v>214.95911202569715</c:v>
                </c:pt>
                <c:pt idx="1482">
                  <c:v>211.68478062168336</c:v>
                </c:pt>
                <c:pt idx="1483">
                  <c:v>210.15235165614854</c:v>
                </c:pt>
                <c:pt idx="1484">
                  <c:v>211.43558059813103</c:v>
                </c:pt>
                <c:pt idx="1485">
                  <c:v>217.11507173963525</c:v>
                </c:pt>
                <c:pt idx="1486">
                  <c:v>215.42394993645235</c:v>
                </c:pt>
                <c:pt idx="1487">
                  <c:v>217.07743967673898</c:v>
                </c:pt>
                <c:pt idx="1488">
                  <c:v>219.67799010560881</c:v>
                </c:pt>
                <c:pt idx="1489">
                  <c:v>217.42808311975952</c:v>
                </c:pt>
                <c:pt idx="1490">
                  <c:v>224.50233868017028</c:v>
                </c:pt>
                <c:pt idx="1491">
                  <c:v>227.88952619441653</c:v>
                </c:pt>
                <c:pt idx="1492">
                  <c:v>228.35309024563938</c:v>
                </c:pt>
                <c:pt idx="1493">
                  <c:v>229.4880558088816</c:v>
                </c:pt>
                <c:pt idx="1494">
                  <c:v>230.3576498353967</c:v>
                </c:pt>
                <c:pt idx="1495">
                  <c:v>233.96453024931824</c:v>
                </c:pt>
                <c:pt idx="1496">
                  <c:v>239.03268240823257</c:v>
                </c:pt>
                <c:pt idx="1497">
                  <c:v>240.16082139857809</c:v>
                </c:pt>
                <c:pt idx="1498">
                  <c:v>237.72423675765464</c:v>
                </c:pt>
                <c:pt idx="1499">
                  <c:v>238.41874130582053</c:v>
                </c:pt>
                <c:pt idx="1500">
                  <c:v>238.29240860213906</c:v>
                </c:pt>
                <c:pt idx="1501">
                  <c:v>236.9432150659876</c:v>
                </c:pt>
                <c:pt idx="1502">
                  <c:v>236.44373672957849</c:v>
                </c:pt>
                <c:pt idx="1503">
                  <c:v>237.17229149600237</c:v>
                </c:pt>
                <c:pt idx="1504">
                  <c:v>238.50054144141257</c:v>
                </c:pt>
                <c:pt idx="1505">
                  <c:v>239.97746280433344</c:v>
                </c:pt>
                <c:pt idx="1506">
                  <c:v>240.0322757389238</c:v>
                </c:pt>
                <c:pt idx="1507">
                  <c:v>237.95114712552117</c:v>
                </c:pt>
                <c:pt idx="1508">
                  <c:v>240.2194126812395</c:v>
                </c:pt>
                <c:pt idx="1509">
                  <c:v>240.28076365725863</c:v>
                </c:pt>
                <c:pt idx="1510">
                  <c:v>241.31711334231917</c:v>
                </c:pt>
                <c:pt idx="1511">
                  <c:v>241.51413742660105</c:v>
                </c:pt>
                <c:pt idx="1512">
                  <c:v>240.81848708985382</c:v>
                </c:pt>
                <c:pt idx="1513">
                  <c:v>241.03244122636016</c:v>
                </c:pt>
                <c:pt idx="1514">
                  <c:v>242.76563482473091</c:v>
                </c:pt>
                <c:pt idx="1515">
                  <c:v>244.3788715594149</c:v>
                </c:pt>
                <c:pt idx="1516">
                  <c:v>244.67945332477291</c:v>
                </c:pt>
                <c:pt idx="1517">
                  <c:v>247.18229924645607</c:v>
                </c:pt>
                <c:pt idx="1518">
                  <c:v>248.22033902012296</c:v>
                </c:pt>
                <c:pt idx="1519">
                  <c:v>247.83982659523707</c:v>
                </c:pt>
                <c:pt idx="1520">
                  <c:v>250.37765754532705</c:v>
                </c:pt>
                <c:pt idx="1521">
                  <c:v>251.67894018362321</c:v>
                </c:pt>
                <c:pt idx="1522">
                  <c:v>251.26096378275952</c:v>
                </c:pt>
                <c:pt idx="1523">
                  <c:v>249.45198160780606</c:v>
                </c:pt>
                <c:pt idx="1524">
                  <c:v>251.64580046670216</c:v>
                </c:pt>
                <c:pt idx="1525">
                  <c:v>253.96889200037634</c:v>
                </c:pt>
                <c:pt idx="1526">
                  <c:v>254.37680549231493</c:v>
                </c:pt>
                <c:pt idx="1527">
                  <c:v>253.73278983262196</c:v>
                </c:pt>
                <c:pt idx="1528">
                  <c:v>252.34616193050107</c:v>
                </c:pt>
                <c:pt idx="1529">
                  <c:v>256.59617456534937</c:v>
                </c:pt>
                <c:pt idx="1530">
                  <c:v>257.00769143513639</c:v>
                </c:pt>
                <c:pt idx="1531">
                  <c:v>258.42220790739447</c:v>
                </c:pt>
                <c:pt idx="1532">
                  <c:v>260.8966045340743</c:v>
                </c:pt>
                <c:pt idx="1533">
                  <c:v>258.83232925089095</c:v>
                </c:pt>
                <c:pt idx="1534">
                  <c:v>260.09674449642699</c:v>
                </c:pt>
                <c:pt idx="1535">
                  <c:v>261.23358515280972</c:v>
                </c:pt>
                <c:pt idx="1536">
                  <c:v>262.33541230884157</c:v>
                </c:pt>
                <c:pt idx="1537">
                  <c:v>260.63805521856926</c:v>
                </c:pt>
                <c:pt idx="1538">
                  <c:v>261.30784872488761</c:v>
                </c:pt>
                <c:pt idx="1539">
                  <c:v>257.77246825210727</c:v>
                </c:pt>
                <c:pt idx="1540">
                  <c:v>255.83204320421225</c:v>
                </c:pt>
                <c:pt idx="1541">
                  <c:v>256.83301053136887</c:v>
                </c:pt>
                <c:pt idx="1542">
                  <c:v>259.41768992480195</c:v>
                </c:pt>
                <c:pt idx="1543">
                  <c:v>258.04816096245634</c:v>
                </c:pt>
                <c:pt idx="1544">
                  <c:v>258.70196724984726</c:v>
                </c:pt>
                <c:pt idx="1545">
                  <c:v>258.39113361104722</c:v>
                </c:pt>
                <c:pt idx="1546">
                  <c:v>258.39113361104722</c:v>
                </c:pt>
                <c:pt idx="1547">
                  <c:v>258.39113361104722</c:v>
                </c:pt>
                <c:pt idx="1548">
                  <c:v>262.65644094629016</c:v>
                </c:pt>
                <c:pt idx="1549">
                  <c:v>262.98069232709747</c:v>
                </c:pt>
                <c:pt idx="1550">
                  <c:v>265.75897049146818</c:v>
                </c:pt>
                <c:pt idx="1551">
                  <c:v>268.68220666917296</c:v>
                </c:pt>
                <c:pt idx="1552">
                  <c:v>268.95008365590064</c:v>
                </c:pt>
                <c:pt idx="1553">
                  <c:v>267.99281254137225</c:v>
                </c:pt>
                <c:pt idx="1554">
                  <c:v>269.19312156284263</c:v>
                </c:pt>
                <c:pt idx="1555">
                  <c:v>267.76829773101366</c:v>
                </c:pt>
                <c:pt idx="1556">
                  <c:v>263.47950978896517</c:v>
                </c:pt>
                <c:pt idx="1557">
                  <c:v>265.58234346126898</c:v>
                </c:pt>
                <c:pt idx="1558">
                  <c:v>268.15603005912772</c:v>
                </c:pt>
                <c:pt idx="1559">
                  <c:v>268.107532973579</c:v>
                </c:pt>
                <c:pt idx="1560">
                  <c:v>266.47911240511581</c:v>
                </c:pt>
                <c:pt idx="1561">
                  <c:v>266.83399607837526</c:v>
                </c:pt>
                <c:pt idx="1562">
                  <c:v>269.29550361258691</c:v>
                </c:pt>
                <c:pt idx="1563">
                  <c:v>264.87982566471135</c:v>
                </c:pt>
                <c:pt idx="1564">
                  <c:v>258.78966434782279</c:v>
                </c:pt>
                <c:pt idx="1565">
                  <c:v>258.17615945302418</c:v>
                </c:pt>
                <c:pt idx="1566">
                  <c:v>258.17615945302418</c:v>
                </c:pt>
                <c:pt idx="1567">
                  <c:v>258.6997344354516</c:v>
                </c:pt>
                <c:pt idx="1568">
                  <c:v>254.72492412827447</c:v>
                </c:pt>
                <c:pt idx="1569">
                  <c:v>253.55043252110653</c:v>
                </c:pt>
                <c:pt idx="1570">
                  <c:v>254.19313599483692</c:v>
                </c:pt>
                <c:pt idx="1571">
                  <c:v>261.71484398182605</c:v>
                </c:pt>
                <c:pt idx="1572">
                  <c:v>263.1827538566049</c:v>
                </c:pt>
                <c:pt idx="1573">
                  <c:v>259.94081058701624</c:v>
                </c:pt>
                <c:pt idx="1574">
                  <c:v>259.21695056694671</c:v>
                </c:pt>
                <c:pt idx="1575">
                  <c:v>259.21695056694671</c:v>
                </c:pt>
                <c:pt idx="1576">
                  <c:v>260.53937455968861</c:v>
                </c:pt>
                <c:pt idx="1577">
                  <c:v>262.33124879752381</c:v>
                </c:pt>
                <c:pt idx="1578">
                  <c:v>267.03218009679432</c:v>
                </c:pt>
                <c:pt idx="1579">
                  <c:v>267.61145795203657</c:v>
                </c:pt>
                <c:pt idx="1580">
                  <c:v>268.74238439368628</c:v>
                </c:pt>
                <c:pt idx="1581">
                  <c:v>268.25250757771175</c:v>
                </c:pt>
                <c:pt idx="1582">
                  <c:v>268.25250757771175</c:v>
                </c:pt>
                <c:pt idx="1583">
                  <c:v>266.62713056302181</c:v>
                </c:pt>
                <c:pt idx="1584">
                  <c:v>269.7821038477033</c:v>
                </c:pt>
                <c:pt idx="1585">
                  <c:v>268.59088509983928</c:v>
                </c:pt>
                <c:pt idx="1586">
                  <c:v>264.05355881609512</c:v>
                </c:pt>
                <c:pt idx="1587">
                  <c:v>264.72145445687579</c:v>
                </c:pt>
                <c:pt idx="1588">
                  <c:v>261.22259712932549</c:v>
                </c:pt>
                <c:pt idx="1589">
                  <c:v>260.95874320006584</c:v>
                </c:pt>
                <c:pt idx="1590">
                  <c:v>259.03246686164067</c:v>
                </c:pt>
                <c:pt idx="1591">
                  <c:v>256.66259628749003</c:v>
                </c:pt>
                <c:pt idx="1592">
                  <c:v>254.64792723972985</c:v>
                </c:pt>
                <c:pt idx="1593">
                  <c:v>253.84332336069809</c:v>
                </c:pt>
                <c:pt idx="1594">
                  <c:v>257.85896172931132</c:v>
                </c:pt>
                <c:pt idx="1595">
                  <c:v>259.45308197868053</c:v>
                </c:pt>
                <c:pt idx="1596">
                  <c:v>257.39594542116595</c:v>
                </c:pt>
                <c:pt idx="1597">
                  <c:v>253.7336300732442</c:v>
                </c:pt>
                <c:pt idx="1598">
                  <c:v>255.7212477725765</c:v>
                </c:pt>
                <c:pt idx="1599">
                  <c:v>254.58944066671231</c:v>
                </c:pt>
                <c:pt idx="1600">
                  <c:v>255.10335630572101</c:v>
                </c:pt>
                <c:pt idx="1601">
                  <c:v>256.00794464871996</c:v>
                </c:pt>
                <c:pt idx="1602">
                  <c:v>260.62067821547726</c:v>
                </c:pt>
                <c:pt idx="1603">
                  <c:v>260.62067821547726</c:v>
                </c:pt>
                <c:pt idx="1604">
                  <c:v>262.32787770495685</c:v>
                </c:pt>
                <c:pt idx="1605">
                  <c:v>261.83458283220887</c:v>
                </c:pt>
                <c:pt idx="1606">
                  <c:v>262.11391978273014</c:v>
                </c:pt>
                <c:pt idx="1607">
                  <c:v>256.66029581355599</c:v>
                </c:pt>
                <c:pt idx="1608">
                  <c:v>253.16889292744668</c:v>
                </c:pt>
                <c:pt idx="1609">
                  <c:v>256.97534023808703</c:v>
                </c:pt>
                <c:pt idx="1610">
                  <c:v>255.63711096197412</c:v>
                </c:pt>
                <c:pt idx="1611">
                  <c:v>254.35666689627942</c:v>
                </c:pt>
                <c:pt idx="1612">
                  <c:v>252.51035510946514</c:v>
                </c:pt>
                <c:pt idx="1613">
                  <c:v>249.62343967322425</c:v>
                </c:pt>
                <c:pt idx="1614">
                  <c:v>249.43600418164101</c:v>
                </c:pt>
                <c:pt idx="1615">
                  <c:v>254.66636421771545</c:v>
                </c:pt>
                <c:pt idx="1616">
                  <c:v>259.74519553448897</c:v>
                </c:pt>
                <c:pt idx="1617">
                  <c:v>264.87839836062273</c:v>
                </c:pt>
                <c:pt idx="1618">
                  <c:v>266.26482238941247</c:v>
                </c:pt>
                <c:pt idx="1619">
                  <c:v>267.66521536045758</c:v>
                </c:pt>
                <c:pt idx="1620">
                  <c:v>271.06512991494321</c:v>
                </c:pt>
                <c:pt idx="1621">
                  <c:v>271.53275382181852</c:v>
                </c:pt>
                <c:pt idx="1622">
                  <c:v>272.1920376055956</c:v>
                </c:pt>
                <c:pt idx="1623">
                  <c:v>269.46749253612603</c:v>
                </c:pt>
                <c:pt idx="1624">
                  <c:v>268.2207423258385</c:v>
                </c:pt>
                <c:pt idx="1625">
                  <c:v>266.55758157573007</c:v>
                </c:pt>
                <c:pt idx="1626">
                  <c:v>265.1102112317709</c:v>
                </c:pt>
                <c:pt idx="1627">
                  <c:v>259.52607503468295</c:v>
                </c:pt>
                <c:pt idx="1628">
                  <c:v>261.68713598540478</c:v>
                </c:pt>
                <c:pt idx="1629">
                  <c:v>264.22804649070002</c:v>
                </c:pt>
                <c:pt idx="1630">
                  <c:v>265.80559003645953</c:v>
                </c:pt>
                <c:pt idx="1631">
                  <c:v>266.27498545135563</c:v>
                </c:pt>
                <c:pt idx="1632">
                  <c:v>269.0876559808184</c:v>
                </c:pt>
                <c:pt idx="1633">
                  <c:v>269.25354359253436</c:v>
                </c:pt>
                <c:pt idx="1634">
                  <c:v>271.76268484901362</c:v>
                </c:pt>
                <c:pt idx="1635">
                  <c:v>269.51168256822353</c:v>
                </c:pt>
                <c:pt idx="1636">
                  <c:v>266.46417342606406</c:v>
                </c:pt>
                <c:pt idx="1637">
                  <c:v>268.43871536895176</c:v>
                </c:pt>
                <c:pt idx="1638">
                  <c:v>264.30646484822768</c:v>
                </c:pt>
                <c:pt idx="1639">
                  <c:v>257.50644108210537</c:v>
                </c:pt>
                <c:pt idx="1640">
                  <c:v>260.45394728176035</c:v>
                </c:pt>
                <c:pt idx="1641">
                  <c:v>260.52458536655348</c:v>
                </c:pt>
                <c:pt idx="1642">
                  <c:v>260.90277477849548</c:v>
                </c:pt>
                <c:pt idx="1643">
                  <c:v>261.94880178018684</c:v>
                </c:pt>
                <c:pt idx="1644">
                  <c:v>257.67261191502888</c:v>
                </c:pt>
                <c:pt idx="1645">
                  <c:v>253.00985065981379</c:v>
                </c:pt>
                <c:pt idx="1646">
                  <c:v>245.56808107856872</c:v>
                </c:pt>
                <c:pt idx="1647">
                  <c:v>234.36147584499949</c:v>
                </c:pt>
                <c:pt idx="1648">
                  <c:v>242.70584864757097</c:v>
                </c:pt>
                <c:pt idx="1649">
                  <c:v>238.97348472230325</c:v>
                </c:pt>
                <c:pt idx="1650">
                  <c:v>245.8192097549329</c:v>
                </c:pt>
                <c:pt idx="1651">
                  <c:v>246.71870634509943</c:v>
                </c:pt>
                <c:pt idx="1652">
                  <c:v>246.45832057202517</c:v>
                </c:pt>
                <c:pt idx="1653">
                  <c:v>240.73621784434602</c:v>
                </c:pt>
                <c:pt idx="1654">
                  <c:v>241.21325155886404</c:v>
                </c:pt>
                <c:pt idx="1655">
                  <c:v>246.56975397759857</c:v>
                </c:pt>
                <c:pt idx="1656">
                  <c:v>241.09617148611551</c:v>
                </c:pt>
                <c:pt idx="1657">
                  <c:v>242.32687024738379</c:v>
                </c:pt>
                <c:pt idx="1658">
                  <c:v>244.49940015292526</c:v>
                </c:pt>
                <c:pt idx="1659">
                  <c:v>247.70085797245628</c:v>
                </c:pt>
                <c:pt idx="1660">
                  <c:v>245.35084007375053</c:v>
                </c:pt>
                <c:pt idx="1661">
                  <c:v>242.61858401503028</c:v>
                </c:pt>
                <c:pt idx="1662">
                  <c:v>241.72306632506113</c:v>
                </c:pt>
                <c:pt idx="1663">
                  <c:v>243.06868034931352</c:v>
                </c:pt>
                <c:pt idx="1664">
                  <c:v>246.85348784191925</c:v>
                </c:pt>
                <c:pt idx="1665">
                  <c:v>246.79483754579564</c:v>
                </c:pt>
                <c:pt idx="1666">
                  <c:v>243.5335799689899</c:v>
                </c:pt>
                <c:pt idx="1667">
                  <c:v>246.17073998354547</c:v>
                </c:pt>
                <c:pt idx="1668">
                  <c:v>239.43780578718386</c:v>
                </c:pt>
                <c:pt idx="1669">
                  <c:v>240.19902781392818</c:v>
                </c:pt>
                <c:pt idx="1670">
                  <c:v>235.68861202561658</c:v>
                </c:pt>
                <c:pt idx="1671">
                  <c:v>242.26379248636567</c:v>
                </c:pt>
                <c:pt idx="1672">
                  <c:v>238.26134014257136</c:v>
                </c:pt>
                <c:pt idx="1673">
                  <c:v>235.52660889016877</c:v>
                </c:pt>
                <c:pt idx="1674">
                  <c:v>241.16157086273921</c:v>
                </c:pt>
                <c:pt idx="1675">
                  <c:v>239.85062743152912</c:v>
                </c:pt>
                <c:pt idx="1676">
                  <c:v>240.12227093169031</c:v>
                </c:pt>
                <c:pt idx="1677">
                  <c:v>246.20057651386804</c:v>
                </c:pt>
                <c:pt idx="1678">
                  <c:v>246.9386056796474</c:v>
                </c:pt>
                <c:pt idx="1679">
                  <c:v>245.8475286162292</c:v>
                </c:pt>
                <c:pt idx="1680">
                  <c:v>246.5444669803725</c:v>
                </c:pt>
                <c:pt idx="1681">
                  <c:v>246.59920635173313</c:v>
                </c:pt>
                <c:pt idx="1682">
                  <c:v>245.97716779328516</c:v>
                </c:pt>
                <c:pt idx="1683">
                  <c:v>244.65192556234271</c:v>
                </c:pt>
                <c:pt idx="1684">
                  <c:v>242.81524967150639</c:v>
                </c:pt>
                <c:pt idx="1685">
                  <c:v>246.64786516119452</c:v>
                </c:pt>
                <c:pt idx="1686">
                  <c:v>247.98374905538219</c:v>
                </c:pt>
                <c:pt idx="1687">
                  <c:v>249.42225632429148</c:v>
                </c:pt>
                <c:pt idx="1688">
                  <c:v>248.62487048573604</c:v>
                </c:pt>
                <c:pt idx="1689">
                  <c:v>248.95981542018851</c:v>
                </c:pt>
                <c:pt idx="1690">
                  <c:v>252.76491477590463</c:v>
                </c:pt>
                <c:pt idx="1691">
                  <c:v>257.98473841550282</c:v>
                </c:pt>
                <c:pt idx="1692">
                  <c:v>256.99968113185997</c:v>
                </c:pt>
                <c:pt idx="1693">
                  <c:v>254.93314301315806</c:v>
                </c:pt>
                <c:pt idx="1694">
                  <c:v>257.90682768125248</c:v>
                </c:pt>
                <c:pt idx="1695">
                  <c:v>258.78845545313987</c:v>
                </c:pt>
                <c:pt idx="1696">
                  <c:v>258.58637123898006</c:v>
                </c:pt>
                <c:pt idx="1697">
                  <c:v>258.9713085008803</c:v>
                </c:pt>
                <c:pt idx="1698">
                  <c:v>259.90679705484996</c:v>
                </c:pt>
                <c:pt idx="1699">
                  <c:v>261.18964756258833</c:v>
                </c:pt>
                <c:pt idx="1700">
                  <c:v>260.92404148986429</c:v>
                </c:pt>
                <c:pt idx="1701">
                  <c:v>260.97876662585838</c:v>
                </c:pt>
                <c:pt idx="1702">
                  <c:v>258.28911516000846</c:v>
                </c:pt>
                <c:pt idx="1703">
                  <c:v>259.0808083550022</c:v>
                </c:pt>
                <c:pt idx="1704">
                  <c:v>262.09275630040804</c:v>
                </c:pt>
                <c:pt idx="1705">
                  <c:v>259.1526386454679</c:v>
                </c:pt>
                <c:pt idx="1706">
                  <c:v>256.90330617169985</c:v>
                </c:pt>
                <c:pt idx="1707">
                  <c:v>258.3632045488672</c:v>
                </c:pt>
                <c:pt idx="1708">
                  <c:v>265.08240636549061</c:v>
                </c:pt>
                <c:pt idx="1709">
                  <c:v>264.01922467371088</c:v>
                </c:pt>
                <c:pt idx="1710">
                  <c:v>266.1536646217159</c:v>
                </c:pt>
                <c:pt idx="1711">
                  <c:v>267.10723404854963</c:v>
                </c:pt>
                <c:pt idx="1712">
                  <c:v>266.51342728841126</c:v>
                </c:pt>
                <c:pt idx="1713">
                  <c:v>262.95962228448889</c:v>
                </c:pt>
                <c:pt idx="1714">
                  <c:v>267.25880344955294</c:v>
                </c:pt>
                <c:pt idx="1715">
                  <c:v>269.4435025220771</c:v>
                </c:pt>
                <c:pt idx="1716">
                  <c:v>269.19604375019554</c:v>
                </c:pt>
                <c:pt idx="1717">
                  <c:v>270.33906586024807</c:v>
                </c:pt>
                <c:pt idx="1718">
                  <c:v>269.37089628703575</c:v>
                </c:pt>
                <c:pt idx="1719">
                  <c:v>270.1764467074654</c:v>
                </c:pt>
                <c:pt idx="1720">
                  <c:v>261.66330277534706</c:v>
                </c:pt>
                <c:pt idx="1721">
                  <c:v>261.08191296367818</c:v>
                </c:pt>
                <c:pt idx="1722">
                  <c:v>263.59841910483811</c:v>
                </c:pt>
                <c:pt idx="1723">
                  <c:v>259.49898787302055</c:v>
                </c:pt>
                <c:pt idx="1724">
                  <c:v>257.31621375863057</c:v>
                </c:pt>
                <c:pt idx="1725">
                  <c:v>256.58507149126177</c:v>
                </c:pt>
                <c:pt idx="1726">
                  <c:v>252.49060609431555</c:v>
                </c:pt>
                <c:pt idx="1727">
                  <c:v>248.6921660817477</c:v>
                </c:pt>
                <c:pt idx="1728">
                  <c:v>255.25248457083828</c:v>
                </c:pt>
                <c:pt idx="1729">
                  <c:v>255.7637345631986</c:v>
                </c:pt>
                <c:pt idx="1730">
                  <c:v>258.74417835421963</c:v>
                </c:pt>
                <c:pt idx="1731">
                  <c:v>255.93195452810528</c:v>
                </c:pt>
                <c:pt idx="1732">
                  <c:v>253.18106220780501</c:v>
                </c:pt>
                <c:pt idx="1733">
                  <c:v>252.3781794250462</c:v>
                </c:pt>
                <c:pt idx="1734">
                  <c:v>258.59224849701229</c:v>
                </c:pt>
                <c:pt idx="1735">
                  <c:v>258.59224849701229</c:v>
                </c:pt>
                <c:pt idx="1736">
                  <c:v>258.59224849701229</c:v>
                </c:pt>
                <c:pt idx="1737">
                  <c:v>257.46761167325269</c:v>
                </c:pt>
                <c:pt idx="1738">
                  <c:v>261.7300072512819</c:v>
                </c:pt>
                <c:pt idx="1739">
                  <c:v>260.80865586480661</c:v>
                </c:pt>
                <c:pt idx="1740">
                  <c:v>259.29607913489315</c:v>
                </c:pt>
                <c:pt idx="1741">
                  <c:v>259.29607913489315</c:v>
                </c:pt>
                <c:pt idx="1742">
                  <c:v>252.64302041839443</c:v>
                </c:pt>
                <c:pt idx="1743">
                  <c:v>254.30014526345772</c:v>
                </c:pt>
                <c:pt idx="1744">
                  <c:v>251.90423224353103</c:v>
                </c:pt>
                <c:pt idx="1745">
                  <c:v>246.83758950766853</c:v>
                </c:pt>
                <c:pt idx="1746">
                  <c:v>243.92909822344362</c:v>
                </c:pt>
                <c:pt idx="1747">
                  <c:v>243.11908428211675</c:v>
                </c:pt>
                <c:pt idx="1748">
                  <c:v>245.98494212916054</c:v>
                </c:pt>
                <c:pt idx="1749">
                  <c:v>246.83857968941271</c:v>
                </c:pt>
                <c:pt idx="1750">
                  <c:v>242.30654839702231</c:v>
                </c:pt>
                <c:pt idx="1751">
                  <c:v>236.67961774613829</c:v>
                </c:pt>
                <c:pt idx="1752">
                  <c:v>236.23856591631602</c:v>
                </c:pt>
                <c:pt idx="1753">
                  <c:v>239.38490639311274</c:v>
                </c:pt>
                <c:pt idx="1754">
                  <c:v>232.80110154569985</c:v>
                </c:pt>
                <c:pt idx="1755">
                  <c:v>236.42442361855541</c:v>
                </c:pt>
                <c:pt idx="1756">
                  <c:v>243.4650575177622</c:v>
                </c:pt>
                <c:pt idx="1757">
                  <c:v>243.43378407874701</c:v>
                </c:pt>
                <c:pt idx="1758">
                  <c:v>244.23409831829468</c:v>
                </c:pt>
                <c:pt idx="1759">
                  <c:v>245.81706649457863</c:v>
                </c:pt>
                <c:pt idx="1760">
                  <c:v>241.87623875049405</c:v>
                </c:pt>
                <c:pt idx="1761">
                  <c:v>247.64211066296517</c:v>
                </c:pt>
                <c:pt idx="1762">
                  <c:v>247.81387338743346</c:v>
                </c:pt>
                <c:pt idx="1763">
                  <c:v>244.38748824984137</c:v>
                </c:pt>
                <c:pt idx="1764">
                  <c:v>240.75976312925187</c:v>
                </c:pt>
                <c:pt idx="1765">
                  <c:v>238.22084554187529</c:v>
                </c:pt>
                <c:pt idx="1766">
                  <c:v>235.41131527440524</c:v>
                </c:pt>
                <c:pt idx="1767">
                  <c:v>227.97359573568423</c:v>
                </c:pt>
                <c:pt idx="1768">
                  <c:v>226.65339024016563</c:v>
                </c:pt>
                <c:pt idx="1769">
                  <c:v>229.49771335755634</c:v>
                </c:pt>
                <c:pt idx="1770">
                  <c:v>222.46238405492832</c:v>
                </c:pt>
                <c:pt idx="1771">
                  <c:v>227.07849807782443</c:v>
                </c:pt>
                <c:pt idx="1772">
                  <c:v>233.79579952673967</c:v>
                </c:pt>
                <c:pt idx="1773">
                  <c:v>233.02235030626514</c:v>
                </c:pt>
                <c:pt idx="1774">
                  <c:v>237.79245616764686</c:v>
                </c:pt>
                <c:pt idx="1775">
                  <c:v>239.43886523337611</c:v>
                </c:pt>
                <c:pt idx="1776">
                  <c:v>238.32371619234235</c:v>
                </c:pt>
                <c:pt idx="1777">
                  <c:v>241.24257134112273</c:v>
                </c:pt>
                <c:pt idx="1778">
                  <c:v>239.34189072702324</c:v>
                </c:pt>
                <c:pt idx="1779">
                  <c:v>235.13297890968255</c:v>
                </c:pt>
                <c:pt idx="1780">
                  <c:v>239.39391016201057</c:v>
                </c:pt>
                <c:pt idx="1781">
                  <c:v>241.74404214503193</c:v>
                </c:pt>
                <c:pt idx="1782">
                  <c:v>243.14036269412856</c:v>
                </c:pt>
                <c:pt idx="1783">
                  <c:v>246.69297647098909</c:v>
                </c:pt>
                <c:pt idx="1784">
                  <c:v>246.19816556372541</c:v>
                </c:pt>
                <c:pt idx="1785">
                  <c:v>244.19270516460486</c:v>
                </c:pt>
                <c:pt idx="1786">
                  <c:v>245.2043986479739</c:v>
                </c:pt>
                <c:pt idx="1787">
                  <c:v>244.52668081586643</c:v>
                </c:pt>
                <c:pt idx="1788">
                  <c:v>243.02713386751998</c:v>
                </c:pt>
                <c:pt idx="1789">
                  <c:v>244.72902770357132</c:v>
                </c:pt>
                <c:pt idx="1790">
                  <c:v>241.02988642607818</c:v>
                </c:pt>
                <c:pt idx="1791">
                  <c:v>246.15785579852098</c:v>
                </c:pt>
                <c:pt idx="1792">
                  <c:v>248.01068385471066</c:v>
                </c:pt>
                <c:pt idx="1793">
                  <c:v>246.48083772940632</c:v>
                </c:pt>
                <c:pt idx="1794">
                  <c:v>246.64808490964379</c:v>
                </c:pt>
                <c:pt idx="1795">
                  <c:v>245.76482862261676</c:v>
                </c:pt>
                <c:pt idx="1796">
                  <c:v>246.35200445559002</c:v>
                </c:pt>
                <c:pt idx="1797">
                  <c:v>246.12018925122575</c:v>
                </c:pt>
                <c:pt idx="1798">
                  <c:v>246.04156862453954</c:v>
                </c:pt>
                <c:pt idx="1799">
                  <c:v>247.10711263426708</c:v>
                </c:pt>
                <c:pt idx="1800">
                  <c:v>244.498816941238</c:v>
                </c:pt>
                <c:pt idx="1801">
                  <c:v>244.498816941238</c:v>
                </c:pt>
                <c:pt idx="1802">
                  <c:v>244.498816941238</c:v>
                </c:pt>
                <c:pt idx="1803">
                  <c:v>246.68898926598152</c:v>
                </c:pt>
                <c:pt idx="1804">
                  <c:v>249.5721724992575</c:v>
                </c:pt>
                <c:pt idx="1805">
                  <c:v>247.26615431509794</c:v>
                </c:pt>
                <c:pt idx="1806">
                  <c:v>245.05522988267666</c:v>
                </c:pt>
                <c:pt idx="1807">
                  <c:v>246.67509882413543</c:v>
                </c:pt>
                <c:pt idx="1808">
                  <c:v>243.121743360366</c:v>
                </c:pt>
                <c:pt idx="1809">
                  <c:v>244.8146079581125</c:v>
                </c:pt>
                <c:pt idx="1810">
                  <c:v>243.71569031531592</c:v>
                </c:pt>
                <c:pt idx="1811">
                  <c:v>244.76742881982614</c:v>
                </c:pt>
                <c:pt idx="1812">
                  <c:v>245.22696089227372</c:v>
                </c:pt>
                <c:pt idx="1813">
                  <c:v>246.25950349648602</c:v>
                </c:pt>
                <c:pt idx="1814">
                  <c:v>250.12667122993918</c:v>
                </c:pt>
                <c:pt idx="1815">
                  <c:v>250.71904388414757</c:v>
                </c:pt>
                <c:pt idx="1816">
                  <c:v>249.77365532543564</c:v>
                </c:pt>
                <c:pt idx="1817">
                  <c:v>250.87268603211723</c:v>
                </c:pt>
                <c:pt idx="1818">
                  <c:v>254.4786362313566</c:v>
                </c:pt>
                <c:pt idx="1819">
                  <c:v>254.20654314760057</c:v>
                </c:pt>
                <c:pt idx="1820">
                  <c:v>252.18667795612606</c:v>
                </c:pt>
                <c:pt idx="1821">
                  <c:v>251.06157425204128</c:v>
                </c:pt>
                <c:pt idx="1822">
                  <c:v>250.9377936169729</c:v>
                </c:pt>
                <c:pt idx="1823">
                  <c:v>250.35555349790837</c:v>
                </c:pt>
                <c:pt idx="1824">
                  <c:v>250.8448108788794</c:v>
                </c:pt>
                <c:pt idx="1825">
                  <c:v>251.02618763728651</c:v>
                </c:pt>
                <c:pt idx="1826">
                  <c:v>246.66493467244791</c:v>
                </c:pt>
                <c:pt idx="1827">
                  <c:v>246.76462060024656</c:v>
                </c:pt>
                <c:pt idx="1828">
                  <c:v>244.82203267372466</c:v>
                </c:pt>
                <c:pt idx="1829">
                  <c:v>242.98400197138096</c:v>
                </c:pt>
                <c:pt idx="1830">
                  <c:v>242.98400197138096</c:v>
                </c:pt>
                <c:pt idx="1831">
                  <c:v>243.12704203698448</c:v>
                </c:pt>
                <c:pt idx="1832">
                  <c:v>245.69212919451218</c:v>
                </c:pt>
                <c:pt idx="1833">
                  <c:v>247.2306331621688</c:v>
                </c:pt>
                <c:pt idx="1834">
                  <c:v>246.10696616128834</c:v>
                </c:pt>
                <c:pt idx="1835">
                  <c:v>245.30602135191529</c:v>
                </c:pt>
                <c:pt idx="1836">
                  <c:v>246.11471102746899</c:v>
                </c:pt>
                <c:pt idx="1837">
                  <c:v>246.11471102746899</c:v>
                </c:pt>
                <c:pt idx="1838">
                  <c:v>245.98164889091788</c:v>
                </c:pt>
                <c:pt idx="1839">
                  <c:v>247.45644002852302</c:v>
                </c:pt>
                <c:pt idx="1840">
                  <c:v>245.17208651314823</c:v>
                </c:pt>
                <c:pt idx="1841">
                  <c:v>247.93014610689812</c:v>
                </c:pt>
                <c:pt idx="1842">
                  <c:v>247.26181776528625</c:v>
                </c:pt>
                <c:pt idx="1843">
                  <c:v>252.28319457866473</c:v>
                </c:pt>
                <c:pt idx="1844">
                  <c:v>254.16705572605505</c:v>
                </c:pt>
                <c:pt idx="1845">
                  <c:v>254.7457410517151</c:v>
                </c:pt>
                <c:pt idx="1846">
                  <c:v>255.53890236423635</c:v>
                </c:pt>
                <c:pt idx="1847">
                  <c:v>256.07652055526444</c:v>
                </c:pt>
                <c:pt idx="1848">
                  <c:v>254.64575551242157</c:v>
                </c:pt>
                <c:pt idx="1849">
                  <c:v>252.97824229286445</c:v>
                </c:pt>
                <c:pt idx="1850">
                  <c:v>253.51976864655668</c:v>
                </c:pt>
                <c:pt idx="1851">
                  <c:v>251.60799214018863</c:v>
                </c:pt>
                <c:pt idx="1852">
                  <c:v>251.87590099214808</c:v>
                </c:pt>
                <c:pt idx="1853">
                  <c:v>254.32575292757753</c:v>
                </c:pt>
                <c:pt idx="1854">
                  <c:v>252.89080687372731</c:v>
                </c:pt>
                <c:pt idx="1855">
                  <c:v>251.22116865287006</c:v>
                </c:pt>
                <c:pt idx="1856">
                  <c:v>245.49742429813594</c:v>
                </c:pt>
                <c:pt idx="1857">
                  <c:v>241.27414016126099</c:v>
                </c:pt>
                <c:pt idx="1858">
                  <c:v>237.40921910893826</c:v>
                </c:pt>
                <c:pt idx="1859">
                  <c:v>239.26576555604191</c:v>
                </c:pt>
                <c:pt idx="1860">
                  <c:v>237.62826176495088</c:v>
                </c:pt>
                <c:pt idx="1861">
                  <c:v>239.35810801258839</c:v>
                </c:pt>
                <c:pt idx="1862">
                  <c:v>247.62834509315473</c:v>
                </c:pt>
                <c:pt idx="1863">
                  <c:v>249.12860540694544</c:v>
                </c:pt>
                <c:pt idx="1864">
                  <c:v>249.97145421607991</c:v>
                </c:pt>
                <c:pt idx="1865">
                  <c:v>249.97145421607991</c:v>
                </c:pt>
                <c:pt idx="1866">
                  <c:v>238.4999610452389</c:v>
                </c:pt>
                <c:pt idx="1867">
                  <c:v>230.18644229708011</c:v>
                </c:pt>
                <c:pt idx="1868">
                  <c:v>235.69945713694133</c:v>
                </c:pt>
                <c:pt idx="1869">
                  <c:v>242.36043366904801</c:v>
                </c:pt>
                <c:pt idx="1870">
                  <c:v>244.94495811121575</c:v>
                </c:pt>
                <c:pt idx="1871">
                  <c:v>246.73672048622396</c:v>
                </c:pt>
                <c:pt idx="1872">
                  <c:v>245.2233427442545</c:v>
                </c:pt>
                <c:pt idx="1873">
                  <c:v>242.39416983833416</c:v>
                </c:pt>
                <c:pt idx="1874">
                  <c:v>239.21044639821156</c:v>
                </c:pt>
                <c:pt idx="1875">
                  <c:v>241.80055698467925</c:v>
                </c:pt>
                <c:pt idx="1876">
                  <c:v>244.68333129995275</c:v>
                </c:pt>
                <c:pt idx="1877">
                  <c:v>248.23640734645087</c:v>
                </c:pt>
                <c:pt idx="1878">
                  <c:v>249.46764953094007</c:v>
                </c:pt>
                <c:pt idx="1879">
                  <c:v>249.72085108041625</c:v>
                </c:pt>
                <c:pt idx="1880">
                  <c:v>250.89636950892626</c:v>
                </c:pt>
                <c:pt idx="1881">
                  <c:v>250.24489095696447</c:v>
                </c:pt>
                <c:pt idx="1882">
                  <c:v>250.57652191450046</c:v>
                </c:pt>
                <c:pt idx="1883">
                  <c:v>249.52772654782331</c:v>
                </c:pt>
                <c:pt idx="1884">
                  <c:v>252.32160996397099</c:v>
                </c:pt>
                <c:pt idx="1885">
                  <c:v>251.82241417477277</c:v>
                </c:pt>
                <c:pt idx="1886">
                  <c:v>252.06302422457946</c:v>
                </c:pt>
                <c:pt idx="1887">
                  <c:v>253.30089305359303</c:v>
                </c:pt>
                <c:pt idx="1888">
                  <c:v>253.69819384553284</c:v>
                </c:pt>
                <c:pt idx="1889">
                  <c:v>254.84182325009735</c:v>
                </c:pt>
                <c:pt idx="1890">
                  <c:v>253.94934700505246</c:v>
                </c:pt>
                <c:pt idx="1891">
                  <c:v>254.89150585924389</c:v>
                </c:pt>
                <c:pt idx="1892">
                  <c:v>254.19621569588463</c:v>
                </c:pt>
                <c:pt idx="1893">
                  <c:v>251.78656531830734</c:v>
                </c:pt>
                <c:pt idx="1894">
                  <c:v>251.19899371097878</c:v>
                </c:pt>
                <c:pt idx="1895">
                  <c:v>252.38615624881834</c:v>
                </c:pt>
                <c:pt idx="1896">
                  <c:v>254.27437316096623</c:v>
                </c:pt>
                <c:pt idx="1897">
                  <c:v>253.72941181572003</c:v>
                </c:pt>
                <c:pt idx="1898">
                  <c:v>256.15361981664864</c:v>
                </c:pt>
                <c:pt idx="1899">
                  <c:v>255.67396624669851</c:v>
                </c:pt>
                <c:pt idx="1900">
                  <c:v>258.11102813792263</c:v>
                </c:pt>
                <c:pt idx="1901">
                  <c:v>257.62150899565643</c:v>
                </c:pt>
                <c:pt idx="1902">
                  <c:v>257.62150899565643</c:v>
                </c:pt>
                <c:pt idx="1903">
                  <c:v>255.96995918002813</c:v>
                </c:pt>
                <c:pt idx="1904">
                  <c:v>254.14640580914653</c:v>
                </c:pt>
                <c:pt idx="1905">
                  <c:v>255.87313148106273</c:v>
                </c:pt>
                <c:pt idx="1906">
                  <c:v>254.49390912731485</c:v>
                </c:pt>
                <c:pt idx="1907">
                  <c:v>254.66708398831835</c:v>
                </c:pt>
                <c:pt idx="1908">
                  <c:v>256.4980086426113</c:v>
                </c:pt>
                <c:pt idx="1909">
                  <c:v>257.27353066347513</c:v>
                </c:pt>
                <c:pt idx="1910">
                  <c:v>255.48190818254338</c:v>
                </c:pt>
                <c:pt idx="1911">
                  <c:v>256.65791917795093</c:v>
                </c:pt>
                <c:pt idx="1912">
                  <c:v>256.32028077831887</c:v>
                </c:pt>
                <c:pt idx="1913">
                  <c:v>257.21426524101861</c:v>
                </c:pt>
                <c:pt idx="1914">
                  <c:v>255.86856144359459</c:v>
                </c:pt>
                <c:pt idx="1915">
                  <c:v>256.09542950357417</c:v>
                </c:pt>
                <c:pt idx="1916">
                  <c:v>260.99793915597326</c:v>
                </c:pt>
                <c:pt idx="1917">
                  <c:v>260.96407250869316</c:v>
                </c:pt>
                <c:pt idx="1918">
                  <c:v>260.47709704141704</c:v>
                </c:pt>
                <c:pt idx="1919">
                  <c:v>261.28082710870166</c:v>
                </c:pt>
                <c:pt idx="1920">
                  <c:v>259.60956400945355</c:v>
                </c:pt>
                <c:pt idx="1921">
                  <c:v>256.28524843758174</c:v>
                </c:pt>
                <c:pt idx="1922">
                  <c:v>254.38744133268449</c:v>
                </c:pt>
                <c:pt idx="1923">
                  <c:v>253.21158905844774</c:v>
                </c:pt>
                <c:pt idx="1924">
                  <c:v>253.33745768571069</c:v>
                </c:pt>
                <c:pt idx="1925">
                  <c:v>254.85359389416294</c:v>
                </c:pt>
                <c:pt idx="1926">
                  <c:v>253.59393496655284</c:v>
                </c:pt>
                <c:pt idx="1927">
                  <c:v>256.03069882288378</c:v>
                </c:pt>
                <c:pt idx="1928">
                  <c:v>255.91837743038437</c:v>
                </c:pt>
                <c:pt idx="1929">
                  <c:v>256.3550955899783</c:v>
                </c:pt>
                <c:pt idx="1930">
                  <c:v>260.40205685174283</c:v>
                </c:pt>
                <c:pt idx="1931">
                  <c:v>258.67675760104123</c:v>
                </c:pt>
                <c:pt idx="1932">
                  <c:v>255.0693044168936</c:v>
                </c:pt>
                <c:pt idx="1933">
                  <c:v>256.0208823729759</c:v>
                </c:pt>
                <c:pt idx="1934">
                  <c:v>258.00396308553786</c:v>
                </c:pt>
                <c:pt idx="1935">
                  <c:v>256.89276061048622</c:v>
                </c:pt>
                <c:pt idx="1936">
                  <c:v>257.40378285004601</c:v>
                </c:pt>
                <c:pt idx="1937">
                  <c:v>257.88196502978849</c:v>
                </c:pt>
                <c:pt idx="1938">
                  <c:v>260.15754592842262</c:v>
                </c:pt>
                <c:pt idx="1939">
                  <c:v>257.26891553905131</c:v>
                </c:pt>
                <c:pt idx="1940">
                  <c:v>256.13396810547357</c:v>
                </c:pt>
                <c:pt idx="1941">
                  <c:v>252.92338558870006</c:v>
                </c:pt>
                <c:pt idx="1942">
                  <c:v>254.71149848343453</c:v>
                </c:pt>
                <c:pt idx="1943">
                  <c:v>253.66105755453344</c:v>
                </c:pt>
                <c:pt idx="1944">
                  <c:v>252.32342563264262</c:v>
                </c:pt>
                <c:pt idx="1945">
                  <c:v>250.86051583749094</c:v>
                </c:pt>
                <c:pt idx="1946">
                  <c:v>253.84970594405621</c:v>
                </c:pt>
                <c:pt idx="1947">
                  <c:v>251.95053282982695</c:v>
                </c:pt>
                <c:pt idx="1948">
                  <c:v>255.44131999085741</c:v>
                </c:pt>
                <c:pt idx="1949">
                  <c:v>255.74410046079385</c:v>
                </c:pt>
                <c:pt idx="1950">
                  <c:v>255.69757941180004</c:v>
                </c:pt>
                <c:pt idx="1951">
                  <c:v>255.90198590845517</c:v>
                </c:pt>
                <c:pt idx="1952">
                  <c:v>255.75558560338342</c:v>
                </c:pt>
                <c:pt idx="1953">
                  <c:v>254.26368381862403</c:v>
                </c:pt>
                <c:pt idx="1954">
                  <c:v>253.18011528501455</c:v>
                </c:pt>
                <c:pt idx="1955">
                  <c:v>252.62252498941479</c:v>
                </c:pt>
                <c:pt idx="1956">
                  <c:v>252.42695078757524</c:v>
                </c:pt>
                <c:pt idx="1957">
                  <c:v>252.30913532577688</c:v>
                </c:pt>
                <c:pt idx="1958">
                  <c:v>252.30913532577688</c:v>
                </c:pt>
                <c:pt idx="1959">
                  <c:v>247.27544989776166</c:v>
                </c:pt>
                <c:pt idx="1960">
                  <c:v>246.79625044215831</c:v>
                </c:pt>
                <c:pt idx="1961">
                  <c:v>245.09231323672259</c:v>
                </c:pt>
                <c:pt idx="1962">
                  <c:v>247.96429968993644</c:v>
                </c:pt>
                <c:pt idx="1963">
                  <c:v>248.96264976472628</c:v>
                </c:pt>
                <c:pt idx="1964">
                  <c:v>252.19161307294979</c:v>
                </c:pt>
                <c:pt idx="1965">
                  <c:v>249.75623474136185</c:v>
                </c:pt>
                <c:pt idx="1966">
                  <c:v>248.73240724967386</c:v>
                </c:pt>
                <c:pt idx="1967">
                  <c:v>248.21777955398855</c:v>
                </c:pt>
                <c:pt idx="1968">
                  <c:v>249.03328768347498</c:v>
                </c:pt>
                <c:pt idx="1969">
                  <c:v>249.26265328906848</c:v>
                </c:pt>
                <c:pt idx="1970">
                  <c:v>250.7758214552498</c:v>
                </c:pt>
                <c:pt idx="1971">
                  <c:v>250.56226124562988</c:v>
                </c:pt>
                <c:pt idx="1972">
                  <c:v>251.34482114622276</c:v>
                </c:pt>
                <c:pt idx="1973">
                  <c:v>251.28977355454384</c:v>
                </c:pt>
                <c:pt idx="1974">
                  <c:v>251.04940843111939</c:v>
                </c:pt>
                <c:pt idx="1975">
                  <c:v>252.17883193939574</c:v>
                </c:pt>
                <c:pt idx="1976">
                  <c:v>252.93319019371441</c:v>
                </c:pt>
                <c:pt idx="1977">
                  <c:v>251.23965694713655</c:v>
                </c:pt>
                <c:pt idx="1978">
                  <c:v>252.40716369579866</c:v>
                </c:pt>
                <c:pt idx="1979">
                  <c:v>252.39790561484887</c:v>
                </c:pt>
                <c:pt idx="1980">
                  <c:v>249.99901213214756</c:v>
                </c:pt>
                <c:pt idx="1981">
                  <c:v>249.24941913136504</c:v>
                </c:pt>
                <c:pt idx="1982">
                  <c:v>250.3752028979581</c:v>
                </c:pt>
                <c:pt idx="1983">
                  <c:v>251.40106672663492</c:v>
                </c:pt>
                <c:pt idx="1984">
                  <c:v>252.66928716843148</c:v>
                </c:pt>
                <c:pt idx="1985">
                  <c:v>255.29767978573511</c:v>
                </c:pt>
                <c:pt idx="1986">
                  <c:v>258.15041869837313</c:v>
                </c:pt>
                <c:pt idx="1987">
                  <c:v>256.912377916411</c:v>
                </c:pt>
                <c:pt idx="1988">
                  <c:v>259.65845287073586</c:v>
                </c:pt>
                <c:pt idx="1989">
                  <c:v>258.55817738718991</c:v>
                </c:pt>
                <c:pt idx="1990">
                  <c:v>260.24223777826325</c:v>
                </c:pt>
                <c:pt idx="1991">
                  <c:v>260.74244918848984</c:v>
                </c:pt>
                <c:pt idx="1992">
                  <c:v>261.43704203703732</c:v>
                </c:pt>
                <c:pt idx="1993">
                  <c:v>262.48240845759437</c:v>
                </c:pt>
                <c:pt idx="1994">
                  <c:v>262.08701712745443</c:v>
                </c:pt>
                <c:pt idx="1995">
                  <c:v>261.66801028275881</c:v>
                </c:pt>
                <c:pt idx="1996">
                  <c:v>262.17966865481139</c:v>
                </c:pt>
                <c:pt idx="1997">
                  <c:v>262.17966865481139</c:v>
                </c:pt>
                <c:pt idx="1998">
                  <c:v>262.68526610814718</c:v>
                </c:pt>
                <c:pt idx="1999">
                  <c:v>263.26608726877919</c:v>
                </c:pt>
                <c:pt idx="2000">
                  <c:v>262.80457822484288</c:v>
                </c:pt>
                <c:pt idx="2001">
                  <c:v>263.45470379380424</c:v>
                </c:pt>
                <c:pt idx="2002">
                  <c:v>265.06655884718145</c:v>
                </c:pt>
                <c:pt idx="2003">
                  <c:v>265.58380162166674</c:v>
                </c:pt>
                <c:pt idx="2004">
                  <c:v>265.27201338565885</c:v>
                </c:pt>
                <c:pt idx="2005">
                  <c:v>265.78033981608479</c:v>
                </c:pt>
                <c:pt idx="2006">
                  <c:v>265.52664546485187</c:v>
                </c:pt>
                <c:pt idx="2007">
                  <c:v>265.24712078483657</c:v>
                </c:pt>
                <c:pt idx="2008">
                  <c:v>264.76989710797602</c:v>
                </c:pt>
                <c:pt idx="2009">
                  <c:v>265.32859032627505</c:v>
                </c:pt>
                <c:pt idx="2010">
                  <c:v>263.40529969645507</c:v>
                </c:pt>
                <c:pt idx="2011">
                  <c:v>265.6547948453466</c:v>
                </c:pt>
                <c:pt idx="2012">
                  <c:v>264.02628026598887</c:v>
                </c:pt>
                <c:pt idx="2013">
                  <c:v>263.06838398257418</c:v>
                </c:pt>
                <c:pt idx="2014">
                  <c:v>263.27727242710012</c:v>
                </c:pt>
                <c:pt idx="2015">
                  <c:v>263.55546916158039</c:v>
                </c:pt>
                <c:pt idx="2016">
                  <c:v>263.0211419951894</c:v>
                </c:pt>
                <c:pt idx="2017">
                  <c:v>262.03270201039413</c:v>
                </c:pt>
                <c:pt idx="2018">
                  <c:v>261.74641546842543</c:v>
                </c:pt>
                <c:pt idx="2019">
                  <c:v>264.41786037895645</c:v>
                </c:pt>
                <c:pt idx="2020">
                  <c:v>265.09070327118843</c:v>
                </c:pt>
                <c:pt idx="2021">
                  <c:v>264.58103956615963</c:v>
                </c:pt>
                <c:pt idx="2022">
                  <c:v>262.59085392097717</c:v>
                </c:pt>
                <c:pt idx="2023">
                  <c:v>261.00428356549571</c:v>
                </c:pt>
                <c:pt idx="2024">
                  <c:v>262.97177850567573</c:v>
                </c:pt>
                <c:pt idx="2025">
                  <c:v>262.93477112920243</c:v>
                </c:pt>
                <c:pt idx="2026">
                  <c:v>263.96883417576879</c:v>
                </c:pt>
                <c:pt idx="2027">
                  <c:v>262.49936882615577</c:v>
                </c:pt>
                <c:pt idx="2028">
                  <c:v>263.94497936492411</c:v>
                </c:pt>
                <c:pt idx="2029">
                  <c:v>265.64782520942697</c:v>
                </c:pt>
                <c:pt idx="2030">
                  <c:v>267.5162876522445</c:v>
                </c:pt>
                <c:pt idx="2031">
                  <c:v>267.81259019896265</c:v>
                </c:pt>
                <c:pt idx="2032">
                  <c:v>269.63532171424475</c:v>
                </c:pt>
                <c:pt idx="2033">
                  <c:v>269.35353755508879</c:v>
                </c:pt>
                <c:pt idx="2034">
                  <c:v>270.01448010124375</c:v>
                </c:pt>
                <c:pt idx="2035">
                  <c:v>269.98094615041026</c:v>
                </c:pt>
                <c:pt idx="2036">
                  <c:v>271.0490116531239</c:v>
                </c:pt>
                <c:pt idx="2037">
                  <c:v>271.24377775931003</c:v>
                </c:pt>
                <c:pt idx="2038">
                  <c:v>272.8632672882959</c:v>
                </c:pt>
                <c:pt idx="2039">
                  <c:v>273.71116997460012</c:v>
                </c:pt>
                <c:pt idx="2040">
                  <c:v>273.71916263741946</c:v>
                </c:pt>
                <c:pt idx="2041">
                  <c:v>272.49224793065321</c:v>
                </c:pt>
                <c:pt idx="2042">
                  <c:v>272.12895214825011</c:v>
                </c:pt>
                <c:pt idx="2043">
                  <c:v>272.75001187662605</c:v>
                </c:pt>
                <c:pt idx="2044">
                  <c:v>275.71674708116552</c:v>
                </c:pt>
                <c:pt idx="2045">
                  <c:v>276.15765077330281</c:v>
                </c:pt>
                <c:pt idx="2046">
                  <c:v>274.78405645556614</c:v>
                </c:pt>
                <c:pt idx="2047">
                  <c:v>273.6332556942956</c:v>
                </c:pt>
                <c:pt idx="2048">
                  <c:v>273.21820716154292</c:v>
                </c:pt>
                <c:pt idx="2049">
                  <c:v>273.23844388649923</c:v>
                </c:pt>
                <c:pt idx="2050">
                  <c:v>273.54062615602436</c:v>
                </c:pt>
                <c:pt idx="2051">
                  <c:v>273.04059947782878</c:v>
                </c:pt>
                <c:pt idx="2052">
                  <c:v>273.92930443181217</c:v>
                </c:pt>
                <c:pt idx="2053">
                  <c:v>273.98313902762681</c:v>
                </c:pt>
                <c:pt idx="2054">
                  <c:v>274.53826285722897</c:v>
                </c:pt>
                <c:pt idx="2055">
                  <c:v>276.08708115164035</c:v>
                </c:pt>
                <c:pt idx="2056">
                  <c:v>276.94328921063413</c:v>
                </c:pt>
                <c:pt idx="2057">
                  <c:v>276.83637714616327</c:v>
                </c:pt>
                <c:pt idx="2058">
                  <c:v>275.27873623763503</c:v>
                </c:pt>
                <c:pt idx="2059">
                  <c:v>274.58836374439676</c:v>
                </c:pt>
                <c:pt idx="2060">
                  <c:v>276.9040401210749</c:v>
                </c:pt>
                <c:pt idx="2061">
                  <c:v>276.64568039134576</c:v>
                </c:pt>
                <c:pt idx="2062">
                  <c:v>276.09998467587531</c:v>
                </c:pt>
                <c:pt idx="2063">
                  <c:v>277.01236044729399</c:v>
                </c:pt>
                <c:pt idx="2064">
                  <c:v>277.33041836291846</c:v>
                </c:pt>
                <c:pt idx="2065">
                  <c:v>278.84169358321083</c:v>
                </c:pt>
                <c:pt idx="2066">
                  <c:v>279.6160617331692</c:v>
                </c:pt>
                <c:pt idx="2067">
                  <c:v>278.84995991992258</c:v>
                </c:pt>
                <c:pt idx="2068">
                  <c:v>279.44681775803406</c:v>
                </c:pt>
                <c:pt idx="2069">
                  <c:v>279.26013330551353</c:v>
                </c:pt>
                <c:pt idx="2070">
                  <c:v>279.4786429942223</c:v>
                </c:pt>
                <c:pt idx="2071">
                  <c:v>279.78000794130082</c:v>
                </c:pt>
                <c:pt idx="2072">
                  <c:v>279.93071173521048</c:v>
                </c:pt>
                <c:pt idx="2073">
                  <c:v>280.22091487413519</c:v>
                </c:pt>
                <c:pt idx="2074">
                  <c:v>281.31276604205311</c:v>
                </c:pt>
                <c:pt idx="2075">
                  <c:v>281.19098774870088</c:v>
                </c:pt>
                <c:pt idx="2076">
                  <c:v>281.19098774870088</c:v>
                </c:pt>
                <c:pt idx="2077">
                  <c:v>281.19098774870088</c:v>
                </c:pt>
                <c:pt idx="2078">
                  <c:v>278.58440085666376</c:v>
                </c:pt>
                <c:pt idx="2079">
                  <c:v>278.85003258468328</c:v>
                </c:pt>
                <c:pt idx="2080">
                  <c:v>279.46948468854987</c:v>
                </c:pt>
                <c:pt idx="2081">
                  <c:v>279.3666829042271</c:v>
                </c:pt>
                <c:pt idx="2082">
                  <c:v>283.58593287328205</c:v>
                </c:pt>
                <c:pt idx="2083">
                  <c:v>283.74526652815126</c:v>
                </c:pt>
                <c:pt idx="2084">
                  <c:v>284.9819817262977</c:v>
                </c:pt>
                <c:pt idx="2085">
                  <c:v>285.86707404578749</c:v>
                </c:pt>
                <c:pt idx="2086">
                  <c:v>285.60535303389958</c:v>
                </c:pt>
                <c:pt idx="2087">
                  <c:v>285.60535303389958</c:v>
                </c:pt>
                <c:pt idx="2088">
                  <c:v>287.79292604187555</c:v>
                </c:pt>
                <c:pt idx="2089">
                  <c:v>288.2208708931002</c:v>
                </c:pt>
                <c:pt idx="2090">
                  <c:v>290.77374555385973</c:v>
                </c:pt>
                <c:pt idx="2091">
                  <c:v>292.04190900935032</c:v>
                </c:pt>
                <c:pt idx="2092">
                  <c:v>292.31461296896339</c:v>
                </c:pt>
                <c:pt idx="2093">
                  <c:v>293.26925004102998</c:v>
                </c:pt>
                <c:pt idx="2094">
                  <c:v>293.17309404627679</c:v>
                </c:pt>
                <c:pt idx="2095">
                  <c:v>291.78967521441115</c:v>
                </c:pt>
                <c:pt idx="2096">
                  <c:v>293.09504347782274</c:v>
                </c:pt>
                <c:pt idx="2097">
                  <c:v>292.49504493789897</c:v>
                </c:pt>
                <c:pt idx="2098">
                  <c:v>293.12603521069229</c:v>
                </c:pt>
                <c:pt idx="2099">
                  <c:v>290.5042766556133</c:v>
                </c:pt>
                <c:pt idx="2100">
                  <c:v>289.2415803107865</c:v>
                </c:pt>
                <c:pt idx="2101">
                  <c:v>290.63339732708124</c:v>
                </c:pt>
                <c:pt idx="2102">
                  <c:v>290.26172981404983</c:v>
                </c:pt>
                <c:pt idx="2103">
                  <c:v>290.90398317635413</c:v>
                </c:pt>
                <c:pt idx="2104">
                  <c:v>291.31764439142682</c:v>
                </c:pt>
                <c:pt idx="2105">
                  <c:v>291.31764439142682</c:v>
                </c:pt>
                <c:pt idx="2106">
                  <c:v>291.8188908343202</c:v>
                </c:pt>
                <c:pt idx="2107">
                  <c:v>291.81598804687957</c:v>
                </c:pt>
                <c:pt idx="2108">
                  <c:v>292.568511335187</c:v>
                </c:pt>
                <c:pt idx="2109">
                  <c:v>293.12857970467661</c:v>
                </c:pt>
                <c:pt idx="2110">
                  <c:v>294.51816945292421</c:v>
                </c:pt>
                <c:pt idx="2111">
                  <c:v>295.34086568081779</c:v>
                </c:pt>
                <c:pt idx="2112">
                  <c:v>295.34086568081779</c:v>
                </c:pt>
                <c:pt idx="2113">
                  <c:v>293.12984091466905</c:v>
                </c:pt>
                <c:pt idx="2114">
                  <c:v>292.60573116209383</c:v>
                </c:pt>
                <c:pt idx="2115">
                  <c:v>292.00369171594656</c:v>
                </c:pt>
                <c:pt idx="2116">
                  <c:v>292.68985827422063</c:v>
                </c:pt>
                <c:pt idx="2117">
                  <c:v>290.04417911198834</c:v>
                </c:pt>
                <c:pt idx="2118">
                  <c:v>291.26854239637436</c:v>
                </c:pt>
                <c:pt idx="2119">
                  <c:v>291.80415242916763</c:v>
                </c:pt>
                <c:pt idx="2120">
                  <c:v>290.87816669578865</c:v>
                </c:pt>
                <c:pt idx="2121">
                  <c:v>293.24565452728262</c:v>
                </c:pt>
                <c:pt idx="2122">
                  <c:v>295.36044707257832</c:v>
                </c:pt>
                <c:pt idx="2123">
                  <c:v>294.53879083687781</c:v>
                </c:pt>
                <c:pt idx="2124">
                  <c:v>293.98451284579517</c:v>
                </c:pt>
                <c:pt idx="2125">
                  <c:v>293.16492399483496</c:v>
                </c:pt>
                <c:pt idx="2126">
                  <c:v>293.16492399483496</c:v>
                </c:pt>
                <c:pt idx="2127">
                  <c:v>293.68739066634606</c:v>
                </c:pt>
                <c:pt idx="2128">
                  <c:v>290.19708621368704</c:v>
                </c:pt>
                <c:pt idx="2129">
                  <c:v>289.2161608609191</c:v>
                </c:pt>
                <c:pt idx="2130">
                  <c:v>284.50007049231681</c:v>
                </c:pt>
                <c:pt idx="2131">
                  <c:v>284.39008571761684</c:v>
                </c:pt>
                <c:pt idx="2132">
                  <c:v>285.66175276011876</c:v>
                </c:pt>
                <c:pt idx="2133">
                  <c:v>284.69037996596063</c:v>
                </c:pt>
                <c:pt idx="2134">
                  <c:v>285.41377006355322</c:v>
                </c:pt>
                <c:pt idx="2135">
                  <c:v>282.58375678370408</c:v>
                </c:pt>
                <c:pt idx="2136">
                  <c:v>282.41202889620263</c:v>
                </c:pt>
                <c:pt idx="2137">
                  <c:v>283.46837754854027</c:v>
                </c:pt>
                <c:pt idx="2138">
                  <c:v>281.34139928499212</c:v>
                </c:pt>
                <c:pt idx="2139">
                  <c:v>285.3449567940072</c:v>
                </c:pt>
                <c:pt idx="2140">
                  <c:v>286.18402035519961</c:v>
                </c:pt>
                <c:pt idx="2141">
                  <c:v>286.87615814184852</c:v>
                </c:pt>
                <c:pt idx="2142">
                  <c:v>287.26762039282903</c:v>
                </c:pt>
                <c:pt idx="2143">
                  <c:v>284.59067620506352</c:v>
                </c:pt>
                <c:pt idx="2144">
                  <c:v>286.92650695891757</c:v>
                </c:pt>
                <c:pt idx="2145">
                  <c:v>285.39498650650927</c:v>
                </c:pt>
                <c:pt idx="2146">
                  <c:v>282.67408925551598</c:v>
                </c:pt>
                <c:pt idx="2147">
                  <c:v>281.74132508119277</c:v>
                </c:pt>
                <c:pt idx="2148">
                  <c:v>282.41669133035271</c:v>
                </c:pt>
                <c:pt idx="2149">
                  <c:v>283.91907630628668</c:v>
                </c:pt>
                <c:pt idx="2150">
                  <c:v>283.94143051076321</c:v>
                </c:pt>
                <c:pt idx="2151">
                  <c:v>281.29884065775457</c:v>
                </c:pt>
                <c:pt idx="2152">
                  <c:v>281.58676123612753</c:v>
                </c:pt>
                <c:pt idx="2153">
                  <c:v>282.4810536122406</c:v>
                </c:pt>
                <c:pt idx="2154">
                  <c:v>281.43386815677809</c:v>
                </c:pt>
                <c:pt idx="2155">
                  <c:v>281.66043846603156</c:v>
                </c:pt>
                <c:pt idx="2156">
                  <c:v>283.93409894357541</c:v>
                </c:pt>
                <c:pt idx="2157">
                  <c:v>283.26153695676368</c:v>
                </c:pt>
                <c:pt idx="2158">
                  <c:v>283.58468525602632</c:v>
                </c:pt>
                <c:pt idx="2159">
                  <c:v>282.6271698099066</c:v>
                </c:pt>
                <c:pt idx="2160">
                  <c:v>280.42707662172637</c:v>
                </c:pt>
                <c:pt idx="2161">
                  <c:v>278.69047318766479</c:v>
                </c:pt>
                <c:pt idx="2162">
                  <c:v>281.24404334208913</c:v>
                </c:pt>
                <c:pt idx="2163">
                  <c:v>281.24404334208913</c:v>
                </c:pt>
                <c:pt idx="2164">
                  <c:v>283.24743514287445</c:v>
                </c:pt>
                <c:pt idx="2165">
                  <c:v>282.57157126385988</c:v>
                </c:pt>
                <c:pt idx="2166">
                  <c:v>280.21073271609282</c:v>
                </c:pt>
                <c:pt idx="2167">
                  <c:v>279.60184214297971</c:v>
                </c:pt>
                <c:pt idx="2168">
                  <c:v>281.83684332216359</c:v>
                </c:pt>
                <c:pt idx="2169">
                  <c:v>280.24927028494761</c:v>
                </c:pt>
                <c:pt idx="2170">
                  <c:v>280.46702247821929</c:v>
                </c:pt>
                <c:pt idx="2171">
                  <c:v>279.92684377454725</c:v>
                </c:pt>
                <c:pt idx="2172">
                  <c:v>278.88216402877845</c:v>
                </c:pt>
                <c:pt idx="2173">
                  <c:v>276.06263853105463</c:v>
                </c:pt>
                <c:pt idx="2174">
                  <c:v>278.05764091362767</c:v>
                </c:pt>
                <c:pt idx="2175">
                  <c:v>280.1716614188457</c:v>
                </c:pt>
                <c:pt idx="2176">
                  <c:v>281.60651419978592</c:v>
                </c:pt>
                <c:pt idx="2177">
                  <c:v>280.33383230552613</c:v>
                </c:pt>
                <c:pt idx="2178">
                  <c:v>280.32468800459895</c:v>
                </c:pt>
                <c:pt idx="2179">
                  <c:v>279.96405302083542</c:v>
                </c:pt>
                <c:pt idx="2180">
                  <c:v>280.69832372222538</c:v>
                </c:pt>
                <c:pt idx="2181">
                  <c:v>281.10694737769398</c:v>
                </c:pt>
                <c:pt idx="2182">
                  <c:v>283.74350565323795</c:v>
                </c:pt>
                <c:pt idx="2183">
                  <c:v>284.36111797283229</c:v>
                </c:pt>
                <c:pt idx="2184">
                  <c:v>284.08586896368473</c:v>
                </c:pt>
                <c:pt idx="2185">
                  <c:v>284.07146992649064</c:v>
                </c:pt>
                <c:pt idx="2186">
                  <c:v>283.29751709674332</c:v>
                </c:pt>
                <c:pt idx="2187">
                  <c:v>284.41819705266715</c:v>
                </c:pt>
                <c:pt idx="2188">
                  <c:v>284.20694128841603</c:v>
                </c:pt>
                <c:pt idx="2189">
                  <c:v>283.91030789371314</c:v>
                </c:pt>
                <c:pt idx="2190">
                  <c:v>283.64174448705734</c:v>
                </c:pt>
                <c:pt idx="2191">
                  <c:v>283.71689675841077</c:v>
                </c:pt>
                <c:pt idx="2192">
                  <c:v>284.76134563156245</c:v>
                </c:pt>
                <c:pt idx="2193">
                  <c:v>284.49837980694343</c:v>
                </c:pt>
                <c:pt idx="2194">
                  <c:v>284.49277453124029</c:v>
                </c:pt>
                <c:pt idx="2195">
                  <c:v>284.91960719560359</c:v>
                </c:pt>
                <c:pt idx="2196">
                  <c:v>285.90819767894101</c:v>
                </c:pt>
                <c:pt idx="2197">
                  <c:v>287.62357045049561</c:v>
                </c:pt>
                <c:pt idx="2198">
                  <c:v>287.69657909199606</c:v>
                </c:pt>
                <c:pt idx="2199">
                  <c:v>287.68757022669229</c:v>
                </c:pt>
                <c:pt idx="2200">
                  <c:v>288.19091687344644</c:v>
                </c:pt>
                <c:pt idx="2201">
                  <c:v>287.08190301477276</c:v>
                </c:pt>
                <c:pt idx="2202">
                  <c:v>288.20997550986107</c:v>
                </c:pt>
                <c:pt idx="2203">
                  <c:v>288.37177688428068</c:v>
                </c:pt>
                <c:pt idx="2204">
                  <c:v>288.60325141964194</c:v>
                </c:pt>
                <c:pt idx="2205">
                  <c:v>289.16737028435108</c:v>
                </c:pt>
                <c:pt idx="2206">
                  <c:v>289.52248670557645</c:v>
                </c:pt>
                <c:pt idx="2207">
                  <c:v>289.01905263020382</c:v>
                </c:pt>
                <c:pt idx="2208">
                  <c:v>288.37284051912599</c:v>
                </c:pt>
                <c:pt idx="2209">
                  <c:v>289.36409027611995</c:v>
                </c:pt>
                <c:pt idx="2210">
                  <c:v>287.38716394654409</c:v>
                </c:pt>
                <c:pt idx="2211">
                  <c:v>287.32194841581833</c:v>
                </c:pt>
                <c:pt idx="2212">
                  <c:v>287.8613716205366</c:v>
                </c:pt>
                <c:pt idx="2213">
                  <c:v>285.8381395047702</c:v>
                </c:pt>
                <c:pt idx="2214">
                  <c:v>284.30939792306373</c:v>
                </c:pt>
                <c:pt idx="2215">
                  <c:v>288.11760151462471</c:v>
                </c:pt>
                <c:pt idx="2216">
                  <c:v>290.17127262868684</c:v>
                </c:pt>
                <c:pt idx="2217">
                  <c:v>290.34671368386762</c:v>
                </c:pt>
                <c:pt idx="2218">
                  <c:v>291.26397889360237</c:v>
                </c:pt>
                <c:pt idx="2219">
                  <c:v>291.26397889360237</c:v>
                </c:pt>
                <c:pt idx="2220">
                  <c:v>289.96448568834541</c:v>
                </c:pt>
                <c:pt idx="2221">
                  <c:v>291.33943945907481</c:v>
                </c:pt>
                <c:pt idx="2222">
                  <c:v>292.11759452207974</c:v>
                </c:pt>
                <c:pt idx="2223">
                  <c:v>290.67178200485284</c:v>
                </c:pt>
                <c:pt idx="2224">
                  <c:v>290.91467223314436</c:v>
                </c:pt>
                <c:pt idx="2225">
                  <c:v>288.49951819648811</c:v>
                </c:pt>
                <c:pt idx="2226">
                  <c:v>287.34026816832585</c:v>
                </c:pt>
                <c:pt idx="2227">
                  <c:v>285.49607381127498</c:v>
                </c:pt>
                <c:pt idx="2228">
                  <c:v>284.37377816382269</c:v>
                </c:pt>
                <c:pt idx="2229">
                  <c:v>282.73754662909624</c:v>
                </c:pt>
                <c:pt idx="2230">
                  <c:v>284.75481041020225</c:v>
                </c:pt>
                <c:pt idx="2231">
                  <c:v>283.63243672364217</c:v>
                </c:pt>
                <c:pt idx="2232">
                  <c:v>285.47534773954141</c:v>
                </c:pt>
                <c:pt idx="2233">
                  <c:v>286.65501419154873</c:v>
                </c:pt>
                <c:pt idx="2234">
                  <c:v>286.06002657623196</c:v>
                </c:pt>
                <c:pt idx="2235">
                  <c:v>286.44235738158244</c:v>
                </c:pt>
                <c:pt idx="2236">
                  <c:v>286.05766153336924</c:v>
                </c:pt>
                <c:pt idx="2237">
                  <c:v>285.05757454281013</c:v>
                </c:pt>
                <c:pt idx="2238">
                  <c:v>287.21595820843652</c:v>
                </c:pt>
                <c:pt idx="2239">
                  <c:v>287.2530405296659</c:v>
                </c:pt>
                <c:pt idx="2240">
                  <c:v>286.88856043596388</c:v>
                </c:pt>
                <c:pt idx="2241">
                  <c:v>284.95056637973164</c:v>
                </c:pt>
                <c:pt idx="2242">
                  <c:v>287.55708262461741</c:v>
                </c:pt>
                <c:pt idx="2243">
                  <c:v>287.10759467756549</c:v>
                </c:pt>
                <c:pt idx="2244">
                  <c:v>287.84140698533798</c:v>
                </c:pt>
                <c:pt idx="2245">
                  <c:v>287.90494034255198</c:v>
                </c:pt>
                <c:pt idx="2246">
                  <c:v>289.25946995393122</c:v>
                </c:pt>
                <c:pt idx="2247">
                  <c:v>288.50115645966429</c:v>
                </c:pt>
                <c:pt idx="2248">
                  <c:v>290.59053821858964</c:v>
                </c:pt>
                <c:pt idx="2249">
                  <c:v>289.7118139150906</c:v>
                </c:pt>
                <c:pt idx="2250">
                  <c:v>288.52139245783502</c:v>
                </c:pt>
                <c:pt idx="2251">
                  <c:v>288.38860809075373</c:v>
                </c:pt>
                <c:pt idx="2252">
                  <c:v>291.36714949691827</c:v>
                </c:pt>
                <c:pt idx="2253">
                  <c:v>290.19782948786855</c:v>
                </c:pt>
                <c:pt idx="2254">
                  <c:v>288.00573338691487</c:v>
                </c:pt>
                <c:pt idx="2255">
                  <c:v>288.78555503105446</c:v>
                </c:pt>
                <c:pt idx="2256">
                  <c:v>288.9475986059345</c:v>
                </c:pt>
                <c:pt idx="2257">
                  <c:v>288.9475986059345</c:v>
                </c:pt>
                <c:pt idx="2258">
                  <c:v>288.9475986059345</c:v>
                </c:pt>
                <c:pt idx="2259">
                  <c:v>289.00159351953351</c:v>
                </c:pt>
                <c:pt idx="2260">
                  <c:v>288.42533625072701</c:v>
                </c:pt>
                <c:pt idx="2261">
                  <c:v>288.01000464892923</c:v>
                </c:pt>
                <c:pt idx="2262">
                  <c:v>288.01000464892923</c:v>
                </c:pt>
                <c:pt idx="2263">
                  <c:v>286.98772717048377</c:v>
                </c:pt>
                <c:pt idx="2264">
                  <c:v>288.09752147623794</c:v>
                </c:pt>
                <c:pt idx="2265">
                  <c:v>290.36898590553255</c:v>
                </c:pt>
                <c:pt idx="2266">
                  <c:v>293.85624424691497</c:v>
                </c:pt>
                <c:pt idx="2267">
                  <c:v>294.23700057003259</c:v>
                </c:pt>
                <c:pt idx="2268">
                  <c:v>295.49228588311462</c:v>
                </c:pt>
                <c:pt idx="2269">
                  <c:v>293.12383914139912</c:v>
                </c:pt>
                <c:pt idx="2270">
                  <c:v>291.70768971211515</c:v>
                </c:pt>
                <c:pt idx="2271">
                  <c:v>293.04067984673617</c:v>
                </c:pt>
                <c:pt idx="2272">
                  <c:v>292.62207595516787</c:v>
                </c:pt>
                <c:pt idx="2273">
                  <c:v>293.72213037226095</c:v>
                </c:pt>
                <c:pt idx="2274">
                  <c:v>293.73122309289505</c:v>
                </c:pt>
                <c:pt idx="2275">
                  <c:v>293.66600464830509</c:v>
                </c:pt>
                <c:pt idx="2276">
                  <c:v>295.62524577321358</c:v>
                </c:pt>
                <c:pt idx="2277">
                  <c:v>295.49837127208269</c:v>
                </c:pt>
                <c:pt idx="2278">
                  <c:v>296.53883132111719</c:v>
                </c:pt>
                <c:pt idx="2279">
                  <c:v>294.56495361903364</c:v>
                </c:pt>
                <c:pt idx="2280">
                  <c:v>292.37812638536684</c:v>
                </c:pt>
                <c:pt idx="2281">
                  <c:v>294.71147920404161</c:v>
                </c:pt>
                <c:pt idx="2282">
                  <c:v>293.94261331893483</c:v>
                </c:pt>
                <c:pt idx="2283">
                  <c:v>292.10137102116119</c:v>
                </c:pt>
                <c:pt idx="2284">
                  <c:v>292.05066416557213</c:v>
                </c:pt>
              </c:numCache>
            </c:numRef>
          </c:val>
          <c:smooth val="0"/>
          <c:extLst xmlns:c16r2="http://schemas.microsoft.com/office/drawing/2015/06/chart">
            <c:ext xmlns:c16="http://schemas.microsoft.com/office/drawing/2014/chart" uri="{C3380CC4-5D6E-409C-BE32-E72D297353CC}">
              <c16:uniqueId val="{00000000-D9EF-4899-BC3A-4AA0FE740ADE}"/>
            </c:ext>
          </c:extLst>
        </c:ser>
        <c:ser>
          <c:idx val="1"/>
          <c:order val="1"/>
          <c:tx>
            <c:strRef>
              <c:f>'Amundi Fds Europe MinVar BRUT'!$E$4</c:f>
              <c:strCache>
                <c:ptCount val="1"/>
                <c:pt idx="0">
                  <c:v>MSCI Europe </c:v>
                </c:pt>
              </c:strCache>
            </c:strRef>
          </c:tx>
          <c:spPr>
            <a:ln w="28575">
              <a:solidFill>
                <a:srgbClr val="00A0E3"/>
              </a:solidFill>
              <a:prstDash val="solid"/>
            </a:ln>
          </c:spPr>
          <c:marker>
            <c:symbol val="none"/>
          </c:marker>
          <c:cat>
            <c:numRef>
              <c:f>'Amundi Fds Europe MinVar BRUT'!$C$5:$C$2289</c:f>
              <c:numCache>
                <c:formatCode>m/d/yyyy</c:formatCode>
                <c:ptCount val="2285"/>
                <c:pt idx="0">
                  <c:v>39933</c:v>
                </c:pt>
                <c:pt idx="1">
                  <c:v>39934</c:v>
                </c:pt>
                <c:pt idx="2">
                  <c:v>39937</c:v>
                </c:pt>
                <c:pt idx="3">
                  <c:v>39938</c:v>
                </c:pt>
                <c:pt idx="4">
                  <c:v>39939</c:v>
                </c:pt>
                <c:pt idx="5">
                  <c:v>39940</c:v>
                </c:pt>
                <c:pt idx="6">
                  <c:v>39941</c:v>
                </c:pt>
                <c:pt idx="7">
                  <c:v>39944</c:v>
                </c:pt>
                <c:pt idx="8">
                  <c:v>39945</c:v>
                </c:pt>
                <c:pt idx="9">
                  <c:v>39946</c:v>
                </c:pt>
                <c:pt idx="10">
                  <c:v>39947</c:v>
                </c:pt>
                <c:pt idx="11">
                  <c:v>39948</c:v>
                </c:pt>
                <c:pt idx="12">
                  <c:v>39951</c:v>
                </c:pt>
                <c:pt idx="13">
                  <c:v>39952</c:v>
                </c:pt>
                <c:pt idx="14">
                  <c:v>39953</c:v>
                </c:pt>
                <c:pt idx="15">
                  <c:v>39954</c:v>
                </c:pt>
                <c:pt idx="16">
                  <c:v>39955</c:v>
                </c:pt>
                <c:pt idx="17">
                  <c:v>39958</c:v>
                </c:pt>
                <c:pt idx="18">
                  <c:v>39959</c:v>
                </c:pt>
                <c:pt idx="19">
                  <c:v>39960</c:v>
                </c:pt>
                <c:pt idx="20">
                  <c:v>39961</c:v>
                </c:pt>
                <c:pt idx="21">
                  <c:v>39962</c:v>
                </c:pt>
                <c:pt idx="22">
                  <c:v>39965</c:v>
                </c:pt>
                <c:pt idx="23">
                  <c:v>39966</c:v>
                </c:pt>
                <c:pt idx="24">
                  <c:v>39967</c:v>
                </c:pt>
                <c:pt idx="25">
                  <c:v>39968</c:v>
                </c:pt>
                <c:pt idx="26">
                  <c:v>39969</c:v>
                </c:pt>
                <c:pt idx="27">
                  <c:v>39972</c:v>
                </c:pt>
                <c:pt idx="28">
                  <c:v>39973</c:v>
                </c:pt>
                <c:pt idx="29">
                  <c:v>39974</c:v>
                </c:pt>
                <c:pt idx="30">
                  <c:v>39975</c:v>
                </c:pt>
                <c:pt idx="31">
                  <c:v>39976</c:v>
                </c:pt>
                <c:pt idx="32">
                  <c:v>39979</c:v>
                </c:pt>
                <c:pt idx="33">
                  <c:v>39980</c:v>
                </c:pt>
                <c:pt idx="34">
                  <c:v>39981</c:v>
                </c:pt>
                <c:pt idx="35">
                  <c:v>39982</c:v>
                </c:pt>
                <c:pt idx="36">
                  <c:v>39983</c:v>
                </c:pt>
                <c:pt idx="37">
                  <c:v>39986</c:v>
                </c:pt>
                <c:pt idx="38">
                  <c:v>39987</c:v>
                </c:pt>
                <c:pt idx="39">
                  <c:v>39988</c:v>
                </c:pt>
                <c:pt idx="40">
                  <c:v>39989</c:v>
                </c:pt>
                <c:pt idx="41">
                  <c:v>39990</c:v>
                </c:pt>
                <c:pt idx="42">
                  <c:v>39993</c:v>
                </c:pt>
                <c:pt idx="43">
                  <c:v>39994</c:v>
                </c:pt>
                <c:pt idx="44">
                  <c:v>39995</c:v>
                </c:pt>
                <c:pt idx="45">
                  <c:v>39996</c:v>
                </c:pt>
                <c:pt idx="46">
                  <c:v>39997</c:v>
                </c:pt>
                <c:pt idx="47">
                  <c:v>40000</c:v>
                </c:pt>
                <c:pt idx="48">
                  <c:v>40001</c:v>
                </c:pt>
                <c:pt idx="49">
                  <c:v>40002</c:v>
                </c:pt>
                <c:pt idx="50">
                  <c:v>40003</c:v>
                </c:pt>
                <c:pt idx="51">
                  <c:v>40004</c:v>
                </c:pt>
                <c:pt idx="52">
                  <c:v>40007</c:v>
                </c:pt>
                <c:pt idx="53">
                  <c:v>40008</c:v>
                </c:pt>
                <c:pt idx="54">
                  <c:v>40009</c:v>
                </c:pt>
                <c:pt idx="55">
                  <c:v>40010</c:v>
                </c:pt>
                <c:pt idx="56">
                  <c:v>40011</c:v>
                </c:pt>
                <c:pt idx="57">
                  <c:v>40014</c:v>
                </c:pt>
                <c:pt idx="58">
                  <c:v>40015</c:v>
                </c:pt>
                <c:pt idx="59">
                  <c:v>40016</c:v>
                </c:pt>
                <c:pt idx="60">
                  <c:v>40017</c:v>
                </c:pt>
                <c:pt idx="61">
                  <c:v>40018</c:v>
                </c:pt>
                <c:pt idx="62">
                  <c:v>40021</c:v>
                </c:pt>
                <c:pt idx="63">
                  <c:v>40022</c:v>
                </c:pt>
                <c:pt idx="64">
                  <c:v>40023</c:v>
                </c:pt>
                <c:pt idx="65">
                  <c:v>40024</c:v>
                </c:pt>
                <c:pt idx="66">
                  <c:v>40025</c:v>
                </c:pt>
                <c:pt idx="67">
                  <c:v>40028</c:v>
                </c:pt>
                <c:pt idx="68">
                  <c:v>40029</c:v>
                </c:pt>
                <c:pt idx="69">
                  <c:v>40030</c:v>
                </c:pt>
                <c:pt idx="70">
                  <c:v>40031</c:v>
                </c:pt>
                <c:pt idx="71">
                  <c:v>40032</c:v>
                </c:pt>
                <c:pt idx="72">
                  <c:v>40035</c:v>
                </c:pt>
                <c:pt idx="73">
                  <c:v>40036</c:v>
                </c:pt>
                <c:pt idx="74">
                  <c:v>40037</c:v>
                </c:pt>
                <c:pt idx="75">
                  <c:v>40038</c:v>
                </c:pt>
                <c:pt idx="76">
                  <c:v>40039</c:v>
                </c:pt>
                <c:pt idx="77">
                  <c:v>40042</c:v>
                </c:pt>
                <c:pt idx="78">
                  <c:v>40043</c:v>
                </c:pt>
                <c:pt idx="79">
                  <c:v>40044</c:v>
                </c:pt>
                <c:pt idx="80">
                  <c:v>40045</c:v>
                </c:pt>
                <c:pt idx="81">
                  <c:v>40046</c:v>
                </c:pt>
                <c:pt idx="82">
                  <c:v>40049</c:v>
                </c:pt>
                <c:pt idx="83">
                  <c:v>40050</c:v>
                </c:pt>
                <c:pt idx="84">
                  <c:v>40051</c:v>
                </c:pt>
                <c:pt idx="85">
                  <c:v>40052</c:v>
                </c:pt>
                <c:pt idx="86">
                  <c:v>40053</c:v>
                </c:pt>
                <c:pt idx="87">
                  <c:v>40056</c:v>
                </c:pt>
                <c:pt idx="88">
                  <c:v>40057</c:v>
                </c:pt>
                <c:pt idx="89">
                  <c:v>40058</c:v>
                </c:pt>
                <c:pt idx="90">
                  <c:v>40059</c:v>
                </c:pt>
                <c:pt idx="91">
                  <c:v>40060</c:v>
                </c:pt>
                <c:pt idx="92">
                  <c:v>40063</c:v>
                </c:pt>
                <c:pt idx="93">
                  <c:v>40064</c:v>
                </c:pt>
                <c:pt idx="94">
                  <c:v>40065</c:v>
                </c:pt>
                <c:pt idx="95">
                  <c:v>40066</c:v>
                </c:pt>
                <c:pt idx="96">
                  <c:v>40067</c:v>
                </c:pt>
                <c:pt idx="97">
                  <c:v>40070</c:v>
                </c:pt>
                <c:pt idx="98">
                  <c:v>40071</c:v>
                </c:pt>
                <c:pt idx="99">
                  <c:v>40072</c:v>
                </c:pt>
                <c:pt idx="100">
                  <c:v>40073</c:v>
                </c:pt>
                <c:pt idx="101">
                  <c:v>40074</c:v>
                </c:pt>
                <c:pt idx="102">
                  <c:v>40077</c:v>
                </c:pt>
                <c:pt idx="103">
                  <c:v>40078</c:v>
                </c:pt>
                <c:pt idx="104">
                  <c:v>40079</c:v>
                </c:pt>
                <c:pt idx="105">
                  <c:v>40080</c:v>
                </c:pt>
                <c:pt idx="106">
                  <c:v>40081</c:v>
                </c:pt>
                <c:pt idx="107">
                  <c:v>40084</c:v>
                </c:pt>
                <c:pt idx="108">
                  <c:v>40085</c:v>
                </c:pt>
                <c:pt idx="109">
                  <c:v>40086</c:v>
                </c:pt>
                <c:pt idx="110">
                  <c:v>40087</c:v>
                </c:pt>
                <c:pt idx="111">
                  <c:v>40088</c:v>
                </c:pt>
                <c:pt idx="112">
                  <c:v>40091</c:v>
                </c:pt>
                <c:pt idx="113">
                  <c:v>40092</c:v>
                </c:pt>
                <c:pt idx="114">
                  <c:v>40093</c:v>
                </c:pt>
                <c:pt idx="115">
                  <c:v>40094</c:v>
                </c:pt>
                <c:pt idx="116">
                  <c:v>40095</c:v>
                </c:pt>
                <c:pt idx="117">
                  <c:v>40098</c:v>
                </c:pt>
                <c:pt idx="118">
                  <c:v>40099</c:v>
                </c:pt>
                <c:pt idx="119">
                  <c:v>40100</c:v>
                </c:pt>
                <c:pt idx="120">
                  <c:v>40101</c:v>
                </c:pt>
                <c:pt idx="121">
                  <c:v>40102</c:v>
                </c:pt>
                <c:pt idx="122">
                  <c:v>40105</c:v>
                </c:pt>
                <c:pt idx="123">
                  <c:v>40106</c:v>
                </c:pt>
                <c:pt idx="124">
                  <c:v>40107</c:v>
                </c:pt>
                <c:pt idx="125">
                  <c:v>40108</c:v>
                </c:pt>
                <c:pt idx="126">
                  <c:v>40109</c:v>
                </c:pt>
                <c:pt idx="127">
                  <c:v>40112</c:v>
                </c:pt>
                <c:pt idx="128">
                  <c:v>40113</c:v>
                </c:pt>
                <c:pt idx="129">
                  <c:v>40114</c:v>
                </c:pt>
                <c:pt idx="130">
                  <c:v>40115</c:v>
                </c:pt>
                <c:pt idx="131">
                  <c:v>40116</c:v>
                </c:pt>
                <c:pt idx="132">
                  <c:v>40119</c:v>
                </c:pt>
                <c:pt idx="133">
                  <c:v>40120</c:v>
                </c:pt>
                <c:pt idx="134">
                  <c:v>40121</c:v>
                </c:pt>
                <c:pt idx="135">
                  <c:v>40122</c:v>
                </c:pt>
                <c:pt idx="136">
                  <c:v>40123</c:v>
                </c:pt>
                <c:pt idx="137">
                  <c:v>40126</c:v>
                </c:pt>
                <c:pt idx="138">
                  <c:v>40127</c:v>
                </c:pt>
                <c:pt idx="139">
                  <c:v>40128</c:v>
                </c:pt>
                <c:pt idx="140">
                  <c:v>40129</c:v>
                </c:pt>
                <c:pt idx="141">
                  <c:v>40130</c:v>
                </c:pt>
                <c:pt idx="142">
                  <c:v>40133</c:v>
                </c:pt>
                <c:pt idx="143">
                  <c:v>40134</c:v>
                </c:pt>
                <c:pt idx="144">
                  <c:v>40135</c:v>
                </c:pt>
                <c:pt idx="145">
                  <c:v>40136</c:v>
                </c:pt>
                <c:pt idx="146">
                  <c:v>40137</c:v>
                </c:pt>
                <c:pt idx="147">
                  <c:v>40140</c:v>
                </c:pt>
                <c:pt idx="148">
                  <c:v>40141</c:v>
                </c:pt>
                <c:pt idx="149">
                  <c:v>40142</c:v>
                </c:pt>
                <c:pt idx="150">
                  <c:v>40143</c:v>
                </c:pt>
                <c:pt idx="151">
                  <c:v>40144</c:v>
                </c:pt>
                <c:pt idx="152">
                  <c:v>40147</c:v>
                </c:pt>
                <c:pt idx="153">
                  <c:v>40148</c:v>
                </c:pt>
                <c:pt idx="154">
                  <c:v>40149</c:v>
                </c:pt>
                <c:pt idx="155">
                  <c:v>40150</c:v>
                </c:pt>
                <c:pt idx="156">
                  <c:v>40151</c:v>
                </c:pt>
                <c:pt idx="157">
                  <c:v>40154</c:v>
                </c:pt>
                <c:pt idx="158">
                  <c:v>40155</c:v>
                </c:pt>
                <c:pt idx="159">
                  <c:v>40156</c:v>
                </c:pt>
                <c:pt idx="160">
                  <c:v>40157</c:v>
                </c:pt>
                <c:pt idx="161">
                  <c:v>40158</c:v>
                </c:pt>
                <c:pt idx="162">
                  <c:v>40161</c:v>
                </c:pt>
                <c:pt idx="163">
                  <c:v>40162</c:v>
                </c:pt>
                <c:pt idx="164">
                  <c:v>40163</c:v>
                </c:pt>
                <c:pt idx="165">
                  <c:v>40164</c:v>
                </c:pt>
                <c:pt idx="166">
                  <c:v>40165</c:v>
                </c:pt>
                <c:pt idx="167">
                  <c:v>40168</c:v>
                </c:pt>
                <c:pt idx="168">
                  <c:v>40169</c:v>
                </c:pt>
                <c:pt idx="169">
                  <c:v>40170</c:v>
                </c:pt>
                <c:pt idx="170">
                  <c:v>40171</c:v>
                </c:pt>
                <c:pt idx="171">
                  <c:v>40172</c:v>
                </c:pt>
                <c:pt idx="172">
                  <c:v>40175</c:v>
                </c:pt>
                <c:pt idx="173">
                  <c:v>40176</c:v>
                </c:pt>
                <c:pt idx="174">
                  <c:v>40177</c:v>
                </c:pt>
                <c:pt idx="175">
                  <c:v>40178</c:v>
                </c:pt>
                <c:pt idx="176">
                  <c:v>40179</c:v>
                </c:pt>
                <c:pt idx="177">
                  <c:v>40182</c:v>
                </c:pt>
                <c:pt idx="178">
                  <c:v>40183</c:v>
                </c:pt>
                <c:pt idx="179">
                  <c:v>40184</c:v>
                </c:pt>
                <c:pt idx="180">
                  <c:v>40185</c:v>
                </c:pt>
                <c:pt idx="181">
                  <c:v>40186</c:v>
                </c:pt>
                <c:pt idx="182">
                  <c:v>40189</c:v>
                </c:pt>
                <c:pt idx="183">
                  <c:v>40190</c:v>
                </c:pt>
                <c:pt idx="184">
                  <c:v>40191</c:v>
                </c:pt>
                <c:pt idx="185">
                  <c:v>40192</c:v>
                </c:pt>
                <c:pt idx="186">
                  <c:v>40193</c:v>
                </c:pt>
                <c:pt idx="187">
                  <c:v>40196</c:v>
                </c:pt>
                <c:pt idx="188">
                  <c:v>40197</c:v>
                </c:pt>
                <c:pt idx="189">
                  <c:v>40198</c:v>
                </c:pt>
                <c:pt idx="190">
                  <c:v>40199</c:v>
                </c:pt>
                <c:pt idx="191">
                  <c:v>40200</c:v>
                </c:pt>
                <c:pt idx="192">
                  <c:v>40203</c:v>
                </c:pt>
                <c:pt idx="193">
                  <c:v>40204</c:v>
                </c:pt>
                <c:pt idx="194">
                  <c:v>40205</c:v>
                </c:pt>
                <c:pt idx="195">
                  <c:v>40206</c:v>
                </c:pt>
                <c:pt idx="196">
                  <c:v>40207</c:v>
                </c:pt>
                <c:pt idx="197">
                  <c:v>40210</c:v>
                </c:pt>
                <c:pt idx="198">
                  <c:v>40211</c:v>
                </c:pt>
                <c:pt idx="199">
                  <c:v>40212</c:v>
                </c:pt>
                <c:pt idx="200">
                  <c:v>40213</c:v>
                </c:pt>
                <c:pt idx="201">
                  <c:v>40214</c:v>
                </c:pt>
                <c:pt idx="202">
                  <c:v>40217</c:v>
                </c:pt>
                <c:pt idx="203">
                  <c:v>40218</c:v>
                </c:pt>
                <c:pt idx="204">
                  <c:v>40219</c:v>
                </c:pt>
                <c:pt idx="205">
                  <c:v>40220</c:v>
                </c:pt>
                <c:pt idx="206">
                  <c:v>40221</c:v>
                </c:pt>
                <c:pt idx="207">
                  <c:v>40224</c:v>
                </c:pt>
                <c:pt idx="208">
                  <c:v>40225</c:v>
                </c:pt>
                <c:pt idx="209">
                  <c:v>40226</c:v>
                </c:pt>
                <c:pt idx="210">
                  <c:v>40227</c:v>
                </c:pt>
                <c:pt idx="211">
                  <c:v>40228</c:v>
                </c:pt>
                <c:pt idx="212">
                  <c:v>40231</c:v>
                </c:pt>
                <c:pt idx="213">
                  <c:v>40232</c:v>
                </c:pt>
                <c:pt idx="214">
                  <c:v>40233</c:v>
                </c:pt>
                <c:pt idx="215">
                  <c:v>40234</c:v>
                </c:pt>
                <c:pt idx="216">
                  <c:v>40235</c:v>
                </c:pt>
                <c:pt idx="217">
                  <c:v>40238</c:v>
                </c:pt>
                <c:pt idx="218">
                  <c:v>40239</c:v>
                </c:pt>
                <c:pt idx="219">
                  <c:v>40240</c:v>
                </c:pt>
                <c:pt idx="220">
                  <c:v>40241</c:v>
                </c:pt>
                <c:pt idx="221">
                  <c:v>40242</c:v>
                </c:pt>
                <c:pt idx="222">
                  <c:v>40245</c:v>
                </c:pt>
                <c:pt idx="223">
                  <c:v>40246</c:v>
                </c:pt>
                <c:pt idx="224">
                  <c:v>40247</c:v>
                </c:pt>
                <c:pt idx="225">
                  <c:v>40248</c:v>
                </c:pt>
                <c:pt idx="226">
                  <c:v>40249</c:v>
                </c:pt>
                <c:pt idx="227">
                  <c:v>40252</c:v>
                </c:pt>
                <c:pt idx="228">
                  <c:v>40253</c:v>
                </c:pt>
                <c:pt idx="229">
                  <c:v>40254</c:v>
                </c:pt>
                <c:pt idx="230">
                  <c:v>40255</c:v>
                </c:pt>
                <c:pt idx="231">
                  <c:v>40256</c:v>
                </c:pt>
                <c:pt idx="232">
                  <c:v>40259</c:v>
                </c:pt>
                <c:pt idx="233">
                  <c:v>40260</c:v>
                </c:pt>
                <c:pt idx="234">
                  <c:v>40261</c:v>
                </c:pt>
                <c:pt idx="235">
                  <c:v>40262</c:v>
                </c:pt>
                <c:pt idx="236">
                  <c:v>40263</c:v>
                </c:pt>
                <c:pt idx="237">
                  <c:v>40266</c:v>
                </c:pt>
                <c:pt idx="238">
                  <c:v>40267</c:v>
                </c:pt>
                <c:pt idx="239">
                  <c:v>40268</c:v>
                </c:pt>
                <c:pt idx="240">
                  <c:v>40269</c:v>
                </c:pt>
                <c:pt idx="241">
                  <c:v>40270</c:v>
                </c:pt>
                <c:pt idx="242">
                  <c:v>40273</c:v>
                </c:pt>
                <c:pt idx="243">
                  <c:v>40274</c:v>
                </c:pt>
                <c:pt idx="244">
                  <c:v>40275</c:v>
                </c:pt>
                <c:pt idx="245">
                  <c:v>40276</c:v>
                </c:pt>
                <c:pt idx="246">
                  <c:v>40277</c:v>
                </c:pt>
                <c:pt idx="247">
                  <c:v>40280</c:v>
                </c:pt>
                <c:pt idx="248">
                  <c:v>40281</c:v>
                </c:pt>
                <c:pt idx="249">
                  <c:v>40282</c:v>
                </c:pt>
                <c:pt idx="250">
                  <c:v>40283</c:v>
                </c:pt>
                <c:pt idx="251">
                  <c:v>40284</c:v>
                </c:pt>
                <c:pt idx="252">
                  <c:v>40287</c:v>
                </c:pt>
                <c:pt idx="253">
                  <c:v>40288</c:v>
                </c:pt>
                <c:pt idx="254">
                  <c:v>40289</c:v>
                </c:pt>
                <c:pt idx="255">
                  <c:v>40290</c:v>
                </c:pt>
                <c:pt idx="256">
                  <c:v>40291</c:v>
                </c:pt>
                <c:pt idx="257">
                  <c:v>40294</c:v>
                </c:pt>
                <c:pt idx="258">
                  <c:v>40295</c:v>
                </c:pt>
                <c:pt idx="259">
                  <c:v>40296</c:v>
                </c:pt>
                <c:pt idx="260">
                  <c:v>40297</c:v>
                </c:pt>
                <c:pt idx="261">
                  <c:v>40298</c:v>
                </c:pt>
                <c:pt idx="262">
                  <c:v>40301</c:v>
                </c:pt>
                <c:pt idx="263">
                  <c:v>40302</c:v>
                </c:pt>
                <c:pt idx="264">
                  <c:v>40303</c:v>
                </c:pt>
                <c:pt idx="265">
                  <c:v>40304</c:v>
                </c:pt>
                <c:pt idx="266">
                  <c:v>40305</c:v>
                </c:pt>
                <c:pt idx="267">
                  <c:v>40308</c:v>
                </c:pt>
                <c:pt idx="268">
                  <c:v>40309</c:v>
                </c:pt>
                <c:pt idx="269">
                  <c:v>40310</c:v>
                </c:pt>
                <c:pt idx="270">
                  <c:v>40311</c:v>
                </c:pt>
                <c:pt idx="271">
                  <c:v>40312</c:v>
                </c:pt>
                <c:pt idx="272">
                  <c:v>40315</c:v>
                </c:pt>
                <c:pt idx="273">
                  <c:v>40316</c:v>
                </c:pt>
                <c:pt idx="274">
                  <c:v>40317</c:v>
                </c:pt>
                <c:pt idx="275">
                  <c:v>40318</c:v>
                </c:pt>
                <c:pt idx="276">
                  <c:v>40319</c:v>
                </c:pt>
                <c:pt idx="277">
                  <c:v>40322</c:v>
                </c:pt>
                <c:pt idx="278">
                  <c:v>40323</c:v>
                </c:pt>
                <c:pt idx="279">
                  <c:v>40324</c:v>
                </c:pt>
                <c:pt idx="280">
                  <c:v>40325</c:v>
                </c:pt>
                <c:pt idx="281">
                  <c:v>40326</c:v>
                </c:pt>
                <c:pt idx="282">
                  <c:v>40329</c:v>
                </c:pt>
                <c:pt idx="283">
                  <c:v>40330</c:v>
                </c:pt>
                <c:pt idx="284">
                  <c:v>40331</c:v>
                </c:pt>
                <c:pt idx="285">
                  <c:v>40332</c:v>
                </c:pt>
                <c:pt idx="286">
                  <c:v>40333</c:v>
                </c:pt>
                <c:pt idx="287">
                  <c:v>40336</c:v>
                </c:pt>
                <c:pt idx="288">
                  <c:v>40337</c:v>
                </c:pt>
                <c:pt idx="289">
                  <c:v>40338</c:v>
                </c:pt>
                <c:pt idx="290">
                  <c:v>40339</c:v>
                </c:pt>
                <c:pt idx="291">
                  <c:v>40340</c:v>
                </c:pt>
                <c:pt idx="292">
                  <c:v>40343</c:v>
                </c:pt>
                <c:pt idx="293">
                  <c:v>40344</c:v>
                </c:pt>
                <c:pt idx="294">
                  <c:v>40345</c:v>
                </c:pt>
                <c:pt idx="295">
                  <c:v>40346</c:v>
                </c:pt>
                <c:pt idx="296">
                  <c:v>40347</c:v>
                </c:pt>
                <c:pt idx="297">
                  <c:v>40350</c:v>
                </c:pt>
                <c:pt idx="298">
                  <c:v>40351</c:v>
                </c:pt>
                <c:pt idx="299">
                  <c:v>40352</c:v>
                </c:pt>
                <c:pt idx="300">
                  <c:v>40353</c:v>
                </c:pt>
                <c:pt idx="301">
                  <c:v>40354</c:v>
                </c:pt>
                <c:pt idx="302">
                  <c:v>40357</c:v>
                </c:pt>
                <c:pt idx="303">
                  <c:v>40358</c:v>
                </c:pt>
                <c:pt idx="304">
                  <c:v>40359</c:v>
                </c:pt>
                <c:pt idx="305">
                  <c:v>40360</c:v>
                </c:pt>
                <c:pt idx="306">
                  <c:v>40361</c:v>
                </c:pt>
                <c:pt idx="307">
                  <c:v>40364</c:v>
                </c:pt>
                <c:pt idx="308">
                  <c:v>40365</c:v>
                </c:pt>
                <c:pt idx="309">
                  <c:v>40366</c:v>
                </c:pt>
                <c:pt idx="310">
                  <c:v>40367</c:v>
                </c:pt>
                <c:pt idx="311">
                  <c:v>40368</c:v>
                </c:pt>
                <c:pt idx="312">
                  <c:v>40371</c:v>
                </c:pt>
                <c:pt idx="313">
                  <c:v>40372</c:v>
                </c:pt>
                <c:pt idx="314">
                  <c:v>40373</c:v>
                </c:pt>
                <c:pt idx="315">
                  <c:v>40374</c:v>
                </c:pt>
                <c:pt idx="316">
                  <c:v>40375</c:v>
                </c:pt>
                <c:pt idx="317">
                  <c:v>40378</c:v>
                </c:pt>
                <c:pt idx="318">
                  <c:v>40379</c:v>
                </c:pt>
                <c:pt idx="319">
                  <c:v>40380</c:v>
                </c:pt>
                <c:pt idx="320">
                  <c:v>40381</c:v>
                </c:pt>
                <c:pt idx="321">
                  <c:v>40382</c:v>
                </c:pt>
                <c:pt idx="322">
                  <c:v>40385</c:v>
                </c:pt>
                <c:pt idx="323">
                  <c:v>40386</c:v>
                </c:pt>
                <c:pt idx="324">
                  <c:v>40387</c:v>
                </c:pt>
                <c:pt idx="325">
                  <c:v>40388</c:v>
                </c:pt>
                <c:pt idx="326">
                  <c:v>40389</c:v>
                </c:pt>
                <c:pt idx="327">
                  <c:v>40392</c:v>
                </c:pt>
                <c:pt idx="328">
                  <c:v>40393</c:v>
                </c:pt>
                <c:pt idx="329">
                  <c:v>40394</c:v>
                </c:pt>
                <c:pt idx="330">
                  <c:v>40395</c:v>
                </c:pt>
                <c:pt idx="331">
                  <c:v>40396</c:v>
                </c:pt>
                <c:pt idx="332">
                  <c:v>40399</c:v>
                </c:pt>
                <c:pt idx="333">
                  <c:v>40400</c:v>
                </c:pt>
                <c:pt idx="334">
                  <c:v>40401</c:v>
                </c:pt>
                <c:pt idx="335">
                  <c:v>40402</c:v>
                </c:pt>
                <c:pt idx="336">
                  <c:v>40403</c:v>
                </c:pt>
                <c:pt idx="337">
                  <c:v>40406</c:v>
                </c:pt>
                <c:pt idx="338">
                  <c:v>40407</c:v>
                </c:pt>
                <c:pt idx="339">
                  <c:v>40408</c:v>
                </c:pt>
                <c:pt idx="340">
                  <c:v>40409</c:v>
                </c:pt>
                <c:pt idx="341">
                  <c:v>40410</c:v>
                </c:pt>
                <c:pt idx="342">
                  <c:v>40413</c:v>
                </c:pt>
                <c:pt idx="343">
                  <c:v>40414</c:v>
                </c:pt>
                <c:pt idx="344">
                  <c:v>40415</c:v>
                </c:pt>
                <c:pt idx="345">
                  <c:v>40416</c:v>
                </c:pt>
                <c:pt idx="346">
                  <c:v>40417</c:v>
                </c:pt>
                <c:pt idx="347">
                  <c:v>40420</c:v>
                </c:pt>
                <c:pt idx="348">
                  <c:v>40421</c:v>
                </c:pt>
                <c:pt idx="349">
                  <c:v>40422</c:v>
                </c:pt>
                <c:pt idx="350">
                  <c:v>40423</c:v>
                </c:pt>
                <c:pt idx="351">
                  <c:v>40424</c:v>
                </c:pt>
                <c:pt idx="352">
                  <c:v>40427</c:v>
                </c:pt>
                <c:pt idx="353">
                  <c:v>40428</c:v>
                </c:pt>
                <c:pt idx="354">
                  <c:v>40429</c:v>
                </c:pt>
                <c:pt idx="355">
                  <c:v>40430</c:v>
                </c:pt>
                <c:pt idx="356">
                  <c:v>40431</c:v>
                </c:pt>
                <c:pt idx="357">
                  <c:v>40434</c:v>
                </c:pt>
                <c:pt idx="358">
                  <c:v>40435</c:v>
                </c:pt>
                <c:pt idx="359">
                  <c:v>40436</c:v>
                </c:pt>
                <c:pt idx="360">
                  <c:v>40437</c:v>
                </c:pt>
                <c:pt idx="361">
                  <c:v>40438</c:v>
                </c:pt>
                <c:pt idx="362">
                  <c:v>40441</c:v>
                </c:pt>
                <c:pt idx="363">
                  <c:v>40442</c:v>
                </c:pt>
                <c:pt idx="364">
                  <c:v>40443</c:v>
                </c:pt>
                <c:pt idx="365">
                  <c:v>40444</c:v>
                </c:pt>
                <c:pt idx="366">
                  <c:v>40445</c:v>
                </c:pt>
                <c:pt idx="367">
                  <c:v>40448</c:v>
                </c:pt>
                <c:pt idx="368">
                  <c:v>40449</c:v>
                </c:pt>
                <c:pt idx="369">
                  <c:v>40450</c:v>
                </c:pt>
                <c:pt idx="370">
                  <c:v>40451</c:v>
                </c:pt>
                <c:pt idx="371">
                  <c:v>40452</c:v>
                </c:pt>
                <c:pt idx="372">
                  <c:v>40455</c:v>
                </c:pt>
                <c:pt idx="373">
                  <c:v>40456</c:v>
                </c:pt>
                <c:pt idx="374">
                  <c:v>40457</c:v>
                </c:pt>
                <c:pt idx="375">
                  <c:v>40458</c:v>
                </c:pt>
                <c:pt idx="376">
                  <c:v>40459</c:v>
                </c:pt>
                <c:pt idx="377">
                  <c:v>40462</c:v>
                </c:pt>
                <c:pt idx="378">
                  <c:v>40463</c:v>
                </c:pt>
                <c:pt idx="379">
                  <c:v>40464</c:v>
                </c:pt>
                <c:pt idx="380">
                  <c:v>40465</c:v>
                </c:pt>
                <c:pt idx="381">
                  <c:v>40466</c:v>
                </c:pt>
                <c:pt idx="382">
                  <c:v>40469</c:v>
                </c:pt>
                <c:pt idx="383">
                  <c:v>40470</c:v>
                </c:pt>
                <c:pt idx="384">
                  <c:v>40471</c:v>
                </c:pt>
                <c:pt idx="385">
                  <c:v>40472</c:v>
                </c:pt>
                <c:pt idx="386">
                  <c:v>40473</c:v>
                </c:pt>
                <c:pt idx="387">
                  <c:v>40476</c:v>
                </c:pt>
                <c:pt idx="388">
                  <c:v>40477</c:v>
                </c:pt>
                <c:pt idx="389">
                  <c:v>40478</c:v>
                </c:pt>
                <c:pt idx="390">
                  <c:v>40479</c:v>
                </c:pt>
                <c:pt idx="391">
                  <c:v>40480</c:v>
                </c:pt>
                <c:pt idx="392">
                  <c:v>40483</c:v>
                </c:pt>
                <c:pt idx="393">
                  <c:v>40484</c:v>
                </c:pt>
                <c:pt idx="394">
                  <c:v>40485</c:v>
                </c:pt>
                <c:pt idx="395">
                  <c:v>40486</c:v>
                </c:pt>
                <c:pt idx="396">
                  <c:v>40487</c:v>
                </c:pt>
                <c:pt idx="397">
                  <c:v>40490</c:v>
                </c:pt>
                <c:pt idx="398">
                  <c:v>40491</c:v>
                </c:pt>
                <c:pt idx="399">
                  <c:v>40492</c:v>
                </c:pt>
                <c:pt idx="400">
                  <c:v>40493</c:v>
                </c:pt>
                <c:pt idx="401">
                  <c:v>40494</c:v>
                </c:pt>
                <c:pt idx="402">
                  <c:v>40497</c:v>
                </c:pt>
                <c:pt idx="403">
                  <c:v>40498</c:v>
                </c:pt>
                <c:pt idx="404">
                  <c:v>40499</c:v>
                </c:pt>
                <c:pt idx="405">
                  <c:v>40500</c:v>
                </c:pt>
                <c:pt idx="406">
                  <c:v>40501</c:v>
                </c:pt>
                <c:pt idx="407">
                  <c:v>40504</c:v>
                </c:pt>
                <c:pt idx="408">
                  <c:v>40505</c:v>
                </c:pt>
                <c:pt idx="409">
                  <c:v>40506</c:v>
                </c:pt>
                <c:pt idx="410">
                  <c:v>40507</c:v>
                </c:pt>
                <c:pt idx="411">
                  <c:v>40508</c:v>
                </c:pt>
                <c:pt idx="412">
                  <c:v>40511</c:v>
                </c:pt>
                <c:pt idx="413">
                  <c:v>40512</c:v>
                </c:pt>
                <c:pt idx="414">
                  <c:v>40513</c:v>
                </c:pt>
                <c:pt idx="415">
                  <c:v>40514</c:v>
                </c:pt>
                <c:pt idx="416">
                  <c:v>40515</c:v>
                </c:pt>
                <c:pt idx="417">
                  <c:v>40518</c:v>
                </c:pt>
                <c:pt idx="418">
                  <c:v>40519</c:v>
                </c:pt>
                <c:pt idx="419">
                  <c:v>40520</c:v>
                </c:pt>
                <c:pt idx="420">
                  <c:v>40521</c:v>
                </c:pt>
                <c:pt idx="421">
                  <c:v>40522</c:v>
                </c:pt>
                <c:pt idx="422">
                  <c:v>40525</c:v>
                </c:pt>
                <c:pt idx="423">
                  <c:v>40526</c:v>
                </c:pt>
                <c:pt idx="424">
                  <c:v>40527</c:v>
                </c:pt>
                <c:pt idx="425">
                  <c:v>40528</c:v>
                </c:pt>
                <c:pt idx="426">
                  <c:v>40529</c:v>
                </c:pt>
                <c:pt idx="427">
                  <c:v>40532</c:v>
                </c:pt>
                <c:pt idx="428">
                  <c:v>40533</c:v>
                </c:pt>
                <c:pt idx="429">
                  <c:v>40534</c:v>
                </c:pt>
                <c:pt idx="430">
                  <c:v>40535</c:v>
                </c:pt>
                <c:pt idx="431">
                  <c:v>40536</c:v>
                </c:pt>
                <c:pt idx="432">
                  <c:v>40539</c:v>
                </c:pt>
                <c:pt idx="433">
                  <c:v>40540</c:v>
                </c:pt>
                <c:pt idx="434">
                  <c:v>40541</c:v>
                </c:pt>
                <c:pt idx="435">
                  <c:v>40542</c:v>
                </c:pt>
                <c:pt idx="436">
                  <c:v>40543</c:v>
                </c:pt>
                <c:pt idx="437">
                  <c:v>40546</c:v>
                </c:pt>
                <c:pt idx="438">
                  <c:v>40547</c:v>
                </c:pt>
                <c:pt idx="439">
                  <c:v>40548</c:v>
                </c:pt>
                <c:pt idx="440">
                  <c:v>40549</c:v>
                </c:pt>
                <c:pt idx="441">
                  <c:v>40550</c:v>
                </c:pt>
                <c:pt idx="442">
                  <c:v>40553</c:v>
                </c:pt>
                <c:pt idx="443">
                  <c:v>40554</c:v>
                </c:pt>
                <c:pt idx="444">
                  <c:v>40555</c:v>
                </c:pt>
                <c:pt idx="445">
                  <c:v>40556</c:v>
                </c:pt>
                <c:pt idx="446">
                  <c:v>40557</c:v>
                </c:pt>
                <c:pt idx="447">
                  <c:v>40560</c:v>
                </c:pt>
                <c:pt idx="448">
                  <c:v>40561</c:v>
                </c:pt>
                <c:pt idx="449">
                  <c:v>40562</c:v>
                </c:pt>
                <c:pt idx="450">
                  <c:v>40563</c:v>
                </c:pt>
                <c:pt idx="451">
                  <c:v>40564</c:v>
                </c:pt>
                <c:pt idx="452">
                  <c:v>40567</c:v>
                </c:pt>
                <c:pt idx="453">
                  <c:v>40568</c:v>
                </c:pt>
                <c:pt idx="454">
                  <c:v>40569</c:v>
                </c:pt>
                <c:pt idx="455">
                  <c:v>40570</c:v>
                </c:pt>
                <c:pt idx="456">
                  <c:v>40571</c:v>
                </c:pt>
                <c:pt idx="457">
                  <c:v>40574</c:v>
                </c:pt>
                <c:pt idx="458">
                  <c:v>40575</c:v>
                </c:pt>
                <c:pt idx="459">
                  <c:v>40576</c:v>
                </c:pt>
                <c:pt idx="460">
                  <c:v>40577</c:v>
                </c:pt>
                <c:pt idx="461">
                  <c:v>40578</c:v>
                </c:pt>
                <c:pt idx="462">
                  <c:v>40581</c:v>
                </c:pt>
                <c:pt idx="463">
                  <c:v>40582</c:v>
                </c:pt>
                <c:pt idx="464">
                  <c:v>40583</c:v>
                </c:pt>
                <c:pt idx="465">
                  <c:v>40584</c:v>
                </c:pt>
                <c:pt idx="466">
                  <c:v>40585</c:v>
                </c:pt>
                <c:pt idx="467">
                  <c:v>40588</c:v>
                </c:pt>
                <c:pt idx="468">
                  <c:v>40589</c:v>
                </c:pt>
                <c:pt idx="469">
                  <c:v>40590</c:v>
                </c:pt>
                <c:pt idx="470">
                  <c:v>40591</c:v>
                </c:pt>
                <c:pt idx="471">
                  <c:v>40592</c:v>
                </c:pt>
                <c:pt idx="472">
                  <c:v>40595</c:v>
                </c:pt>
                <c:pt idx="473">
                  <c:v>40596</c:v>
                </c:pt>
                <c:pt idx="474">
                  <c:v>40597</c:v>
                </c:pt>
                <c:pt idx="475">
                  <c:v>40598</c:v>
                </c:pt>
                <c:pt idx="476">
                  <c:v>40599</c:v>
                </c:pt>
                <c:pt idx="477">
                  <c:v>40602</c:v>
                </c:pt>
                <c:pt idx="478">
                  <c:v>40603</c:v>
                </c:pt>
                <c:pt idx="479">
                  <c:v>40604</c:v>
                </c:pt>
                <c:pt idx="480">
                  <c:v>40605</c:v>
                </c:pt>
                <c:pt idx="481">
                  <c:v>40606</c:v>
                </c:pt>
                <c:pt idx="482">
                  <c:v>40609</c:v>
                </c:pt>
                <c:pt idx="483">
                  <c:v>40610</c:v>
                </c:pt>
                <c:pt idx="484">
                  <c:v>40611</c:v>
                </c:pt>
                <c:pt idx="485">
                  <c:v>40612</c:v>
                </c:pt>
                <c:pt idx="486">
                  <c:v>40613</c:v>
                </c:pt>
                <c:pt idx="487">
                  <c:v>40616</c:v>
                </c:pt>
                <c:pt idx="488">
                  <c:v>40617</c:v>
                </c:pt>
                <c:pt idx="489">
                  <c:v>40618</c:v>
                </c:pt>
                <c:pt idx="490">
                  <c:v>40619</c:v>
                </c:pt>
                <c:pt idx="491">
                  <c:v>40620</c:v>
                </c:pt>
                <c:pt idx="492">
                  <c:v>40623</c:v>
                </c:pt>
                <c:pt idx="493">
                  <c:v>40624</c:v>
                </c:pt>
                <c:pt idx="494">
                  <c:v>40625</c:v>
                </c:pt>
                <c:pt idx="495">
                  <c:v>40626</c:v>
                </c:pt>
                <c:pt idx="496">
                  <c:v>40627</c:v>
                </c:pt>
                <c:pt idx="497">
                  <c:v>40630</c:v>
                </c:pt>
                <c:pt idx="498">
                  <c:v>40631</c:v>
                </c:pt>
                <c:pt idx="499">
                  <c:v>40632</c:v>
                </c:pt>
                <c:pt idx="500">
                  <c:v>40633</c:v>
                </c:pt>
                <c:pt idx="501">
                  <c:v>40634</c:v>
                </c:pt>
                <c:pt idx="502">
                  <c:v>40637</c:v>
                </c:pt>
                <c:pt idx="503">
                  <c:v>40638</c:v>
                </c:pt>
                <c:pt idx="504">
                  <c:v>40639</c:v>
                </c:pt>
                <c:pt idx="505">
                  <c:v>40640</c:v>
                </c:pt>
                <c:pt idx="506">
                  <c:v>40641</c:v>
                </c:pt>
                <c:pt idx="507">
                  <c:v>40644</c:v>
                </c:pt>
                <c:pt idx="508">
                  <c:v>40645</c:v>
                </c:pt>
                <c:pt idx="509">
                  <c:v>40646</c:v>
                </c:pt>
                <c:pt idx="510">
                  <c:v>40647</c:v>
                </c:pt>
                <c:pt idx="511">
                  <c:v>40648</c:v>
                </c:pt>
                <c:pt idx="512">
                  <c:v>40651</c:v>
                </c:pt>
                <c:pt idx="513">
                  <c:v>40652</c:v>
                </c:pt>
                <c:pt idx="514">
                  <c:v>40653</c:v>
                </c:pt>
                <c:pt idx="515">
                  <c:v>40654</c:v>
                </c:pt>
                <c:pt idx="516">
                  <c:v>40655</c:v>
                </c:pt>
                <c:pt idx="517">
                  <c:v>40658</c:v>
                </c:pt>
                <c:pt idx="518">
                  <c:v>40659</c:v>
                </c:pt>
                <c:pt idx="519">
                  <c:v>40660</c:v>
                </c:pt>
                <c:pt idx="520">
                  <c:v>40661</c:v>
                </c:pt>
                <c:pt idx="521">
                  <c:v>40662</c:v>
                </c:pt>
                <c:pt idx="522">
                  <c:v>40665</c:v>
                </c:pt>
                <c:pt idx="523">
                  <c:v>40666</c:v>
                </c:pt>
                <c:pt idx="524">
                  <c:v>40667</c:v>
                </c:pt>
                <c:pt idx="525">
                  <c:v>40668</c:v>
                </c:pt>
                <c:pt idx="526">
                  <c:v>40669</c:v>
                </c:pt>
                <c:pt idx="527">
                  <c:v>40672</c:v>
                </c:pt>
                <c:pt idx="528">
                  <c:v>40673</c:v>
                </c:pt>
                <c:pt idx="529">
                  <c:v>40674</c:v>
                </c:pt>
                <c:pt idx="530">
                  <c:v>40675</c:v>
                </c:pt>
                <c:pt idx="531">
                  <c:v>40676</c:v>
                </c:pt>
                <c:pt idx="532">
                  <c:v>40679</c:v>
                </c:pt>
                <c:pt idx="533">
                  <c:v>40680</c:v>
                </c:pt>
                <c:pt idx="534">
                  <c:v>40681</c:v>
                </c:pt>
                <c:pt idx="535">
                  <c:v>40682</c:v>
                </c:pt>
                <c:pt idx="536">
                  <c:v>40683</c:v>
                </c:pt>
                <c:pt idx="537">
                  <c:v>40686</c:v>
                </c:pt>
                <c:pt idx="538">
                  <c:v>40687</c:v>
                </c:pt>
                <c:pt idx="539">
                  <c:v>40688</c:v>
                </c:pt>
                <c:pt idx="540">
                  <c:v>40689</c:v>
                </c:pt>
                <c:pt idx="541">
                  <c:v>40690</c:v>
                </c:pt>
                <c:pt idx="542">
                  <c:v>40693</c:v>
                </c:pt>
                <c:pt idx="543">
                  <c:v>40694</c:v>
                </c:pt>
                <c:pt idx="544">
                  <c:v>40695</c:v>
                </c:pt>
                <c:pt idx="545">
                  <c:v>40696</c:v>
                </c:pt>
                <c:pt idx="546">
                  <c:v>40697</c:v>
                </c:pt>
                <c:pt idx="547">
                  <c:v>40700</c:v>
                </c:pt>
                <c:pt idx="548">
                  <c:v>40701</c:v>
                </c:pt>
                <c:pt idx="549">
                  <c:v>40702</c:v>
                </c:pt>
                <c:pt idx="550">
                  <c:v>40703</c:v>
                </c:pt>
                <c:pt idx="551">
                  <c:v>40704</c:v>
                </c:pt>
                <c:pt idx="552">
                  <c:v>40707</c:v>
                </c:pt>
                <c:pt idx="553">
                  <c:v>40708</c:v>
                </c:pt>
                <c:pt idx="554">
                  <c:v>40709</c:v>
                </c:pt>
                <c:pt idx="555">
                  <c:v>40710</c:v>
                </c:pt>
                <c:pt idx="556">
                  <c:v>40711</c:v>
                </c:pt>
                <c:pt idx="557">
                  <c:v>40714</c:v>
                </c:pt>
                <c:pt idx="558">
                  <c:v>40715</c:v>
                </c:pt>
                <c:pt idx="559">
                  <c:v>40716</c:v>
                </c:pt>
                <c:pt idx="560">
                  <c:v>40717</c:v>
                </c:pt>
                <c:pt idx="561">
                  <c:v>40718</c:v>
                </c:pt>
                <c:pt idx="562">
                  <c:v>40721</c:v>
                </c:pt>
                <c:pt idx="563">
                  <c:v>40722</c:v>
                </c:pt>
                <c:pt idx="564">
                  <c:v>40723</c:v>
                </c:pt>
                <c:pt idx="565">
                  <c:v>40724</c:v>
                </c:pt>
                <c:pt idx="566">
                  <c:v>40725</c:v>
                </c:pt>
                <c:pt idx="567">
                  <c:v>40728</c:v>
                </c:pt>
                <c:pt idx="568">
                  <c:v>40729</c:v>
                </c:pt>
                <c:pt idx="569">
                  <c:v>40730</c:v>
                </c:pt>
                <c:pt idx="570">
                  <c:v>40731</c:v>
                </c:pt>
                <c:pt idx="571">
                  <c:v>40732</c:v>
                </c:pt>
                <c:pt idx="572">
                  <c:v>40735</c:v>
                </c:pt>
                <c:pt idx="573">
                  <c:v>40736</c:v>
                </c:pt>
                <c:pt idx="574">
                  <c:v>40737</c:v>
                </c:pt>
                <c:pt idx="575">
                  <c:v>40738</c:v>
                </c:pt>
                <c:pt idx="576">
                  <c:v>40739</c:v>
                </c:pt>
                <c:pt idx="577">
                  <c:v>40742</c:v>
                </c:pt>
                <c:pt idx="578">
                  <c:v>40743</c:v>
                </c:pt>
                <c:pt idx="579">
                  <c:v>40744</c:v>
                </c:pt>
                <c:pt idx="580">
                  <c:v>40745</c:v>
                </c:pt>
                <c:pt idx="581">
                  <c:v>40746</c:v>
                </c:pt>
                <c:pt idx="582">
                  <c:v>40749</c:v>
                </c:pt>
                <c:pt idx="583">
                  <c:v>40750</c:v>
                </c:pt>
                <c:pt idx="584">
                  <c:v>40751</c:v>
                </c:pt>
                <c:pt idx="585">
                  <c:v>40752</c:v>
                </c:pt>
                <c:pt idx="586">
                  <c:v>40753</c:v>
                </c:pt>
                <c:pt idx="587">
                  <c:v>40756</c:v>
                </c:pt>
                <c:pt idx="588">
                  <c:v>40757</c:v>
                </c:pt>
                <c:pt idx="589">
                  <c:v>40758</c:v>
                </c:pt>
                <c:pt idx="590">
                  <c:v>40759</c:v>
                </c:pt>
                <c:pt idx="591">
                  <c:v>40760</c:v>
                </c:pt>
                <c:pt idx="592">
                  <c:v>40763</c:v>
                </c:pt>
                <c:pt idx="593">
                  <c:v>40764</c:v>
                </c:pt>
                <c:pt idx="594">
                  <c:v>40765</c:v>
                </c:pt>
                <c:pt idx="595">
                  <c:v>40766</c:v>
                </c:pt>
                <c:pt idx="596">
                  <c:v>40767</c:v>
                </c:pt>
                <c:pt idx="597">
                  <c:v>40770</c:v>
                </c:pt>
                <c:pt idx="598">
                  <c:v>40771</c:v>
                </c:pt>
                <c:pt idx="599">
                  <c:v>40772</c:v>
                </c:pt>
                <c:pt idx="600">
                  <c:v>40773</c:v>
                </c:pt>
                <c:pt idx="601">
                  <c:v>40774</c:v>
                </c:pt>
                <c:pt idx="602">
                  <c:v>40777</c:v>
                </c:pt>
                <c:pt idx="603">
                  <c:v>40778</c:v>
                </c:pt>
                <c:pt idx="604">
                  <c:v>40779</c:v>
                </c:pt>
                <c:pt idx="605">
                  <c:v>40780</c:v>
                </c:pt>
                <c:pt idx="606">
                  <c:v>40781</c:v>
                </c:pt>
                <c:pt idx="607">
                  <c:v>40784</c:v>
                </c:pt>
                <c:pt idx="608">
                  <c:v>40785</c:v>
                </c:pt>
                <c:pt idx="609">
                  <c:v>40786</c:v>
                </c:pt>
                <c:pt idx="610">
                  <c:v>40787</c:v>
                </c:pt>
                <c:pt idx="611">
                  <c:v>40788</c:v>
                </c:pt>
                <c:pt idx="612">
                  <c:v>40791</c:v>
                </c:pt>
                <c:pt idx="613">
                  <c:v>40792</c:v>
                </c:pt>
                <c:pt idx="614">
                  <c:v>40793</c:v>
                </c:pt>
                <c:pt idx="615">
                  <c:v>40794</c:v>
                </c:pt>
                <c:pt idx="616">
                  <c:v>40795</c:v>
                </c:pt>
                <c:pt idx="617">
                  <c:v>40798</c:v>
                </c:pt>
                <c:pt idx="618">
                  <c:v>40799</c:v>
                </c:pt>
                <c:pt idx="619">
                  <c:v>40800</c:v>
                </c:pt>
                <c:pt idx="620">
                  <c:v>40801</c:v>
                </c:pt>
                <c:pt idx="621">
                  <c:v>40802</c:v>
                </c:pt>
                <c:pt idx="622">
                  <c:v>40805</c:v>
                </c:pt>
                <c:pt idx="623">
                  <c:v>40806</c:v>
                </c:pt>
                <c:pt idx="624">
                  <c:v>40807</c:v>
                </c:pt>
                <c:pt idx="625">
                  <c:v>40808</c:v>
                </c:pt>
                <c:pt idx="626">
                  <c:v>40809</c:v>
                </c:pt>
                <c:pt idx="627">
                  <c:v>40812</c:v>
                </c:pt>
                <c:pt idx="628">
                  <c:v>40813</c:v>
                </c:pt>
                <c:pt idx="629">
                  <c:v>40814</c:v>
                </c:pt>
                <c:pt idx="630">
                  <c:v>40815</c:v>
                </c:pt>
                <c:pt idx="631">
                  <c:v>40816</c:v>
                </c:pt>
                <c:pt idx="632">
                  <c:v>40819</c:v>
                </c:pt>
                <c:pt idx="633">
                  <c:v>40820</c:v>
                </c:pt>
                <c:pt idx="634">
                  <c:v>40821</c:v>
                </c:pt>
                <c:pt idx="635">
                  <c:v>40822</c:v>
                </c:pt>
                <c:pt idx="636">
                  <c:v>40823</c:v>
                </c:pt>
                <c:pt idx="637">
                  <c:v>40826</c:v>
                </c:pt>
                <c:pt idx="638">
                  <c:v>40827</c:v>
                </c:pt>
                <c:pt idx="639">
                  <c:v>40828</c:v>
                </c:pt>
                <c:pt idx="640">
                  <c:v>40829</c:v>
                </c:pt>
                <c:pt idx="641">
                  <c:v>40830</c:v>
                </c:pt>
                <c:pt idx="642">
                  <c:v>40833</c:v>
                </c:pt>
                <c:pt idx="643">
                  <c:v>40834</c:v>
                </c:pt>
                <c:pt idx="644">
                  <c:v>40835</c:v>
                </c:pt>
                <c:pt idx="645">
                  <c:v>40836</c:v>
                </c:pt>
                <c:pt idx="646">
                  <c:v>40837</c:v>
                </c:pt>
                <c:pt idx="647">
                  <c:v>40840</c:v>
                </c:pt>
                <c:pt idx="648">
                  <c:v>40841</c:v>
                </c:pt>
                <c:pt idx="649">
                  <c:v>40842</c:v>
                </c:pt>
                <c:pt idx="650">
                  <c:v>40843</c:v>
                </c:pt>
                <c:pt idx="651">
                  <c:v>40844</c:v>
                </c:pt>
                <c:pt idx="652">
                  <c:v>40847</c:v>
                </c:pt>
                <c:pt idx="653">
                  <c:v>40848</c:v>
                </c:pt>
                <c:pt idx="654">
                  <c:v>40849</c:v>
                </c:pt>
                <c:pt idx="655">
                  <c:v>40850</c:v>
                </c:pt>
                <c:pt idx="656">
                  <c:v>40851</c:v>
                </c:pt>
                <c:pt idx="657">
                  <c:v>40854</c:v>
                </c:pt>
                <c:pt idx="658">
                  <c:v>40855</c:v>
                </c:pt>
                <c:pt idx="659">
                  <c:v>40856</c:v>
                </c:pt>
                <c:pt idx="660">
                  <c:v>40857</c:v>
                </c:pt>
                <c:pt idx="661">
                  <c:v>40858</c:v>
                </c:pt>
                <c:pt idx="662">
                  <c:v>40861</c:v>
                </c:pt>
                <c:pt idx="663">
                  <c:v>40862</c:v>
                </c:pt>
                <c:pt idx="664">
                  <c:v>40863</c:v>
                </c:pt>
                <c:pt idx="665">
                  <c:v>40864</c:v>
                </c:pt>
                <c:pt idx="666">
                  <c:v>40865</c:v>
                </c:pt>
                <c:pt idx="667">
                  <c:v>40868</c:v>
                </c:pt>
                <c:pt idx="668">
                  <c:v>40869</c:v>
                </c:pt>
                <c:pt idx="669">
                  <c:v>40870</c:v>
                </c:pt>
                <c:pt idx="670">
                  <c:v>40871</c:v>
                </c:pt>
                <c:pt idx="671">
                  <c:v>40872</c:v>
                </c:pt>
                <c:pt idx="672">
                  <c:v>40875</c:v>
                </c:pt>
                <c:pt idx="673">
                  <c:v>40876</c:v>
                </c:pt>
                <c:pt idx="674">
                  <c:v>40877</c:v>
                </c:pt>
                <c:pt idx="675">
                  <c:v>40878</c:v>
                </c:pt>
                <c:pt idx="676">
                  <c:v>40879</c:v>
                </c:pt>
                <c:pt idx="677">
                  <c:v>40882</c:v>
                </c:pt>
                <c:pt idx="678">
                  <c:v>40883</c:v>
                </c:pt>
                <c:pt idx="679">
                  <c:v>40884</c:v>
                </c:pt>
                <c:pt idx="680">
                  <c:v>40885</c:v>
                </c:pt>
                <c:pt idx="681">
                  <c:v>40886</c:v>
                </c:pt>
                <c:pt idx="682">
                  <c:v>40889</c:v>
                </c:pt>
                <c:pt idx="683">
                  <c:v>40890</c:v>
                </c:pt>
                <c:pt idx="684">
                  <c:v>40891</c:v>
                </c:pt>
                <c:pt idx="685">
                  <c:v>40892</c:v>
                </c:pt>
                <c:pt idx="686">
                  <c:v>40893</c:v>
                </c:pt>
                <c:pt idx="687">
                  <c:v>40896</c:v>
                </c:pt>
                <c:pt idx="688">
                  <c:v>40897</c:v>
                </c:pt>
                <c:pt idx="689">
                  <c:v>40898</c:v>
                </c:pt>
                <c:pt idx="690">
                  <c:v>40899</c:v>
                </c:pt>
                <c:pt idx="691">
                  <c:v>40900</c:v>
                </c:pt>
                <c:pt idx="692">
                  <c:v>40903</c:v>
                </c:pt>
                <c:pt idx="693">
                  <c:v>40904</c:v>
                </c:pt>
                <c:pt idx="694">
                  <c:v>40905</c:v>
                </c:pt>
                <c:pt idx="695">
                  <c:v>40906</c:v>
                </c:pt>
                <c:pt idx="696">
                  <c:v>40907</c:v>
                </c:pt>
                <c:pt idx="697">
                  <c:v>40910</c:v>
                </c:pt>
                <c:pt idx="698">
                  <c:v>40911</c:v>
                </c:pt>
                <c:pt idx="699">
                  <c:v>40912</c:v>
                </c:pt>
                <c:pt idx="700">
                  <c:v>40913</c:v>
                </c:pt>
                <c:pt idx="701">
                  <c:v>40914</c:v>
                </c:pt>
                <c:pt idx="702">
                  <c:v>40917</c:v>
                </c:pt>
                <c:pt idx="703">
                  <c:v>40918</c:v>
                </c:pt>
                <c:pt idx="704">
                  <c:v>40919</c:v>
                </c:pt>
                <c:pt idx="705">
                  <c:v>40920</c:v>
                </c:pt>
                <c:pt idx="706">
                  <c:v>40921</c:v>
                </c:pt>
                <c:pt idx="707">
                  <c:v>40924</c:v>
                </c:pt>
                <c:pt idx="708">
                  <c:v>40925</c:v>
                </c:pt>
                <c:pt idx="709">
                  <c:v>40926</c:v>
                </c:pt>
                <c:pt idx="710">
                  <c:v>40927</c:v>
                </c:pt>
                <c:pt idx="711">
                  <c:v>40928</c:v>
                </c:pt>
                <c:pt idx="712">
                  <c:v>40931</c:v>
                </c:pt>
                <c:pt idx="713">
                  <c:v>40932</c:v>
                </c:pt>
                <c:pt idx="714">
                  <c:v>40933</c:v>
                </c:pt>
                <c:pt idx="715">
                  <c:v>40934</c:v>
                </c:pt>
                <c:pt idx="716">
                  <c:v>40935</c:v>
                </c:pt>
                <c:pt idx="717">
                  <c:v>40938</c:v>
                </c:pt>
                <c:pt idx="718">
                  <c:v>40939</c:v>
                </c:pt>
                <c:pt idx="719">
                  <c:v>40940</c:v>
                </c:pt>
                <c:pt idx="720">
                  <c:v>40941</c:v>
                </c:pt>
                <c:pt idx="721">
                  <c:v>40942</c:v>
                </c:pt>
                <c:pt idx="722">
                  <c:v>40945</c:v>
                </c:pt>
                <c:pt idx="723">
                  <c:v>40946</c:v>
                </c:pt>
                <c:pt idx="724">
                  <c:v>40947</c:v>
                </c:pt>
                <c:pt idx="725">
                  <c:v>40948</c:v>
                </c:pt>
                <c:pt idx="726">
                  <c:v>40949</c:v>
                </c:pt>
                <c:pt idx="727">
                  <c:v>40952</c:v>
                </c:pt>
                <c:pt idx="728">
                  <c:v>40953</c:v>
                </c:pt>
                <c:pt idx="729">
                  <c:v>40954</c:v>
                </c:pt>
                <c:pt idx="730">
                  <c:v>40955</c:v>
                </c:pt>
                <c:pt idx="731">
                  <c:v>40956</c:v>
                </c:pt>
                <c:pt idx="732">
                  <c:v>40959</c:v>
                </c:pt>
                <c:pt idx="733">
                  <c:v>40960</c:v>
                </c:pt>
                <c:pt idx="734">
                  <c:v>40961</c:v>
                </c:pt>
                <c:pt idx="735">
                  <c:v>40962</c:v>
                </c:pt>
                <c:pt idx="736">
                  <c:v>40963</c:v>
                </c:pt>
                <c:pt idx="737">
                  <c:v>40966</c:v>
                </c:pt>
                <c:pt idx="738">
                  <c:v>40967</c:v>
                </c:pt>
                <c:pt idx="739">
                  <c:v>40968</c:v>
                </c:pt>
                <c:pt idx="740">
                  <c:v>40969</c:v>
                </c:pt>
                <c:pt idx="741">
                  <c:v>40970</c:v>
                </c:pt>
                <c:pt idx="742">
                  <c:v>40973</c:v>
                </c:pt>
                <c:pt idx="743">
                  <c:v>40974</c:v>
                </c:pt>
                <c:pt idx="744">
                  <c:v>40975</c:v>
                </c:pt>
                <c:pt idx="745">
                  <c:v>40976</c:v>
                </c:pt>
                <c:pt idx="746">
                  <c:v>40977</c:v>
                </c:pt>
                <c:pt idx="747">
                  <c:v>40980</c:v>
                </c:pt>
                <c:pt idx="748">
                  <c:v>40981</c:v>
                </c:pt>
                <c:pt idx="749">
                  <c:v>40982</c:v>
                </c:pt>
                <c:pt idx="750">
                  <c:v>40983</c:v>
                </c:pt>
                <c:pt idx="751">
                  <c:v>40984</c:v>
                </c:pt>
                <c:pt idx="752">
                  <c:v>40987</c:v>
                </c:pt>
                <c:pt idx="753">
                  <c:v>40988</c:v>
                </c:pt>
                <c:pt idx="754">
                  <c:v>40989</c:v>
                </c:pt>
                <c:pt idx="755">
                  <c:v>40990</c:v>
                </c:pt>
                <c:pt idx="756">
                  <c:v>40991</c:v>
                </c:pt>
                <c:pt idx="757">
                  <c:v>40994</c:v>
                </c:pt>
                <c:pt idx="758">
                  <c:v>40995</c:v>
                </c:pt>
                <c:pt idx="759">
                  <c:v>40996</c:v>
                </c:pt>
                <c:pt idx="760">
                  <c:v>40997</c:v>
                </c:pt>
                <c:pt idx="761">
                  <c:v>40998</c:v>
                </c:pt>
                <c:pt idx="762">
                  <c:v>41001</c:v>
                </c:pt>
                <c:pt idx="763">
                  <c:v>41002</c:v>
                </c:pt>
                <c:pt idx="764">
                  <c:v>41003</c:v>
                </c:pt>
                <c:pt idx="765">
                  <c:v>41004</c:v>
                </c:pt>
                <c:pt idx="766">
                  <c:v>41005</c:v>
                </c:pt>
                <c:pt idx="767">
                  <c:v>41008</c:v>
                </c:pt>
                <c:pt idx="768">
                  <c:v>41009</c:v>
                </c:pt>
                <c:pt idx="769">
                  <c:v>41010</c:v>
                </c:pt>
                <c:pt idx="770">
                  <c:v>41011</c:v>
                </c:pt>
                <c:pt idx="771">
                  <c:v>41012</c:v>
                </c:pt>
                <c:pt idx="772">
                  <c:v>41015</c:v>
                </c:pt>
                <c:pt idx="773">
                  <c:v>41016</c:v>
                </c:pt>
                <c:pt idx="774">
                  <c:v>41017</c:v>
                </c:pt>
                <c:pt idx="775">
                  <c:v>41018</c:v>
                </c:pt>
                <c:pt idx="776">
                  <c:v>41019</c:v>
                </c:pt>
                <c:pt idx="777">
                  <c:v>41022</c:v>
                </c:pt>
                <c:pt idx="778">
                  <c:v>41023</c:v>
                </c:pt>
                <c:pt idx="779">
                  <c:v>41024</c:v>
                </c:pt>
                <c:pt idx="780">
                  <c:v>41025</c:v>
                </c:pt>
                <c:pt idx="781">
                  <c:v>41026</c:v>
                </c:pt>
                <c:pt idx="782">
                  <c:v>41029</c:v>
                </c:pt>
                <c:pt idx="783">
                  <c:v>41030</c:v>
                </c:pt>
                <c:pt idx="784">
                  <c:v>41031</c:v>
                </c:pt>
                <c:pt idx="785">
                  <c:v>41032</c:v>
                </c:pt>
                <c:pt idx="786">
                  <c:v>41033</c:v>
                </c:pt>
                <c:pt idx="787">
                  <c:v>41036</c:v>
                </c:pt>
                <c:pt idx="788">
                  <c:v>41037</c:v>
                </c:pt>
                <c:pt idx="789">
                  <c:v>41038</c:v>
                </c:pt>
                <c:pt idx="790">
                  <c:v>41039</c:v>
                </c:pt>
                <c:pt idx="791">
                  <c:v>41040</c:v>
                </c:pt>
                <c:pt idx="792">
                  <c:v>41043</c:v>
                </c:pt>
                <c:pt idx="793">
                  <c:v>41044</c:v>
                </c:pt>
                <c:pt idx="794">
                  <c:v>41045</c:v>
                </c:pt>
                <c:pt idx="795">
                  <c:v>41046</c:v>
                </c:pt>
                <c:pt idx="796">
                  <c:v>41047</c:v>
                </c:pt>
                <c:pt idx="797">
                  <c:v>41050</c:v>
                </c:pt>
                <c:pt idx="798">
                  <c:v>41051</c:v>
                </c:pt>
                <c:pt idx="799">
                  <c:v>41052</c:v>
                </c:pt>
                <c:pt idx="800">
                  <c:v>41053</c:v>
                </c:pt>
                <c:pt idx="801">
                  <c:v>41054</c:v>
                </c:pt>
                <c:pt idx="802">
                  <c:v>41057</c:v>
                </c:pt>
                <c:pt idx="803">
                  <c:v>41058</c:v>
                </c:pt>
                <c:pt idx="804">
                  <c:v>41059</c:v>
                </c:pt>
                <c:pt idx="805">
                  <c:v>41060</c:v>
                </c:pt>
                <c:pt idx="806">
                  <c:v>41061</c:v>
                </c:pt>
                <c:pt idx="807">
                  <c:v>41064</c:v>
                </c:pt>
                <c:pt idx="808">
                  <c:v>41065</c:v>
                </c:pt>
                <c:pt idx="809">
                  <c:v>41066</c:v>
                </c:pt>
                <c:pt idx="810">
                  <c:v>41067</c:v>
                </c:pt>
                <c:pt idx="811">
                  <c:v>41068</c:v>
                </c:pt>
                <c:pt idx="812">
                  <c:v>41071</c:v>
                </c:pt>
                <c:pt idx="813">
                  <c:v>41072</c:v>
                </c:pt>
                <c:pt idx="814">
                  <c:v>41073</c:v>
                </c:pt>
                <c:pt idx="815">
                  <c:v>41074</c:v>
                </c:pt>
                <c:pt idx="816">
                  <c:v>41075</c:v>
                </c:pt>
                <c:pt idx="817">
                  <c:v>41078</c:v>
                </c:pt>
                <c:pt idx="818">
                  <c:v>41079</c:v>
                </c:pt>
                <c:pt idx="819">
                  <c:v>41080</c:v>
                </c:pt>
                <c:pt idx="820">
                  <c:v>41081</c:v>
                </c:pt>
                <c:pt idx="821">
                  <c:v>41082</c:v>
                </c:pt>
                <c:pt idx="822">
                  <c:v>41085</c:v>
                </c:pt>
                <c:pt idx="823">
                  <c:v>41086</c:v>
                </c:pt>
                <c:pt idx="824">
                  <c:v>41087</c:v>
                </c:pt>
                <c:pt idx="825">
                  <c:v>41088</c:v>
                </c:pt>
                <c:pt idx="826">
                  <c:v>41089</c:v>
                </c:pt>
                <c:pt idx="827">
                  <c:v>41092</c:v>
                </c:pt>
                <c:pt idx="828">
                  <c:v>41093</c:v>
                </c:pt>
                <c:pt idx="829">
                  <c:v>41094</c:v>
                </c:pt>
                <c:pt idx="830">
                  <c:v>41095</c:v>
                </c:pt>
                <c:pt idx="831">
                  <c:v>41096</c:v>
                </c:pt>
                <c:pt idx="832">
                  <c:v>41099</c:v>
                </c:pt>
                <c:pt idx="833">
                  <c:v>41100</c:v>
                </c:pt>
                <c:pt idx="834">
                  <c:v>41101</c:v>
                </c:pt>
                <c:pt idx="835">
                  <c:v>41102</c:v>
                </c:pt>
                <c:pt idx="836">
                  <c:v>41103</c:v>
                </c:pt>
                <c:pt idx="837">
                  <c:v>41106</c:v>
                </c:pt>
                <c:pt idx="838">
                  <c:v>41107</c:v>
                </c:pt>
                <c:pt idx="839">
                  <c:v>41108</c:v>
                </c:pt>
                <c:pt idx="840">
                  <c:v>41109</c:v>
                </c:pt>
                <c:pt idx="841">
                  <c:v>41110</c:v>
                </c:pt>
                <c:pt idx="842">
                  <c:v>41113</c:v>
                </c:pt>
                <c:pt idx="843">
                  <c:v>41114</c:v>
                </c:pt>
                <c:pt idx="844">
                  <c:v>41115</c:v>
                </c:pt>
                <c:pt idx="845">
                  <c:v>41116</c:v>
                </c:pt>
                <c:pt idx="846">
                  <c:v>41117</c:v>
                </c:pt>
                <c:pt idx="847">
                  <c:v>41120</c:v>
                </c:pt>
                <c:pt idx="848">
                  <c:v>41121</c:v>
                </c:pt>
                <c:pt idx="849">
                  <c:v>41122</c:v>
                </c:pt>
                <c:pt idx="850">
                  <c:v>41123</c:v>
                </c:pt>
                <c:pt idx="851">
                  <c:v>41124</c:v>
                </c:pt>
                <c:pt idx="852">
                  <c:v>41127</c:v>
                </c:pt>
                <c:pt idx="853">
                  <c:v>41128</c:v>
                </c:pt>
                <c:pt idx="854">
                  <c:v>41129</c:v>
                </c:pt>
                <c:pt idx="855">
                  <c:v>41130</c:v>
                </c:pt>
                <c:pt idx="856">
                  <c:v>41131</c:v>
                </c:pt>
                <c:pt idx="857">
                  <c:v>41134</c:v>
                </c:pt>
                <c:pt idx="858">
                  <c:v>41135</c:v>
                </c:pt>
                <c:pt idx="859">
                  <c:v>41136</c:v>
                </c:pt>
                <c:pt idx="860">
                  <c:v>41137</c:v>
                </c:pt>
                <c:pt idx="861">
                  <c:v>41138</c:v>
                </c:pt>
                <c:pt idx="862">
                  <c:v>41141</c:v>
                </c:pt>
                <c:pt idx="863">
                  <c:v>41142</c:v>
                </c:pt>
                <c:pt idx="864">
                  <c:v>41143</c:v>
                </c:pt>
                <c:pt idx="865">
                  <c:v>41144</c:v>
                </c:pt>
                <c:pt idx="866">
                  <c:v>41145</c:v>
                </c:pt>
                <c:pt idx="867">
                  <c:v>41148</c:v>
                </c:pt>
                <c:pt idx="868">
                  <c:v>41149</c:v>
                </c:pt>
                <c:pt idx="869">
                  <c:v>41150</c:v>
                </c:pt>
                <c:pt idx="870">
                  <c:v>41151</c:v>
                </c:pt>
                <c:pt idx="871">
                  <c:v>41152</c:v>
                </c:pt>
                <c:pt idx="872">
                  <c:v>41155</c:v>
                </c:pt>
                <c:pt idx="873">
                  <c:v>41156</c:v>
                </c:pt>
                <c:pt idx="874">
                  <c:v>41157</c:v>
                </c:pt>
                <c:pt idx="875">
                  <c:v>41158</c:v>
                </c:pt>
                <c:pt idx="876">
                  <c:v>41159</c:v>
                </c:pt>
                <c:pt idx="877">
                  <c:v>41162</c:v>
                </c:pt>
                <c:pt idx="878">
                  <c:v>41163</c:v>
                </c:pt>
                <c:pt idx="879">
                  <c:v>41164</c:v>
                </c:pt>
                <c:pt idx="880">
                  <c:v>41165</c:v>
                </c:pt>
                <c:pt idx="881">
                  <c:v>41166</c:v>
                </c:pt>
                <c:pt idx="882">
                  <c:v>41169</c:v>
                </c:pt>
                <c:pt idx="883">
                  <c:v>41170</c:v>
                </c:pt>
                <c:pt idx="884">
                  <c:v>41171</c:v>
                </c:pt>
                <c:pt idx="885">
                  <c:v>41172</c:v>
                </c:pt>
                <c:pt idx="886">
                  <c:v>41173</c:v>
                </c:pt>
                <c:pt idx="887">
                  <c:v>41176</c:v>
                </c:pt>
                <c:pt idx="888">
                  <c:v>41177</c:v>
                </c:pt>
                <c:pt idx="889">
                  <c:v>41178</c:v>
                </c:pt>
                <c:pt idx="890">
                  <c:v>41179</c:v>
                </c:pt>
                <c:pt idx="891">
                  <c:v>41180</c:v>
                </c:pt>
                <c:pt idx="892">
                  <c:v>41183</c:v>
                </c:pt>
                <c:pt idx="893">
                  <c:v>41184</c:v>
                </c:pt>
                <c:pt idx="894">
                  <c:v>41185</c:v>
                </c:pt>
                <c:pt idx="895">
                  <c:v>41186</c:v>
                </c:pt>
                <c:pt idx="896">
                  <c:v>41187</c:v>
                </c:pt>
                <c:pt idx="897">
                  <c:v>41190</c:v>
                </c:pt>
                <c:pt idx="898">
                  <c:v>41191</c:v>
                </c:pt>
                <c:pt idx="899">
                  <c:v>41192</c:v>
                </c:pt>
                <c:pt idx="900">
                  <c:v>41193</c:v>
                </c:pt>
                <c:pt idx="901">
                  <c:v>41194</c:v>
                </c:pt>
                <c:pt idx="902">
                  <c:v>41197</c:v>
                </c:pt>
                <c:pt idx="903">
                  <c:v>41198</c:v>
                </c:pt>
                <c:pt idx="904">
                  <c:v>41199</c:v>
                </c:pt>
                <c:pt idx="905">
                  <c:v>41200</c:v>
                </c:pt>
                <c:pt idx="906">
                  <c:v>41201</c:v>
                </c:pt>
                <c:pt idx="907">
                  <c:v>41204</c:v>
                </c:pt>
                <c:pt idx="908">
                  <c:v>41205</c:v>
                </c:pt>
                <c:pt idx="909">
                  <c:v>41206</c:v>
                </c:pt>
                <c:pt idx="910">
                  <c:v>41207</c:v>
                </c:pt>
                <c:pt idx="911">
                  <c:v>41208</c:v>
                </c:pt>
                <c:pt idx="912">
                  <c:v>41211</c:v>
                </c:pt>
                <c:pt idx="913">
                  <c:v>41212</c:v>
                </c:pt>
                <c:pt idx="914">
                  <c:v>41213</c:v>
                </c:pt>
                <c:pt idx="915">
                  <c:v>41214</c:v>
                </c:pt>
                <c:pt idx="916">
                  <c:v>41215</c:v>
                </c:pt>
                <c:pt idx="917">
                  <c:v>41218</c:v>
                </c:pt>
                <c:pt idx="918">
                  <c:v>41219</c:v>
                </c:pt>
                <c:pt idx="919">
                  <c:v>41220</c:v>
                </c:pt>
                <c:pt idx="920">
                  <c:v>41221</c:v>
                </c:pt>
                <c:pt idx="921">
                  <c:v>41222</c:v>
                </c:pt>
                <c:pt idx="922">
                  <c:v>41225</c:v>
                </c:pt>
                <c:pt idx="923">
                  <c:v>41226</c:v>
                </c:pt>
                <c:pt idx="924">
                  <c:v>41227</c:v>
                </c:pt>
                <c:pt idx="925">
                  <c:v>41228</c:v>
                </c:pt>
                <c:pt idx="926">
                  <c:v>41229</c:v>
                </c:pt>
                <c:pt idx="927">
                  <c:v>41232</c:v>
                </c:pt>
                <c:pt idx="928">
                  <c:v>41233</c:v>
                </c:pt>
                <c:pt idx="929">
                  <c:v>41234</c:v>
                </c:pt>
                <c:pt idx="930">
                  <c:v>41235</c:v>
                </c:pt>
                <c:pt idx="931">
                  <c:v>41236</c:v>
                </c:pt>
                <c:pt idx="932">
                  <c:v>41239</c:v>
                </c:pt>
                <c:pt idx="933">
                  <c:v>41240</c:v>
                </c:pt>
                <c:pt idx="934">
                  <c:v>41241</c:v>
                </c:pt>
                <c:pt idx="935">
                  <c:v>41242</c:v>
                </c:pt>
                <c:pt idx="936">
                  <c:v>41243</c:v>
                </c:pt>
                <c:pt idx="937">
                  <c:v>41246</c:v>
                </c:pt>
                <c:pt idx="938">
                  <c:v>41247</c:v>
                </c:pt>
                <c:pt idx="939">
                  <c:v>41248</c:v>
                </c:pt>
                <c:pt idx="940">
                  <c:v>41249</c:v>
                </c:pt>
                <c:pt idx="941">
                  <c:v>41250</c:v>
                </c:pt>
                <c:pt idx="942">
                  <c:v>41253</c:v>
                </c:pt>
                <c:pt idx="943">
                  <c:v>41254</c:v>
                </c:pt>
                <c:pt idx="944">
                  <c:v>41255</c:v>
                </c:pt>
                <c:pt idx="945">
                  <c:v>41256</c:v>
                </c:pt>
                <c:pt idx="946">
                  <c:v>41257</c:v>
                </c:pt>
                <c:pt idx="947">
                  <c:v>41260</c:v>
                </c:pt>
                <c:pt idx="948">
                  <c:v>41261</c:v>
                </c:pt>
                <c:pt idx="949">
                  <c:v>41262</c:v>
                </c:pt>
                <c:pt idx="950">
                  <c:v>41263</c:v>
                </c:pt>
                <c:pt idx="951">
                  <c:v>41264</c:v>
                </c:pt>
                <c:pt idx="952">
                  <c:v>41267</c:v>
                </c:pt>
                <c:pt idx="953">
                  <c:v>41268</c:v>
                </c:pt>
                <c:pt idx="954">
                  <c:v>41269</c:v>
                </c:pt>
                <c:pt idx="955">
                  <c:v>41270</c:v>
                </c:pt>
                <c:pt idx="956">
                  <c:v>41271</c:v>
                </c:pt>
                <c:pt idx="957">
                  <c:v>41274</c:v>
                </c:pt>
                <c:pt idx="958">
                  <c:v>41275</c:v>
                </c:pt>
                <c:pt idx="959">
                  <c:v>41276</c:v>
                </c:pt>
                <c:pt idx="960">
                  <c:v>41277</c:v>
                </c:pt>
                <c:pt idx="961">
                  <c:v>41278</c:v>
                </c:pt>
                <c:pt idx="962">
                  <c:v>41281</c:v>
                </c:pt>
                <c:pt idx="963">
                  <c:v>41282</c:v>
                </c:pt>
                <c:pt idx="964">
                  <c:v>41283</c:v>
                </c:pt>
                <c:pt idx="965">
                  <c:v>41284</c:v>
                </c:pt>
                <c:pt idx="966">
                  <c:v>41285</c:v>
                </c:pt>
                <c:pt idx="967">
                  <c:v>41288</c:v>
                </c:pt>
                <c:pt idx="968">
                  <c:v>41289</c:v>
                </c:pt>
                <c:pt idx="969">
                  <c:v>41290</c:v>
                </c:pt>
                <c:pt idx="970">
                  <c:v>41291</c:v>
                </c:pt>
                <c:pt idx="971">
                  <c:v>41292</c:v>
                </c:pt>
                <c:pt idx="972">
                  <c:v>41295</c:v>
                </c:pt>
                <c:pt idx="973">
                  <c:v>41296</c:v>
                </c:pt>
                <c:pt idx="974">
                  <c:v>41297</c:v>
                </c:pt>
                <c:pt idx="975">
                  <c:v>41298</c:v>
                </c:pt>
                <c:pt idx="976">
                  <c:v>41299</c:v>
                </c:pt>
                <c:pt idx="977">
                  <c:v>41302</c:v>
                </c:pt>
                <c:pt idx="978">
                  <c:v>41303</c:v>
                </c:pt>
                <c:pt idx="979">
                  <c:v>41304</c:v>
                </c:pt>
                <c:pt idx="980">
                  <c:v>41305</c:v>
                </c:pt>
                <c:pt idx="981">
                  <c:v>41306</c:v>
                </c:pt>
                <c:pt idx="982">
                  <c:v>41309</c:v>
                </c:pt>
                <c:pt idx="983">
                  <c:v>41310</c:v>
                </c:pt>
                <c:pt idx="984">
                  <c:v>41311</c:v>
                </c:pt>
                <c:pt idx="985">
                  <c:v>41312</c:v>
                </c:pt>
                <c:pt idx="986">
                  <c:v>41313</c:v>
                </c:pt>
                <c:pt idx="987">
                  <c:v>41316</c:v>
                </c:pt>
                <c:pt idx="988">
                  <c:v>41317</c:v>
                </c:pt>
                <c:pt idx="989">
                  <c:v>41318</c:v>
                </c:pt>
                <c:pt idx="990">
                  <c:v>41319</c:v>
                </c:pt>
                <c:pt idx="991">
                  <c:v>41320</c:v>
                </c:pt>
                <c:pt idx="992">
                  <c:v>41323</c:v>
                </c:pt>
                <c:pt idx="993">
                  <c:v>41324</c:v>
                </c:pt>
                <c:pt idx="994">
                  <c:v>41325</c:v>
                </c:pt>
                <c:pt idx="995">
                  <c:v>41326</c:v>
                </c:pt>
                <c:pt idx="996">
                  <c:v>41327</c:v>
                </c:pt>
                <c:pt idx="997">
                  <c:v>41330</c:v>
                </c:pt>
                <c:pt idx="998">
                  <c:v>41331</c:v>
                </c:pt>
                <c:pt idx="999">
                  <c:v>41332</c:v>
                </c:pt>
                <c:pt idx="1000">
                  <c:v>41333</c:v>
                </c:pt>
                <c:pt idx="1001">
                  <c:v>41334</c:v>
                </c:pt>
                <c:pt idx="1002">
                  <c:v>41337</c:v>
                </c:pt>
                <c:pt idx="1003">
                  <c:v>41338</c:v>
                </c:pt>
                <c:pt idx="1004">
                  <c:v>41339</c:v>
                </c:pt>
                <c:pt idx="1005">
                  <c:v>41340</c:v>
                </c:pt>
                <c:pt idx="1006">
                  <c:v>41341</c:v>
                </c:pt>
                <c:pt idx="1007">
                  <c:v>41344</c:v>
                </c:pt>
                <c:pt idx="1008">
                  <c:v>41345</c:v>
                </c:pt>
                <c:pt idx="1009">
                  <c:v>41346</c:v>
                </c:pt>
                <c:pt idx="1010">
                  <c:v>41347</c:v>
                </c:pt>
                <c:pt idx="1011">
                  <c:v>41348</c:v>
                </c:pt>
                <c:pt idx="1012">
                  <c:v>41351</c:v>
                </c:pt>
                <c:pt idx="1013">
                  <c:v>41352</c:v>
                </c:pt>
                <c:pt idx="1014">
                  <c:v>41353</c:v>
                </c:pt>
                <c:pt idx="1015">
                  <c:v>41354</c:v>
                </c:pt>
                <c:pt idx="1016">
                  <c:v>41355</c:v>
                </c:pt>
                <c:pt idx="1017">
                  <c:v>41358</c:v>
                </c:pt>
                <c:pt idx="1018">
                  <c:v>41359</c:v>
                </c:pt>
                <c:pt idx="1019">
                  <c:v>41360</c:v>
                </c:pt>
                <c:pt idx="1020">
                  <c:v>41361</c:v>
                </c:pt>
                <c:pt idx="1021">
                  <c:v>41362</c:v>
                </c:pt>
                <c:pt idx="1022">
                  <c:v>41365</c:v>
                </c:pt>
                <c:pt idx="1023">
                  <c:v>41366</c:v>
                </c:pt>
                <c:pt idx="1024">
                  <c:v>41367</c:v>
                </c:pt>
                <c:pt idx="1025">
                  <c:v>41368</c:v>
                </c:pt>
                <c:pt idx="1026">
                  <c:v>41369</c:v>
                </c:pt>
                <c:pt idx="1027">
                  <c:v>41372</c:v>
                </c:pt>
                <c:pt idx="1028">
                  <c:v>41373</c:v>
                </c:pt>
                <c:pt idx="1029">
                  <c:v>41374</c:v>
                </c:pt>
                <c:pt idx="1030">
                  <c:v>41375</c:v>
                </c:pt>
                <c:pt idx="1031">
                  <c:v>41376</c:v>
                </c:pt>
                <c:pt idx="1032">
                  <c:v>41379</c:v>
                </c:pt>
                <c:pt idx="1033">
                  <c:v>41380</c:v>
                </c:pt>
                <c:pt idx="1034">
                  <c:v>41381</c:v>
                </c:pt>
                <c:pt idx="1035">
                  <c:v>41382</c:v>
                </c:pt>
                <c:pt idx="1036">
                  <c:v>41383</c:v>
                </c:pt>
                <c:pt idx="1037">
                  <c:v>41386</c:v>
                </c:pt>
                <c:pt idx="1038">
                  <c:v>41387</c:v>
                </c:pt>
                <c:pt idx="1039">
                  <c:v>41388</c:v>
                </c:pt>
                <c:pt idx="1040">
                  <c:v>41389</c:v>
                </c:pt>
                <c:pt idx="1041">
                  <c:v>41390</c:v>
                </c:pt>
                <c:pt idx="1042">
                  <c:v>41393</c:v>
                </c:pt>
                <c:pt idx="1043">
                  <c:v>41394</c:v>
                </c:pt>
                <c:pt idx="1044">
                  <c:v>41395</c:v>
                </c:pt>
                <c:pt idx="1045">
                  <c:v>41396</c:v>
                </c:pt>
                <c:pt idx="1046">
                  <c:v>41397</c:v>
                </c:pt>
                <c:pt idx="1047">
                  <c:v>41400</c:v>
                </c:pt>
                <c:pt idx="1048">
                  <c:v>41401</c:v>
                </c:pt>
                <c:pt idx="1049">
                  <c:v>41402</c:v>
                </c:pt>
                <c:pt idx="1050">
                  <c:v>41403</c:v>
                </c:pt>
                <c:pt idx="1051">
                  <c:v>41404</c:v>
                </c:pt>
                <c:pt idx="1052">
                  <c:v>41407</c:v>
                </c:pt>
                <c:pt idx="1053">
                  <c:v>41408</c:v>
                </c:pt>
                <c:pt idx="1054">
                  <c:v>41409</c:v>
                </c:pt>
                <c:pt idx="1055">
                  <c:v>41410</c:v>
                </c:pt>
                <c:pt idx="1056">
                  <c:v>41411</c:v>
                </c:pt>
                <c:pt idx="1057">
                  <c:v>41414</c:v>
                </c:pt>
                <c:pt idx="1058">
                  <c:v>41415</c:v>
                </c:pt>
                <c:pt idx="1059">
                  <c:v>41416</c:v>
                </c:pt>
                <c:pt idx="1060">
                  <c:v>41417</c:v>
                </c:pt>
                <c:pt idx="1061">
                  <c:v>41418</c:v>
                </c:pt>
                <c:pt idx="1062">
                  <c:v>41421</c:v>
                </c:pt>
                <c:pt idx="1063">
                  <c:v>41422</c:v>
                </c:pt>
                <c:pt idx="1064">
                  <c:v>41423</c:v>
                </c:pt>
                <c:pt idx="1065">
                  <c:v>41424</c:v>
                </c:pt>
                <c:pt idx="1066">
                  <c:v>41425</c:v>
                </c:pt>
                <c:pt idx="1067">
                  <c:v>41428</c:v>
                </c:pt>
                <c:pt idx="1068">
                  <c:v>41429</c:v>
                </c:pt>
                <c:pt idx="1069">
                  <c:v>41430</c:v>
                </c:pt>
                <c:pt idx="1070">
                  <c:v>41431</c:v>
                </c:pt>
                <c:pt idx="1071">
                  <c:v>41432</c:v>
                </c:pt>
                <c:pt idx="1072">
                  <c:v>41435</c:v>
                </c:pt>
                <c:pt idx="1073">
                  <c:v>41436</c:v>
                </c:pt>
                <c:pt idx="1074">
                  <c:v>41437</c:v>
                </c:pt>
                <c:pt idx="1075">
                  <c:v>41438</c:v>
                </c:pt>
                <c:pt idx="1076">
                  <c:v>41439</c:v>
                </c:pt>
                <c:pt idx="1077">
                  <c:v>41442</c:v>
                </c:pt>
                <c:pt idx="1078">
                  <c:v>41443</c:v>
                </c:pt>
                <c:pt idx="1079">
                  <c:v>41444</c:v>
                </c:pt>
                <c:pt idx="1080">
                  <c:v>41445</c:v>
                </c:pt>
                <c:pt idx="1081">
                  <c:v>41446</c:v>
                </c:pt>
                <c:pt idx="1082">
                  <c:v>41449</c:v>
                </c:pt>
                <c:pt idx="1083">
                  <c:v>41450</c:v>
                </c:pt>
                <c:pt idx="1084">
                  <c:v>41451</c:v>
                </c:pt>
                <c:pt idx="1085">
                  <c:v>41452</c:v>
                </c:pt>
                <c:pt idx="1086">
                  <c:v>41453</c:v>
                </c:pt>
                <c:pt idx="1087">
                  <c:v>41456</c:v>
                </c:pt>
                <c:pt idx="1088">
                  <c:v>41457</c:v>
                </c:pt>
                <c:pt idx="1089">
                  <c:v>41458</c:v>
                </c:pt>
                <c:pt idx="1090">
                  <c:v>41459</c:v>
                </c:pt>
                <c:pt idx="1091">
                  <c:v>41460</c:v>
                </c:pt>
                <c:pt idx="1092">
                  <c:v>41463</c:v>
                </c:pt>
                <c:pt idx="1093">
                  <c:v>41464</c:v>
                </c:pt>
                <c:pt idx="1094">
                  <c:v>41465</c:v>
                </c:pt>
                <c:pt idx="1095">
                  <c:v>41466</c:v>
                </c:pt>
                <c:pt idx="1096">
                  <c:v>41467</c:v>
                </c:pt>
                <c:pt idx="1097">
                  <c:v>41470</c:v>
                </c:pt>
                <c:pt idx="1098">
                  <c:v>41471</c:v>
                </c:pt>
                <c:pt idx="1099">
                  <c:v>41472</c:v>
                </c:pt>
                <c:pt idx="1100">
                  <c:v>41473</c:v>
                </c:pt>
                <c:pt idx="1101">
                  <c:v>41474</c:v>
                </c:pt>
                <c:pt idx="1102">
                  <c:v>41477</c:v>
                </c:pt>
                <c:pt idx="1103">
                  <c:v>41478</c:v>
                </c:pt>
                <c:pt idx="1104">
                  <c:v>41479</c:v>
                </c:pt>
                <c:pt idx="1105">
                  <c:v>41480</c:v>
                </c:pt>
                <c:pt idx="1106">
                  <c:v>41481</c:v>
                </c:pt>
                <c:pt idx="1107">
                  <c:v>41484</c:v>
                </c:pt>
                <c:pt idx="1108">
                  <c:v>41485</c:v>
                </c:pt>
                <c:pt idx="1109">
                  <c:v>41486</c:v>
                </c:pt>
                <c:pt idx="1110">
                  <c:v>41487</c:v>
                </c:pt>
                <c:pt idx="1111">
                  <c:v>41488</c:v>
                </c:pt>
                <c:pt idx="1112">
                  <c:v>41491</c:v>
                </c:pt>
                <c:pt idx="1113">
                  <c:v>41492</c:v>
                </c:pt>
                <c:pt idx="1114">
                  <c:v>41493</c:v>
                </c:pt>
                <c:pt idx="1115">
                  <c:v>41494</c:v>
                </c:pt>
                <c:pt idx="1116">
                  <c:v>41495</c:v>
                </c:pt>
                <c:pt idx="1117">
                  <c:v>41498</c:v>
                </c:pt>
                <c:pt idx="1118">
                  <c:v>41499</c:v>
                </c:pt>
                <c:pt idx="1119">
                  <c:v>41500</c:v>
                </c:pt>
                <c:pt idx="1120">
                  <c:v>41501</c:v>
                </c:pt>
                <c:pt idx="1121">
                  <c:v>41502</c:v>
                </c:pt>
                <c:pt idx="1122">
                  <c:v>41505</c:v>
                </c:pt>
                <c:pt idx="1123">
                  <c:v>41506</c:v>
                </c:pt>
                <c:pt idx="1124">
                  <c:v>41507</c:v>
                </c:pt>
                <c:pt idx="1125">
                  <c:v>41508</c:v>
                </c:pt>
                <c:pt idx="1126">
                  <c:v>41509</c:v>
                </c:pt>
                <c:pt idx="1127">
                  <c:v>41512</c:v>
                </c:pt>
                <c:pt idx="1128">
                  <c:v>41513</c:v>
                </c:pt>
                <c:pt idx="1129">
                  <c:v>41514</c:v>
                </c:pt>
                <c:pt idx="1130">
                  <c:v>41515</c:v>
                </c:pt>
                <c:pt idx="1131">
                  <c:v>41516</c:v>
                </c:pt>
                <c:pt idx="1132">
                  <c:v>41519</c:v>
                </c:pt>
                <c:pt idx="1133">
                  <c:v>41520</c:v>
                </c:pt>
                <c:pt idx="1134">
                  <c:v>41521</c:v>
                </c:pt>
                <c:pt idx="1135">
                  <c:v>41522</c:v>
                </c:pt>
                <c:pt idx="1136">
                  <c:v>41523</c:v>
                </c:pt>
                <c:pt idx="1137">
                  <c:v>41526</c:v>
                </c:pt>
                <c:pt idx="1138">
                  <c:v>41527</c:v>
                </c:pt>
                <c:pt idx="1139">
                  <c:v>41528</c:v>
                </c:pt>
                <c:pt idx="1140">
                  <c:v>41529</c:v>
                </c:pt>
                <c:pt idx="1141">
                  <c:v>41530</c:v>
                </c:pt>
                <c:pt idx="1142">
                  <c:v>41533</c:v>
                </c:pt>
                <c:pt idx="1143">
                  <c:v>41534</c:v>
                </c:pt>
                <c:pt idx="1144">
                  <c:v>41535</c:v>
                </c:pt>
                <c:pt idx="1145">
                  <c:v>41536</c:v>
                </c:pt>
                <c:pt idx="1146">
                  <c:v>41537</c:v>
                </c:pt>
                <c:pt idx="1147">
                  <c:v>41540</c:v>
                </c:pt>
                <c:pt idx="1148">
                  <c:v>41541</c:v>
                </c:pt>
                <c:pt idx="1149">
                  <c:v>41542</c:v>
                </c:pt>
                <c:pt idx="1150">
                  <c:v>41543</c:v>
                </c:pt>
                <c:pt idx="1151">
                  <c:v>41544</c:v>
                </c:pt>
                <c:pt idx="1152">
                  <c:v>41547</c:v>
                </c:pt>
                <c:pt idx="1153">
                  <c:v>41548</c:v>
                </c:pt>
                <c:pt idx="1154">
                  <c:v>41549</c:v>
                </c:pt>
                <c:pt idx="1155">
                  <c:v>41550</c:v>
                </c:pt>
                <c:pt idx="1156">
                  <c:v>41551</c:v>
                </c:pt>
                <c:pt idx="1157">
                  <c:v>41554</c:v>
                </c:pt>
                <c:pt idx="1158">
                  <c:v>41555</c:v>
                </c:pt>
                <c:pt idx="1159">
                  <c:v>41556</c:v>
                </c:pt>
                <c:pt idx="1160">
                  <c:v>41557</c:v>
                </c:pt>
                <c:pt idx="1161">
                  <c:v>41558</c:v>
                </c:pt>
                <c:pt idx="1162">
                  <c:v>41561</c:v>
                </c:pt>
                <c:pt idx="1163">
                  <c:v>41562</c:v>
                </c:pt>
                <c:pt idx="1164">
                  <c:v>41563</c:v>
                </c:pt>
                <c:pt idx="1165">
                  <c:v>41564</c:v>
                </c:pt>
                <c:pt idx="1166">
                  <c:v>41565</c:v>
                </c:pt>
                <c:pt idx="1167">
                  <c:v>41568</c:v>
                </c:pt>
                <c:pt idx="1168">
                  <c:v>41569</c:v>
                </c:pt>
                <c:pt idx="1169">
                  <c:v>41570</c:v>
                </c:pt>
                <c:pt idx="1170">
                  <c:v>41571</c:v>
                </c:pt>
                <c:pt idx="1171">
                  <c:v>41572</c:v>
                </c:pt>
                <c:pt idx="1172">
                  <c:v>41575</c:v>
                </c:pt>
                <c:pt idx="1173">
                  <c:v>41576</c:v>
                </c:pt>
                <c:pt idx="1174">
                  <c:v>41577</c:v>
                </c:pt>
                <c:pt idx="1175">
                  <c:v>41578</c:v>
                </c:pt>
                <c:pt idx="1176">
                  <c:v>41579</c:v>
                </c:pt>
                <c:pt idx="1177">
                  <c:v>41582</c:v>
                </c:pt>
                <c:pt idx="1178">
                  <c:v>41583</c:v>
                </c:pt>
                <c:pt idx="1179">
                  <c:v>41584</c:v>
                </c:pt>
                <c:pt idx="1180">
                  <c:v>41585</c:v>
                </c:pt>
                <c:pt idx="1181">
                  <c:v>41586</c:v>
                </c:pt>
                <c:pt idx="1182">
                  <c:v>41589</c:v>
                </c:pt>
                <c:pt idx="1183">
                  <c:v>41590</c:v>
                </c:pt>
                <c:pt idx="1184">
                  <c:v>41591</c:v>
                </c:pt>
                <c:pt idx="1185">
                  <c:v>41592</c:v>
                </c:pt>
                <c:pt idx="1186">
                  <c:v>41593</c:v>
                </c:pt>
                <c:pt idx="1187">
                  <c:v>41596</c:v>
                </c:pt>
                <c:pt idx="1188">
                  <c:v>41597</c:v>
                </c:pt>
                <c:pt idx="1189">
                  <c:v>41598</c:v>
                </c:pt>
                <c:pt idx="1190">
                  <c:v>41599</c:v>
                </c:pt>
                <c:pt idx="1191">
                  <c:v>41600</c:v>
                </c:pt>
                <c:pt idx="1192">
                  <c:v>41603</c:v>
                </c:pt>
                <c:pt idx="1193">
                  <c:v>41604</c:v>
                </c:pt>
                <c:pt idx="1194">
                  <c:v>41605</c:v>
                </c:pt>
                <c:pt idx="1195">
                  <c:v>41606</c:v>
                </c:pt>
                <c:pt idx="1196">
                  <c:v>41607</c:v>
                </c:pt>
                <c:pt idx="1197">
                  <c:v>41610</c:v>
                </c:pt>
                <c:pt idx="1198">
                  <c:v>41611</c:v>
                </c:pt>
                <c:pt idx="1199">
                  <c:v>41612</c:v>
                </c:pt>
                <c:pt idx="1200">
                  <c:v>41613</c:v>
                </c:pt>
                <c:pt idx="1201">
                  <c:v>41614</c:v>
                </c:pt>
                <c:pt idx="1202">
                  <c:v>41617</c:v>
                </c:pt>
                <c:pt idx="1203">
                  <c:v>41618</c:v>
                </c:pt>
                <c:pt idx="1204">
                  <c:v>41619</c:v>
                </c:pt>
                <c:pt idx="1205">
                  <c:v>41620</c:v>
                </c:pt>
                <c:pt idx="1206">
                  <c:v>41621</c:v>
                </c:pt>
                <c:pt idx="1207">
                  <c:v>41624</c:v>
                </c:pt>
                <c:pt idx="1208">
                  <c:v>41625</c:v>
                </c:pt>
                <c:pt idx="1209">
                  <c:v>41626</c:v>
                </c:pt>
                <c:pt idx="1210">
                  <c:v>41627</c:v>
                </c:pt>
                <c:pt idx="1211">
                  <c:v>41628</c:v>
                </c:pt>
                <c:pt idx="1212">
                  <c:v>41631</c:v>
                </c:pt>
                <c:pt idx="1213">
                  <c:v>41632</c:v>
                </c:pt>
                <c:pt idx="1214">
                  <c:v>41633</c:v>
                </c:pt>
                <c:pt idx="1215">
                  <c:v>41634</c:v>
                </c:pt>
                <c:pt idx="1216">
                  <c:v>41635</c:v>
                </c:pt>
                <c:pt idx="1217">
                  <c:v>41638</c:v>
                </c:pt>
                <c:pt idx="1218">
                  <c:v>41639</c:v>
                </c:pt>
                <c:pt idx="1219">
                  <c:v>41640</c:v>
                </c:pt>
                <c:pt idx="1220">
                  <c:v>41641</c:v>
                </c:pt>
                <c:pt idx="1221">
                  <c:v>41642</c:v>
                </c:pt>
                <c:pt idx="1222">
                  <c:v>41645</c:v>
                </c:pt>
                <c:pt idx="1223">
                  <c:v>41646</c:v>
                </c:pt>
                <c:pt idx="1224">
                  <c:v>41647</c:v>
                </c:pt>
                <c:pt idx="1225">
                  <c:v>41648</c:v>
                </c:pt>
                <c:pt idx="1226">
                  <c:v>41649</c:v>
                </c:pt>
                <c:pt idx="1227">
                  <c:v>41652</c:v>
                </c:pt>
                <c:pt idx="1228">
                  <c:v>41653</c:v>
                </c:pt>
                <c:pt idx="1229">
                  <c:v>41654</c:v>
                </c:pt>
                <c:pt idx="1230">
                  <c:v>41655</c:v>
                </c:pt>
                <c:pt idx="1231">
                  <c:v>41656</c:v>
                </c:pt>
                <c:pt idx="1232">
                  <c:v>41659</c:v>
                </c:pt>
                <c:pt idx="1233">
                  <c:v>41660</c:v>
                </c:pt>
                <c:pt idx="1234">
                  <c:v>41661</c:v>
                </c:pt>
                <c:pt idx="1235">
                  <c:v>41662</c:v>
                </c:pt>
                <c:pt idx="1236">
                  <c:v>41663</c:v>
                </c:pt>
                <c:pt idx="1237">
                  <c:v>41666</c:v>
                </c:pt>
                <c:pt idx="1238">
                  <c:v>41667</c:v>
                </c:pt>
                <c:pt idx="1239">
                  <c:v>41668</c:v>
                </c:pt>
                <c:pt idx="1240">
                  <c:v>41669</c:v>
                </c:pt>
                <c:pt idx="1241">
                  <c:v>41670</c:v>
                </c:pt>
                <c:pt idx="1242">
                  <c:v>41673</c:v>
                </c:pt>
                <c:pt idx="1243">
                  <c:v>41674</c:v>
                </c:pt>
                <c:pt idx="1244">
                  <c:v>41675</c:v>
                </c:pt>
                <c:pt idx="1245">
                  <c:v>41676</c:v>
                </c:pt>
                <c:pt idx="1246">
                  <c:v>41677</c:v>
                </c:pt>
                <c:pt idx="1247">
                  <c:v>41680</c:v>
                </c:pt>
                <c:pt idx="1248">
                  <c:v>41681</c:v>
                </c:pt>
                <c:pt idx="1249">
                  <c:v>41682</c:v>
                </c:pt>
                <c:pt idx="1250">
                  <c:v>41683</c:v>
                </c:pt>
                <c:pt idx="1251">
                  <c:v>41684</c:v>
                </c:pt>
                <c:pt idx="1252">
                  <c:v>41687</c:v>
                </c:pt>
                <c:pt idx="1253">
                  <c:v>41688</c:v>
                </c:pt>
                <c:pt idx="1254">
                  <c:v>41689</c:v>
                </c:pt>
                <c:pt idx="1255">
                  <c:v>41690</c:v>
                </c:pt>
                <c:pt idx="1256">
                  <c:v>41691</c:v>
                </c:pt>
                <c:pt idx="1257">
                  <c:v>41694</c:v>
                </c:pt>
                <c:pt idx="1258">
                  <c:v>41695</c:v>
                </c:pt>
                <c:pt idx="1259">
                  <c:v>41696</c:v>
                </c:pt>
                <c:pt idx="1260">
                  <c:v>41697</c:v>
                </c:pt>
                <c:pt idx="1261">
                  <c:v>41698</c:v>
                </c:pt>
                <c:pt idx="1262">
                  <c:v>41701</c:v>
                </c:pt>
                <c:pt idx="1263">
                  <c:v>41702</c:v>
                </c:pt>
                <c:pt idx="1264">
                  <c:v>41703</c:v>
                </c:pt>
                <c:pt idx="1265">
                  <c:v>41704</c:v>
                </c:pt>
                <c:pt idx="1266">
                  <c:v>41705</c:v>
                </c:pt>
                <c:pt idx="1267">
                  <c:v>41708</c:v>
                </c:pt>
                <c:pt idx="1268">
                  <c:v>41709</c:v>
                </c:pt>
                <c:pt idx="1269">
                  <c:v>41710</c:v>
                </c:pt>
                <c:pt idx="1270">
                  <c:v>41711</c:v>
                </c:pt>
                <c:pt idx="1271">
                  <c:v>41712</c:v>
                </c:pt>
                <c:pt idx="1272">
                  <c:v>41715</c:v>
                </c:pt>
                <c:pt idx="1273">
                  <c:v>41716</c:v>
                </c:pt>
                <c:pt idx="1274">
                  <c:v>41717</c:v>
                </c:pt>
                <c:pt idx="1275">
                  <c:v>41718</c:v>
                </c:pt>
                <c:pt idx="1276">
                  <c:v>41719</c:v>
                </c:pt>
                <c:pt idx="1277">
                  <c:v>41722</c:v>
                </c:pt>
                <c:pt idx="1278">
                  <c:v>41723</c:v>
                </c:pt>
                <c:pt idx="1279">
                  <c:v>41724</c:v>
                </c:pt>
                <c:pt idx="1280">
                  <c:v>41725</c:v>
                </c:pt>
                <c:pt idx="1281">
                  <c:v>41726</c:v>
                </c:pt>
                <c:pt idx="1282">
                  <c:v>41729</c:v>
                </c:pt>
                <c:pt idx="1283">
                  <c:v>41730</c:v>
                </c:pt>
                <c:pt idx="1284">
                  <c:v>41731</c:v>
                </c:pt>
                <c:pt idx="1285">
                  <c:v>41732</c:v>
                </c:pt>
                <c:pt idx="1286">
                  <c:v>41733</c:v>
                </c:pt>
                <c:pt idx="1287">
                  <c:v>41736</c:v>
                </c:pt>
                <c:pt idx="1288">
                  <c:v>41737</c:v>
                </c:pt>
                <c:pt idx="1289">
                  <c:v>41738</c:v>
                </c:pt>
                <c:pt idx="1290">
                  <c:v>41739</c:v>
                </c:pt>
                <c:pt idx="1291">
                  <c:v>41740</c:v>
                </c:pt>
                <c:pt idx="1292">
                  <c:v>41743</c:v>
                </c:pt>
                <c:pt idx="1293">
                  <c:v>41744</c:v>
                </c:pt>
                <c:pt idx="1294">
                  <c:v>41745</c:v>
                </c:pt>
                <c:pt idx="1295">
                  <c:v>41746</c:v>
                </c:pt>
                <c:pt idx="1296">
                  <c:v>41747</c:v>
                </c:pt>
                <c:pt idx="1297">
                  <c:v>41750</c:v>
                </c:pt>
                <c:pt idx="1298">
                  <c:v>41751</c:v>
                </c:pt>
                <c:pt idx="1299">
                  <c:v>41752</c:v>
                </c:pt>
                <c:pt idx="1300">
                  <c:v>41753</c:v>
                </c:pt>
                <c:pt idx="1301">
                  <c:v>41754</c:v>
                </c:pt>
                <c:pt idx="1302">
                  <c:v>41757</c:v>
                </c:pt>
                <c:pt idx="1303">
                  <c:v>41758</c:v>
                </c:pt>
                <c:pt idx="1304">
                  <c:v>41759</c:v>
                </c:pt>
                <c:pt idx="1305">
                  <c:v>41760</c:v>
                </c:pt>
                <c:pt idx="1306">
                  <c:v>41761</c:v>
                </c:pt>
                <c:pt idx="1307">
                  <c:v>41764</c:v>
                </c:pt>
                <c:pt idx="1308">
                  <c:v>41765</c:v>
                </c:pt>
                <c:pt idx="1309">
                  <c:v>41766</c:v>
                </c:pt>
                <c:pt idx="1310">
                  <c:v>41767</c:v>
                </c:pt>
                <c:pt idx="1311">
                  <c:v>41768</c:v>
                </c:pt>
                <c:pt idx="1312">
                  <c:v>41771</c:v>
                </c:pt>
                <c:pt idx="1313">
                  <c:v>41772</c:v>
                </c:pt>
                <c:pt idx="1314">
                  <c:v>41773</c:v>
                </c:pt>
                <c:pt idx="1315">
                  <c:v>41774</c:v>
                </c:pt>
                <c:pt idx="1316">
                  <c:v>41775</c:v>
                </c:pt>
                <c:pt idx="1317">
                  <c:v>41778</c:v>
                </c:pt>
                <c:pt idx="1318">
                  <c:v>41779</c:v>
                </c:pt>
                <c:pt idx="1319">
                  <c:v>41780</c:v>
                </c:pt>
                <c:pt idx="1320">
                  <c:v>41781</c:v>
                </c:pt>
                <c:pt idx="1321">
                  <c:v>41782</c:v>
                </c:pt>
                <c:pt idx="1322">
                  <c:v>41785</c:v>
                </c:pt>
                <c:pt idx="1323">
                  <c:v>41786</c:v>
                </c:pt>
                <c:pt idx="1324">
                  <c:v>41787</c:v>
                </c:pt>
                <c:pt idx="1325">
                  <c:v>41788</c:v>
                </c:pt>
                <c:pt idx="1326">
                  <c:v>41789</c:v>
                </c:pt>
                <c:pt idx="1327">
                  <c:v>41792</c:v>
                </c:pt>
                <c:pt idx="1328">
                  <c:v>41793</c:v>
                </c:pt>
                <c:pt idx="1329">
                  <c:v>41794</c:v>
                </c:pt>
                <c:pt idx="1330">
                  <c:v>41795</c:v>
                </c:pt>
                <c:pt idx="1331">
                  <c:v>41796</c:v>
                </c:pt>
                <c:pt idx="1332">
                  <c:v>41799</c:v>
                </c:pt>
                <c:pt idx="1333">
                  <c:v>41800</c:v>
                </c:pt>
                <c:pt idx="1334">
                  <c:v>41801</c:v>
                </c:pt>
                <c:pt idx="1335">
                  <c:v>41802</c:v>
                </c:pt>
                <c:pt idx="1336">
                  <c:v>41803</c:v>
                </c:pt>
                <c:pt idx="1337">
                  <c:v>41806</c:v>
                </c:pt>
                <c:pt idx="1338">
                  <c:v>41807</c:v>
                </c:pt>
                <c:pt idx="1339">
                  <c:v>41808</c:v>
                </c:pt>
                <c:pt idx="1340">
                  <c:v>41809</c:v>
                </c:pt>
                <c:pt idx="1341">
                  <c:v>41810</c:v>
                </c:pt>
                <c:pt idx="1342">
                  <c:v>41813</c:v>
                </c:pt>
                <c:pt idx="1343">
                  <c:v>41814</c:v>
                </c:pt>
                <c:pt idx="1344">
                  <c:v>41815</c:v>
                </c:pt>
                <c:pt idx="1345">
                  <c:v>41816</c:v>
                </c:pt>
                <c:pt idx="1346">
                  <c:v>41817</c:v>
                </c:pt>
                <c:pt idx="1347">
                  <c:v>41820</c:v>
                </c:pt>
                <c:pt idx="1348">
                  <c:v>41821</c:v>
                </c:pt>
                <c:pt idx="1349">
                  <c:v>41822</c:v>
                </c:pt>
                <c:pt idx="1350">
                  <c:v>41823</c:v>
                </c:pt>
                <c:pt idx="1351">
                  <c:v>41824</c:v>
                </c:pt>
                <c:pt idx="1352">
                  <c:v>41827</c:v>
                </c:pt>
                <c:pt idx="1353">
                  <c:v>41828</c:v>
                </c:pt>
                <c:pt idx="1354">
                  <c:v>41829</c:v>
                </c:pt>
                <c:pt idx="1355">
                  <c:v>41830</c:v>
                </c:pt>
                <c:pt idx="1356">
                  <c:v>41831</c:v>
                </c:pt>
                <c:pt idx="1357">
                  <c:v>41834</c:v>
                </c:pt>
                <c:pt idx="1358">
                  <c:v>41835</c:v>
                </c:pt>
                <c:pt idx="1359">
                  <c:v>41836</c:v>
                </c:pt>
                <c:pt idx="1360">
                  <c:v>41837</c:v>
                </c:pt>
                <c:pt idx="1361">
                  <c:v>41838</c:v>
                </c:pt>
                <c:pt idx="1362">
                  <c:v>41841</c:v>
                </c:pt>
                <c:pt idx="1363">
                  <c:v>41842</c:v>
                </c:pt>
                <c:pt idx="1364">
                  <c:v>41843</c:v>
                </c:pt>
                <c:pt idx="1365">
                  <c:v>41844</c:v>
                </c:pt>
                <c:pt idx="1366">
                  <c:v>41845</c:v>
                </c:pt>
                <c:pt idx="1367">
                  <c:v>41848</c:v>
                </c:pt>
                <c:pt idx="1368">
                  <c:v>41849</c:v>
                </c:pt>
                <c:pt idx="1369">
                  <c:v>41850</c:v>
                </c:pt>
                <c:pt idx="1370">
                  <c:v>41851</c:v>
                </c:pt>
                <c:pt idx="1371">
                  <c:v>41852</c:v>
                </c:pt>
                <c:pt idx="1372">
                  <c:v>41855</c:v>
                </c:pt>
                <c:pt idx="1373">
                  <c:v>41856</c:v>
                </c:pt>
                <c:pt idx="1374">
                  <c:v>41857</c:v>
                </c:pt>
                <c:pt idx="1375">
                  <c:v>41858</c:v>
                </c:pt>
                <c:pt idx="1376">
                  <c:v>41859</c:v>
                </c:pt>
                <c:pt idx="1377">
                  <c:v>41862</c:v>
                </c:pt>
                <c:pt idx="1378">
                  <c:v>41863</c:v>
                </c:pt>
                <c:pt idx="1379">
                  <c:v>41864</c:v>
                </c:pt>
                <c:pt idx="1380">
                  <c:v>41865</c:v>
                </c:pt>
                <c:pt idx="1381">
                  <c:v>41866</c:v>
                </c:pt>
                <c:pt idx="1382">
                  <c:v>41869</c:v>
                </c:pt>
                <c:pt idx="1383">
                  <c:v>41870</c:v>
                </c:pt>
                <c:pt idx="1384">
                  <c:v>41871</c:v>
                </c:pt>
                <c:pt idx="1385">
                  <c:v>41872</c:v>
                </c:pt>
                <c:pt idx="1386">
                  <c:v>41873</c:v>
                </c:pt>
                <c:pt idx="1387">
                  <c:v>41876</c:v>
                </c:pt>
                <c:pt idx="1388">
                  <c:v>41877</c:v>
                </c:pt>
                <c:pt idx="1389">
                  <c:v>41878</c:v>
                </c:pt>
                <c:pt idx="1390">
                  <c:v>41879</c:v>
                </c:pt>
                <c:pt idx="1391">
                  <c:v>41880</c:v>
                </c:pt>
                <c:pt idx="1392">
                  <c:v>41883</c:v>
                </c:pt>
                <c:pt idx="1393">
                  <c:v>41884</c:v>
                </c:pt>
                <c:pt idx="1394">
                  <c:v>41885</c:v>
                </c:pt>
                <c:pt idx="1395">
                  <c:v>41886</c:v>
                </c:pt>
                <c:pt idx="1396">
                  <c:v>41887</c:v>
                </c:pt>
                <c:pt idx="1397">
                  <c:v>41890</c:v>
                </c:pt>
                <c:pt idx="1398">
                  <c:v>41891</c:v>
                </c:pt>
                <c:pt idx="1399">
                  <c:v>41892</c:v>
                </c:pt>
                <c:pt idx="1400">
                  <c:v>41893</c:v>
                </c:pt>
                <c:pt idx="1401">
                  <c:v>41894</c:v>
                </c:pt>
                <c:pt idx="1402">
                  <c:v>41897</c:v>
                </c:pt>
                <c:pt idx="1403">
                  <c:v>41898</c:v>
                </c:pt>
                <c:pt idx="1404">
                  <c:v>41899</c:v>
                </c:pt>
                <c:pt idx="1405">
                  <c:v>41900</c:v>
                </c:pt>
                <c:pt idx="1406">
                  <c:v>41901</c:v>
                </c:pt>
                <c:pt idx="1407">
                  <c:v>41904</c:v>
                </c:pt>
                <c:pt idx="1408">
                  <c:v>41905</c:v>
                </c:pt>
                <c:pt idx="1409">
                  <c:v>41906</c:v>
                </c:pt>
                <c:pt idx="1410">
                  <c:v>41907</c:v>
                </c:pt>
                <c:pt idx="1411">
                  <c:v>41908</c:v>
                </c:pt>
                <c:pt idx="1412">
                  <c:v>41911</c:v>
                </c:pt>
                <c:pt idx="1413">
                  <c:v>41912</c:v>
                </c:pt>
                <c:pt idx="1414">
                  <c:v>41913</c:v>
                </c:pt>
                <c:pt idx="1415">
                  <c:v>41914</c:v>
                </c:pt>
                <c:pt idx="1416">
                  <c:v>41915</c:v>
                </c:pt>
                <c:pt idx="1417">
                  <c:v>41918</c:v>
                </c:pt>
                <c:pt idx="1418">
                  <c:v>41919</c:v>
                </c:pt>
                <c:pt idx="1419">
                  <c:v>41920</c:v>
                </c:pt>
                <c:pt idx="1420">
                  <c:v>41921</c:v>
                </c:pt>
                <c:pt idx="1421">
                  <c:v>41922</c:v>
                </c:pt>
                <c:pt idx="1422">
                  <c:v>41925</c:v>
                </c:pt>
                <c:pt idx="1423">
                  <c:v>41926</c:v>
                </c:pt>
                <c:pt idx="1424">
                  <c:v>41927</c:v>
                </c:pt>
                <c:pt idx="1425">
                  <c:v>41928</c:v>
                </c:pt>
                <c:pt idx="1426">
                  <c:v>41929</c:v>
                </c:pt>
                <c:pt idx="1427">
                  <c:v>41932</c:v>
                </c:pt>
                <c:pt idx="1428">
                  <c:v>41933</c:v>
                </c:pt>
                <c:pt idx="1429">
                  <c:v>41934</c:v>
                </c:pt>
                <c:pt idx="1430">
                  <c:v>41935</c:v>
                </c:pt>
                <c:pt idx="1431">
                  <c:v>41936</c:v>
                </c:pt>
                <c:pt idx="1432">
                  <c:v>41939</c:v>
                </c:pt>
                <c:pt idx="1433">
                  <c:v>41940</c:v>
                </c:pt>
                <c:pt idx="1434">
                  <c:v>41941</c:v>
                </c:pt>
                <c:pt idx="1435">
                  <c:v>41942</c:v>
                </c:pt>
                <c:pt idx="1436">
                  <c:v>41943</c:v>
                </c:pt>
                <c:pt idx="1437">
                  <c:v>41946</c:v>
                </c:pt>
                <c:pt idx="1438">
                  <c:v>41947</c:v>
                </c:pt>
                <c:pt idx="1439">
                  <c:v>41948</c:v>
                </c:pt>
                <c:pt idx="1440">
                  <c:v>41949</c:v>
                </c:pt>
                <c:pt idx="1441">
                  <c:v>41950</c:v>
                </c:pt>
                <c:pt idx="1442">
                  <c:v>41953</c:v>
                </c:pt>
                <c:pt idx="1443">
                  <c:v>41954</c:v>
                </c:pt>
                <c:pt idx="1444">
                  <c:v>41955</c:v>
                </c:pt>
                <c:pt idx="1445">
                  <c:v>41956</c:v>
                </c:pt>
                <c:pt idx="1446">
                  <c:v>41957</c:v>
                </c:pt>
                <c:pt idx="1447">
                  <c:v>41960</c:v>
                </c:pt>
                <c:pt idx="1448">
                  <c:v>41961</c:v>
                </c:pt>
                <c:pt idx="1449">
                  <c:v>41962</c:v>
                </c:pt>
                <c:pt idx="1450">
                  <c:v>41963</c:v>
                </c:pt>
                <c:pt idx="1451">
                  <c:v>41964</c:v>
                </c:pt>
                <c:pt idx="1452">
                  <c:v>41967</c:v>
                </c:pt>
                <c:pt idx="1453">
                  <c:v>41968</c:v>
                </c:pt>
                <c:pt idx="1454">
                  <c:v>41969</c:v>
                </c:pt>
                <c:pt idx="1455">
                  <c:v>41970</c:v>
                </c:pt>
                <c:pt idx="1456">
                  <c:v>41971</c:v>
                </c:pt>
                <c:pt idx="1457">
                  <c:v>41974</c:v>
                </c:pt>
                <c:pt idx="1458">
                  <c:v>41975</c:v>
                </c:pt>
                <c:pt idx="1459">
                  <c:v>41976</c:v>
                </c:pt>
                <c:pt idx="1460">
                  <c:v>41977</c:v>
                </c:pt>
                <c:pt idx="1461">
                  <c:v>41978</c:v>
                </c:pt>
                <c:pt idx="1462">
                  <c:v>41981</c:v>
                </c:pt>
                <c:pt idx="1463">
                  <c:v>41982</c:v>
                </c:pt>
                <c:pt idx="1464">
                  <c:v>41983</c:v>
                </c:pt>
                <c:pt idx="1465">
                  <c:v>41984</c:v>
                </c:pt>
                <c:pt idx="1466">
                  <c:v>41985</c:v>
                </c:pt>
                <c:pt idx="1467">
                  <c:v>41988</c:v>
                </c:pt>
                <c:pt idx="1468">
                  <c:v>41989</c:v>
                </c:pt>
                <c:pt idx="1469">
                  <c:v>41990</c:v>
                </c:pt>
                <c:pt idx="1470">
                  <c:v>41991</c:v>
                </c:pt>
                <c:pt idx="1471">
                  <c:v>41992</c:v>
                </c:pt>
                <c:pt idx="1472">
                  <c:v>41995</c:v>
                </c:pt>
                <c:pt idx="1473">
                  <c:v>41996</c:v>
                </c:pt>
                <c:pt idx="1474">
                  <c:v>41997</c:v>
                </c:pt>
                <c:pt idx="1475">
                  <c:v>41998</c:v>
                </c:pt>
                <c:pt idx="1476">
                  <c:v>41999</c:v>
                </c:pt>
                <c:pt idx="1477">
                  <c:v>42002</c:v>
                </c:pt>
                <c:pt idx="1478">
                  <c:v>42003</c:v>
                </c:pt>
                <c:pt idx="1479">
                  <c:v>42004</c:v>
                </c:pt>
                <c:pt idx="1480">
                  <c:v>42005</c:v>
                </c:pt>
                <c:pt idx="1481">
                  <c:v>42006</c:v>
                </c:pt>
                <c:pt idx="1482">
                  <c:v>42009</c:v>
                </c:pt>
                <c:pt idx="1483">
                  <c:v>42010</c:v>
                </c:pt>
                <c:pt idx="1484">
                  <c:v>42011</c:v>
                </c:pt>
                <c:pt idx="1485">
                  <c:v>42012</c:v>
                </c:pt>
                <c:pt idx="1486">
                  <c:v>42013</c:v>
                </c:pt>
                <c:pt idx="1487">
                  <c:v>42016</c:v>
                </c:pt>
                <c:pt idx="1488">
                  <c:v>42017</c:v>
                </c:pt>
                <c:pt idx="1489">
                  <c:v>42018</c:v>
                </c:pt>
                <c:pt idx="1490">
                  <c:v>42019</c:v>
                </c:pt>
                <c:pt idx="1491">
                  <c:v>42020</c:v>
                </c:pt>
                <c:pt idx="1492">
                  <c:v>42023</c:v>
                </c:pt>
                <c:pt idx="1493">
                  <c:v>42024</c:v>
                </c:pt>
                <c:pt idx="1494">
                  <c:v>42025</c:v>
                </c:pt>
                <c:pt idx="1495">
                  <c:v>42026</c:v>
                </c:pt>
                <c:pt idx="1496">
                  <c:v>42027</c:v>
                </c:pt>
                <c:pt idx="1497">
                  <c:v>42030</c:v>
                </c:pt>
                <c:pt idx="1498">
                  <c:v>42031</c:v>
                </c:pt>
                <c:pt idx="1499">
                  <c:v>42032</c:v>
                </c:pt>
                <c:pt idx="1500">
                  <c:v>42033</c:v>
                </c:pt>
                <c:pt idx="1501">
                  <c:v>42034</c:v>
                </c:pt>
                <c:pt idx="1502">
                  <c:v>42037</c:v>
                </c:pt>
                <c:pt idx="1503">
                  <c:v>42038</c:v>
                </c:pt>
                <c:pt idx="1504">
                  <c:v>42039</c:v>
                </c:pt>
                <c:pt idx="1505">
                  <c:v>42040</c:v>
                </c:pt>
                <c:pt idx="1506">
                  <c:v>42041</c:v>
                </c:pt>
                <c:pt idx="1507">
                  <c:v>42044</c:v>
                </c:pt>
                <c:pt idx="1508">
                  <c:v>42045</c:v>
                </c:pt>
                <c:pt idx="1509">
                  <c:v>42046</c:v>
                </c:pt>
                <c:pt idx="1510">
                  <c:v>42047</c:v>
                </c:pt>
                <c:pt idx="1511">
                  <c:v>42048</c:v>
                </c:pt>
                <c:pt idx="1512">
                  <c:v>42051</c:v>
                </c:pt>
                <c:pt idx="1513">
                  <c:v>42052</c:v>
                </c:pt>
                <c:pt idx="1514">
                  <c:v>42053</c:v>
                </c:pt>
                <c:pt idx="1515">
                  <c:v>42054</c:v>
                </c:pt>
                <c:pt idx="1516">
                  <c:v>42055</c:v>
                </c:pt>
                <c:pt idx="1517">
                  <c:v>42058</c:v>
                </c:pt>
                <c:pt idx="1518">
                  <c:v>42059</c:v>
                </c:pt>
                <c:pt idx="1519">
                  <c:v>42060</c:v>
                </c:pt>
                <c:pt idx="1520">
                  <c:v>42061</c:v>
                </c:pt>
                <c:pt idx="1521">
                  <c:v>42062</c:v>
                </c:pt>
                <c:pt idx="1522">
                  <c:v>42065</c:v>
                </c:pt>
                <c:pt idx="1523">
                  <c:v>42066</c:v>
                </c:pt>
                <c:pt idx="1524">
                  <c:v>42067</c:v>
                </c:pt>
                <c:pt idx="1525">
                  <c:v>42068</c:v>
                </c:pt>
                <c:pt idx="1526">
                  <c:v>42069</c:v>
                </c:pt>
                <c:pt idx="1527">
                  <c:v>42072</c:v>
                </c:pt>
                <c:pt idx="1528">
                  <c:v>42073</c:v>
                </c:pt>
                <c:pt idx="1529">
                  <c:v>42074</c:v>
                </c:pt>
                <c:pt idx="1530">
                  <c:v>42075</c:v>
                </c:pt>
                <c:pt idx="1531">
                  <c:v>42076</c:v>
                </c:pt>
                <c:pt idx="1532">
                  <c:v>42079</c:v>
                </c:pt>
                <c:pt idx="1533">
                  <c:v>42080</c:v>
                </c:pt>
                <c:pt idx="1534">
                  <c:v>42081</c:v>
                </c:pt>
                <c:pt idx="1535">
                  <c:v>42082</c:v>
                </c:pt>
                <c:pt idx="1536">
                  <c:v>42083</c:v>
                </c:pt>
                <c:pt idx="1537">
                  <c:v>42086</c:v>
                </c:pt>
                <c:pt idx="1538">
                  <c:v>42087</c:v>
                </c:pt>
                <c:pt idx="1539">
                  <c:v>42088</c:v>
                </c:pt>
                <c:pt idx="1540">
                  <c:v>42089</c:v>
                </c:pt>
                <c:pt idx="1541">
                  <c:v>42090</c:v>
                </c:pt>
                <c:pt idx="1542">
                  <c:v>42093</c:v>
                </c:pt>
                <c:pt idx="1543">
                  <c:v>42094</c:v>
                </c:pt>
                <c:pt idx="1544">
                  <c:v>42095</c:v>
                </c:pt>
                <c:pt idx="1545">
                  <c:v>42096</c:v>
                </c:pt>
                <c:pt idx="1546">
                  <c:v>42097</c:v>
                </c:pt>
                <c:pt idx="1547">
                  <c:v>42100</c:v>
                </c:pt>
                <c:pt idx="1548">
                  <c:v>42101</c:v>
                </c:pt>
                <c:pt idx="1549">
                  <c:v>42102</c:v>
                </c:pt>
                <c:pt idx="1550">
                  <c:v>42103</c:v>
                </c:pt>
                <c:pt idx="1551">
                  <c:v>42104</c:v>
                </c:pt>
                <c:pt idx="1552">
                  <c:v>42107</c:v>
                </c:pt>
                <c:pt idx="1553">
                  <c:v>42108</c:v>
                </c:pt>
                <c:pt idx="1554">
                  <c:v>42109</c:v>
                </c:pt>
                <c:pt idx="1555">
                  <c:v>42110</c:v>
                </c:pt>
                <c:pt idx="1556">
                  <c:v>42111</c:v>
                </c:pt>
                <c:pt idx="1557">
                  <c:v>42114</c:v>
                </c:pt>
                <c:pt idx="1558">
                  <c:v>42115</c:v>
                </c:pt>
                <c:pt idx="1559">
                  <c:v>42116</c:v>
                </c:pt>
                <c:pt idx="1560">
                  <c:v>42117</c:v>
                </c:pt>
                <c:pt idx="1561">
                  <c:v>42118</c:v>
                </c:pt>
                <c:pt idx="1562">
                  <c:v>42121</c:v>
                </c:pt>
                <c:pt idx="1563">
                  <c:v>42122</c:v>
                </c:pt>
                <c:pt idx="1564">
                  <c:v>42123</c:v>
                </c:pt>
                <c:pt idx="1565">
                  <c:v>42124</c:v>
                </c:pt>
                <c:pt idx="1566">
                  <c:v>42125</c:v>
                </c:pt>
                <c:pt idx="1567">
                  <c:v>42128</c:v>
                </c:pt>
                <c:pt idx="1568">
                  <c:v>42129</c:v>
                </c:pt>
                <c:pt idx="1569">
                  <c:v>42130</c:v>
                </c:pt>
                <c:pt idx="1570">
                  <c:v>42131</c:v>
                </c:pt>
                <c:pt idx="1571">
                  <c:v>42132</c:v>
                </c:pt>
                <c:pt idx="1572">
                  <c:v>42135</c:v>
                </c:pt>
                <c:pt idx="1573">
                  <c:v>42136</c:v>
                </c:pt>
                <c:pt idx="1574">
                  <c:v>42137</c:v>
                </c:pt>
                <c:pt idx="1575">
                  <c:v>42138</c:v>
                </c:pt>
                <c:pt idx="1576">
                  <c:v>42139</c:v>
                </c:pt>
                <c:pt idx="1577">
                  <c:v>42142</c:v>
                </c:pt>
                <c:pt idx="1578">
                  <c:v>42143</c:v>
                </c:pt>
                <c:pt idx="1579">
                  <c:v>42144</c:v>
                </c:pt>
                <c:pt idx="1580">
                  <c:v>42145</c:v>
                </c:pt>
                <c:pt idx="1581">
                  <c:v>42146</c:v>
                </c:pt>
                <c:pt idx="1582">
                  <c:v>42149</c:v>
                </c:pt>
                <c:pt idx="1583">
                  <c:v>42150</c:v>
                </c:pt>
                <c:pt idx="1584">
                  <c:v>42151</c:v>
                </c:pt>
                <c:pt idx="1585">
                  <c:v>42152</c:v>
                </c:pt>
                <c:pt idx="1586">
                  <c:v>42153</c:v>
                </c:pt>
                <c:pt idx="1587">
                  <c:v>42156</c:v>
                </c:pt>
                <c:pt idx="1588">
                  <c:v>42157</c:v>
                </c:pt>
                <c:pt idx="1589">
                  <c:v>42158</c:v>
                </c:pt>
                <c:pt idx="1590">
                  <c:v>42159</c:v>
                </c:pt>
                <c:pt idx="1591">
                  <c:v>42160</c:v>
                </c:pt>
                <c:pt idx="1592">
                  <c:v>42163</c:v>
                </c:pt>
                <c:pt idx="1593">
                  <c:v>42164</c:v>
                </c:pt>
                <c:pt idx="1594">
                  <c:v>42165</c:v>
                </c:pt>
                <c:pt idx="1595">
                  <c:v>42166</c:v>
                </c:pt>
                <c:pt idx="1596">
                  <c:v>42167</c:v>
                </c:pt>
                <c:pt idx="1597">
                  <c:v>42170</c:v>
                </c:pt>
                <c:pt idx="1598">
                  <c:v>42171</c:v>
                </c:pt>
                <c:pt idx="1599">
                  <c:v>42172</c:v>
                </c:pt>
                <c:pt idx="1600">
                  <c:v>42173</c:v>
                </c:pt>
                <c:pt idx="1601">
                  <c:v>42174</c:v>
                </c:pt>
                <c:pt idx="1602">
                  <c:v>42177</c:v>
                </c:pt>
                <c:pt idx="1603">
                  <c:v>42178</c:v>
                </c:pt>
                <c:pt idx="1604">
                  <c:v>42179</c:v>
                </c:pt>
                <c:pt idx="1605">
                  <c:v>42180</c:v>
                </c:pt>
                <c:pt idx="1606">
                  <c:v>42181</c:v>
                </c:pt>
                <c:pt idx="1607">
                  <c:v>42184</c:v>
                </c:pt>
                <c:pt idx="1608">
                  <c:v>42185</c:v>
                </c:pt>
                <c:pt idx="1609">
                  <c:v>42186</c:v>
                </c:pt>
                <c:pt idx="1610">
                  <c:v>42187</c:v>
                </c:pt>
                <c:pt idx="1611">
                  <c:v>42188</c:v>
                </c:pt>
                <c:pt idx="1612">
                  <c:v>42191</c:v>
                </c:pt>
                <c:pt idx="1613">
                  <c:v>42192</c:v>
                </c:pt>
                <c:pt idx="1614">
                  <c:v>42193</c:v>
                </c:pt>
                <c:pt idx="1615">
                  <c:v>42194</c:v>
                </c:pt>
                <c:pt idx="1616">
                  <c:v>42195</c:v>
                </c:pt>
                <c:pt idx="1617">
                  <c:v>42198</c:v>
                </c:pt>
                <c:pt idx="1618">
                  <c:v>42199</c:v>
                </c:pt>
                <c:pt idx="1619">
                  <c:v>42200</c:v>
                </c:pt>
                <c:pt idx="1620">
                  <c:v>42201</c:v>
                </c:pt>
                <c:pt idx="1621">
                  <c:v>42202</c:v>
                </c:pt>
                <c:pt idx="1622">
                  <c:v>42205</c:v>
                </c:pt>
                <c:pt idx="1623">
                  <c:v>42206</c:v>
                </c:pt>
                <c:pt idx="1624">
                  <c:v>42207</c:v>
                </c:pt>
                <c:pt idx="1625">
                  <c:v>42208</c:v>
                </c:pt>
                <c:pt idx="1626">
                  <c:v>42209</c:v>
                </c:pt>
                <c:pt idx="1627">
                  <c:v>42212</c:v>
                </c:pt>
                <c:pt idx="1628">
                  <c:v>42213</c:v>
                </c:pt>
                <c:pt idx="1629">
                  <c:v>42214</c:v>
                </c:pt>
                <c:pt idx="1630">
                  <c:v>42215</c:v>
                </c:pt>
                <c:pt idx="1631">
                  <c:v>42216</c:v>
                </c:pt>
                <c:pt idx="1632">
                  <c:v>42219</c:v>
                </c:pt>
                <c:pt idx="1633">
                  <c:v>42220</c:v>
                </c:pt>
                <c:pt idx="1634">
                  <c:v>42221</c:v>
                </c:pt>
                <c:pt idx="1635">
                  <c:v>42222</c:v>
                </c:pt>
                <c:pt idx="1636">
                  <c:v>42223</c:v>
                </c:pt>
                <c:pt idx="1637">
                  <c:v>42226</c:v>
                </c:pt>
                <c:pt idx="1638">
                  <c:v>42227</c:v>
                </c:pt>
                <c:pt idx="1639">
                  <c:v>42228</c:v>
                </c:pt>
                <c:pt idx="1640">
                  <c:v>42229</c:v>
                </c:pt>
                <c:pt idx="1641">
                  <c:v>42230</c:v>
                </c:pt>
                <c:pt idx="1642">
                  <c:v>42233</c:v>
                </c:pt>
                <c:pt idx="1643">
                  <c:v>42234</c:v>
                </c:pt>
                <c:pt idx="1644">
                  <c:v>42235</c:v>
                </c:pt>
                <c:pt idx="1645">
                  <c:v>42236</c:v>
                </c:pt>
                <c:pt idx="1646">
                  <c:v>42237</c:v>
                </c:pt>
                <c:pt idx="1647">
                  <c:v>42240</c:v>
                </c:pt>
                <c:pt idx="1648">
                  <c:v>42241</c:v>
                </c:pt>
                <c:pt idx="1649">
                  <c:v>42242</c:v>
                </c:pt>
                <c:pt idx="1650">
                  <c:v>42243</c:v>
                </c:pt>
                <c:pt idx="1651">
                  <c:v>42244</c:v>
                </c:pt>
                <c:pt idx="1652">
                  <c:v>42247</c:v>
                </c:pt>
                <c:pt idx="1653">
                  <c:v>42248</c:v>
                </c:pt>
                <c:pt idx="1654">
                  <c:v>42249</c:v>
                </c:pt>
                <c:pt idx="1655">
                  <c:v>42250</c:v>
                </c:pt>
                <c:pt idx="1656">
                  <c:v>42251</c:v>
                </c:pt>
                <c:pt idx="1657">
                  <c:v>42254</c:v>
                </c:pt>
                <c:pt idx="1658">
                  <c:v>42255</c:v>
                </c:pt>
                <c:pt idx="1659">
                  <c:v>42256</c:v>
                </c:pt>
                <c:pt idx="1660">
                  <c:v>42257</c:v>
                </c:pt>
                <c:pt idx="1661">
                  <c:v>42258</c:v>
                </c:pt>
                <c:pt idx="1662">
                  <c:v>42261</c:v>
                </c:pt>
                <c:pt idx="1663">
                  <c:v>42262</c:v>
                </c:pt>
                <c:pt idx="1664">
                  <c:v>42263</c:v>
                </c:pt>
                <c:pt idx="1665">
                  <c:v>42264</c:v>
                </c:pt>
                <c:pt idx="1666">
                  <c:v>42265</c:v>
                </c:pt>
                <c:pt idx="1667">
                  <c:v>42268</c:v>
                </c:pt>
                <c:pt idx="1668">
                  <c:v>42269</c:v>
                </c:pt>
                <c:pt idx="1669">
                  <c:v>42270</c:v>
                </c:pt>
                <c:pt idx="1670">
                  <c:v>42271</c:v>
                </c:pt>
                <c:pt idx="1671">
                  <c:v>42272</c:v>
                </c:pt>
                <c:pt idx="1672">
                  <c:v>42275</c:v>
                </c:pt>
                <c:pt idx="1673">
                  <c:v>42276</c:v>
                </c:pt>
                <c:pt idx="1674">
                  <c:v>42277</c:v>
                </c:pt>
                <c:pt idx="1675">
                  <c:v>42278</c:v>
                </c:pt>
                <c:pt idx="1676">
                  <c:v>42279</c:v>
                </c:pt>
                <c:pt idx="1677">
                  <c:v>42282</c:v>
                </c:pt>
                <c:pt idx="1678">
                  <c:v>42283</c:v>
                </c:pt>
                <c:pt idx="1679">
                  <c:v>42284</c:v>
                </c:pt>
                <c:pt idx="1680">
                  <c:v>42285</c:v>
                </c:pt>
                <c:pt idx="1681">
                  <c:v>42286</c:v>
                </c:pt>
                <c:pt idx="1682">
                  <c:v>42289</c:v>
                </c:pt>
                <c:pt idx="1683">
                  <c:v>42290</c:v>
                </c:pt>
                <c:pt idx="1684">
                  <c:v>42291</c:v>
                </c:pt>
                <c:pt idx="1685">
                  <c:v>42292</c:v>
                </c:pt>
                <c:pt idx="1686">
                  <c:v>42293</c:v>
                </c:pt>
                <c:pt idx="1687">
                  <c:v>42296</c:v>
                </c:pt>
                <c:pt idx="1688">
                  <c:v>42297</c:v>
                </c:pt>
                <c:pt idx="1689">
                  <c:v>42298</c:v>
                </c:pt>
                <c:pt idx="1690">
                  <c:v>42299</c:v>
                </c:pt>
                <c:pt idx="1691">
                  <c:v>42300</c:v>
                </c:pt>
                <c:pt idx="1692">
                  <c:v>42303</c:v>
                </c:pt>
                <c:pt idx="1693">
                  <c:v>42304</c:v>
                </c:pt>
                <c:pt idx="1694">
                  <c:v>42305</c:v>
                </c:pt>
                <c:pt idx="1695">
                  <c:v>42306</c:v>
                </c:pt>
                <c:pt idx="1696">
                  <c:v>42307</c:v>
                </c:pt>
                <c:pt idx="1697">
                  <c:v>42310</c:v>
                </c:pt>
                <c:pt idx="1698">
                  <c:v>42311</c:v>
                </c:pt>
                <c:pt idx="1699">
                  <c:v>42312</c:v>
                </c:pt>
                <c:pt idx="1700">
                  <c:v>42313</c:v>
                </c:pt>
                <c:pt idx="1701">
                  <c:v>42314</c:v>
                </c:pt>
                <c:pt idx="1702">
                  <c:v>42317</c:v>
                </c:pt>
                <c:pt idx="1703">
                  <c:v>42318</c:v>
                </c:pt>
                <c:pt idx="1704">
                  <c:v>42319</c:v>
                </c:pt>
                <c:pt idx="1705">
                  <c:v>42320</c:v>
                </c:pt>
                <c:pt idx="1706">
                  <c:v>42321</c:v>
                </c:pt>
                <c:pt idx="1707">
                  <c:v>42324</c:v>
                </c:pt>
                <c:pt idx="1708">
                  <c:v>42325</c:v>
                </c:pt>
                <c:pt idx="1709">
                  <c:v>42326</c:v>
                </c:pt>
                <c:pt idx="1710">
                  <c:v>42327</c:v>
                </c:pt>
                <c:pt idx="1711">
                  <c:v>42328</c:v>
                </c:pt>
                <c:pt idx="1712">
                  <c:v>42331</c:v>
                </c:pt>
                <c:pt idx="1713">
                  <c:v>42332</c:v>
                </c:pt>
                <c:pt idx="1714">
                  <c:v>42333</c:v>
                </c:pt>
                <c:pt idx="1715">
                  <c:v>42334</c:v>
                </c:pt>
                <c:pt idx="1716">
                  <c:v>42335</c:v>
                </c:pt>
                <c:pt idx="1717">
                  <c:v>42338</c:v>
                </c:pt>
                <c:pt idx="1718">
                  <c:v>42339</c:v>
                </c:pt>
                <c:pt idx="1719">
                  <c:v>42340</c:v>
                </c:pt>
                <c:pt idx="1720">
                  <c:v>42341</c:v>
                </c:pt>
                <c:pt idx="1721">
                  <c:v>42342</c:v>
                </c:pt>
                <c:pt idx="1722">
                  <c:v>42345</c:v>
                </c:pt>
                <c:pt idx="1723">
                  <c:v>42346</c:v>
                </c:pt>
                <c:pt idx="1724">
                  <c:v>42347</c:v>
                </c:pt>
                <c:pt idx="1725">
                  <c:v>42348</c:v>
                </c:pt>
                <c:pt idx="1726">
                  <c:v>42349</c:v>
                </c:pt>
                <c:pt idx="1727">
                  <c:v>42352</c:v>
                </c:pt>
                <c:pt idx="1728">
                  <c:v>42353</c:v>
                </c:pt>
                <c:pt idx="1729">
                  <c:v>42354</c:v>
                </c:pt>
                <c:pt idx="1730">
                  <c:v>42355</c:v>
                </c:pt>
                <c:pt idx="1731">
                  <c:v>42356</c:v>
                </c:pt>
                <c:pt idx="1732">
                  <c:v>42359</c:v>
                </c:pt>
                <c:pt idx="1733">
                  <c:v>42360</c:v>
                </c:pt>
                <c:pt idx="1734">
                  <c:v>42361</c:v>
                </c:pt>
                <c:pt idx="1735">
                  <c:v>42362</c:v>
                </c:pt>
                <c:pt idx="1736">
                  <c:v>42363</c:v>
                </c:pt>
                <c:pt idx="1737">
                  <c:v>42366</c:v>
                </c:pt>
                <c:pt idx="1738">
                  <c:v>42367</c:v>
                </c:pt>
                <c:pt idx="1739">
                  <c:v>42368</c:v>
                </c:pt>
                <c:pt idx="1740">
                  <c:v>42369</c:v>
                </c:pt>
                <c:pt idx="1741">
                  <c:v>42370</c:v>
                </c:pt>
                <c:pt idx="1742">
                  <c:v>42373</c:v>
                </c:pt>
                <c:pt idx="1743">
                  <c:v>42374</c:v>
                </c:pt>
                <c:pt idx="1744">
                  <c:v>42375</c:v>
                </c:pt>
                <c:pt idx="1745">
                  <c:v>42376</c:v>
                </c:pt>
                <c:pt idx="1746">
                  <c:v>42377</c:v>
                </c:pt>
                <c:pt idx="1747">
                  <c:v>42380</c:v>
                </c:pt>
                <c:pt idx="1748">
                  <c:v>42381</c:v>
                </c:pt>
                <c:pt idx="1749">
                  <c:v>42382</c:v>
                </c:pt>
                <c:pt idx="1750">
                  <c:v>42383</c:v>
                </c:pt>
                <c:pt idx="1751">
                  <c:v>42384</c:v>
                </c:pt>
                <c:pt idx="1752">
                  <c:v>42387</c:v>
                </c:pt>
                <c:pt idx="1753">
                  <c:v>42388</c:v>
                </c:pt>
                <c:pt idx="1754">
                  <c:v>42389</c:v>
                </c:pt>
                <c:pt idx="1755">
                  <c:v>42390</c:v>
                </c:pt>
                <c:pt idx="1756">
                  <c:v>42391</c:v>
                </c:pt>
                <c:pt idx="1757">
                  <c:v>42394</c:v>
                </c:pt>
                <c:pt idx="1758">
                  <c:v>42395</c:v>
                </c:pt>
                <c:pt idx="1759">
                  <c:v>42396</c:v>
                </c:pt>
                <c:pt idx="1760">
                  <c:v>42397</c:v>
                </c:pt>
                <c:pt idx="1761">
                  <c:v>42398</c:v>
                </c:pt>
                <c:pt idx="1762">
                  <c:v>42401</c:v>
                </c:pt>
                <c:pt idx="1763">
                  <c:v>42402</c:v>
                </c:pt>
                <c:pt idx="1764">
                  <c:v>42403</c:v>
                </c:pt>
                <c:pt idx="1765">
                  <c:v>42404</c:v>
                </c:pt>
                <c:pt idx="1766">
                  <c:v>42405</c:v>
                </c:pt>
                <c:pt idx="1767">
                  <c:v>42408</c:v>
                </c:pt>
                <c:pt idx="1768">
                  <c:v>42409</c:v>
                </c:pt>
                <c:pt idx="1769">
                  <c:v>42410</c:v>
                </c:pt>
                <c:pt idx="1770">
                  <c:v>42411</c:v>
                </c:pt>
                <c:pt idx="1771">
                  <c:v>42412</c:v>
                </c:pt>
                <c:pt idx="1772">
                  <c:v>42415</c:v>
                </c:pt>
                <c:pt idx="1773">
                  <c:v>42416</c:v>
                </c:pt>
                <c:pt idx="1774">
                  <c:v>42417</c:v>
                </c:pt>
                <c:pt idx="1775">
                  <c:v>42418</c:v>
                </c:pt>
                <c:pt idx="1776">
                  <c:v>42419</c:v>
                </c:pt>
                <c:pt idx="1777">
                  <c:v>42422</c:v>
                </c:pt>
                <c:pt idx="1778">
                  <c:v>42423</c:v>
                </c:pt>
                <c:pt idx="1779">
                  <c:v>42424</c:v>
                </c:pt>
                <c:pt idx="1780">
                  <c:v>42425</c:v>
                </c:pt>
                <c:pt idx="1781">
                  <c:v>42426</c:v>
                </c:pt>
                <c:pt idx="1782">
                  <c:v>42429</c:v>
                </c:pt>
                <c:pt idx="1783">
                  <c:v>42430</c:v>
                </c:pt>
                <c:pt idx="1784">
                  <c:v>42431</c:v>
                </c:pt>
                <c:pt idx="1785">
                  <c:v>42432</c:v>
                </c:pt>
                <c:pt idx="1786">
                  <c:v>42433</c:v>
                </c:pt>
                <c:pt idx="1787">
                  <c:v>42436</c:v>
                </c:pt>
                <c:pt idx="1788">
                  <c:v>42437</c:v>
                </c:pt>
                <c:pt idx="1789">
                  <c:v>42438</c:v>
                </c:pt>
                <c:pt idx="1790">
                  <c:v>42439</c:v>
                </c:pt>
                <c:pt idx="1791">
                  <c:v>42440</c:v>
                </c:pt>
                <c:pt idx="1792">
                  <c:v>42443</c:v>
                </c:pt>
                <c:pt idx="1793">
                  <c:v>42444</c:v>
                </c:pt>
                <c:pt idx="1794">
                  <c:v>42445</c:v>
                </c:pt>
                <c:pt idx="1795">
                  <c:v>42446</c:v>
                </c:pt>
                <c:pt idx="1796">
                  <c:v>42447</c:v>
                </c:pt>
                <c:pt idx="1797">
                  <c:v>42450</c:v>
                </c:pt>
                <c:pt idx="1798">
                  <c:v>42451</c:v>
                </c:pt>
                <c:pt idx="1799">
                  <c:v>42452</c:v>
                </c:pt>
                <c:pt idx="1800">
                  <c:v>42453</c:v>
                </c:pt>
                <c:pt idx="1801">
                  <c:v>42454</c:v>
                </c:pt>
                <c:pt idx="1802">
                  <c:v>42457</c:v>
                </c:pt>
                <c:pt idx="1803">
                  <c:v>42458</c:v>
                </c:pt>
                <c:pt idx="1804">
                  <c:v>42459</c:v>
                </c:pt>
                <c:pt idx="1805">
                  <c:v>42460</c:v>
                </c:pt>
                <c:pt idx="1806">
                  <c:v>42461</c:v>
                </c:pt>
                <c:pt idx="1807">
                  <c:v>42464</c:v>
                </c:pt>
                <c:pt idx="1808">
                  <c:v>42465</c:v>
                </c:pt>
                <c:pt idx="1809">
                  <c:v>42466</c:v>
                </c:pt>
                <c:pt idx="1810">
                  <c:v>42467</c:v>
                </c:pt>
                <c:pt idx="1811">
                  <c:v>42468</c:v>
                </c:pt>
                <c:pt idx="1812">
                  <c:v>42471</c:v>
                </c:pt>
                <c:pt idx="1813">
                  <c:v>42472</c:v>
                </c:pt>
                <c:pt idx="1814">
                  <c:v>42473</c:v>
                </c:pt>
                <c:pt idx="1815">
                  <c:v>42474</c:v>
                </c:pt>
                <c:pt idx="1816">
                  <c:v>42475</c:v>
                </c:pt>
                <c:pt idx="1817">
                  <c:v>42478</c:v>
                </c:pt>
                <c:pt idx="1818">
                  <c:v>42479</c:v>
                </c:pt>
                <c:pt idx="1819">
                  <c:v>42480</c:v>
                </c:pt>
                <c:pt idx="1820">
                  <c:v>42481</c:v>
                </c:pt>
                <c:pt idx="1821">
                  <c:v>42482</c:v>
                </c:pt>
                <c:pt idx="1822">
                  <c:v>42485</c:v>
                </c:pt>
                <c:pt idx="1823">
                  <c:v>42486</c:v>
                </c:pt>
                <c:pt idx="1824">
                  <c:v>42487</c:v>
                </c:pt>
                <c:pt idx="1825">
                  <c:v>42488</c:v>
                </c:pt>
                <c:pt idx="1826">
                  <c:v>42489</c:v>
                </c:pt>
                <c:pt idx="1827">
                  <c:v>42492</c:v>
                </c:pt>
                <c:pt idx="1828">
                  <c:v>42493</c:v>
                </c:pt>
                <c:pt idx="1829">
                  <c:v>42494</c:v>
                </c:pt>
                <c:pt idx="1830">
                  <c:v>42495</c:v>
                </c:pt>
                <c:pt idx="1831">
                  <c:v>42496</c:v>
                </c:pt>
                <c:pt idx="1832">
                  <c:v>42499</c:v>
                </c:pt>
                <c:pt idx="1833">
                  <c:v>42500</c:v>
                </c:pt>
                <c:pt idx="1834">
                  <c:v>42501</c:v>
                </c:pt>
                <c:pt idx="1835">
                  <c:v>42502</c:v>
                </c:pt>
                <c:pt idx="1836">
                  <c:v>42503</c:v>
                </c:pt>
                <c:pt idx="1837">
                  <c:v>42506</c:v>
                </c:pt>
                <c:pt idx="1838">
                  <c:v>42507</c:v>
                </c:pt>
                <c:pt idx="1839">
                  <c:v>42508</c:v>
                </c:pt>
                <c:pt idx="1840">
                  <c:v>42509</c:v>
                </c:pt>
                <c:pt idx="1841">
                  <c:v>42510</c:v>
                </c:pt>
                <c:pt idx="1842">
                  <c:v>42513</c:v>
                </c:pt>
                <c:pt idx="1843">
                  <c:v>42514</c:v>
                </c:pt>
                <c:pt idx="1844">
                  <c:v>42515</c:v>
                </c:pt>
                <c:pt idx="1845">
                  <c:v>42516</c:v>
                </c:pt>
                <c:pt idx="1846">
                  <c:v>42517</c:v>
                </c:pt>
                <c:pt idx="1847">
                  <c:v>42520</c:v>
                </c:pt>
                <c:pt idx="1848">
                  <c:v>42521</c:v>
                </c:pt>
                <c:pt idx="1849">
                  <c:v>42522</c:v>
                </c:pt>
                <c:pt idx="1850">
                  <c:v>42523</c:v>
                </c:pt>
                <c:pt idx="1851">
                  <c:v>42524</c:v>
                </c:pt>
                <c:pt idx="1852">
                  <c:v>42527</c:v>
                </c:pt>
                <c:pt idx="1853">
                  <c:v>42528</c:v>
                </c:pt>
                <c:pt idx="1854">
                  <c:v>42529</c:v>
                </c:pt>
                <c:pt idx="1855">
                  <c:v>42530</c:v>
                </c:pt>
                <c:pt idx="1856">
                  <c:v>42531</c:v>
                </c:pt>
                <c:pt idx="1857">
                  <c:v>42534</c:v>
                </c:pt>
                <c:pt idx="1858">
                  <c:v>42535</c:v>
                </c:pt>
                <c:pt idx="1859">
                  <c:v>42536</c:v>
                </c:pt>
                <c:pt idx="1860">
                  <c:v>42537</c:v>
                </c:pt>
                <c:pt idx="1861">
                  <c:v>42538</c:v>
                </c:pt>
                <c:pt idx="1862">
                  <c:v>42541</c:v>
                </c:pt>
                <c:pt idx="1863">
                  <c:v>42542</c:v>
                </c:pt>
                <c:pt idx="1864">
                  <c:v>42543</c:v>
                </c:pt>
                <c:pt idx="1865">
                  <c:v>42544</c:v>
                </c:pt>
                <c:pt idx="1866">
                  <c:v>42545</c:v>
                </c:pt>
                <c:pt idx="1867">
                  <c:v>42548</c:v>
                </c:pt>
                <c:pt idx="1868">
                  <c:v>42549</c:v>
                </c:pt>
                <c:pt idx="1869">
                  <c:v>42550</c:v>
                </c:pt>
                <c:pt idx="1870">
                  <c:v>42551</c:v>
                </c:pt>
                <c:pt idx="1871">
                  <c:v>42552</c:v>
                </c:pt>
                <c:pt idx="1872">
                  <c:v>42555</c:v>
                </c:pt>
                <c:pt idx="1873">
                  <c:v>42556</c:v>
                </c:pt>
                <c:pt idx="1874">
                  <c:v>42557</c:v>
                </c:pt>
                <c:pt idx="1875">
                  <c:v>42558</c:v>
                </c:pt>
                <c:pt idx="1876">
                  <c:v>42559</c:v>
                </c:pt>
                <c:pt idx="1877">
                  <c:v>42562</c:v>
                </c:pt>
                <c:pt idx="1878">
                  <c:v>42563</c:v>
                </c:pt>
                <c:pt idx="1879">
                  <c:v>42564</c:v>
                </c:pt>
                <c:pt idx="1880">
                  <c:v>42565</c:v>
                </c:pt>
                <c:pt idx="1881">
                  <c:v>42566</c:v>
                </c:pt>
                <c:pt idx="1882">
                  <c:v>42569</c:v>
                </c:pt>
                <c:pt idx="1883">
                  <c:v>42570</c:v>
                </c:pt>
                <c:pt idx="1884">
                  <c:v>42571</c:v>
                </c:pt>
                <c:pt idx="1885">
                  <c:v>42572</c:v>
                </c:pt>
                <c:pt idx="1886">
                  <c:v>42573</c:v>
                </c:pt>
                <c:pt idx="1887">
                  <c:v>42576</c:v>
                </c:pt>
                <c:pt idx="1888">
                  <c:v>42577</c:v>
                </c:pt>
                <c:pt idx="1889">
                  <c:v>42578</c:v>
                </c:pt>
                <c:pt idx="1890">
                  <c:v>42579</c:v>
                </c:pt>
                <c:pt idx="1891">
                  <c:v>42580</c:v>
                </c:pt>
                <c:pt idx="1892">
                  <c:v>42583</c:v>
                </c:pt>
                <c:pt idx="1893">
                  <c:v>42584</c:v>
                </c:pt>
                <c:pt idx="1894">
                  <c:v>42585</c:v>
                </c:pt>
                <c:pt idx="1895">
                  <c:v>42586</c:v>
                </c:pt>
                <c:pt idx="1896">
                  <c:v>42587</c:v>
                </c:pt>
                <c:pt idx="1897">
                  <c:v>42590</c:v>
                </c:pt>
                <c:pt idx="1898">
                  <c:v>42591</c:v>
                </c:pt>
                <c:pt idx="1899">
                  <c:v>42592</c:v>
                </c:pt>
                <c:pt idx="1900">
                  <c:v>42593</c:v>
                </c:pt>
                <c:pt idx="1901">
                  <c:v>42594</c:v>
                </c:pt>
                <c:pt idx="1902">
                  <c:v>42597</c:v>
                </c:pt>
                <c:pt idx="1903">
                  <c:v>42598</c:v>
                </c:pt>
                <c:pt idx="1904">
                  <c:v>42599</c:v>
                </c:pt>
                <c:pt idx="1905">
                  <c:v>42600</c:v>
                </c:pt>
                <c:pt idx="1906">
                  <c:v>42601</c:v>
                </c:pt>
                <c:pt idx="1907">
                  <c:v>42604</c:v>
                </c:pt>
                <c:pt idx="1908">
                  <c:v>42605</c:v>
                </c:pt>
                <c:pt idx="1909">
                  <c:v>42606</c:v>
                </c:pt>
                <c:pt idx="1910">
                  <c:v>42607</c:v>
                </c:pt>
                <c:pt idx="1911">
                  <c:v>42608</c:v>
                </c:pt>
                <c:pt idx="1912">
                  <c:v>42611</c:v>
                </c:pt>
                <c:pt idx="1913">
                  <c:v>42612</c:v>
                </c:pt>
                <c:pt idx="1914">
                  <c:v>42613</c:v>
                </c:pt>
                <c:pt idx="1915">
                  <c:v>42614</c:v>
                </c:pt>
                <c:pt idx="1916">
                  <c:v>42615</c:v>
                </c:pt>
                <c:pt idx="1917">
                  <c:v>42618</c:v>
                </c:pt>
                <c:pt idx="1918">
                  <c:v>42619</c:v>
                </c:pt>
                <c:pt idx="1919">
                  <c:v>42620</c:v>
                </c:pt>
                <c:pt idx="1920">
                  <c:v>42621</c:v>
                </c:pt>
                <c:pt idx="1921">
                  <c:v>42622</c:v>
                </c:pt>
                <c:pt idx="1922">
                  <c:v>42625</c:v>
                </c:pt>
                <c:pt idx="1923">
                  <c:v>42626</c:v>
                </c:pt>
                <c:pt idx="1924">
                  <c:v>42627</c:v>
                </c:pt>
                <c:pt idx="1925">
                  <c:v>42628</c:v>
                </c:pt>
                <c:pt idx="1926">
                  <c:v>42629</c:v>
                </c:pt>
                <c:pt idx="1927">
                  <c:v>42632</c:v>
                </c:pt>
                <c:pt idx="1928">
                  <c:v>42633</c:v>
                </c:pt>
                <c:pt idx="1929">
                  <c:v>42634</c:v>
                </c:pt>
                <c:pt idx="1930">
                  <c:v>42635</c:v>
                </c:pt>
                <c:pt idx="1931">
                  <c:v>42636</c:v>
                </c:pt>
                <c:pt idx="1932">
                  <c:v>42639</c:v>
                </c:pt>
                <c:pt idx="1933">
                  <c:v>42640</c:v>
                </c:pt>
                <c:pt idx="1934">
                  <c:v>42641</c:v>
                </c:pt>
                <c:pt idx="1935">
                  <c:v>42642</c:v>
                </c:pt>
                <c:pt idx="1936">
                  <c:v>42643</c:v>
                </c:pt>
                <c:pt idx="1937">
                  <c:v>42646</c:v>
                </c:pt>
                <c:pt idx="1938">
                  <c:v>42647</c:v>
                </c:pt>
                <c:pt idx="1939">
                  <c:v>42648</c:v>
                </c:pt>
                <c:pt idx="1940">
                  <c:v>42649</c:v>
                </c:pt>
                <c:pt idx="1941">
                  <c:v>42650</c:v>
                </c:pt>
                <c:pt idx="1942">
                  <c:v>42653</c:v>
                </c:pt>
                <c:pt idx="1943">
                  <c:v>42654</c:v>
                </c:pt>
                <c:pt idx="1944">
                  <c:v>42655</c:v>
                </c:pt>
                <c:pt idx="1945">
                  <c:v>42656</c:v>
                </c:pt>
                <c:pt idx="1946">
                  <c:v>42657</c:v>
                </c:pt>
                <c:pt idx="1947">
                  <c:v>42660</c:v>
                </c:pt>
                <c:pt idx="1948">
                  <c:v>42661</c:v>
                </c:pt>
                <c:pt idx="1949">
                  <c:v>42662</c:v>
                </c:pt>
                <c:pt idx="1950">
                  <c:v>42663</c:v>
                </c:pt>
                <c:pt idx="1951">
                  <c:v>42664</c:v>
                </c:pt>
                <c:pt idx="1952">
                  <c:v>42667</c:v>
                </c:pt>
                <c:pt idx="1953">
                  <c:v>42668</c:v>
                </c:pt>
                <c:pt idx="1954">
                  <c:v>42669</c:v>
                </c:pt>
                <c:pt idx="1955">
                  <c:v>42670</c:v>
                </c:pt>
                <c:pt idx="1956">
                  <c:v>42671</c:v>
                </c:pt>
                <c:pt idx="1957">
                  <c:v>42674</c:v>
                </c:pt>
                <c:pt idx="1958">
                  <c:v>42675</c:v>
                </c:pt>
                <c:pt idx="1959">
                  <c:v>42676</c:v>
                </c:pt>
                <c:pt idx="1960">
                  <c:v>42677</c:v>
                </c:pt>
                <c:pt idx="1961">
                  <c:v>42678</c:v>
                </c:pt>
                <c:pt idx="1962">
                  <c:v>42681</c:v>
                </c:pt>
                <c:pt idx="1963">
                  <c:v>42682</c:v>
                </c:pt>
                <c:pt idx="1964">
                  <c:v>42683</c:v>
                </c:pt>
                <c:pt idx="1965">
                  <c:v>42684</c:v>
                </c:pt>
                <c:pt idx="1966">
                  <c:v>42685</c:v>
                </c:pt>
                <c:pt idx="1967">
                  <c:v>42688</c:v>
                </c:pt>
                <c:pt idx="1968">
                  <c:v>42689</c:v>
                </c:pt>
                <c:pt idx="1969">
                  <c:v>42690</c:v>
                </c:pt>
                <c:pt idx="1970">
                  <c:v>42691</c:v>
                </c:pt>
                <c:pt idx="1971">
                  <c:v>42692</c:v>
                </c:pt>
                <c:pt idx="1972">
                  <c:v>42695</c:v>
                </c:pt>
                <c:pt idx="1973">
                  <c:v>42696</c:v>
                </c:pt>
                <c:pt idx="1974">
                  <c:v>42697</c:v>
                </c:pt>
                <c:pt idx="1975">
                  <c:v>42698</c:v>
                </c:pt>
                <c:pt idx="1976">
                  <c:v>42699</c:v>
                </c:pt>
                <c:pt idx="1977">
                  <c:v>42702</c:v>
                </c:pt>
                <c:pt idx="1978">
                  <c:v>42703</c:v>
                </c:pt>
                <c:pt idx="1979">
                  <c:v>42704</c:v>
                </c:pt>
                <c:pt idx="1980">
                  <c:v>42705</c:v>
                </c:pt>
                <c:pt idx="1981">
                  <c:v>42706</c:v>
                </c:pt>
                <c:pt idx="1982">
                  <c:v>42709</c:v>
                </c:pt>
                <c:pt idx="1983">
                  <c:v>42710</c:v>
                </c:pt>
                <c:pt idx="1984">
                  <c:v>42711</c:v>
                </c:pt>
                <c:pt idx="1985">
                  <c:v>42712</c:v>
                </c:pt>
                <c:pt idx="1986">
                  <c:v>42713</c:v>
                </c:pt>
                <c:pt idx="1987">
                  <c:v>42716</c:v>
                </c:pt>
                <c:pt idx="1988">
                  <c:v>42717</c:v>
                </c:pt>
                <c:pt idx="1989">
                  <c:v>42718</c:v>
                </c:pt>
                <c:pt idx="1990">
                  <c:v>42719</c:v>
                </c:pt>
                <c:pt idx="1991">
                  <c:v>42720</c:v>
                </c:pt>
                <c:pt idx="1992">
                  <c:v>42723</c:v>
                </c:pt>
                <c:pt idx="1993">
                  <c:v>42724</c:v>
                </c:pt>
                <c:pt idx="1994">
                  <c:v>42725</c:v>
                </c:pt>
                <c:pt idx="1995">
                  <c:v>42726</c:v>
                </c:pt>
                <c:pt idx="1996">
                  <c:v>42727</c:v>
                </c:pt>
                <c:pt idx="1997">
                  <c:v>42730</c:v>
                </c:pt>
                <c:pt idx="1998">
                  <c:v>42731</c:v>
                </c:pt>
                <c:pt idx="1999">
                  <c:v>42732</c:v>
                </c:pt>
                <c:pt idx="2000">
                  <c:v>42733</c:v>
                </c:pt>
                <c:pt idx="2001">
                  <c:v>42734</c:v>
                </c:pt>
                <c:pt idx="2002">
                  <c:v>42737</c:v>
                </c:pt>
                <c:pt idx="2003">
                  <c:v>42738</c:v>
                </c:pt>
                <c:pt idx="2004">
                  <c:v>42739</c:v>
                </c:pt>
                <c:pt idx="2005">
                  <c:v>42740</c:v>
                </c:pt>
                <c:pt idx="2006">
                  <c:v>42741</c:v>
                </c:pt>
                <c:pt idx="2007">
                  <c:v>42744</c:v>
                </c:pt>
                <c:pt idx="2008">
                  <c:v>42745</c:v>
                </c:pt>
                <c:pt idx="2009">
                  <c:v>42746</c:v>
                </c:pt>
                <c:pt idx="2010">
                  <c:v>42747</c:v>
                </c:pt>
                <c:pt idx="2011">
                  <c:v>42748</c:v>
                </c:pt>
                <c:pt idx="2012">
                  <c:v>42751</c:v>
                </c:pt>
                <c:pt idx="2013">
                  <c:v>42752</c:v>
                </c:pt>
                <c:pt idx="2014">
                  <c:v>42753</c:v>
                </c:pt>
                <c:pt idx="2015">
                  <c:v>42754</c:v>
                </c:pt>
                <c:pt idx="2016">
                  <c:v>42755</c:v>
                </c:pt>
                <c:pt idx="2017">
                  <c:v>42758</c:v>
                </c:pt>
                <c:pt idx="2018">
                  <c:v>42759</c:v>
                </c:pt>
                <c:pt idx="2019">
                  <c:v>42760</c:v>
                </c:pt>
                <c:pt idx="2020">
                  <c:v>42761</c:v>
                </c:pt>
                <c:pt idx="2021">
                  <c:v>42762</c:v>
                </c:pt>
                <c:pt idx="2022">
                  <c:v>42765</c:v>
                </c:pt>
                <c:pt idx="2023">
                  <c:v>42766</c:v>
                </c:pt>
                <c:pt idx="2024">
                  <c:v>42767</c:v>
                </c:pt>
                <c:pt idx="2025">
                  <c:v>42768</c:v>
                </c:pt>
                <c:pt idx="2026">
                  <c:v>42769</c:v>
                </c:pt>
                <c:pt idx="2027">
                  <c:v>42772</c:v>
                </c:pt>
                <c:pt idx="2028">
                  <c:v>42773</c:v>
                </c:pt>
                <c:pt idx="2029">
                  <c:v>42774</c:v>
                </c:pt>
                <c:pt idx="2030">
                  <c:v>42775</c:v>
                </c:pt>
                <c:pt idx="2031">
                  <c:v>42776</c:v>
                </c:pt>
                <c:pt idx="2032">
                  <c:v>42779</c:v>
                </c:pt>
                <c:pt idx="2033">
                  <c:v>42780</c:v>
                </c:pt>
                <c:pt idx="2034">
                  <c:v>42781</c:v>
                </c:pt>
                <c:pt idx="2035">
                  <c:v>42782</c:v>
                </c:pt>
                <c:pt idx="2036">
                  <c:v>42783</c:v>
                </c:pt>
                <c:pt idx="2037">
                  <c:v>42786</c:v>
                </c:pt>
                <c:pt idx="2038">
                  <c:v>42787</c:v>
                </c:pt>
                <c:pt idx="2039">
                  <c:v>42788</c:v>
                </c:pt>
                <c:pt idx="2040">
                  <c:v>42789</c:v>
                </c:pt>
                <c:pt idx="2041">
                  <c:v>42790</c:v>
                </c:pt>
                <c:pt idx="2042">
                  <c:v>42793</c:v>
                </c:pt>
                <c:pt idx="2043">
                  <c:v>42794</c:v>
                </c:pt>
                <c:pt idx="2044">
                  <c:v>42795</c:v>
                </c:pt>
                <c:pt idx="2045">
                  <c:v>42796</c:v>
                </c:pt>
                <c:pt idx="2046">
                  <c:v>42797</c:v>
                </c:pt>
                <c:pt idx="2047">
                  <c:v>42800</c:v>
                </c:pt>
                <c:pt idx="2048">
                  <c:v>42801</c:v>
                </c:pt>
                <c:pt idx="2049">
                  <c:v>42802</c:v>
                </c:pt>
                <c:pt idx="2050">
                  <c:v>42803</c:v>
                </c:pt>
                <c:pt idx="2051">
                  <c:v>42804</c:v>
                </c:pt>
                <c:pt idx="2052">
                  <c:v>42807</c:v>
                </c:pt>
                <c:pt idx="2053">
                  <c:v>42808</c:v>
                </c:pt>
                <c:pt idx="2054">
                  <c:v>42809</c:v>
                </c:pt>
                <c:pt idx="2055">
                  <c:v>42810</c:v>
                </c:pt>
                <c:pt idx="2056">
                  <c:v>42811</c:v>
                </c:pt>
                <c:pt idx="2057">
                  <c:v>42814</c:v>
                </c:pt>
                <c:pt idx="2058">
                  <c:v>42815</c:v>
                </c:pt>
                <c:pt idx="2059">
                  <c:v>42816</c:v>
                </c:pt>
                <c:pt idx="2060">
                  <c:v>42817</c:v>
                </c:pt>
                <c:pt idx="2061">
                  <c:v>42818</c:v>
                </c:pt>
                <c:pt idx="2062">
                  <c:v>42821</c:v>
                </c:pt>
                <c:pt idx="2063">
                  <c:v>42822</c:v>
                </c:pt>
                <c:pt idx="2064">
                  <c:v>42823</c:v>
                </c:pt>
                <c:pt idx="2065">
                  <c:v>42824</c:v>
                </c:pt>
                <c:pt idx="2066">
                  <c:v>42825</c:v>
                </c:pt>
                <c:pt idx="2067">
                  <c:v>42828</c:v>
                </c:pt>
                <c:pt idx="2068">
                  <c:v>42829</c:v>
                </c:pt>
                <c:pt idx="2069">
                  <c:v>42830</c:v>
                </c:pt>
                <c:pt idx="2070">
                  <c:v>42831</c:v>
                </c:pt>
                <c:pt idx="2071">
                  <c:v>42832</c:v>
                </c:pt>
                <c:pt idx="2072">
                  <c:v>42835</c:v>
                </c:pt>
                <c:pt idx="2073">
                  <c:v>42836</c:v>
                </c:pt>
                <c:pt idx="2074">
                  <c:v>42837</c:v>
                </c:pt>
                <c:pt idx="2075">
                  <c:v>42838</c:v>
                </c:pt>
                <c:pt idx="2076">
                  <c:v>42839</c:v>
                </c:pt>
                <c:pt idx="2077">
                  <c:v>42842</c:v>
                </c:pt>
                <c:pt idx="2078">
                  <c:v>42843</c:v>
                </c:pt>
                <c:pt idx="2079">
                  <c:v>42844</c:v>
                </c:pt>
                <c:pt idx="2080">
                  <c:v>42845</c:v>
                </c:pt>
                <c:pt idx="2081">
                  <c:v>42846</c:v>
                </c:pt>
                <c:pt idx="2082">
                  <c:v>42849</c:v>
                </c:pt>
                <c:pt idx="2083">
                  <c:v>42850</c:v>
                </c:pt>
                <c:pt idx="2084">
                  <c:v>42851</c:v>
                </c:pt>
                <c:pt idx="2085">
                  <c:v>42852</c:v>
                </c:pt>
                <c:pt idx="2086">
                  <c:v>42853</c:v>
                </c:pt>
                <c:pt idx="2087">
                  <c:v>42856</c:v>
                </c:pt>
                <c:pt idx="2088">
                  <c:v>42857</c:v>
                </c:pt>
                <c:pt idx="2089">
                  <c:v>42858</c:v>
                </c:pt>
                <c:pt idx="2090">
                  <c:v>42859</c:v>
                </c:pt>
                <c:pt idx="2091">
                  <c:v>42860</c:v>
                </c:pt>
                <c:pt idx="2092">
                  <c:v>42863</c:v>
                </c:pt>
                <c:pt idx="2093">
                  <c:v>42864</c:v>
                </c:pt>
                <c:pt idx="2094">
                  <c:v>42865</c:v>
                </c:pt>
                <c:pt idx="2095">
                  <c:v>42866</c:v>
                </c:pt>
                <c:pt idx="2096">
                  <c:v>42867</c:v>
                </c:pt>
                <c:pt idx="2097">
                  <c:v>42870</c:v>
                </c:pt>
                <c:pt idx="2098">
                  <c:v>42871</c:v>
                </c:pt>
                <c:pt idx="2099">
                  <c:v>42872</c:v>
                </c:pt>
                <c:pt idx="2100">
                  <c:v>42873</c:v>
                </c:pt>
                <c:pt idx="2101">
                  <c:v>42874</c:v>
                </c:pt>
                <c:pt idx="2102">
                  <c:v>42877</c:v>
                </c:pt>
                <c:pt idx="2103">
                  <c:v>42878</c:v>
                </c:pt>
                <c:pt idx="2104">
                  <c:v>42879</c:v>
                </c:pt>
                <c:pt idx="2105">
                  <c:v>42880</c:v>
                </c:pt>
                <c:pt idx="2106">
                  <c:v>42881</c:v>
                </c:pt>
                <c:pt idx="2107">
                  <c:v>42884</c:v>
                </c:pt>
                <c:pt idx="2108">
                  <c:v>42885</c:v>
                </c:pt>
                <c:pt idx="2109">
                  <c:v>42886</c:v>
                </c:pt>
                <c:pt idx="2110">
                  <c:v>42887</c:v>
                </c:pt>
                <c:pt idx="2111">
                  <c:v>42888</c:v>
                </c:pt>
                <c:pt idx="2112">
                  <c:v>42891</c:v>
                </c:pt>
                <c:pt idx="2113">
                  <c:v>42892</c:v>
                </c:pt>
                <c:pt idx="2114">
                  <c:v>42893</c:v>
                </c:pt>
                <c:pt idx="2115">
                  <c:v>42894</c:v>
                </c:pt>
                <c:pt idx="2116">
                  <c:v>42895</c:v>
                </c:pt>
                <c:pt idx="2117">
                  <c:v>42898</c:v>
                </c:pt>
                <c:pt idx="2118">
                  <c:v>42899</c:v>
                </c:pt>
                <c:pt idx="2119">
                  <c:v>42900</c:v>
                </c:pt>
                <c:pt idx="2120">
                  <c:v>42901</c:v>
                </c:pt>
                <c:pt idx="2121">
                  <c:v>42902</c:v>
                </c:pt>
                <c:pt idx="2122">
                  <c:v>42905</c:v>
                </c:pt>
                <c:pt idx="2123">
                  <c:v>42906</c:v>
                </c:pt>
                <c:pt idx="2124">
                  <c:v>42907</c:v>
                </c:pt>
                <c:pt idx="2125">
                  <c:v>42908</c:v>
                </c:pt>
                <c:pt idx="2126">
                  <c:v>42909</c:v>
                </c:pt>
                <c:pt idx="2127">
                  <c:v>42912</c:v>
                </c:pt>
                <c:pt idx="2128">
                  <c:v>42913</c:v>
                </c:pt>
                <c:pt idx="2129">
                  <c:v>42914</c:v>
                </c:pt>
                <c:pt idx="2130">
                  <c:v>42915</c:v>
                </c:pt>
                <c:pt idx="2131">
                  <c:v>42916</c:v>
                </c:pt>
                <c:pt idx="2132">
                  <c:v>42919</c:v>
                </c:pt>
                <c:pt idx="2133">
                  <c:v>42920</c:v>
                </c:pt>
                <c:pt idx="2134">
                  <c:v>42921</c:v>
                </c:pt>
                <c:pt idx="2135">
                  <c:v>42922</c:v>
                </c:pt>
                <c:pt idx="2136">
                  <c:v>42923</c:v>
                </c:pt>
                <c:pt idx="2137">
                  <c:v>42926</c:v>
                </c:pt>
                <c:pt idx="2138">
                  <c:v>42927</c:v>
                </c:pt>
                <c:pt idx="2139">
                  <c:v>42928</c:v>
                </c:pt>
                <c:pt idx="2140">
                  <c:v>42929</c:v>
                </c:pt>
                <c:pt idx="2141">
                  <c:v>42930</c:v>
                </c:pt>
                <c:pt idx="2142">
                  <c:v>42933</c:v>
                </c:pt>
                <c:pt idx="2143">
                  <c:v>42934</c:v>
                </c:pt>
                <c:pt idx="2144">
                  <c:v>42935</c:v>
                </c:pt>
                <c:pt idx="2145">
                  <c:v>42936</c:v>
                </c:pt>
                <c:pt idx="2146">
                  <c:v>42937</c:v>
                </c:pt>
                <c:pt idx="2147">
                  <c:v>42940</c:v>
                </c:pt>
                <c:pt idx="2148">
                  <c:v>42941</c:v>
                </c:pt>
                <c:pt idx="2149">
                  <c:v>42942</c:v>
                </c:pt>
                <c:pt idx="2150">
                  <c:v>42943</c:v>
                </c:pt>
                <c:pt idx="2151">
                  <c:v>42944</c:v>
                </c:pt>
                <c:pt idx="2152">
                  <c:v>42947</c:v>
                </c:pt>
                <c:pt idx="2153">
                  <c:v>42948</c:v>
                </c:pt>
                <c:pt idx="2154">
                  <c:v>42949</c:v>
                </c:pt>
                <c:pt idx="2155">
                  <c:v>42950</c:v>
                </c:pt>
                <c:pt idx="2156">
                  <c:v>42951</c:v>
                </c:pt>
                <c:pt idx="2157">
                  <c:v>42954</c:v>
                </c:pt>
                <c:pt idx="2158">
                  <c:v>42955</c:v>
                </c:pt>
                <c:pt idx="2159">
                  <c:v>42956</c:v>
                </c:pt>
                <c:pt idx="2160">
                  <c:v>42957</c:v>
                </c:pt>
                <c:pt idx="2161">
                  <c:v>42958</c:v>
                </c:pt>
                <c:pt idx="2162">
                  <c:v>42961</c:v>
                </c:pt>
                <c:pt idx="2163">
                  <c:v>42962</c:v>
                </c:pt>
                <c:pt idx="2164">
                  <c:v>42963</c:v>
                </c:pt>
                <c:pt idx="2165">
                  <c:v>42964</c:v>
                </c:pt>
                <c:pt idx="2166">
                  <c:v>42965</c:v>
                </c:pt>
                <c:pt idx="2167">
                  <c:v>42968</c:v>
                </c:pt>
                <c:pt idx="2168">
                  <c:v>42969</c:v>
                </c:pt>
                <c:pt idx="2169">
                  <c:v>42970</c:v>
                </c:pt>
                <c:pt idx="2170">
                  <c:v>42971</c:v>
                </c:pt>
                <c:pt idx="2171">
                  <c:v>42972</c:v>
                </c:pt>
                <c:pt idx="2172">
                  <c:v>42975</c:v>
                </c:pt>
                <c:pt idx="2173">
                  <c:v>42976</c:v>
                </c:pt>
                <c:pt idx="2174">
                  <c:v>42977</c:v>
                </c:pt>
                <c:pt idx="2175">
                  <c:v>42978</c:v>
                </c:pt>
                <c:pt idx="2176">
                  <c:v>42979</c:v>
                </c:pt>
                <c:pt idx="2177">
                  <c:v>42982</c:v>
                </c:pt>
                <c:pt idx="2178">
                  <c:v>42983</c:v>
                </c:pt>
                <c:pt idx="2179">
                  <c:v>42984</c:v>
                </c:pt>
                <c:pt idx="2180">
                  <c:v>42985</c:v>
                </c:pt>
                <c:pt idx="2181">
                  <c:v>42986</c:v>
                </c:pt>
                <c:pt idx="2182">
                  <c:v>42989</c:v>
                </c:pt>
                <c:pt idx="2183">
                  <c:v>42990</c:v>
                </c:pt>
                <c:pt idx="2184">
                  <c:v>42991</c:v>
                </c:pt>
                <c:pt idx="2185">
                  <c:v>42992</c:v>
                </c:pt>
                <c:pt idx="2186">
                  <c:v>42993</c:v>
                </c:pt>
                <c:pt idx="2187">
                  <c:v>42996</c:v>
                </c:pt>
                <c:pt idx="2188">
                  <c:v>42997</c:v>
                </c:pt>
                <c:pt idx="2189">
                  <c:v>42998</c:v>
                </c:pt>
                <c:pt idx="2190">
                  <c:v>42999</c:v>
                </c:pt>
                <c:pt idx="2191">
                  <c:v>43000</c:v>
                </c:pt>
                <c:pt idx="2192">
                  <c:v>43003</c:v>
                </c:pt>
                <c:pt idx="2193">
                  <c:v>43004</c:v>
                </c:pt>
                <c:pt idx="2194">
                  <c:v>43005</c:v>
                </c:pt>
                <c:pt idx="2195">
                  <c:v>43006</c:v>
                </c:pt>
                <c:pt idx="2196">
                  <c:v>43007</c:v>
                </c:pt>
                <c:pt idx="2197">
                  <c:v>43010</c:v>
                </c:pt>
                <c:pt idx="2198">
                  <c:v>43011</c:v>
                </c:pt>
                <c:pt idx="2199">
                  <c:v>43012</c:v>
                </c:pt>
                <c:pt idx="2200">
                  <c:v>43013</c:v>
                </c:pt>
                <c:pt idx="2201">
                  <c:v>43014</c:v>
                </c:pt>
                <c:pt idx="2202">
                  <c:v>43017</c:v>
                </c:pt>
                <c:pt idx="2203">
                  <c:v>43018</c:v>
                </c:pt>
                <c:pt idx="2204">
                  <c:v>43019</c:v>
                </c:pt>
                <c:pt idx="2205">
                  <c:v>43020</c:v>
                </c:pt>
                <c:pt idx="2206">
                  <c:v>43021</c:v>
                </c:pt>
                <c:pt idx="2207">
                  <c:v>43024</c:v>
                </c:pt>
                <c:pt idx="2208">
                  <c:v>43025</c:v>
                </c:pt>
                <c:pt idx="2209">
                  <c:v>43026</c:v>
                </c:pt>
                <c:pt idx="2210">
                  <c:v>43027</c:v>
                </c:pt>
                <c:pt idx="2211">
                  <c:v>43028</c:v>
                </c:pt>
                <c:pt idx="2212">
                  <c:v>43031</c:v>
                </c:pt>
                <c:pt idx="2213">
                  <c:v>43032</c:v>
                </c:pt>
                <c:pt idx="2214">
                  <c:v>43033</c:v>
                </c:pt>
                <c:pt idx="2215">
                  <c:v>43034</c:v>
                </c:pt>
                <c:pt idx="2216">
                  <c:v>43035</c:v>
                </c:pt>
                <c:pt idx="2217">
                  <c:v>43038</c:v>
                </c:pt>
                <c:pt idx="2218">
                  <c:v>43039</c:v>
                </c:pt>
                <c:pt idx="2219">
                  <c:v>43040</c:v>
                </c:pt>
                <c:pt idx="2220">
                  <c:v>43041</c:v>
                </c:pt>
                <c:pt idx="2221">
                  <c:v>43042</c:v>
                </c:pt>
                <c:pt idx="2222">
                  <c:v>43045</c:v>
                </c:pt>
                <c:pt idx="2223">
                  <c:v>43046</c:v>
                </c:pt>
                <c:pt idx="2224">
                  <c:v>43047</c:v>
                </c:pt>
                <c:pt idx="2225">
                  <c:v>43048</c:v>
                </c:pt>
                <c:pt idx="2226">
                  <c:v>43049</c:v>
                </c:pt>
                <c:pt idx="2227">
                  <c:v>43052</c:v>
                </c:pt>
                <c:pt idx="2228">
                  <c:v>43053</c:v>
                </c:pt>
                <c:pt idx="2229">
                  <c:v>43054</c:v>
                </c:pt>
                <c:pt idx="2230">
                  <c:v>43055</c:v>
                </c:pt>
                <c:pt idx="2231">
                  <c:v>43056</c:v>
                </c:pt>
                <c:pt idx="2232">
                  <c:v>43059</c:v>
                </c:pt>
                <c:pt idx="2233">
                  <c:v>43060</c:v>
                </c:pt>
                <c:pt idx="2234">
                  <c:v>43061</c:v>
                </c:pt>
                <c:pt idx="2235">
                  <c:v>43062</c:v>
                </c:pt>
                <c:pt idx="2236">
                  <c:v>43063</c:v>
                </c:pt>
                <c:pt idx="2237">
                  <c:v>43066</c:v>
                </c:pt>
                <c:pt idx="2238">
                  <c:v>43067</c:v>
                </c:pt>
                <c:pt idx="2239">
                  <c:v>43068</c:v>
                </c:pt>
                <c:pt idx="2240">
                  <c:v>43069</c:v>
                </c:pt>
                <c:pt idx="2241">
                  <c:v>43070</c:v>
                </c:pt>
                <c:pt idx="2242">
                  <c:v>43073</c:v>
                </c:pt>
                <c:pt idx="2243">
                  <c:v>43074</c:v>
                </c:pt>
                <c:pt idx="2244">
                  <c:v>43075</c:v>
                </c:pt>
                <c:pt idx="2245">
                  <c:v>43076</c:v>
                </c:pt>
                <c:pt idx="2246">
                  <c:v>43077</c:v>
                </c:pt>
                <c:pt idx="2247">
                  <c:v>43080</c:v>
                </c:pt>
                <c:pt idx="2248">
                  <c:v>43081</c:v>
                </c:pt>
                <c:pt idx="2249">
                  <c:v>43082</c:v>
                </c:pt>
                <c:pt idx="2250">
                  <c:v>43083</c:v>
                </c:pt>
                <c:pt idx="2251">
                  <c:v>43084</c:v>
                </c:pt>
                <c:pt idx="2252">
                  <c:v>43087</c:v>
                </c:pt>
                <c:pt idx="2253">
                  <c:v>43088</c:v>
                </c:pt>
                <c:pt idx="2254">
                  <c:v>43089</c:v>
                </c:pt>
                <c:pt idx="2255">
                  <c:v>43090</c:v>
                </c:pt>
                <c:pt idx="2256">
                  <c:v>43091</c:v>
                </c:pt>
                <c:pt idx="2257">
                  <c:v>43094</c:v>
                </c:pt>
                <c:pt idx="2258">
                  <c:v>43095</c:v>
                </c:pt>
                <c:pt idx="2259">
                  <c:v>43096</c:v>
                </c:pt>
                <c:pt idx="2260">
                  <c:v>43097</c:v>
                </c:pt>
                <c:pt idx="2261">
                  <c:v>43098</c:v>
                </c:pt>
                <c:pt idx="2262">
                  <c:v>43101</c:v>
                </c:pt>
                <c:pt idx="2263">
                  <c:v>43102</c:v>
                </c:pt>
                <c:pt idx="2264">
                  <c:v>43103</c:v>
                </c:pt>
                <c:pt idx="2265">
                  <c:v>43104</c:v>
                </c:pt>
                <c:pt idx="2266">
                  <c:v>43105</c:v>
                </c:pt>
                <c:pt idx="2267">
                  <c:v>43108</c:v>
                </c:pt>
                <c:pt idx="2268">
                  <c:v>43109</c:v>
                </c:pt>
                <c:pt idx="2269">
                  <c:v>43110</c:v>
                </c:pt>
                <c:pt idx="2270">
                  <c:v>43111</c:v>
                </c:pt>
                <c:pt idx="2271">
                  <c:v>43112</c:v>
                </c:pt>
                <c:pt idx="2272">
                  <c:v>43115</c:v>
                </c:pt>
                <c:pt idx="2273">
                  <c:v>43116</c:v>
                </c:pt>
                <c:pt idx="2274">
                  <c:v>43117</c:v>
                </c:pt>
                <c:pt idx="2275">
                  <c:v>43118</c:v>
                </c:pt>
                <c:pt idx="2276">
                  <c:v>43119</c:v>
                </c:pt>
                <c:pt idx="2277">
                  <c:v>43122</c:v>
                </c:pt>
                <c:pt idx="2278">
                  <c:v>43123</c:v>
                </c:pt>
                <c:pt idx="2279">
                  <c:v>43124</c:v>
                </c:pt>
                <c:pt idx="2280">
                  <c:v>43125</c:v>
                </c:pt>
                <c:pt idx="2281">
                  <c:v>43126</c:v>
                </c:pt>
                <c:pt idx="2282">
                  <c:v>43129</c:v>
                </c:pt>
                <c:pt idx="2283">
                  <c:v>43130</c:v>
                </c:pt>
                <c:pt idx="2284">
                  <c:v>43131</c:v>
                </c:pt>
              </c:numCache>
            </c:numRef>
          </c:cat>
          <c:val>
            <c:numRef>
              <c:f>'Amundi Fds Europe MinVar BRUT'!$E$5:$E$2289</c:f>
              <c:numCache>
                <c:formatCode>#,##0.00_);[Red]\(#,##0.00\)</c:formatCode>
                <c:ptCount val="2285"/>
                <c:pt idx="0">
                  <c:v>100</c:v>
                </c:pt>
                <c:pt idx="1">
                  <c:v>100</c:v>
                </c:pt>
                <c:pt idx="2">
                  <c:v>101.87380686241141</c:v>
                </c:pt>
                <c:pt idx="3">
                  <c:v>102.55799320119448</c:v>
                </c:pt>
                <c:pt idx="4">
                  <c:v>104.09258449268559</c:v>
                </c:pt>
                <c:pt idx="5">
                  <c:v>103.31064506805177</c:v>
                </c:pt>
                <c:pt idx="6">
                  <c:v>104.97905534623672</c:v>
                </c:pt>
                <c:pt idx="7">
                  <c:v>103.52397103473281</c:v>
                </c:pt>
                <c:pt idx="8">
                  <c:v>103.42195484003565</c:v>
                </c:pt>
                <c:pt idx="9">
                  <c:v>100.87436362442736</c:v>
                </c:pt>
                <c:pt idx="10">
                  <c:v>101.32395108338343</c:v>
                </c:pt>
                <c:pt idx="11">
                  <c:v>101.89363031854784</c:v>
                </c:pt>
                <c:pt idx="12">
                  <c:v>104.51586857005944</c:v>
                </c:pt>
                <c:pt idx="13">
                  <c:v>105.99844993362252</c:v>
                </c:pt>
                <c:pt idx="14">
                  <c:v>106.58991365499313</c:v>
                </c:pt>
                <c:pt idx="15">
                  <c:v>106.58991365499313</c:v>
                </c:pt>
                <c:pt idx="16">
                  <c:v>104.21894303889721</c:v>
                </c:pt>
                <c:pt idx="17">
                  <c:v>104.4068182457641</c:v>
                </c:pt>
                <c:pt idx="18">
                  <c:v>105.25253377874269</c:v>
                </c:pt>
                <c:pt idx="19">
                  <c:v>106.0096192788008</c:v>
                </c:pt>
                <c:pt idx="20">
                  <c:v>104.81697194789086</c:v>
                </c:pt>
                <c:pt idx="21">
                  <c:v>104.97538907262877</c:v>
                </c:pt>
                <c:pt idx="22">
                  <c:v>104.97538907262877</c:v>
                </c:pt>
                <c:pt idx="23">
                  <c:v>108.04619163697396</c:v>
                </c:pt>
                <c:pt idx="24">
                  <c:v>105.93096492058169</c:v>
                </c:pt>
                <c:pt idx="25">
                  <c:v>105.70843063879218</c:v>
                </c:pt>
                <c:pt idx="26">
                  <c:v>106.36439519701031</c:v>
                </c:pt>
                <c:pt idx="27">
                  <c:v>105.63617094384368</c:v>
                </c:pt>
                <c:pt idx="28">
                  <c:v>106.13704360222403</c:v>
                </c:pt>
                <c:pt idx="29">
                  <c:v>107.40945369965277</c:v>
                </c:pt>
                <c:pt idx="30">
                  <c:v>108.39687497069048</c:v>
                </c:pt>
                <c:pt idx="31">
                  <c:v>108.12531493716521</c:v>
                </c:pt>
                <c:pt idx="32">
                  <c:v>105.40016523809825</c:v>
                </c:pt>
                <c:pt idx="33">
                  <c:v>105.28983598114978</c:v>
                </c:pt>
                <c:pt idx="34">
                  <c:v>103.25368993386166</c:v>
                </c:pt>
                <c:pt idx="35">
                  <c:v>103.77634707844821</c:v>
                </c:pt>
                <c:pt idx="36">
                  <c:v>105.1501765353367</c:v>
                </c:pt>
                <c:pt idx="37">
                  <c:v>102.25625035703449</c:v>
                </c:pt>
                <c:pt idx="38">
                  <c:v>102.25625035703449</c:v>
                </c:pt>
                <c:pt idx="39">
                  <c:v>104.13265771584248</c:v>
                </c:pt>
                <c:pt idx="40">
                  <c:v>103.27185077754804</c:v>
                </c:pt>
                <c:pt idx="41">
                  <c:v>103.14331804582409</c:v>
                </c:pt>
                <c:pt idx="42">
                  <c:v>104.96856809847412</c:v>
                </c:pt>
                <c:pt idx="43">
                  <c:v>103.85845455483276</c:v>
                </c:pt>
                <c:pt idx="44">
                  <c:v>105.73916765357625</c:v>
                </c:pt>
                <c:pt idx="45">
                  <c:v>103.02373784267904</c:v>
                </c:pt>
                <c:pt idx="46">
                  <c:v>103.00830538865434</c:v>
                </c:pt>
                <c:pt idx="47">
                  <c:v>101.81446438726749</c:v>
                </c:pt>
                <c:pt idx="48">
                  <c:v>101.04893793169273</c:v>
                </c:pt>
                <c:pt idx="49">
                  <c:v>99.961717282557899</c:v>
                </c:pt>
                <c:pt idx="50">
                  <c:v>100.67924113251978</c:v>
                </c:pt>
                <c:pt idx="51">
                  <c:v>99.62220329401876</c:v>
                </c:pt>
                <c:pt idx="52">
                  <c:v>101.41309268936416</c:v>
                </c:pt>
                <c:pt idx="53">
                  <c:v>102.74488789302596</c:v>
                </c:pt>
                <c:pt idx="54">
                  <c:v>105.56442282195545</c:v>
                </c:pt>
                <c:pt idx="55">
                  <c:v>105.97790174898232</c:v>
                </c:pt>
                <c:pt idx="56">
                  <c:v>106.38907859723159</c:v>
                </c:pt>
                <c:pt idx="57">
                  <c:v>107.6443083660094</c:v>
                </c:pt>
                <c:pt idx="58">
                  <c:v>108.53866597092679</c:v>
                </c:pt>
                <c:pt idx="59">
                  <c:v>108.86172435931785</c:v>
                </c:pt>
                <c:pt idx="60">
                  <c:v>110.96531278855868</c:v>
                </c:pt>
                <c:pt idx="61">
                  <c:v>110.92528219648989</c:v>
                </c:pt>
                <c:pt idx="62">
                  <c:v>111.43429739276714</c:v>
                </c:pt>
                <c:pt idx="63">
                  <c:v>110.42671161688618</c:v>
                </c:pt>
                <c:pt idx="64">
                  <c:v>111.38156273633533</c:v>
                </c:pt>
                <c:pt idx="65">
                  <c:v>113.82189413336464</c:v>
                </c:pt>
                <c:pt idx="66">
                  <c:v>113.53835476398113</c:v>
                </c:pt>
                <c:pt idx="67">
                  <c:v>115.32131477687287</c:v>
                </c:pt>
                <c:pt idx="68">
                  <c:v>114.97574717377084</c:v>
                </c:pt>
                <c:pt idx="69">
                  <c:v>114.49687215703823</c:v>
                </c:pt>
                <c:pt idx="70">
                  <c:v>114.98082027329821</c:v>
                </c:pt>
                <c:pt idx="71">
                  <c:v>116.42128212145843</c:v>
                </c:pt>
                <c:pt idx="72">
                  <c:v>115.8171569668139</c:v>
                </c:pt>
                <c:pt idx="73">
                  <c:v>114.21525118663538</c:v>
                </c:pt>
                <c:pt idx="74">
                  <c:v>115.46954307146689</c:v>
                </c:pt>
                <c:pt idx="75">
                  <c:v>116.32647058071186</c:v>
                </c:pt>
                <c:pt idx="76">
                  <c:v>115.40077912577193</c:v>
                </c:pt>
                <c:pt idx="77">
                  <c:v>113.15002817914865</c:v>
                </c:pt>
                <c:pt idx="78">
                  <c:v>114.676519563832</c:v>
                </c:pt>
                <c:pt idx="79">
                  <c:v>114.4078584443228</c:v>
                </c:pt>
                <c:pt idx="80">
                  <c:v>115.99271178911567</c:v>
                </c:pt>
                <c:pt idx="81">
                  <c:v>118.67071150433948</c:v>
                </c:pt>
                <c:pt idx="82">
                  <c:v>119.60902176146422</c:v>
                </c:pt>
                <c:pt idx="83">
                  <c:v>120.12021114325377</c:v>
                </c:pt>
                <c:pt idx="84">
                  <c:v>119.44676783876493</c:v>
                </c:pt>
                <c:pt idx="85">
                  <c:v>118.83432962187011</c:v>
                </c:pt>
                <c:pt idx="86">
                  <c:v>119.97607543315272</c:v>
                </c:pt>
                <c:pt idx="87">
                  <c:v>119.24844801522354</c:v>
                </c:pt>
                <c:pt idx="88">
                  <c:v>117.07059622987632</c:v>
                </c:pt>
                <c:pt idx="89">
                  <c:v>116.60561894798367</c:v>
                </c:pt>
                <c:pt idx="90">
                  <c:v>116.58507076334249</c:v>
                </c:pt>
                <c:pt idx="91">
                  <c:v>118.14310915349084</c:v>
                </c:pt>
                <c:pt idx="92">
                  <c:v>119.81620885140727</c:v>
                </c:pt>
                <c:pt idx="93">
                  <c:v>120.17473630540194</c:v>
                </c:pt>
                <c:pt idx="94">
                  <c:v>121.30271227510991</c:v>
                </c:pt>
                <c:pt idx="95">
                  <c:v>121.45626945576198</c:v>
                </c:pt>
                <c:pt idx="96">
                  <c:v>122.06576612755262</c:v>
                </c:pt>
                <c:pt idx="97">
                  <c:v>121.70284767144624</c:v>
                </c:pt>
                <c:pt idx="98">
                  <c:v>121.88876184824431</c:v>
                </c:pt>
                <c:pt idx="99">
                  <c:v>123.62555239232829</c:v>
                </c:pt>
                <c:pt idx="100">
                  <c:v>124.24753997303944</c:v>
                </c:pt>
                <c:pt idx="101">
                  <c:v>123.70881090810062</c:v>
                </c:pt>
                <c:pt idx="102">
                  <c:v>122.75370400212084</c:v>
                </c:pt>
                <c:pt idx="103">
                  <c:v>123.39888289495664</c:v>
                </c:pt>
                <c:pt idx="104">
                  <c:v>123.65569257187288</c:v>
                </c:pt>
                <c:pt idx="105">
                  <c:v>121.27811413706486</c:v>
                </c:pt>
                <c:pt idx="106">
                  <c:v>120.76483583194022</c:v>
                </c:pt>
                <c:pt idx="107">
                  <c:v>122.9239299383626</c:v>
                </c:pt>
                <c:pt idx="108">
                  <c:v>123.09496586528637</c:v>
                </c:pt>
                <c:pt idx="109">
                  <c:v>122.50414161024332</c:v>
                </c:pt>
                <c:pt idx="110">
                  <c:v>120.54741728076617</c:v>
                </c:pt>
                <c:pt idx="111">
                  <c:v>118.29585634346292</c:v>
                </c:pt>
                <c:pt idx="112">
                  <c:v>119.28634705286912</c:v>
                </c:pt>
                <c:pt idx="113">
                  <c:v>121.84455340950532</c:v>
                </c:pt>
                <c:pt idx="114">
                  <c:v>121.38584289761695</c:v>
                </c:pt>
                <c:pt idx="115">
                  <c:v>122.9445207540919</c:v>
                </c:pt>
                <c:pt idx="116">
                  <c:v>122.58092020056984</c:v>
                </c:pt>
                <c:pt idx="117">
                  <c:v>123.40642859761508</c:v>
                </c:pt>
                <c:pt idx="118">
                  <c:v>122.21663754963213</c:v>
                </c:pt>
                <c:pt idx="119">
                  <c:v>124.78742007736602</c:v>
                </c:pt>
                <c:pt idx="120">
                  <c:v>124.92580059052503</c:v>
                </c:pt>
                <c:pt idx="121">
                  <c:v>124.10280742769892</c:v>
                </c:pt>
                <c:pt idx="122">
                  <c:v>126.05514075506335</c:v>
                </c:pt>
                <c:pt idx="123">
                  <c:v>125.4808147312566</c:v>
                </c:pt>
                <c:pt idx="124">
                  <c:v>126.05198605451764</c:v>
                </c:pt>
                <c:pt idx="125">
                  <c:v>124.57068362360768</c:v>
                </c:pt>
                <c:pt idx="126">
                  <c:v>123.89297721027144</c:v>
                </c:pt>
                <c:pt idx="127">
                  <c:v>122.39419603309078</c:v>
                </c:pt>
                <c:pt idx="128">
                  <c:v>122.69163313731426</c:v>
                </c:pt>
                <c:pt idx="129">
                  <c:v>120.30633847549434</c:v>
                </c:pt>
                <c:pt idx="130">
                  <c:v>122.42714986447427</c:v>
                </c:pt>
                <c:pt idx="131">
                  <c:v>119.95608145266191</c:v>
                </c:pt>
                <c:pt idx="132">
                  <c:v>120.34837272872103</c:v>
                </c:pt>
                <c:pt idx="133">
                  <c:v>118.98677839422245</c:v>
                </c:pt>
                <c:pt idx="134">
                  <c:v>121.08853368665879</c:v>
                </c:pt>
                <c:pt idx="135">
                  <c:v>121.80294546716371</c:v>
                </c:pt>
                <c:pt idx="136">
                  <c:v>122.02722762358049</c:v>
                </c:pt>
                <c:pt idx="137">
                  <c:v>124.42318005751642</c:v>
                </c:pt>
                <c:pt idx="138">
                  <c:v>124.20435468042395</c:v>
                </c:pt>
                <c:pt idx="139">
                  <c:v>124.72245029854436</c:v>
                </c:pt>
                <c:pt idx="140">
                  <c:v>124.90307822037252</c:v>
                </c:pt>
                <c:pt idx="141">
                  <c:v>125.51393908699451</c:v>
                </c:pt>
                <c:pt idx="142">
                  <c:v>127.31723412908391</c:v>
                </c:pt>
                <c:pt idx="143">
                  <c:v>126.86496091155426</c:v>
                </c:pt>
                <c:pt idx="144">
                  <c:v>126.58939355571322</c:v>
                </c:pt>
                <c:pt idx="145">
                  <c:v>124.52673097139933</c:v>
                </c:pt>
                <c:pt idx="146">
                  <c:v>123.55124640513277</c:v>
                </c:pt>
                <c:pt idx="147">
                  <c:v>126.06856954793014</c:v>
                </c:pt>
                <c:pt idx="148">
                  <c:v>125.2285665808065</c:v>
                </c:pt>
                <c:pt idx="149">
                  <c:v>125.79317271644351</c:v>
                </c:pt>
                <c:pt idx="150">
                  <c:v>121.64691568337962</c:v>
                </c:pt>
                <c:pt idx="151">
                  <c:v>123.03941755701568</c:v>
                </c:pt>
                <c:pt idx="152">
                  <c:v>121.31371109593378</c:v>
                </c:pt>
                <c:pt idx="153">
                  <c:v>124.57217571170331</c:v>
                </c:pt>
                <c:pt idx="154">
                  <c:v>125.16056999470442</c:v>
                </c:pt>
                <c:pt idx="155">
                  <c:v>124.90785290228119</c:v>
                </c:pt>
                <c:pt idx="156">
                  <c:v>126.29234013128567</c:v>
                </c:pt>
                <c:pt idx="157">
                  <c:v>125.68800182119864</c:v>
                </c:pt>
                <c:pt idx="158">
                  <c:v>123.71533346463556</c:v>
                </c:pt>
                <c:pt idx="159">
                  <c:v>122.45656531551612</c:v>
                </c:pt>
                <c:pt idx="160">
                  <c:v>123.72462704192127</c:v>
                </c:pt>
                <c:pt idx="161">
                  <c:v>124.34435517494389</c:v>
                </c:pt>
                <c:pt idx="162">
                  <c:v>125.35415776742624</c:v>
                </c:pt>
                <c:pt idx="163">
                  <c:v>125.42790955047138</c:v>
                </c:pt>
                <c:pt idx="164">
                  <c:v>127.03812839290021</c:v>
                </c:pt>
                <c:pt idx="165">
                  <c:v>125.38399952935212</c:v>
                </c:pt>
                <c:pt idx="166">
                  <c:v>124.87566643048957</c:v>
                </c:pt>
                <c:pt idx="167">
                  <c:v>126.63782247220949</c:v>
                </c:pt>
                <c:pt idx="168">
                  <c:v>127.47978646940292</c:v>
                </c:pt>
                <c:pt idx="169">
                  <c:v>127.8754882325394</c:v>
                </c:pt>
                <c:pt idx="170">
                  <c:v>127.8754882325394</c:v>
                </c:pt>
                <c:pt idx="171">
                  <c:v>127.8754882325394</c:v>
                </c:pt>
                <c:pt idx="172">
                  <c:v>128.54343212661678</c:v>
                </c:pt>
                <c:pt idx="173">
                  <c:v>128.96893302059001</c:v>
                </c:pt>
                <c:pt idx="174">
                  <c:v>128.46111149478975</c:v>
                </c:pt>
                <c:pt idx="175">
                  <c:v>128.85826271493372</c:v>
                </c:pt>
                <c:pt idx="176">
                  <c:v>128.85826271493372</c:v>
                </c:pt>
                <c:pt idx="177">
                  <c:v>130.73518164680397</c:v>
                </c:pt>
                <c:pt idx="178">
                  <c:v>130.70482831181582</c:v>
                </c:pt>
                <c:pt idx="179">
                  <c:v>130.83621732646671</c:v>
                </c:pt>
                <c:pt idx="180">
                  <c:v>130.8390309783056</c:v>
                </c:pt>
                <c:pt idx="181">
                  <c:v>131.36462966799633</c:v>
                </c:pt>
                <c:pt idx="182">
                  <c:v>131.23157804089536</c:v>
                </c:pt>
                <c:pt idx="183">
                  <c:v>130.00580635424751</c:v>
                </c:pt>
                <c:pt idx="184">
                  <c:v>130.26014342803271</c:v>
                </c:pt>
                <c:pt idx="185">
                  <c:v>131.22006764701024</c:v>
                </c:pt>
                <c:pt idx="186">
                  <c:v>129.97519723272976</c:v>
                </c:pt>
                <c:pt idx="187">
                  <c:v>130.88937829378355</c:v>
                </c:pt>
                <c:pt idx="188">
                  <c:v>131.95485708780092</c:v>
                </c:pt>
                <c:pt idx="189">
                  <c:v>129.92527622813682</c:v>
                </c:pt>
                <c:pt idx="190">
                  <c:v>128.0969141060292</c:v>
                </c:pt>
                <c:pt idx="191">
                  <c:v>126.67512467461661</c:v>
                </c:pt>
                <c:pt idx="192">
                  <c:v>125.7982458159709</c:v>
                </c:pt>
                <c:pt idx="193">
                  <c:v>126.41690817178193</c:v>
                </c:pt>
                <c:pt idx="194">
                  <c:v>125.33744638074742</c:v>
                </c:pt>
                <c:pt idx="195">
                  <c:v>123.92414053593954</c:v>
                </c:pt>
                <c:pt idx="196">
                  <c:v>125.15187325265717</c:v>
                </c:pt>
                <c:pt idx="197">
                  <c:v>125.90516458584202</c:v>
                </c:pt>
                <c:pt idx="198">
                  <c:v>127.07184958387656</c:v>
                </c:pt>
                <c:pt idx="199">
                  <c:v>126.40974614891944</c:v>
                </c:pt>
                <c:pt idx="200">
                  <c:v>123.01481941897062</c:v>
                </c:pt>
                <c:pt idx="201">
                  <c:v>120.39637533433327</c:v>
                </c:pt>
                <c:pt idx="202">
                  <c:v>121.19762664204126</c:v>
                </c:pt>
                <c:pt idx="203">
                  <c:v>121.35693901963735</c:v>
                </c:pt>
                <c:pt idx="204">
                  <c:v>122.29405560628521</c:v>
                </c:pt>
                <c:pt idx="205">
                  <c:v>122.72697430965256</c:v>
                </c:pt>
                <c:pt idx="206">
                  <c:v>122.37249680906179</c:v>
                </c:pt>
                <c:pt idx="207">
                  <c:v>122.85742544035618</c:v>
                </c:pt>
                <c:pt idx="208">
                  <c:v>124.11175995627579</c:v>
                </c:pt>
                <c:pt idx="209">
                  <c:v>125.79999369059718</c:v>
                </c:pt>
                <c:pt idx="210">
                  <c:v>126.56556277726101</c:v>
                </c:pt>
                <c:pt idx="211">
                  <c:v>127.15715439189592</c:v>
                </c:pt>
                <c:pt idx="212">
                  <c:v>126.81602042199471</c:v>
                </c:pt>
                <c:pt idx="213">
                  <c:v>125.30768988099774</c:v>
                </c:pt>
                <c:pt idx="214">
                  <c:v>125.65824532144995</c:v>
                </c:pt>
                <c:pt idx="215">
                  <c:v>123.65015053037234</c:v>
                </c:pt>
                <c:pt idx="216">
                  <c:v>124.92371166718992</c:v>
                </c:pt>
                <c:pt idx="217">
                  <c:v>126.3745328698464</c:v>
                </c:pt>
                <c:pt idx="218">
                  <c:v>127.4309312420216</c:v>
                </c:pt>
                <c:pt idx="219">
                  <c:v>128.47479607418714</c:v>
                </c:pt>
                <c:pt idx="220">
                  <c:v>128.70150820264587</c:v>
                </c:pt>
                <c:pt idx="221">
                  <c:v>130.77768484200377</c:v>
                </c:pt>
                <c:pt idx="222">
                  <c:v>130.68338487431745</c:v>
                </c:pt>
                <c:pt idx="223">
                  <c:v>130.61589986127663</c:v>
                </c:pt>
                <c:pt idx="224">
                  <c:v>131.43923407281056</c:v>
                </c:pt>
                <c:pt idx="225">
                  <c:v>131.12632188347428</c:v>
                </c:pt>
                <c:pt idx="226">
                  <c:v>131.48489196855706</c:v>
                </c:pt>
                <c:pt idx="227">
                  <c:v>130.61538828821537</c:v>
                </c:pt>
                <c:pt idx="228">
                  <c:v>131.81745708967631</c:v>
                </c:pt>
                <c:pt idx="229">
                  <c:v>133.03905092965499</c:v>
                </c:pt>
                <c:pt idx="230">
                  <c:v>132.974379568453</c:v>
                </c:pt>
                <c:pt idx="231">
                  <c:v>132.46608910067857</c:v>
                </c:pt>
                <c:pt idx="232">
                  <c:v>132.40525453743896</c:v>
                </c:pt>
                <c:pt idx="233">
                  <c:v>133.26525148505243</c:v>
                </c:pt>
                <c:pt idx="234">
                  <c:v>133.44485626075812</c:v>
                </c:pt>
                <c:pt idx="235">
                  <c:v>134.74578655637052</c:v>
                </c:pt>
                <c:pt idx="236">
                  <c:v>134.13935932294839</c:v>
                </c:pt>
                <c:pt idx="237">
                  <c:v>134.30472531510628</c:v>
                </c:pt>
                <c:pt idx="238">
                  <c:v>134.30775212238768</c:v>
                </c:pt>
                <c:pt idx="239">
                  <c:v>134.16046171173895</c:v>
                </c:pt>
                <c:pt idx="240">
                  <c:v>136.20287452903136</c:v>
                </c:pt>
                <c:pt idx="241">
                  <c:v>136.20287452903136</c:v>
                </c:pt>
                <c:pt idx="242">
                  <c:v>136.20287452903136</c:v>
                </c:pt>
                <c:pt idx="243">
                  <c:v>137.05677523099493</c:v>
                </c:pt>
                <c:pt idx="244">
                  <c:v>136.67914904936762</c:v>
                </c:pt>
                <c:pt idx="245">
                  <c:v>135.50005840458977</c:v>
                </c:pt>
                <c:pt idx="246">
                  <c:v>137.27807321121946</c:v>
                </c:pt>
                <c:pt idx="247">
                  <c:v>137.12609338084022</c:v>
                </c:pt>
                <c:pt idx="248">
                  <c:v>136.82669524654699</c:v>
                </c:pt>
                <c:pt idx="249">
                  <c:v>137.76965229231507</c:v>
                </c:pt>
                <c:pt idx="250">
                  <c:v>138.66912562784796</c:v>
                </c:pt>
                <c:pt idx="251">
                  <c:v>136.51911194326874</c:v>
                </c:pt>
                <c:pt idx="252">
                  <c:v>135.72506528951033</c:v>
                </c:pt>
                <c:pt idx="253">
                  <c:v>137.56898775890798</c:v>
                </c:pt>
                <c:pt idx="254">
                  <c:v>136.78530045964686</c:v>
                </c:pt>
                <c:pt idx="255">
                  <c:v>135.29073976022451</c:v>
                </c:pt>
                <c:pt idx="256">
                  <c:v>136.38542084984019</c:v>
                </c:pt>
                <c:pt idx="257">
                  <c:v>137.72898223391871</c:v>
                </c:pt>
                <c:pt idx="258">
                  <c:v>133.44523994055407</c:v>
                </c:pt>
                <c:pt idx="259">
                  <c:v>131.89385200020692</c:v>
                </c:pt>
                <c:pt idx="260">
                  <c:v>133.6764709643908</c:v>
                </c:pt>
                <c:pt idx="261">
                  <c:v>132.84282002944769</c:v>
                </c:pt>
                <c:pt idx="262">
                  <c:v>133.24427698952721</c:v>
                </c:pt>
                <c:pt idx="263">
                  <c:v>129.46677887168997</c:v>
                </c:pt>
                <c:pt idx="264">
                  <c:v>128.43595915259428</c:v>
                </c:pt>
                <c:pt idx="265">
                  <c:v>126.61433274246512</c:v>
                </c:pt>
                <c:pt idx="266">
                  <c:v>121.82741571194147</c:v>
                </c:pt>
                <c:pt idx="267">
                  <c:v>130.44490656544198</c:v>
                </c:pt>
                <c:pt idx="268">
                  <c:v>129.90063545900264</c:v>
                </c:pt>
                <c:pt idx="269">
                  <c:v>131.75078206731649</c:v>
                </c:pt>
                <c:pt idx="270">
                  <c:v>131.75078206731649</c:v>
                </c:pt>
                <c:pt idx="271">
                  <c:v>127.62758845311191</c:v>
                </c:pt>
                <c:pt idx="272">
                  <c:v>127.51504237956304</c:v>
                </c:pt>
                <c:pt idx="273">
                  <c:v>129.17126016644721</c:v>
                </c:pt>
                <c:pt idx="274">
                  <c:v>125.41064395964221</c:v>
                </c:pt>
                <c:pt idx="275">
                  <c:v>122.78640204697271</c:v>
                </c:pt>
                <c:pt idx="276">
                  <c:v>122.14156420284374</c:v>
                </c:pt>
                <c:pt idx="277">
                  <c:v>122.14156420284374</c:v>
                </c:pt>
                <c:pt idx="278">
                  <c:v>119.73060562576718</c:v>
                </c:pt>
                <c:pt idx="279">
                  <c:v>122.57299081811448</c:v>
                </c:pt>
                <c:pt idx="280">
                  <c:v>126.26906355698281</c:v>
                </c:pt>
                <c:pt idx="281">
                  <c:v>125.88794162610198</c:v>
                </c:pt>
                <c:pt idx="282">
                  <c:v>126.41597028783463</c:v>
                </c:pt>
                <c:pt idx="283">
                  <c:v>126.6078101859292</c:v>
                </c:pt>
                <c:pt idx="284">
                  <c:v>126.75301167324284</c:v>
                </c:pt>
                <c:pt idx="285">
                  <c:v>128.5683286822796</c:v>
                </c:pt>
                <c:pt idx="286">
                  <c:v>126.31740721130289</c:v>
                </c:pt>
                <c:pt idx="287">
                  <c:v>125.38493741329742</c:v>
                </c:pt>
                <c:pt idx="288">
                  <c:v>124.0218083596141</c:v>
                </c:pt>
                <c:pt idx="289">
                  <c:v>126.34341217526641</c:v>
                </c:pt>
                <c:pt idx="290">
                  <c:v>128.28427773983481</c:v>
                </c:pt>
                <c:pt idx="291">
                  <c:v>128.81379848966415</c:v>
                </c:pt>
                <c:pt idx="292">
                  <c:v>130.39796973704136</c:v>
                </c:pt>
                <c:pt idx="293">
                  <c:v>131.28751002896198</c:v>
                </c:pt>
                <c:pt idx="294">
                  <c:v>131.45799175173536</c:v>
                </c:pt>
                <c:pt idx="295">
                  <c:v>131.66893037746257</c:v>
                </c:pt>
                <c:pt idx="296">
                  <c:v>131.89240254319836</c:v>
                </c:pt>
                <c:pt idx="297">
                  <c:v>133.34403373653686</c:v>
                </c:pt>
                <c:pt idx="298">
                  <c:v>132.67813613470548</c:v>
                </c:pt>
                <c:pt idx="299">
                  <c:v>132.67813613470548</c:v>
                </c:pt>
                <c:pt idx="300">
                  <c:v>128.99549218870391</c:v>
                </c:pt>
                <c:pt idx="301">
                  <c:v>128.24497187626883</c:v>
                </c:pt>
                <c:pt idx="302">
                  <c:v>129.8237289754108</c:v>
                </c:pt>
                <c:pt idx="303">
                  <c:v>125.94570675097205</c:v>
                </c:pt>
                <c:pt idx="304">
                  <c:v>125.69712487412991</c:v>
                </c:pt>
                <c:pt idx="305">
                  <c:v>122.56651089266765</c:v>
                </c:pt>
                <c:pt idx="306">
                  <c:v>122.53658386856455</c:v>
                </c:pt>
                <c:pt idx="307">
                  <c:v>122.2072587101692</c:v>
                </c:pt>
                <c:pt idx="308">
                  <c:v>125.33940741081622</c:v>
                </c:pt>
                <c:pt idx="309">
                  <c:v>127.03143531201087</c:v>
                </c:pt>
                <c:pt idx="310">
                  <c:v>128.35218906375968</c:v>
                </c:pt>
                <c:pt idx="311">
                  <c:v>129.14175945322916</c:v>
                </c:pt>
                <c:pt idx="312">
                  <c:v>129.72060437241296</c:v>
                </c:pt>
                <c:pt idx="313">
                  <c:v>132.22744026744869</c:v>
                </c:pt>
                <c:pt idx="314">
                  <c:v>132.22223927465598</c:v>
                </c:pt>
                <c:pt idx="315">
                  <c:v>130.71041298440446</c:v>
                </c:pt>
                <c:pt idx="316">
                  <c:v>128.19684137739128</c:v>
                </c:pt>
                <c:pt idx="317">
                  <c:v>127.22890251378315</c:v>
                </c:pt>
                <c:pt idx="318">
                  <c:v>127.34191752930519</c:v>
                </c:pt>
                <c:pt idx="319">
                  <c:v>128.80224546468992</c:v>
                </c:pt>
                <c:pt idx="320">
                  <c:v>131.46958740779772</c:v>
                </c:pt>
                <c:pt idx="321">
                  <c:v>132.24487638263128</c:v>
                </c:pt>
                <c:pt idx="322">
                  <c:v>132.82423287487731</c:v>
                </c:pt>
                <c:pt idx="323">
                  <c:v>133.35494729518351</c:v>
                </c:pt>
                <c:pt idx="324">
                  <c:v>132.91738180317381</c:v>
                </c:pt>
                <c:pt idx="325">
                  <c:v>132.41446285254645</c:v>
                </c:pt>
                <c:pt idx="326">
                  <c:v>131.95033819242289</c:v>
                </c:pt>
                <c:pt idx="327">
                  <c:v>135.47430922715589</c:v>
                </c:pt>
                <c:pt idx="328">
                  <c:v>135.49426057655762</c:v>
                </c:pt>
                <c:pt idx="329">
                  <c:v>135.65732448993887</c:v>
                </c:pt>
                <c:pt idx="330">
                  <c:v>135.24329135876164</c:v>
                </c:pt>
                <c:pt idx="331">
                  <c:v>133.80419370543274</c:v>
                </c:pt>
                <c:pt idx="332">
                  <c:v>135.65323190544589</c:v>
                </c:pt>
                <c:pt idx="333">
                  <c:v>134.49485996966166</c:v>
                </c:pt>
                <c:pt idx="334">
                  <c:v>131.86268867453782</c:v>
                </c:pt>
                <c:pt idx="335">
                  <c:v>132.06629475304908</c:v>
                </c:pt>
                <c:pt idx="336">
                  <c:v>132.3857721300094</c:v>
                </c:pt>
                <c:pt idx="337">
                  <c:v>132.40120458403408</c:v>
                </c:pt>
                <c:pt idx="338">
                  <c:v>133.8646872199655</c:v>
                </c:pt>
                <c:pt idx="339">
                  <c:v>133.4611413365509</c:v>
                </c:pt>
                <c:pt idx="340">
                  <c:v>131.49269345774613</c:v>
                </c:pt>
                <c:pt idx="341">
                  <c:v>130.62178295148499</c:v>
                </c:pt>
                <c:pt idx="342">
                  <c:v>131.47568365344858</c:v>
                </c:pt>
                <c:pt idx="343">
                  <c:v>129.25635181902405</c:v>
                </c:pt>
                <c:pt idx="344">
                  <c:v>128.27549573561038</c:v>
                </c:pt>
                <c:pt idx="345">
                  <c:v>129.38731452278992</c:v>
                </c:pt>
                <c:pt idx="346">
                  <c:v>130.22301174997904</c:v>
                </c:pt>
                <c:pt idx="347">
                  <c:v>130.19764625234208</c:v>
                </c:pt>
                <c:pt idx="348">
                  <c:v>130.26939437422934</c:v>
                </c:pt>
                <c:pt idx="349">
                  <c:v>133.84742162913636</c:v>
                </c:pt>
                <c:pt idx="350">
                  <c:v>133.80913891169484</c:v>
                </c:pt>
                <c:pt idx="351">
                  <c:v>134.97271184027178</c:v>
                </c:pt>
                <c:pt idx="352">
                  <c:v>135.24610501060053</c:v>
                </c:pt>
                <c:pt idx="353">
                  <c:v>134.64764979072183</c:v>
                </c:pt>
                <c:pt idx="354">
                  <c:v>136.04667422089386</c:v>
                </c:pt>
                <c:pt idx="355">
                  <c:v>137.46726998182854</c:v>
                </c:pt>
                <c:pt idx="356">
                  <c:v>137.24955301303578</c:v>
                </c:pt>
                <c:pt idx="357">
                  <c:v>138.13781437230227</c:v>
                </c:pt>
                <c:pt idx="358">
                  <c:v>138.10000059683293</c:v>
                </c:pt>
                <c:pt idx="359">
                  <c:v>137.66072986128506</c:v>
                </c:pt>
                <c:pt idx="360">
                  <c:v>136.62381389653945</c:v>
                </c:pt>
                <c:pt idx="361">
                  <c:v>136.25599286525909</c:v>
                </c:pt>
                <c:pt idx="362">
                  <c:v>138.06184577265674</c:v>
                </c:pt>
                <c:pt idx="363">
                  <c:v>137.37906625979412</c:v>
                </c:pt>
                <c:pt idx="364">
                  <c:v>135.42703135004842</c:v>
                </c:pt>
                <c:pt idx="365">
                  <c:v>135.38145871647811</c:v>
                </c:pt>
                <c:pt idx="366">
                  <c:v>136.87222524902717</c:v>
                </c:pt>
                <c:pt idx="367">
                  <c:v>136.28442780126556</c:v>
                </c:pt>
                <c:pt idx="368">
                  <c:v>135.98971908670373</c:v>
                </c:pt>
                <c:pt idx="369">
                  <c:v>135.28630612702369</c:v>
                </c:pt>
                <c:pt idx="370">
                  <c:v>134.61115757899572</c:v>
                </c:pt>
                <c:pt idx="371">
                  <c:v>134.31141839599462</c:v>
                </c:pt>
                <c:pt idx="372">
                  <c:v>133.57858998527374</c:v>
                </c:pt>
                <c:pt idx="373">
                  <c:v>135.35993001680353</c:v>
                </c:pt>
                <c:pt idx="374">
                  <c:v>136.04901893075959</c:v>
                </c:pt>
                <c:pt idx="375">
                  <c:v>135.95066900966935</c:v>
                </c:pt>
                <c:pt idx="376">
                  <c:v>135.9159246725705</c:v>
                </c:pt>
                <c:pt idx="377">
                  <c:v>136.39522600018714</c:v>
                </c:pt>
                <c:pt idx="378">
                  <c:v>136.02488973468763</c:v>
                </c:pt>
                <c:pt idx="379">
                  <c:v>137.97551781851388</c:v>
                </c:pt>
                <c:pt idx="380">
                  <c:v>137.69057162321093</c:v>
                </c:pt>
                <c:pt idx="381">
                  <c:v>137.8084039517297</c:v>
                </c:pt>
                <c:pt idx="382">
                  <c:v>138.24507419088127</c:v>
                </c:pt>
                <c:pt idx="383">
                  <c:v>137.49894488055889</c:v>
                </c:pt>
                <c:pt idx="384">
                  <c:v>137.97389783715192</c:v>
                </c:pt>
                <c:pt idx="385">
                  <c:v>138.69368113480394</c:v>
                </c:pt>
                <c:pt idx="386">
                  <c:v>138.25142622306277</c:v>
                </c:pt>
                <c:pt idx="387">
                  <c:v>138.60807790916488</c:v>
                </c:pt>
                <c:pt idx="388">
                  <c:v>138.34581145292532</c:v>
                </c:pt>
                <c:pt idx="389">
                  <c:v>137.34768977868347</c:v>
                </c:pt>
                <c:pt idx="390">
                  <c:v>137.90530441581137</c:v>
                </c:pt>
                <c:pt idx="391">
                  <c:v>137.94520711461485</c:v>
                </c:pt>
                <c:pt idx="392">
                  <c:v>137.94520711461485</c:v>
                </c:pt>
                <c:pt idx="393">
                  <c:v>138.78576428588886</c:v>
                </c:pt>
                <c:pt idx="394">
                  <c:v>138.30859451269438</c:v>
                </c:pt>
                <c:pt idx="395">
                  <c:v>140.57264635891914</c:v>
                </c:pt>
                <c:pt idx="396">
                  <c:v>141.16577269273981</c:v>
                </c:pt>
                <c:pt idx="397">
                  <c:v>141.16978001505561</c:v>
                </c:pt>
                <c:pt idx="398">
                  <c:v>141.96540401908683</c:v>
                </c:pt>
                <c:pt idx="399">
                  <c:v>141.00160037105886</c:v>
                </c:pt>
                <c:pt idx="400">
                  <c:v>141.02150908937244</c:v>
                </c:pt>
                <c:pt idx="401">
                  <c:v>140.45771294441644</c:v>
                </c:pt>
                <c:pt idx="402">
                  <c:v>141.56113340716846</c:v>
                </c:pt>
                <c:pt idx="403">
                  <c:v>138.22921542597254</c:v>
                </c:pt>
                <c:pt idx="404">
                  <c:v>139.00800015005962</c:v>
                </c:pt>
                <c:pt idx="405">
                  <c:v>140.99055891914688</c:v>
                </c:pt>
                <c:pt idx="406">
                  <c:v>140.09875917953673</c:v>
                </c:pt>
                <c:pt idx="407">
                  <c:v>139.15844526125409</c:v>
                </c:pt>
                <c:pt idx="408">
                  <c:v>137.02070933015281</c:v>
                </c:pt>
                <c:pt idx="409">
                  <c:v>138.43431359257949</c:v>
                </c:pt>
                <c:pt idx="410">
                  <c:v>139.14987641247217</c:v>
                </c:pt>
                <c:pt idx="411">
                  <c:v>138.56058687661385</c:v>
                </c:pt>
                <c:pt idx="412">
                  <c:v>136.25437288389713</c:v>
                </c:pt>
                <c:pt idx="413">
                  <c:v>136.10917139658346</c:v>
                </c:pt>
                <c:pt idx="414">
                  <c:v>138.85802398083834</c:v>
                </c:pt>
                <c:pt idx="415">
                  <c:v>141.12680787788165</c:v>
                </c:pt>
                <c:pt idx="416">
                  <c:v>140.74905380298901</c:v>
                </c:pt>
                <c:pt idx="417">
                  <c:v>140.98280006104594</c:v>
                </c:pt>
                <c:pt idx="418">
                  <c:v>142.26215902589465</c:v>
                </c:pt>
                <c:pt idx="419">
                  <c:v>142.84509652957144</c:v>
                </c:pt>
                <c:pt idx="420">
                  <c:v>143.32499469242754</c:v>
                </c:pt>
                <c:pt idx="421">
                  <c:v>143.48537284723423</c:v>
                </c:pt>
                <c:pt idx="422">
                  <c:v>143.89181764466397</c:v>
                </c:pt>
                <c:pt idx="423">
                  <c:v>144.24940721471233</c:v>
                </c:pt>
                <c:pt idx="424">
                  <c:v>143.63598848278315</c:v>
                </c:pt>
                <c:pt idx="425">
                  <c:v>144.18200746384872</c:v>
                </c:pt>
                <c:pt idx="426">
                  <c:v>143.52843024658441</c:v>
                </c:pt>
                <c:pt idx="427">
                  <c:v>144.53733758620862</c:v>
                </c:pt>
                <c:pt idx="428">
                  <c:v>145.97745838566098</c:v>
                </c:pt>
                <c:pt idx="429">
                  <c:v>146.14853694367284</c:v>
                </c:pt>
                <c:pt idx="430">
                  <c:v>146.32272757114225</c:v>
                </c:pt>
                <c:pt idx="431">
                  <c:v>146.18626545696495</c:v>
                </c:pt>
                <c:pt idx="432">
                  <c:v>144.96667527814421</c:v>
                </c:pt>
                <c:pt idx="433">
                  <c:v>145.25997716678657</c:v>
                </c:pt>
                <c:pt idx="434">
                  <c:v>145.71429667656321</c:v>
                </c:pt>
                <c:pt idx="435">
                  <c:v>143.81022174134168</c:v>
                </c:pt>
                <c:pt idx="436">
                  <c:v>143.15395876550377</c:v>
                </c:pt>
                <c:pt idx="437">
                  <c:v>144.24319025861377</c:v>
                </c:pt>
                <c:pt idx="438">
                  <c:v>145.56245309795517</c:v>
                </c:pt>
                <c:pt idx="439">
                  <c:v>145.63570732312257</c:v>
                </c:pt>
                <c:pt idx="440">
                  <c:v>146.1668766159666</c:v>
                </c:pt>
                <c:pt idx="441">
                  <c:v>145.94968506217981</c:v>
                </c:pt>
                <c:pt idx="442">
                  <c:v>144.68133602596052</c:v>
                </c:pt>
                <c:pt idx="443">
                  <c:v>146.45575834668065</c:v>
                </c:pt>
                <c:pt idx="444">
                  <c:v>148.44372982362907</c:v>
                </c:pt>
                <c:pt idx="445">
                  <c:v>147.49860345498186</c:v>
                </c:pt>
                <c:pt idx="446">
                  <c:v>147.33966485403533</c:v>
                </c:pt>
                <c:pt idx="447">
                  <c:v>147.52665511717893</c:v>
                </c:pt>
                <c:pt idx="448">
                  <c:v>148.91948215210786</c:v>
                </c:pt>
                <c:pt idx="449">
                  <c:v>146.89650503485092</c:v>
                </c:pt>
                <c:pt idx="450">
                  <c:v>145.16894396628933</c:v>
                </c:pt>
                <c:pt idx="451">
                  <c:v>146.15829451513562</c:v>
                </c:pt>
                <c:pt idx="452">
                  <c:v>146.57497145241095</c:v>
                </c:pt>
                <c:pt idx="453">
                  <c:v>145.57544154489875</c:v>
                </c:pt>
                <c:pt idx="454">
                  <c:v>146.86264186425436</c:v>
                </c:pt>
                <c:pt idx="455">
                  <c:v>147.05585140186386</c:v>
                </c:pt>
                <c:pt idx="456">
                  <c:v>145.78996379764692</c:v>
                </c:pt>
                <c:pt idx="457">
                  <c:v>145.59571841060014</c:v>
                </c:pt>
                <c:pt idx="458">
                  <c:v>147.81388476651821</c:v>
                </c:pt>
                <c:pt idx="459">
                  <c:v>148.13005058723633</c:v>
                </c:pt>
                <c:pt idx="460">
                  <c:v>148.30748075045648</c:v>
                </c:pt>
                <c:pt idx="461">
                  <c:v>148.6863364792255</c:v>
                </c:pt>
                <c:pt idx="462">
                  <c:v>150.150799080696</c:v>
                </c:pt>
                <c:pt idx="463">
                  <c:v>150.05701433503464</c:v>
                </c:pt>
                <c:pt idx="464">
                  <c:v>149.49955374425446</c:v>
                </c:pt>
                <c:pt idx="465">
                  <c:v>149.24896659730976</c:v>
                </c:pt>
                <c:pt idx="466">
                  <c:v>149.87430994263377</c:v>
                </c:pt>
                <c:pt idx="467">
                  <c:v>150.41407689664589</c:v>
                </c:pt>
                <c:pt idx="468">
                  <c:v>150.63826314120521</c:v>
                </c:pt>
                <c:pt idx="469">
                  <c:v>151.32923597652385</c:v>
                </c:pt>
                <c:pt idx="470">
                  <c:v>151.59230933392232</c:v>
                </c:pt>
                <c:pt idx="471">
                  <c:v>151.56407133137321</c:v>
                </c:pt>
                <c:pt idx="472">
                  <c:v>149.56237640541778</c:v>
                </c:pt>
                <c:pt idx="473">
                  <c:v>148.669704782102</c:v>
                </c:pt>
                <c:pt idx="474">
                  <c:v>147.13084817150875</c:v>
                </c:pt>
                <c:pt idx="475">
                  <c:v>146.26292647761053</c:v>
                </c:pt>
                <c:pt idx="476">
                  <c:v>148.05828235284318</c:v>
                </c:pt>
                <c:pt idx="477">
                  <c:v>149.26490592342788</c:v>
                </c:pt>
                <c:pt idx="478">
                  <c:v>148.3048083373501</c:v>
                </c:pt>
                <c:pt idx="479">
                  <c:v>147.3377981679167</c:v>
                </c:pt>
                <c:pt idx="480">
                  <c:v>147.85624311322013</c:v>
                </c:pt>
                <c:pt idx="481">
                  <c:v>146.96012366049135</c:v>
                </c:pt>
                <c:pt idx="482">
                  <c:v>146.31924427885426</c:v>
                </c:pt>
                <c:pt idx="483">
                  <c:v>146.87809775417884</c:v>
                </c:pt>
                <c:pt idx="484">
                  <c:v>146.59179686505951</c:v>
                </c:pt>
                <c:pt idx="485">
                  <c:v>144.86130478339703</c:v>
                </c:pt>
                <c:pt idx="486">
                  <c:v>143.62476256608073</c:v>
                </c:pt>
                <c:pt idx="487">
                  <c:v>142.07550427585625</c:v>
                </c:pt>
                <c:pt idx="488">
                  <c:v>138.85413082792505</c:v>
                </c:pt>
                <c:pt idx="489">
                  <c:v>136.75679005485893</c:v>
                </c:pt>
                <c:pt idx="490">
                  <c:v>139.31436992770662</c:v>
                </c:pt>
                <c:pt idx="491">
                  <c:v>139.5828483490013</c:v>
                </c:pt>
                <c:pt idx="492">
                  <c:v>142.00911872405567</c:v>
                </c:pt>
                <c:pt idx="493">
                  <c:v>141.76694716103222</c:v>
                </c:pt>
                <c:pt idx="494">
                  <c:v>142.49155150978069</c:v>
                </c:pt>
                <c:pt idx="495">
                  <c:v>143.88862357489896</c:v>
                </c:pt>
                <c:pt idx="496">
                  <c:v>144.0374448027373</c:v>
                </c:pt>
                <c:pt idx="497">
                  <c:v>144.1563709588184</c:v>
                </c:pt>
                <c:pt idx="498">
                  <c:v>144.33985358117576</c:v>
                </c:pt>
                <c:pt idx="499">
                  <c:v>145.45299666395564</c:v>
                </c:pt>
                <c:pt idx="500">
                  <c:v>144.07056977394072</c:v>
                </c:pt>
                <c:pt idx="501">
                  <c:v>146.25611940612265</c:v>
                </c:pt>
                <c:pt idx="502">
                  <c:v>146.42354874954563</c:v>
                </c:pt>
                <c:pt idx="503">
                  <c:v>146.76455875695061</c:v>
                </c:pt>
                <c:pt idx="504">
                  <c:v>147.11293715897833</c:v>
                </c:pt>
                <c:pt idx="505">
                  <c:v>146.73620594896281</c:v>
                </c:pt>
                <c:pt idx="506">
                  <c:v>147.25003297021675</c:v>
                </c:pt>
                <c:pt idx="507">
                  <c:v>146.91796802446754</c:v>
                </c:pt>
                <c:pt idx="508">
                  <c:v>144.37865321508374</c:v>
                </c:pt>
                <c:pt idx="509">
                  <c:v>145.45960733416089</c:v>
                </c:pt>
                <c:pt idx="510">
                  <c:v>144.84500317855188</c:v>
                </c:pt>
                <c:pt idx="511">
                  <c:v>145.25476369567662</c:v>
                </c:pt>
                <c:pt idx="512">
                  <c:v>142.85035648797714</c:v>
                </c:pt>
                <c:pt idx="513">
                  <c:v>143.56187429571878</c:v>
                </c:pt>
                <c:pt idx="514">
                  <c:v>146.10674039352753</c:v>
                </c:pt>
                <c:pt idx="515">
                  <c:v>146.88111402939589</c:v>
                </c:pt>
                <c:pt idx="516">
                  <c:v>146.88111402939589</c:v>
                </c:pt>
                <c:pt idx="517">
                  <c:v>146.88111402939589</c:v>
                </c:pt>
                <c:pt idx="518">
                  <c:v>147.3218411499104</c:v>
                </c:pt>
                <c:pt idx="519">
                  <c:v>147.87204133053709</c:v>
                </c:pt>
                <c:pt idx="520">
                  <c:v>148.31276209902373</c:v>
                </c:pt>
                <c:pt idx="521">
                  <c:v>148.83707316311131</c:v>
                </c:pt>
                <c:pt idx="522">
                  <c:v>148.97123578706436</c:v>
                </c:pt>
                <c:pt idx="523">
                  <c:v>148.25312738834529</c:v>
                </c:pt>
                <c:pt idx="524">
                  <c:v>146.24126845090484</c:v>
                </c:pt>
                <c:pt idx="525">
                  <c:v>145.93616057231876</c:v>
                </c:pt>
                <c:pt idx="526">
                  <c:v>147.92582505645615</c:v>
                </c:pt>
                <c:pt idx="527">
                  <c:v>147.46140542727585</c:v>
                </c:pt>
                <c:pt idx="528">
                  <c:v>148.80019167100744</c:v>
                </c:pt>
                <c:pt idx="529">
                  <c:v>149.33847412633307</c:v>
                </c:pt>
                <c:pt idx="530">
                  <c:v>148.32928790060069</c:v>
                </c:pt>
                <c:pt idx="531">
                  <c:v>147.65800021190475</c:v>
                </c:pt>
                <c:pt idx="532">
                  <c:v>147.5564019607485</c:v>
                </c:pt>
                <c:pt idx="533">
                  <c:v>146.05289702675796</c:v>
                </c:pt>
                <c:pt idx="534">
                  <c:v>146.6210624039895</c:v>
                </c:pt>
                <c:pt idx="535">
                  <c:v>147.56657658736759</c:v>
                </c:pt>
                <c:pt idx="536">
                  <c:v>147.4553672069116</c:v>
                </c:pt>
                <c:pt idx="537">
                  <c:v>145.04904735681345</c:v>
                </c:pt>
                <c:pt idx="538">
                  <c:v>145.36563130294459</c:v>
                </c:pt>
                <c:pt idx="539">
                  <c:v>146.4569984415142</c:v>
                </c:pt>
                <c:pt idx="540">
                  <c:v>146.37291831506224</c:v>
                </c:pt>
                <c:pt idx="541">
                  <c:v>147.37870326449755</c:v>
                </c:pt>
                <c:pt idx="542">
                  <c:v>147.24884083532206</c:v>
                </c:pt>
                <c:pt idx="543">
                  <c:v>148.5206106728638</c:v>
                </c:pt>
                <c:pt idx="544">
                  <c:v>147.16487474694924</c:v>
                </c:pt>
                <c:pt idx="545">
                  <c:v>147.16487474694924</c:v>
                </c:pt>
                <c:pt idx="546">
                  <c:v>144.59762555340859</c:v>
                </c:pt>
                <c:pt idx="547">
                  <c:v>143.81669564456359</c:v>
                </c:pt>
                <c:pt idx="548">
                  <c:v>143.65781080138035</c:v>
                </c:pt>
                <c:pt idx="549">
                  <c:v>142.2000272929626</c:v>
                </c:pt>
                <c:pt idx="550">
                  <c:v>143.70051914906568</c:v>
                </c:pt>
                <c:pt idx="551">
                  <c:v>141.80471132918376</c:v>
                </c:pt>
                <c:pt idx="552">
                  <c:v>141.80471132918376</c:v>
                </c:pt>
                <c:pt idx="553">
                  <c:v>143.22215771460037</c:v>
                </c:pt>
                <c:pt idx="554">
                  <c:v>141.7027961587446</c:v>
                </c:pt>
                <c:pt idx="555">
                  <c:v>141.10863457575869</c:v>
                </c:pt>
                <c:pt idx="556">
                  <c:v>141.32654847018455</c:v>
                </c:pt>
                <c:pt idx="557">
                  <c:v>140.66072906724477</c:v>
                </c:pt>
                <c:pt idx="558">
                  <c:v>142.69255123369621</c:v>
                </c:pt>
                <c:pt idx="559">
                  <c:v>141.88147119147655</c:v>
                </c:pt>
                <c:pt idx="560">
                  <c:v>141.88147119147655</c:v>
                </c:pt>
                <c:pt idx="561">
                  <c:v>139.73360630578577</c:v>
                </c:pt>
                <c:pt idx="562">
                  <c:v>139.7682627124704</c:v>
                </c:pt>
                <c:pt idx="563">
                  <c:v>140.43174878973625</c:v>
                </c:pt>
                <c:pt idx="564">
                  <c:v>142.82446020942118</c:v>
                </c:pt>
                <c:pt idx="565">
                  <c:v>144.45444411606957</c:v>
                </c:pt>
                <c:pt idx="566">
                  <c:v>145.50938182227029</c:v>
                </c:pt>
                <c:pt idx="567">
                  <c:v>145.82768699735183</c:v>
                </c:pt>
                <c:pt idx="568">
                  <c:v>145.9140370997265</c:v>
                </c:pt>
                <c:pt idx="569">
                  <c:v>145.51404148212598</c:v>
                </c:pt>
                <c:pt idx="570">
                  <c:v>146.1332853036248</c:v>
                </c:pt>
                <c:pt idx="571">
                  <c:v>145.03004076873444</c:v>
                </c:pt>
                <c:pt idx="572">
                  <c:v>143.06838292839637</c:v>
                </c:pt>
                <c:pt idx="573">
                  <c:v>142.1083378637816</c:v>
                </c:pt>
                <c:pt idx="574">
                  <c:v>143.07816564770303</c:v>
                </c:pt>
                <c:pt idx="575">
                  <c:v>141.92781528627555</c:v>
                </c:pt>
                <c:pt idx="576">
                  <c:v>141.56708300059725</c:v>
                </c:pt>
                <c:pt idx="577">
                  <c:v>139.10328783078049</c:v>
                </c:pt>
                <c:pt idx="578">
                  <c:v>140.21585675847746</c:v>
                </c:pt>
                <c:pt idx="579">
                  <c:v>142.03836495111648</c:v>
                </c:pt>
                <c:pt idx="580">
                  <c:v>143.4986491973718</c:v>
                </c:pt>
                <c:pt idx="581">
                  <c:v>144.30131753509562</c:v>
                </c:pt>
                <c:pt idx="582">
                  <c:v>143.94518838048933</c:v>
                </c:pt>
                <c:pt idx="583">
                  <c:v>143.34110684882202</c:v>
                </c:pt>
                <c:pt idx="584">
                  <c:v>141.75084400375997</c:v>
                </c:pt>
                <c:pt idx="585">
                  <c:v>141.80531894964702</c:v>
                </c:pt>
                <c:pt idx="586">
                  <c:v>140.80404888499595</c:v>
                </c:pt>
                <c:pt idx="587">
                  <c:v>139.14124000189548</c:v>
                </c:pt>
                <c:pt idx="588">
                  <c:v>136.60956800325252</c:v>
                </c:pt>
                <c:pt idx="589">
                  <c:v>134.01730311828092</c:v>
                </c:pt>
                <c:pt idx="590">
                  <c:v>129.3694943985474</c:v>
                </c:pt>
                <c:pt idx="591">
                  <c:v>127.02413508501911</c:v>
                </c:pt>
                <c:pt idx="592">
                  <c:v>121.89359989420569</c:v>
                </c:pt>
                <c:pt idx="593">
                  <c:v>123.53541140409978</c:v>
                </c:pt>
                <c:pt idx="594">
                  <c:v>118.93539870772526</c:v>
                </c:pt>
                <c:pt idx="595">
                  <c:v>121.9384266644032</c:v>
                </c:pt>
                <c:pt idx="596">
                  <c:v>126.39884805532266</c:v>
                </c:pt>
                <c:pt idx="597">
                  <c:v>126.39884805532266</c:v>
                </c:pt>
                <c:pt idx="598">
                  <c:v>126.46147448572805</c:v>
                </c:pt>
                <c:pt idx="599">
                  <c:v>126.79243145029082</c:v>
                </c:pt>
                <c:pt idx="600">
                  <c:v>120.79823076510512</c:v>
                </c:pt>
                <c:pt idx="601">
                  <c:v>118.88631535432201</c:v>
                </c:pt>
                <c:pt idx="602">
                  <c:v>119.82109742474015</c:v>
                </c:pt>
                <c:pt idx="603">
                  <c:v>120.77133291248229</c:v>
                </c:pt>
                <c:pt idx="604">
                  <c:v>122.44665260415711</c:v>
                </c:pt>
                <c:pt idx="605">
                  <c:v>120.92164763416116</c:v>
                </c:pt>
                <c:pt idx="606">
                  <c:v>120.10543374683273</c:v>
                </c:pt>
                <c:pt idx="607">
                  <c:v>121.51929115140676</c:v>
                </c:pt>
                <c:pt idx="608">
                  <c:v>122.81585661885957</c:v>
                </c:pt>
                <c:pt idx="609">
                  <c:v>126.44988553114327</c:v>
                </c:pt>
                <c:pt idx="610">
                  <c:v>127.24936267842214</c:v>
                </c:pt>
                <c:pt idx="611">
                  <c:v>124.14634583564175</c:v>
                </c:pt>
                <c:pt idx="612">
                  <c:v>118.98451058130688</c:v>
                </c:pt>
                <c:pt idx="613">
                  <c:v>118.31906496747906</c:v>
                </c:pt>
                <c:pt idx="614">
                  <c:v>122.05254749030527</c:v>
                </c:pt>
                <c:pt idx="615">
                  <c:v>122.93270783610608</c:v>
                </c:pt>
                <c:pt idx="616">
                  <c:v>119.80225846197985</c:v>
                </c:pt>
                <c:pt idx="617">
                  <c:v>116.82906717250982</c:v>
                </c:pt>
                <c:pt idx="618">
                  <c:v>117.87533964731645</c:v>
                </c:pt>
                <c:pt idx="619">
                  <c:v>119.64851799377563</c:v>
                </c:pt>
                <c:pt idx="620">
                  <c:v>122.06401648109424</c:v>
                </c:pt>
                <c:pt idx="621">
                  <c:v>122.81717008174357</c:v>
                </c:pt>
                <c:pt idx="622">
                  <c:v>120.10926214369687</c:v>
                </c:pt>
                <c:pt idx="623">
                  <c:v>122.38385978473327</c:v>
                </c:pt>
                <c:pt idx="624">
                  <c:v>120.3338683041729</c:v>
                </c:pt>
                <c:pt idx="625">
                  <c:v>114.73357641681827</c:v>
                </c:pt>
                <c:pt idx="626">
                  <c:v>115.4640473106622</c:v>
                </c:pt>
                <c:pt idx="627">
                  <c:v>117.65854763180063</c:v>
                </c:pt>
                <c:pt idx="628">
                  <c:v>122.7886572367662</c:v>
                </c:pt>
                <c:pt idx="629">
                  <c:v>121.42442123217378</c:v>
                </c:pt>
                <c:pt idx="630">
                  <c:v>122.19327917655158</c:v>
                </c:pt>
                <c:pt idx="631">
                  <c:v>120.80329060269813</c:v>
                </c:pt>
                <c:pt idx="632">
                  <c:v>119.39917993681854</c:v>
                </c:pt>
                <c:pt idx="633">
                  <c:v>116.15728551774995</c:v>
                </c:pt>
                <c:pt idx="634">
                  <c:v>119.75877742637586</c:v>
                </c:pt>
                <c:pt idx="635">
                  <c:v>123.01434392402788</c:v>
                </c:pt>
                <c:pt idx="636">
                  <c:v>123.91533926133627</c:v>
                </c:pt>
                <c:pt idx="637">
                  <c:v>126.03284375727659</c:v>
                </c:pt>
                <c:pt idx="638">
                  <c:v>125.69074601843762</c:v>
                </c:pt>
                <c:pt idx="639">
                  <c:v>127.74908231536355</c:v>
                </c:pt>
                <c:pt idx="640">
                  <c:v>126.38285313830512</c:v>
                </c:pt>
                <c:pt idx="641">
                  <c:v>127.45588644951593</c:v>
                </c:pt>
                <c:pt idx="642">
                  <c:v>126.35333543667035</c:v>
                </c:pt>
                <c:pt idx="643">
                  <c:v>125.85233132596298</c:v>
                </c:pt>
                <c:pt idx="644">
                  <c:v>126.63196951376328</c:v>
                </c:pt>
                <c:pt idx="645">
                  <c:v>124.7392017572279</c:v>
                </c:pt>
                <c:pt idx="646">
                  <c:v>127.89239620739707</c:v>
                </c:pt>
                <c:pt idx="647">
                  <c:v>129.45999113863121</c:v>
                </c:pt>
                <c:pt idx="648">
                  <c:v>128.56249342381082</c:v>
                </c:pt>
                <c:pt idx="649">
                  <c:v>128.87509281551465</c:v>
                </c:pt>
                <c:pt idx="650">
                  <c:v>133.40764804477624</c:v>
                </c:pt>
                <c:pt idx="651">
                  <c:v>133.20165954924036</c:v>
                </c:pt>
                <c:pt idx="652">
                  <c:v>130.26199703235196</c:v>
                </c:pt>
                <c:pt idx="653">
                  <c:v>130.26199703235196</c:v>
                </c:pt>
                <c:pt idx="654">
                  <c:v>127.12112423675426</c:v>
                </c:pt>
                <c:pt idx="655">
                  <c:v>129.66711788340422</c:v>
                </c:pt>
                <c:pt idx="656">
                  <c:v>128.3694105857048</c:v>
                </c:pt>
                <c:pt idx="657">
                  <c:v>127.75815838225945</c:v>
                </c:pt>
                <c:pt idx="658">
                  <c:v>128.85955076822214</c:v>
                </c:pt>
                <c:pt idx="659">
                  <c:v>126.6568826775011</c:v>
                </c:pt>
                <c:pt idx="660">
                  <c:v>126.19153556703155</c:v>
                </c:pt>
                <c:pt idx="661">
                  <c:v>129.1658145453041</c:v>
                </c:pt>
                <c:pt idx="662">
                  <c:v>127.87263534801679</c:v>
                </c:pt>
                <c:pt idx="663">
                  <c:v>127.12069323676178</c:v>
                </c:pt>
                <c:pt idx="664">
                  <c:v>127.19795120033244</c:v>
                </c:pt>
                <c:pt idx="665">
                  <c:v>125.59307344821873</c:v>
                </c:pt>
                <c:pt idx="666">
                  <c:v>124.62714968865723</c:v>
                </c:pt>
                <c:pt idx="667">
                  <c:v>120.66207761181226</c:v>
                </c:pt>
                <c:pt idx="668">
                  <c:v>119.8832464299324</c:v>
                </c:pt>
                <c:pt idx="669">
                  <c:v>118.34065120348296</c:v>
                </c:pt>
                <c:pt idx="670">
                  <c:v>118.10028178315707</c:v>
                </c:pt>
                <c:pt idx="671">
                  <c:v>118.9538857511061</c:v>
                </c:pt>
                <c:pt idx="672">
                  <c:v>123.36548017180087</c:v>
                </c:pt>
                <c:pt idx="673">
                  <c:v>124.31267794090462</c:v>
                </c:pt>
                <c:pt idx="674">
                  <c:v>128.88060982856828</c:v>
                </c:pt>
                <c:pt idx="675">
                  <c:v>128.04010732249682</c:v>
                </c:pt>
                <c:pt idx="676">
                  <c:v>129.28796122199856</c:v>
                </c:pt>
                <c:pt idx="677">
                  <c:v>130.35222660359742</c:v>
                </c:pt>
                <c:pt idx="678">
                  <c:v>129.92190870841182</c:v>
                </c:pt>
                <c:pt idx="679">
                  <c:v>129.68365907479262</c:v>
                </c:pt>
                <c:pt idx="680">
                  <c:v>127.73525979177853</c:v>
                </c:pt>
                <c:pt idx="681">
                  <c:v>129.24722971908557</c:v>
                </c:pt>
                <c:pt idx="682">
                  <c:v>126.92301455749393</c:v>
                </c:pt>
                <c:pt idx="683">
                  <c:v>127.66158403071437</c:v>
                </c:pt>
                <c:pt idx="684">
                  <c:v>125.06370433704184</c:v>
                </c:pt>
                <c:pt idx="685">
                  <c:v>126.25585359780196</c:v>
                </c:pt>
                <c:pt idx="686">
                  <c:v>125.70968260632054</c:v>
                </c:pt>
                <c:pt idx="687">
                  <c:v>125.77517721164959</c:v>
                </c:pt>
                <c:pt idx="688">
                  <c:v>128.27263070983074</c:v>
                </c:pt>
                <c:pt idx="689">
                  <c:v>127.63060169646482</c:v>
                </c:pt>
                <c:pt idx="690">
                  <c:v>129.00098049540495</c:v>
                </c:pt>
                <c:pt idx="691">
                  <c:v>130.10923801635539</c:v>
                </c:pt>
                <c:pt idx="692">
                  <c:v>130.10923801635539</c:v>
                </c:pt>
                <c:pt idx="693">
                  <c:v>130.12450684119966</c:v>
                </c:pt>
                <c:pt idx="694">
                  <c:v>129.21307699834605</c:v>
                </c:pt>
                <c:pt idx="695">
                  <c:v>130.47376715191547</c:v>
                </c:pt>
                <c:pt idx="696">
                  <c:v>131.58321420726585</c:v>
                </c:pt>
                <c:pt idx="697">
                  <c:v>132.95806611255355</c:v>
                </c:pt>
                <c:pt idx="698">
                  <c:v>135.02143811789352</c:v>
                </c:pt>
                <c:pt idx="699">
                  <c:v>134.30893020383957</c:v>
                </c:pt>
                <c:pt idx="700">
                  <c:v>133.13138668445436</c:v>
                </c:pt>
                <c:pt idx="701">
                  <c:v>133.21139959485856</c:v>
                </c:pt>
                <c:pt idx="702">
                  <c:v>132.60028278765182</c:v>
                </c:pt>
                <c:pt idx="703">
                  <c:v>134.99052748908301</c:v>
                </c:pt>
                <c:pt idx="704">
                  <c:v>134.42204698307424</c:v>
                </c:pt>
                <c:pt idx="705">
                  <c:v>134.05019033607527</c:v>
                </c:pt>
                <c:pt idx="706">
                  <c:v>133.85421148496596</c:v>
                </c:pt>
                <c:pt idx="707">
                  <c:v>134.91418374854237</c:v>
                </c:pt>
                <c:pt idx="708">
                  <c:v>136.04306263677125</c:v>
                </c:pt>
                <c:pt idx="709">
                  <c:v>136.15282652595798</c:v>
                </c:pt>
                <c:pt idx="710">
                  <c:v>137.75649197868731</c:v>
                </c:pt>
                <c:pt idx="711">
                  <c:v>137.33475494803247</c:v>
                </c:pt>
                <c:pt idx="712">
                  <c:v>138.00801291631677</c:v>
                </c:pt>
                <c:pt idx="713">
                  <c:v>137.56983449357966</c:v>
                </c:pt>
                <c:pt idx="714">
                  <c:v>136.97758039463335</c:v>
                </c:pt>
                <c:pt idx="715">
                  <c:v>138.50532858792178</c:v>
                </c:pt>
                <c:pt idx="716">
                  <c:v>137.13591947501683</c:v>
                </c:pt>
                <c:pt idx="717">
                  <c:v>135.65284688219614</c:v>
                </c:pt>
                <c:pt idx="718">
                  <c:v>136.59976870046364</c:v>
                </c:pt>
                <c:pt idx="719">
                  <c:v>139.272511643309</c:v>
                </c:pt>
                <c:pt idx="720">
                  <c:v>139.52394105205721</c:v>
                </c:pt>
                <c:pt idx="721">
                  <c:v>141.89281446327675</c:v>
                </c:pt>
                <c:pt idx="722">
                  <c:v>141.72811210071447</c:v>
                </c:pt>
                <c:pt idx="723">
                  <c:v>141.37441474952522</c:v>
                </c:pt>
                <c:pt idx="724">
                  <c:v>141.10736029081562</c:v>
                </c:pt>
                <c:pt idx="725">
                  <c:v>141.4493614276781</c:v>
                </c:pt>
                <c:pt idx="726">
                  <c:v>140.18342211198814</c:v>
                </c:pt>
                <c:pt idx="727">
                  <c:v>141.22829628810678</c:v>
                </c:pt>
                <c:pt idx="728">
                  <c:v>140.93011199168723</c:v>
                </c:pt>
                <c:pt idx="729">
                  <c:v>141.94972816144261</c:v>
                </c:pt>
                <c:pt idx="730">
                  <c:v>142.06880190624506</c:v>
                </c:pt>
                <c:pt idx="731">
                  <c:v>142.87229536808965</c:v>
                </c:pt>
                <c:pt idx="732">
                  <c:v>144.0044850268805</c:v>
                </c:pt>
                <c:pt idx="733">
                  <c:v>143.300538963907</c:v>
                </c:pt>
                <c:pt idx="734">
                  <c:v>142.13104265347366</c:v>
                </c:pt>
                <c:pt idx="735">
                  <c:v>141.89627704303479</c:v>
                </c:pt>
                <c:pt idx="736">
                  <c:v>142.21857696136649</c:v>
                </c:pt>
                <c:pt idx="737">
                  <c:v>141.8574312823221</c:v>
                </c:pt>
                <c:pt idx="738">
                  <c:v>142.08432233959155</c:v>
                </c:pt>
                <c:pt idx="739">
                  <c:v>142.14219139975779</c:v>
                </c:pt>
                <c:pt idx="740">
                  <c:v>143.60336096518594</c:v>
                </c:pt>
                <c:pt idx="741">
                  <c:v>143.67397598684079</c:v>
                </c:pt>
                <c:pt idx="742">
                  <c:v>142.80889305243502</c:v>
                </c:pt>
                <c:pt idx="743">
                  <c:v>139.07084354967273</c:v>
                </c:pt>
                <c:pt idx="744">
                  <c:v>139.98349899280143</c:v>
                </c:pt>
                <c:pt idx="745">
                  <c:v>142.20232011913157</c:v>
                </c:pt>
                <c:pt idx="746">
                  <c:v>142.90746270799923</c:v>
                </c:pt>
                <c:pt idx="747">
                  <c:v>142.55101463045119</c:v>
                </c:pt>
                <c:pt idx="748">
                  <c:v>145.07077743000451</c:v>
                </c:pt>
                <c:pt idx="749">
                  <c:v>145.5420467617308</c:v>
                </c:pt>
                <c:pt idx="750">
                  <c:v>145.92958068173624</c:v>
                </c:pt>
                <c:pt idx="751">
                  <c:v>146.69146870398572</c:v>
                </c:pt>
                <c:pt idx="752">
                  <c:v>146.53971441675429</c:v>
                </c:pt>
                <c:pt idx="753">
                  <c:v>144.89385091009913</c:v>
                </c:pt>
                <c:pt idx="754">
                  <c:v>144.76668979788823</c:v>
                </c:pt>
                <c:pt idx="755">
                  <c:v>143.07576952647932</c:v>
                </c:pt>
                <c:pt idx="756">
                  <c:v>143.16415654078608</c:v>
                </c:pt>
                <c:pt idx="757">
                  <c:v>144.45321877158105</c:v>
                </c:pt>
                <c:pt idx="758">
                  <c:v>143.79727822098175</c:v>
                </c:pt>
                <c:pt idx="759">
                  <c:v>142.33125276494098</c:v>
                </c:pt>
                <c:pt idx="760">
                  <c:v>140.5509488503624</c:v>
                </c:pt>
                <c:pt idx="761">
                  <c:v>141.94888568648301</c:v>
                </c:pt>
                <c:pt idx="762">
                  <c:v>144.14014336148901</c:v>
                </c:pt>
                <c:pt idx="763">
                  <c:v>142.51988850164489</c:v>
                </c:pt>
                <c:pt idx="764">
                  <c:v>139.61327046852296</c:v>
                </c:pt>
                <c:pt idx="765">
                  <c:v>139.84607287612855</c:v>
                </c:pt>
                <c:pt idx="766">
                  <c:v>139.84607287612855</c:v>
                </c:pt>
                <c:pt idx="767">
                  <c:v>139.84607287612855</c:v>
                </c:pt>
                <c:pt idx="768">
                  <c:v>136.3651967629194</c:v>
                </c:pt>
                <c:pt idx="769">
                  <c:v>137.39261266833839</c:v>
                </c:pt>
                <c:pt idx="770">
                  <c:v>138.89840198754828</c:v>
                </c:pt>
                <c:pt idx="771">
                  <c:v>136.84930946809982</c:v>
                </c:pt>
                <c:pt idx="772">
                  <c:v>137.36579743470458</c:v>
                </c:pt>
                <c:pt idx="773">
                  <c:v>140.15355304517641</c:v>
                </c:pt>
                <c:pt idx="774">
                  <c:v>139.26563414531381</c:v>
                </c:pt>
                <c:pt idx="775">
                  <c:v>138.6113883497778</c:v>
                </c:pt>
                <c:pt idx="776">
                  <c:v>139.39738440561126</c:v>
                </c:pt>
                <c:pt idx="777">
                  <c:v>136.29847988253923</c:v>
                </c:pt>
                <c:pt idx="778">
                  <c:v>137.7034837117053</c:v>
                </c:pt>
                <c:pt idx="779">
                  <c:v>139.14904651589617</c:v>
                </c:pt>
                <c:pt idx="780">
                  <c:v>139.40650391355533</c:v>
                </c:pt>
                <c:pt idx="781">
                  <c:v>140.42215062027685</c:v>
                </c:pt>
                <c:pt idx="782">
                  <c:v>139.53943833673856</c:v>
                </c:pt>
                <c:pt idx="783">
                  <c:v>139.53943833673856</c:v>
                </c:pt>
                <c:pt idx="784">
                  <c:v>139.65858216699991</c:v>
                </c:pt>
                <c:pt idx="785">
                  <c:v>139.77025737702218</c:v>
                </c:pt>
                <c:pt idx="786">
                  <c:v>137.50847011300124</c:v>
                </c:pt>
                <c:pt idx="787">
                  <c:v>138.5044801872445</c:v>
                </c:pt>
                <c:pt idx="788">
                  <c:v>136.25339775230631</c:v>
                </c:pt>
                <c:pt idx="789">
                  <c:v>135.99545917789987</c:v>
                </c:pt>
                <c:pt idx="790">
                  <c:v>136.77717004508838</c:v>
                </c:pt>
                <c:pt idx="791">
                  <c:v>137.29707825881206</c:v>
                </c:pt>
                <c:pt idx="792">
                  <c:v>134.84397811293297</c:v>
                </c:pt>
                <c:pt idx="793">
                  <c:v>133.98941366725697</c:v>
                </c:pt>
                <c:pt idx="794">
                  <c:v>133.27881545405847</c:v>
                </c:pt>
                <c:pt idx="795">
                  <c:v>133.27881545405847</c:v>
                </c:pt>
                <c:pt idx="796">
                  <c:v>130.4120283853901</c:v>
                </c:pt>
                <c:pt idx="797">
                  <c:v>131.17777396414644</c:v>
                </c:pt>
                <c:pt idx="798">
                  <c:v>133.69917319947666</c:v>
                </c:pt>
                <c:pt idx="799">
                  <c:v>130.82464812491588</c:v>
                </c:pt>
                <c:pt idx="800">
                  <c:v>132.19954892802673</c:v>
                </c:pt>
                <c:pt idx="801">
                  <c:v>132.5989212795661</c:v>
                </c:pt>
                <c:pt idx="802">
                  <c:v>132.5989212795661</c:v>
                </c:pt>
                <c:pt idx="803">
                  <c:v>133.50023102092351</c:v>
                </c:pt>
                <c:pt idx="804">
                  <c:v>131.5510144579053</c:v>
                </c:pt>
                <c:pt idx="805">
                  <c:v>131.06356915506083</c:v>
                </c:pt>
                <c:pt idx="806">
                  <c:v>128.61004150493784</c:v>
                </c:pt>
                <c:pt idx="807">
                  <c:v>127.93457209317236</c:v>
                </c:pt>
                <c:pt idx="808">
                  <c:v>128.32813204105935</c:v>
                </c:pt>
                <c:pt idx="809">
                  <c:v>131.39116704807239</c:v>
                </c:pt>
                <c:pt idx="810">
                  <c:v>132.83907430464336</c:v>
                </c:pt>
                <c:pt idx="811">
                  <c:v>132.50334168111834</c:v>
                </c:pt>
                <c:pt idx="812">
                  <c:v>132.57106320500179</c:v>
                </c:pt>
                <c:pt idx="813">
                  <c:v>133.52962470881238</c:v>
                </c:pt>
                <c:pt idx="814">
                  <c:v>133.11521348435454</c:v>
                </c:pt>
                <c:pt idx="815">
                  <c:v>132.69004921508753</c:v>
                </c:pt>
                <c:pt idx="816">
                  <c:v>133.9149102668411</c:v>
                </c:pt>
                <c:pt idx="817">
                  <c:v>134.06769362517068</c:v>
                </c:pt>
                <c:pt idx="818">
                  <c:v>136.23073891889331</c:v>
                </c:pt>
                <c:pt idx="819">
                  <c:v>136.96252361666862</c:v>
                </c:pt>
                <c:pt idx="820">
                  <c:v>136.2263903804961</c:v>
                </c:pt>
                <c:pt idx="821">
                  <c:v>135.23570906055647</c:v>
                </c:pt>
                <c:pt idx="822">
                  <c:v>133.22320115052733</c:v>
                </c:pt>
                <c:pt idx="823">
                  <c:v>133.13184803775832</c:v>
                </c:pt>
                <c:pt idx="824">
                  <c:v>134.98210397578421</c:v>
                </c:pt>
                <c:pt idx="825">
                  <c:v>134.36891751599521</c:v>
                </c:pt>
                <c:pt idx="826">
                  <c:v>137.82942621513541</c:v>
                </c:pt>
                <c:pt idx="827">
                  <c:v>139.83711532357211</c:v>
                </c:pt>
                <c:pt idx="828">
                  <c:v>141.26617692430651</c:v>
                </c:pt>
                <c:pt idx="829">
                  <c:v>141.28631076280976</c:v>
                </c:pt>
                <c:pt idx="830">
                  <c:v>141.11379225162742</c:v>
                </c:pt>
                <c:pt idx="831">
                  <c:v>139.75941374121706</c:v>
                </c:pt>
                <c:pt idx="832">
                  <c:v>139.22542883754377</c:v>
                </c:pt>
                <c:pt idx="833">
                  <c:v>140.41330991944938</c:v>
                </c:pt>
                <c:pt idx="834">
                  <c:v>140.47574651375615</c:v>
                </c:pt>
                <c:pt idx="835">
                  <c:v>139.00219028139384</c:v>
                </c:pt>
                <c:pt idx="836">
                  <c:v>140.85809730714988</c:v>
                </c:pt>
                <c:pt idx="837">
                  <c:v>141.11078245633152</c:v>
                </c:pt>
                <c:pt idx="838">
                  <c:v>140.74824308275271</c:v>
                </c:pt>
                <c:pt idx="839">
                  <c:v>142.32954598791966</c:v>
                </c:pt>
                <c:pt idx="840">
                  <c:v>143.86277048160261</c:v>
                </c:pt>
                <c:pt idx="841">
                  <c:v>141.85439509840089</c:v>
                </c:pt>
                <c:pt idx="842">
                  <c:v>138.39625787973046</c:v>
                </c:pt>
                <c:pt idx="843">
                  <c:v>137.7293868538622</c:v>
                </c:pt>
                <c:pt idx="844">
                  <c:v>137.65750308930316</c:v>
                </c:pt>
                <c:pt idx="845">
                  <c:v>140.94752243033926</c:v>
                </c:pt>
                <c:pt idx="846">
                  <c:v>142.7347142022596</c:v>
                </c:pt>
                <c:pt idx="847">
                  <c:v>145.02041156386474</c:v>
                </c:pt>
                <c:pt idx="848">
                  <c:v>143.62796437165878</c:v>
                </c:pt>
                <c:pt idx="849">
                  <c:v>144.34008152943875</c:v>
                </c:pt>
                <c:pt idx="850">
                  <c:v>142.58551104277666</c:v>
                </c:pt>
                <c:pt idx="851">
                  <c:v>146.052843098469</c:v>
                </c:pt>
                <c:pt idx="852">
                  <c:v>146.66142126882789</c:v>
                </c:pt>
                <c:pt idx="853">
                  <c:v>147.75353833033176</c:v>
                </c:pt>
                <c:pt idx="854">
                  <c:v>148.22446605939371</c:v>
                </c:pt>
                <c:pt idx="855">
                  <c:v>148.8305641679778</c:v>
                </c:pt>
                <c:pt idx="856">
                  <c:v>148.60265235266544</c:v>
                </c:pt>
                <c:pt idx="857">
                  <c:v>147.97735901357254</c:v>
                </c:pt>
                <c:pt idx="858">
                  <c:v>148.96209261888205</c:v>
                </c:pt>
                <c:pt idx="859">
                  <c:v>148.96209261888205</c:v>
                </c:pt>
                <c:pt idx="860">
                  <c:v>149.41994877043837</c:v>
                </c:pt>
                <c:pt idx="861">
                  <c:v>150.26486316465923</c:v>
                </c:pt>
                <c:pt idx="862">
                  <c:v>149.55103522253827</c:v>
                </c:pt>
                <c:pt idx="863">
                  <c:v>150.08810559163464</c:v>
                </c:pt>
                <c:pt idx="864">
                  <c:v>148.27060343619394</c:v>
                </c:pt>
                <c:pt idx="865">
                  <c:v>147.39770230687785</c:v>
                </c:pt>
                <c:pt idx="866">
                  <c:v>147.60856506701231</c:v>
                </c:pt>
                <c:pt idx="867">
                  <c:v>148.282722550611</c:v>
                </c:pt>
                <c:pt idx="868">
                  <c:v>147.25343386283302</c:v>
                </c:pt>
                <c:pt idx="869">
                  <c:v>147.03973843944752</c:v>
                </c:pt>
                <c:pt idx="870">
                  <c:v>145.93005384384315</c:v>
                </c:pt>
                <c:pt idx="871">
                  <c:v>146.52148264814599</c:v>
                </c:pt>
                <c:pt idx="872">
                  <c:v>147.77566887967905</c:v>
                </c:pt>
                <c:pt idx="873">
                  <c:v>146.0536568400961</c:v>
                </c:pt>
                <c:pt idx="874">
                  <c:v>146.13054352978662</c:v>
                </c:pt>
                <c:pt idx="875">
                  <c:v>149.54250005850099</c:v>
                </c:pt>
                <c:pt idx="876">
                  <c:v>149.86774944918133</c:v>
                </c:pt>
                <c:pt idx="877">
                  <c:v>149.51384145793747</c:v>
                </c:pt>
                <c:pt idx="878">
                  <c:v>150.01635368493714</c:v>
                </c:pt>
                <c:pt idx="879">
                  <c:v>150.17031502464931</c:v>
                </c:pt>
                <c:pt idx="880">
                  <c:v>149.93219038529168</c:v>
                </c:pt>
                <c:pt idx="881">
                  <c:v>151.81236151693304</c:v>
                </c:pt>
                <c:pt idx="882">
                  <c:v>151.31453772575293</c:v>
                </c:pt>
                <c:pt idx="883">
                  <c:v>150.68022617010894</c:v>
                </c:pt>
                <c:pt idx="884">
                  <c:v>151.31389574465749</c:v>
                </c:pt>
                <c:pt idx="885">
                  <c:v>151.0627861114715</c:v>
                </c:pt>
                <c:pt idx="886">
                  <c:v>151.75550933538327</c:v>
                </c:pt>
                <c:pt idx="887">
                  <c:v>151.25153298734188</c:v>
                </c:pt>
                <c:pt idx="888">
                  <c:v>151.85841665842401</c:v>
                </c:pt>
                <c:pt idx="889">
                  <c:v>149.11726983898802</c:v>
                </c:pt>
                <c:pt idx="890">
                  <c:v>149.59863936350638</c:v>
                </c:pt>
                <c:pt idx="891">
                  <c:v>147.78995314024888</c:v>
                </c:pt>
                <c:pt idx="892">
                  <c:v>149.9251427893773</c:v>
                </c:pt>
                <c:pt idx="893">
                  <c:v>149.51055183237986</c:v>
                </c:pt>
                <c:pt idx="894">
                  <c:v>149.39295891999262</c:v>
                </c:pt>
                <c:pt idx="895">
                  <c:v>149.29195443420642</c:v>
                </c:pt>
                <c:pt idx="896">
                  <c:v>150.816015552588</c:v>
                </c:pt>
                <c:pt idx="897">
                  <c:v>149.36273379858849</c:v>
                </c:pt>
                <c:pt idx="898">
                  <c:v>148.7002119932132</c:v>
                </c:pt>
                <c:pt idx="899">
                  <c:v>147.93455564126032</c:v>
                </c:pt>
                <c:pt idx="900">
                  <c:v>149.08645692056092</c:v>
                </c:pt>
                <c:pt idx="901">
                  <c:v>148.29881500748729</c:v>
                </c:pt>
                <c:pt idx="902">
                  <c:v>149.0468495560043</c:v>
                </c:pt>
                <c:pt idx="903">
                  <c:v>151.01480809612855</c:v>
                </c:pt>
                <c:pt idx="904">
                  <c:v>151.76614147851134</c:v>
                </c:pt>
                <c:pt idx="905">
                  <c:v>152.01505258542707</c:v>
                </c:pt>
                <c:pt idx="906">
                  <c:v>150.84770952708172</c:v>
                </c:pt>
                <c:pt idx="907">
                  <c:v>150.23721428069422</c:v>
                </c:pt>
                <c:pt idx="908">
                  <c:v>147.73438364195837</c:v>
                </c:pt>
                <c:pt idx="909">
                  <c:v>148.43672890872085</c:v>
                </c:pt>
                <c:pt idx="910">
                  <c:v>148.77611019657144</c:v>
                </c:pt>
                <c:pt idx="911">
                  <c:v>148.97097991545593</c:v>
                </c:pt>
                <c:pt idx="912">
                  <c:v>148.41065741651809</c:v>
                </c:pt>
                <c:pt idx="913">
                  <c:v>149.70744452283938</c:v>
                </c:pt>
                <c:pt idx="914">
                  <c:v>148.85767278854948</c:v>
                </c:pt>
                <c:pt idx="915">
                  <c:v>148.85767278854948</c:v>
                </c:pt>
                <c:pt idx="916">
                  <c:v>151.40268204144868</c:v>
                </c:pt>
                <c:pt idx="917">
                  <c:v>150.52204401464721</c:v>
                </c:pt>
                <c:pt idx="918">
                  <c:v>151.38528251634671</c:v>
                </c:pt>
                <c:pt idx="919">
                  <c:v>149.37613474364431</c:v>
                </c:pt>
                <c:pt idx="920">
                  <c:v>149.12878619288193</c:v>
                </c:pt>
                <c:pt idx="921">
                  <c:v>148.98857801602304</c:v>
                </c:pt>
                <c:pt idx="922">
                  <c:v>148.61186940046923</c:v>
                </c:pt>
                <c:pt idx="923">
                  <c:v>149.26471983885938</c:v>
                </c:pt>
                <c:pt idx="924">
                  <c:v>147.93980245867166</c:v>
                </c:pt>
                <c:pt idx="925">
                  <c:v>146.50512306506278</c:v>
                </c:pt>
                <c:pt idx="926">
                  <c:v>144.9937960993669</c:v>
                </c:pt>
                <c:pt idx="927">
                  <c:v>148.20180620283458</c:v>
                </c:pt>
                <c:pt idx="928">
                  <c:v>148.67714113062854</c:v>
                </c:pt>
                <c:pt idx="929">
                  <c:v>149.10255896942522</c:v>
                </c:pt>
                <c:pt idx="930">
                  <c:v>149.93736835354434</c:v>
                </c:pt>
                <c:pt idx="931">
                  <c:v>150.83271349837446</c:v>
                </c:pt>
                <c:pt idx="932">
                  <c:v>150.10620464975997</c:v>
                </c:pt>
                <c:pt idx="933">
                  <c:v>150.55686595772892</c:v>
                </c:pt>
                <c:pt idx="934">
                  <c:v>150.74006444408695</c:v>
                </c:pt>
                <c:pt idx="935">
                  <c:v>152.46013233692034</c:v>
                </c:pt>
                <c:pt idx="936">
                  <c:v>152.16175799124699</c:v>
                </c:pt>
                <c:pt idx="937">
                  <c:v>152.33772079346431</c:v>
                </c:pt>
                <c:pt idx="938">
                  <c:v>152.40479939836902</c:v>
                </c:pt>
                <c:pt idx="939">
                  <c:v>152.78694351639541</c:v>
                </c:pt>
                <c:pt idx="940">
                  <c:v>153.8524414897615</c:v>
                </c:pt>
                <c:pt idx="941">
                  <c:v>154.0459861501142</c:v>
                </c:pt>
                <c:pt idx="942">
                  <c:v>154.29176361851179</c:v>
                </c:pt>
                <c:pt idx="943">
                  <c:v>154.79861666768733</c:v>
                </c:pt>
                <c:pt idx="944">
                  <c:v>154.89700352127551</c:v>
                </c:pt>
                <c:pt idx="945">
                  <c:v>154.33072456834205</c:v>
                </c:pt>
                <c:pt idx="946">
                  <c:v>154.1670499126844</c:v>
                </c:pt>
                <c:pt idx="947">
                  <c:v>154.0996307282615</c:v>
                </c:pt>
                <c:pt idx="948">
                  <c:v>154.79053556704386</c:v>
                </c:pt>
                <c:pt idx="949">
                  <c:v>155.41315858195208</c:v>
                </c:pt>
                <c:pt idx="950">
                  <c:v>155.47653075744833</c:v>
                </c:pt>
                <c:pt idx="951">
                  <c:v>155.0358798612645</c:v>
                </c:pt>
                <c:pt idx="952">
                  <c:v>155.0358798612645</c:v>
                </c:pt>
                <c:pt idx="953">
                  <c:v>155.0358798612645</c:v>
                </c:pt>
                <c:pt idx="954">
                  <c:v>155.0358798612645</c:v>
                </c:pt>
                <c:pt idx="955">
                  <c:v>154.84532760273652</c:v>
                </c:pt>
                <c:pt idx="956">
                  <c:v>153.84459579781796</c:v>
                </c:pt>
                <c:pt idx="957">
                  <c:v>154.32982722721121</c:v>
                </c:pt>
                <c:pt idx="958">
                  <c:v>154.32982722721121</c:v>
                </c:pt>
                <c:pt idx="959">
                  <c:v>157.40312834709314</c:v>
                </c:pt>
                <c:pt idx="960">
                  <c:v>158.27190564631695</c:v>
                </c:pt>
                <c:pt idx="961">
                  <c:v>158.85365468531748</c:v>
                </c:pt>
                <c:pt idx="962">
                  <c:v>158.1393528989918</c:v>
                </c:pt>
                <c:pt idx="963">
                  <c:v>157.91126147903415</c:v>
                </c:pt>
                <c:pt idx="964">
                  <c:v>159.00910397683228</c:v>
                </c:pt>
                <c:pt idx="965">
                  <c:v>158.57281671044009</c:v>
                </c:pt>
                <c:pt idx="966">
                  <c:v>158.38241455586532</c:v>
                </c:pt>
                <c:pt idx="967">
                  <c:v>157.82417049150874</c:v>
                </c:pt>
                <c:pt idx="968">
                  <c:v>157.85356315625245</c:v>
                </c:pt>
                <c:pt idx="969">
                  <c:v>157.92441026138425</c:v>
                </c:pt>
                <c:pt idx="970">
                  <c:v>158.60743815965762</c:v>
                </c:pt>
                <c:pt idx="971">
                  <c:v>158.41297377686851</c:v>
                </c:pt>
                <c:pt idx="972">
                  <c:v>158.84283070242893</c:v>
                </c:pt>
                <c:pt idx="973">
                  <c:v>158.79389127147567</c:v>
                </c:pt>
                <c:pt idx="974">
                  <c:v>159.13233599762208</c:v>
                </c:pt>
                <c:pt idx="975">
                  <c:v>159.53096528982815</c:v>
                </c:pt>
                <c:pt idx="976">
                  <c:v>160.00590157460206</c:v>
                </c:pt>
                <c:pt idx="977">
                  <c:v>159.82195917628931</c:v>
                </c:pt>
                <c:pt idx="978">
                  <c:v>160.42800766232205</c:v>
                </c:pt>
                <c:pt idx="979">
                  <c:v>159.51865812981524</c:v>
                </c:pt>
                <c:pt idx="980">
                  <c:v>158.66503109846485</c:v>
                </c:pt>
                <c:pt idx="981">
                  <c:v>159.10471077389431</c:v>
                </c:pt>
                <c:pt idx="982">
                  <c:v>156.72820520969947</c:v>
                </c:pt>
                <c:pt idx="983">
                  <c:v>157.64922759471281</c:v>
                </c:pt>
                <c:pt idx="984">
                  <c:v>157.02805139263592</c:v>
                </c:pt>
                <c:pt idx="985">
                  <c:v>156.6191586306881</c:v>
                </c:pt>
                <c:pt idx="986">
                  <c:v>158.50309642942236</c:v>
                </c:pt>
                <c:pt idx="987">
                  <c:v>157.57472364009345</c:v>
                </c:pt>
                <c:pt idx="988">
                  <c:v>158.33092536135811</c:v>
                </c:pt>
                <c:pt idx="989">
                  <c:v>159.0618123769552</c:v>
                </c:pt>
                <c:pt idx="990">
                  <c:v>158.83619816249112</c:v>
                </c:pt>
                <c:pt idx="991">
                  <c:v>158.51440265483373</c:v>
                </c:pt>
                <c:pt idx="992">
                  <c:v>158.2347063823097</c:v>
                </c:pt>
                <c:pt idx="993">
                  <c:v>160.00264754597691</c:v>
                </c:pt>
                <c:pt idx="994">
                  <c:v>159.54033751468043</c:v>
                </c:pt>
                <c:pt idx="995">
                  <c:v>157.21388793146812</c:v>
                </c:pt>
                <c:pt idx="996">
                  <c:v>159.24210061153696</c:v>
                </c:pt>
                <c:pt idx="997">
                  <c:v>159.16898596045252</c:v>
                </c:pt>
                <c:pt idx="998">
                  <c:v>157.16553045708204</c:v>
                </c:pt>
                <c:pt idx="999">
                  <c:v>158.63299014979364</c:v>
                </c:pt>
                <c:pt idx="1000">
                  <c:v>160.18334861972033</c:v>
                </c:pt>
                <c:pt idx="1001">
                  <c:v>159.63408751603075</c:v>
                </c:pt>
                <c:pt idx="1002">
                  <c:v>159.59767799236496</c:v>
                </c:pt>
                <c:pt idx="1003">
                  <c:v>162.45971459702557</c:v>
                </c:pt>
                <c:pt idx="1004">
                  <c:v>162.12908235322797</c:v>
                </c:pt>
                <c:pt idx="1005">
                  <c:v>162.11631810301722</c:v>
                </c:pt>
                <c:pt idx="1006">
                  <c:v>163.45000260282691</c:v>
                </c:pt>
                <c:pt idx="1007">
                  <c:v>163.29235239770219</c:v>
                </c:pt>
                <c:pt idx="1008">
                  <c:v>163.32590406316044</c:v>
                </c:pt>
                <c:pt idx="1009">
                  <c:v>163.41644309325397</c:v>
                </c:pt>
                <c:pt idx="1010">
                  <c:v>165.20293264639346</c:v>
                </c:pt>
                <c:pt idx="1011">
                  <c:v>164.57518320417992</c:v>
                </c:pt>
                <c:pt idx="1012">
                  <c:v>164.20999699612997</c:v>
                </c:pt>
                <c:pt idx="1013">
                  <c:v>163.52576413101389</c:v>
                </c:pt>
                <c:pt idx="1014">
                  <c:v>164.13373182462828</c:v>
                </c:pt>
                <c:pt idx="1015">
                  <c:v>163.05388440780595</c:v>
                </c:pt>
                <c:pt idx="1016">
                  <c:v>162.84630445226054</c:v>
                </c:pt>
                <c:pt idx="1017">
                  <c:v>162.39193842012597</c:v>
                </c:pt>
                <c:pt idx="1018">
                  <c:v>162.67553117131223</c:v>
                </c:pt>
                <c:pt idx="1019">
                  <c:v>162.05310639082182</c:v>
                </c:pt>
                <c:pt idx="1020">
                  <c:v>162.74694578108307</c:v>
                </c:pt>
                <c:pt idx="1021">
                  <c:v>162.74694578108307</c:v>
                </c:pt>
                <c:pt idx="1022">
                  <c:v>162.74694578108307</c:v>
                </c:pt>
                <c:pt idx="1023">
                  <c:v>164.832180655359</c:v>
                </c:pt>
                <c:pt idx="1024">
                  <c:v>163.31844853065593</c:v>
                </c:pt>
                <c:pt idx="1025">
                  <c:v>161.650036903445</c:v>
                </c:pt>
                <c:pt idx="1026">
                  <c:v>159.20084189033378</c:v>
                </c:pt>
                <c:pt idx="1027">
                  <c:v>159.54258191196888</c:v>
                </c:pt>
                <c:pt idx="1028">
                  <c:v>159.76596831262572</c:v>
                </c:pt>
                <c:pt idx="1029">
                  <c:v>162.57814938753651</c:v>
                </c:pt>
                <c:pt idx="1030">
                  <c:v>163.54224840994075</c:v>
                </c:pt>
                <c:pt idx="1031">
                  <c:v>162.18346982018483</c:v>
                </c:pt>
                <c:pt idx="1032">
                  <c:v>161.21869070451882</c:v>
                </c:pt>
                <c:pt idx="1033">
                  <c:v>159.98674620413189</c:v>
                </c:pt>
                <c:pt idx="1034">
                  <c:v>157.54615904101163</c:v>
                </c:pt>
                <c:pt idx="1035">
                  <c:v>157.53947739009558</c:v>
                </c:pt>
                <c:pt idx="1036">
                  <c:v>158.44025978527159</c:v>
                </c:pt>
                <c:pt idx="1037">
                  <c:v>158.72630471752063</c:v>
                </c:pt>
                <c:pt idx="1038">
                  <c:v>162.62654301305957</c:v>
                </c:pt>
                <c:pt idx="1039">
                  <c:v>163.91484683734132</c:v>
                </c:pt>
                <c:pt idx="1040">
                  <c:v>165.17059323768811</c:v>
                </c:pt>
                <c:pt idx="1041">
                  <c:v>164.68946798912941</c:v>
                </c:pt>
                <c:pt idx="1042">
                  <c:v>165.67658096165675</c:v>
                </c:pt>
                <c:pt idx="1043">
                  <c:v>165.39275292966292</c:v>
                </c:pt>
                <c:pt idx="1044">
                  <c:v>165.39275292966292</c:v>
                </c:pt>
                <c:pt idx="1045">
                  <c:v>166.14254029674416</c:v>
                </c:pt>
                <c:pt idx="1046">
                  <c:v>167.91337487291992</c:v>
                </c:pt>
                <c:pt idx="1047">
                  <c:v>167.9690842863408</c:v>
                </c:pt>
                <c:pt idx="1048">
                  <c:v>168.42014419469842</c:v>
                </c:pt>
                <c:pt idx="1049">
                  <c:v>169.63451233635743</c:v>
                </c:pt>
                <c:pt idx="1050">
                  <c:v>169.63451233635743</c:v>
                </c:pt>
                <c:pt idx="1051">
                  <c:v>170.45449506496132</c:v>
                </c:pt>
                <c:pt idx="1052">
                  <c:v>170.16063159675159</c:v>
                </c:pt>
                <c:pt idx="1053">
                  <c:v>170.90911696870336</c:v>
                </c:pt>
                <c:pt idx="1054">
                  <c:v>172.26140510783631</c:v>
                </c:pt>
                <c:pt idx="1055">
                  <c:v>172.180704601104</c:v>
                </c:pt>
                <c:pt idx="1056">
                  <c:v>172.69029746308721</c:v>
                </c:pt>
                <c:pt idx="1057">
                  <c:v>172.69029746308721</c:v>
                </c:pt>
                <c:pt idx="1058">
                  <c:v>173.53634452187697</c:v>
                </c:pt>
                <c:pt idx="1059">
                  <c:v>173.96770009963601</c:v>
                </c:pt>
                <c:pt idx="1060">
                  <c:v>170.28940953445317</c:v>
                </c:pt>
                <c:pt idx="1061">
                  <c:v>169.94740839759069</c:v>
                </c:pt>
                <c:pt idx="1062">
                  <c:v>170.49395027927343</c:v>
                </c:pt>
                <c:pt idx="1063">
                  <c:v>172.63548219346853</c:v>
                </c:pt>
                <c:pt idx="1064">
                  <c:v>169.45914726419741</c:v>
                </c:pt>
                <c:pt idx="1065">
                  <c:v>170.08803785455981</c:v>
                </c:pt>
                <c:pt idx="1066">
                  <c:v>168.55102277776115</c:v>
                </c:pt>
                <c:pt idx="1067">
                  <c:v>167.26936117066802</c:v>
                </c:pt>
                <c:pt idx="1068">
                  <c:v>167.81431717700949</c:v>
                </c:pt>
                <c:pt idx="1069">
                  <c:v>165.38041332741676</c:v>
                </c:pt>
                <c:pt idx="1070">
                  <c:v>163.47883347549316</c:v>
                </c:pt>
                <c:pt idx="1071">
                  <c:v>165.56353703889945</c:v>
                </c:pt>
                <c:pt idx="1072">
                  <c:v>165.48215064108192</c:v>
                </c:pt>
                <c:pt idx="1073">
                  <c:v>163.59246046322457</c:v>
                </c:pt>
                <c:pt idx="1074">
                  <c:v>163.09021919922776</c:v>
                </c:pt>
                <c:pt idx="1075">
                  <c:v>162.98560040974829</c:v>
                </c:pt>
                <c:pt idx="1076">
                  <c:v>163.24898360967359</c:v>
                </c:pt>
                <c:pt idx="1077">
                  <c:v>164.44601694017538</c:v>
                </c:pt>
                <c:pt idx="1078">
                  <c:v>164.30317872548167</c:v>
                </c:pt>
                <c:pt idx="1079">
                  <c:v>163.939557588817</c:v>
                </c:pt>
                <c:pt idx="1080">
                  <c:v>159.09632788799479</c:v>
                </c:pt>
                <c:pt idx="1081">
                  <c:v>157.28289465384472</c:v>
                </c:pt>
                <c:pt idx="1082">
                  <c:v>154.75618380189559</c:v>
                </c:pt>
                <c:pt idx="1083">
                  <c:v>156.99836376360469</c:v>
                </c:pt>
                <c:pt idx="1084">
                  <c:v>159.71331311606255</c:v>
                </c:pt>
                <c:pt idx="1085">
                  <c:v>160.73188900275082</c:v>
                </c:pt>
                <c:pt idx="1086">
                  <c:v>159.95017741083512</c:v>
                </c:pt>
                <c:pt idx="1087">
                  <c:v>161.75880471797126</c:v>
                </c:pt>
                <c:pt idx="1088">
                  <c:v>161.08722278971595</c:v>
                </c:pt>
                <c:pt idx="1089">
                  <c:v>160.15871562729356</c:v>
                </c:pt>
                <c:pt idx="1090">
                  <c:v>163.9152206264533</c:v>
                </c:pt>
                <c:pt idx="1091">
                  <c:v>161.72111447207368</c:v>
                </c:pt>
                <c:pt idx="1092">
                  <c:v>164.00051134704773</c:v>
                </c:pt>
                <c:pt idx="1093">
                  <c:v>165.24454550379204</c:v>
                </c:pt>
                <c:pt idx="1094">
                  <c:v>165.4702132628633</c:v>
                </c:pt>
                <c:pt idx="1095">
                  <c:v>166.41247341761621</c:v>
                </c:pt>
                <c:pt idx="1096">
                  <c:v>166.21092149361218</c:v>
                </c:pt>
                <c:pt idx="1097">
                  <c:v>166.91909208123701</c:v>
                </c:pt>
                <c:pt idx="1098">
                  <c:v>165.76683027108169</c:v>
                </c:pt>
                <c:pt idx="1099">
                  <c:v>166.75972124399675</c:v>
                </c:pt>
                <c:pt idx="1100">
                  <c:v>168.21787376684924</c:v>
                </c:pt>
                <c:pt idx="1101">
                  <c:v>168.26398403029802</c:v>
                </c:pt>
                <c:pt idx="1102">
                  <c:v>168.50716479834691</c:v>
                </c:pt>
                <c:pt idx="1103">
                  <c:v>168.03022459807968</c:v>
                </c:pt>
                <c:pt idx="1104">
                  <c:v>168.99343715027265</c:v>
                </c:pt>
                <c:pt idx="1105">
                  <c:v>168.17533624181226</c:v>
                </c:pt>
                <c:pt idx="1106">
                  <c:v>167.76903127032091</c:v>
                </c:pt>
                <c:pt idx="1107">
                  <c:v>167.84253927817412</c:v>
                </c:pt>
                <c:pt idx="1108">
                  <c:v>167.96604038619921</c:v>
                </c:pt>
                <c:pt idx="1109">
                  <c:v>168.10559856732229</c:v>
                </c:pt>
                <c:pt idx="1110">
                  <c:v>170.05553329313722</c:v>
                </c:pt>
                <c:pt idx="1111">
                  <c:v>170.48809221775798</c:v>
                </c:pt>
                <c:pt idx="1112">
                  <c:v>170.75420470061974</c:v>
                </c:pt>
                <c:pt idx="1113">
                  <c:v>170.08410816630379</c:v>
                </c:pt>
                <c:pt idx="1114">
                  <c:v>169.80041190690866</c:v>
                </c:pt>
                <c:pt idx="1115">
                  <c:v>170.51982835436715</c:v>
                </c:pt>
                <c:pt idx="1116">
                  <c:v>171.53829395451041</c:v>
                </c:pt>
                <c:pt idx="1117">
                  <c:v>171.65197649050884</c:v>
                </c:pt>
                <c:pt idx="1118">
                  <c:v>172.63079516447385</c:v>
                </c:pt>
                <c:pt idx="1119">
                  <c:v>173.20926058889526</c:v>
                </c:pt>
                <c:pt idx="1120">
                  <c:v>173.20926058889526</c:v>
                </c:pt>
                <c:pt idx="1121">
                  <c:v>171.99030449282048</c:v>
                </c:pt>
                <c:pt idx="1122">
                  <c:v>171.04366881421114</c:v>
                </c:pt>
                <c:pt idx="1123">
                  <c:v>169.65320042780493</c:v>
                </c:pt>
                <c:pt idx="1124">
                  <c:v>168.76906162381721</c:v>
                </c:pt>
                <c:pt idx="1125">
                  <c:v>170.42153533173595</c:v>
                </c:pt>
                <c:pt idx="1126">
                  <c:v>171.08699526959961</c:v>
                </c:pt>
                <c:pt idx="1127">
                  <c:v>170.99113119410518</c:v>
                </c:pt>
                <c:pt idx="1128">
                  <c:v>168.01136973393491</c:v>
                </c:pt>
                <c:pt idx="1129">
                  <c:v>167.48173477548278</c:v>
                </c:pt>
                <c:pt idx="1130">
                  <c:v>168.68191346804474</c:v>
                </c:pt>
                <c:pt idx="1131">
                  <c:v>167.12558707636686</c:v>
                </c:pt>
                <c:pt idx="1132">
                  <c:v>170.19750737629391</c:v>
                </c:pt>
                <c:pt idx="1133">
                  <c:v>169.50390326683927</c:v>
                </c:pt>
                <c:pt idx="1134">
                  <c:v>169.89060187390203</c:v>
                </c:pt>
                <c:pt idx="1135">
                  <c:v>171.14004429187213</c:v>
                </c:pt>
                <c:pt idx="1136">
                  <c:v>171.98196308693872</c:v>
                </c:pt>
                <c:pt idx="1137">
                  <c:v>171.77300648928176</c:v>
                </c:pt>
                <c:pt idx="1138">
                  <c:v>173.94588212120155</c:v>
                </c:pt>
                <c:pt idx="1139">
                  <c:v>174.60734258376715</c:v>
                </c:pt>
                <c:pt idx="1140">
                  <c:v>174.54943912033733</c:v>
                </c:pt>
                <c:pt idx="1141">
                  <c:v>174.96117106808882</c:v>
                </c:pt>
                <c:pt idx="1142">
                  <c:v>176.0655441749665</c:v>
                </c:pt>
                <c:pt idx="1143">
                  <c:v>175.23334611364888</c:v>
                </c:pt>
                <c:pt idx="1144">
                  <c:v>176.03259083640143</c:v>
                </c:pt>
                <c:pt idx="1145">
                  <c:v>177.0475007079244</c:v>
                </c:pt>
                <c:pt idx="1146">
                  <c:v>176.551621276649</c:v>
                </c:pt>
                <c:pt idx="1147">
                  <c:v>175.70947649434589</c:v>
                </c:pt>
                <c:pt idx="1148">
                  <c:v>176.00140822144286</c:v>
                </c:pt>
                <c:pt idx="1149">
                  <c:v>175.92226119044898</c:v>
                </c:pt>
                <c:pt idx="1150">
                  <c:v>175.95319373162351</c:v>
                </c:pt>
                <c:pt idx="1151">
                  <c:v>175.4792859637443</c:v>
                </c:pt>
                <c:pt idx="1152">
                  <c:v>174.49861062195987</c:v>
                </c:pt>
                <c:pt idx="1153">
                  <c:v>175.77467954587215</c:v>
                </c:pt>
                <c:pt idx="1154">
                  <c:v>174.58545869771913</c:v>
                </c:pt>
                <c:pt idx="1155">
                  <c:v>173.88609389608513</c:v>
                </c:pt>
                <c:pt idx="1156">
                  <c:v>174.06649002987319</c:v>
                </c:pt>
                <c:pt idx="1157">
                  <c:v>173.67228490356112</c:v>
                </c:pt>
                <c:pt idx="1158">
                  <c:v>172.3391960875185</c:v>
                </c:pt>
                <c:pt idx="1159">
                  <c:v>171.41150053517015</c:v>
                </c:pt>
                <c:pt idx="1160">
                  <c:v>174.27078820397568</c:v>
                </c:pt>
                <c:pt idx="1161">
                  <c:v>175.04521781442327</c:v>
                </c:pt>
                <c:pt idx="1162">
                  <c:v>175.36181595669694</c:v>
                </c:pt>
                <c:pt idx="1163">
                  <c:v>176.8247875369284</c:v>
                </c:pt>
                <c:pt idx="1164">
                  <c:v>177.28422223128433</c:v>
                </c:pt>
                <c:pt idx="1165">
                  <c:v>177.51483915772377</c:v>
                </c:pt>
                <c:pt idx="1166">
                  <c:v>178.90187489137429</c:v>
                </c:pt>
                <c:pt idx="1167">
                  <c:v>179.48799672584317</c:v>
                </c:pt>
                <c:pt idx="1168">
                  <c:v>180.37974137944371</c:v>
                </c:pt>
                <c:pt idx="1169">
                  <c:v>179.31144612660387</c:v>
                </c:pt>
                <c:pt idx="1170">
                  <c:v>180.1166441486539</c:v>
                </c:pt>
                <c:pt idx="1171">
                  <c:v>180.00450558166676</c:v>
                </c:pt>
                <c:pt idx="1172">
                  <c:v>179.73821941987634</c:v>
                </c:pt>
                <c:pt idx="1173">
                  <c:v>180.39740444974316</c:v>
                </c:pt>
                <c:pt idx="1174">
                  <c:v>180.42566513201479</c:v>
                </c:pt>
                <c:pt idx="1175">
                  <c:v>181.1913921236301</c:v>
                </c:pt>
                <c:pt idx="1176">
                  <c:v>181.1913921236301</c:v>
                </c:pt>
                <c:pt idx="1177">
                  <c:v>181.35176355442252</c:v>
                </c:pt>
                <c:pt idx="1178">
                  <c:v>181.01803467586518</c:v>
                </c:pt>
                <c:pt idx="1179">
                  <c:v>181.8212889348454</c:v>
                </c:pt>
                <c:pt idx="1180">
                  <c:v>181.83988136219966</c:v>
                </c:pt>
                <c:pt idx="1181">
                  <c:v>181.59202145190216</c:v>
                </c:pt>
                <c:pt idx="1182">
                  <c:v>182.0673021103598</c:v>
                </c:pt>
                <c:pt idx="1183">
                  <c:v>181.02092058530846</c:v>
                </c:pt>
                <c:pt idx="1184">
                  <c:v>180.0980205153646</c:v>
                </c:pt>
                <c:pt idx="1185">
                  <c:v>181.5824425408552</c:v>
                </c:pt>
                <c:pt idx="1186">
                  <c:v>181.97623846726603</c:v>
                </c:pt>
                <c:pt idx="1187">
                  <c:v>182.95634040009344</c:v>
                </c:pt>
                <c:pt idx="1188">
                  <c:v>181.74660124420188</c:v>
                </c:pt>
                <c:pt idx="1189">
                  <c:v>182.06970962930976</c:v>
                </c:pt>
                <c:pt idx="1190">
                  <c:v>181.76947013303803</c:v>
                </c:pt>
                <c:pt idx="1191">
                  <c:v>181.92738010434911</c:v>
                </c:pt>
                <c:pt idx="1192">
                  <c:v>182.67406045608334</c:v>
                </c:pt>
                <c:pt idx="1193">
                  <c:v>181.47606766090433</c:v>
                </c:pt>
                <c:pt idx="1194">
                  <c:v>182.44873670293256</c:v>
                </c:pt>
                <c:pt idx="1195">
                  <c:v>183.08186237006723</c:v>
                </c:pt>
                <c:pt idx="1196">
                  <c:v>183.05388025788125</c:v>
                </c:pt>
                <c:pt idx="1197">
                  <c:v>182.45597171724489</c:v>
                </c:pt>
                <c:pt idx="1198">
                  <c:v>179.7059171813759</c:v>
                </c:pt>
                <c:pt idx="1199">
                  <c:v>178.6552086761055</c:v>
                </c:pt>
                <c:pt idx="1200">
                  <c:v>177.0405012895491</c:v>
                </c:pt>
                <c:pt idx="1201">
                  <c:v>178.24779110191253</c:v>
                </c:pt>
                <c:pt idx="1202">
                  <c:v>178.58838810770948</c:v>
                </c:pt>
                <c:pt idx="1203">
                  <c:v>177.27287173500412</c:v>
                </c:pt>
                <c:pt idx="1204">
                  <c:v>176.37382629529813</c:v>
                </c:pt>
                <c:pt idx="1205">
                  <c:v>174.71886840594311</c:v>
                </c:pt>
                <c:pt idx="1206">
                  <c:v>174.42732732823353</c:v>
                </c:pt>
                <c:pt idx="1207">
                  <c:v>176.68218809629383</c:v>
                </c:pt>
                <c:pt idx="1208">
                  <c:v>175.35847825019746</c:v>
                </c:pt>
                <c:pt idx="1209">
                  <c:v>176.85812021877172</c:v>
                </c:pt>
                <c:pt idx="1210">
                  <c:v>179.91195943184698</c:v>
                </c:pt>
                <c:pt idx="1211">
                  <c:v>180.87925507678833</c:v>
                </c:pt>
                <c:pt idx="1212">
                  <c:v>182.18713763132087</c:v>
                </c:pt>
                <c:pt idx="1213">
                  <c:v>182.18713763132087</c:v>
                </c:pt>
                <c:pt idx="1214">
                  <c:v>182.18713763132087</c:v>
                </c:pt>
                <c:pt idx="1215">
                  <c:v>182.18713763132087</c:v>
                </c:pt>
                <c:pt idx="1216">
                  <c:v>184.61716969760016</c:v>
                </c:pt>
                <c:pt idx="1217">
                  <c:v>184.26445579005798</c:v>
                </c:pt>
                <c:pt idx="1218">
                  <c:v>184.92321849694284</c:v>
                </c:pt>
                <c:pt idx="1219">
                  <c:v>184.92321849694284</c:v>
                </c:pt>
                <c:pt idx="1220">
                  <c:v>183.45034583031716</c:v>
                </c:pt>
                <c:pt idx="1221">
                  <c:v>184.44356135854792</c:v>
                </c:pt>
                <c:pt idx="1222">
                  <c:v>184.03094656442209</c:v>
                </c:pt>
                <c:pt idx="1223">
                  <c:v>185.39408071102633</c:v>
                </c:pt>
                <c:pt idx="1224">
                  <c:v>185.58516409710884</c:v>
                </c:pt>
                <c:pt idx="1225">
                  <c:v>184.80311870814424</c:v>
                </c:pt>
                <c:pt idx="1226">
                  <c:v>185.64986797880664</c:v>
                </c:pt>
                <c:pt idx="1227">
                  <c:v>186.08388006935667</c:v>
                </c:pt>
                <c:pt idx="1228">
                  <c:v>186.38966751965413</c:v>
                </c:pt>
                <c:pt idx="1229">
                  <c:v>188.32364291301758</c:v>
                </c:pt>
                <c:pt idx="1230">
                  <c:v>188.12069599994098</c:v>
                </c:pt>
                <c:pt idx="1231">
                  <c:v>189.13407661877051</c:v>
                </c:pt>
                <c:pt idx="1232">
                  <c:v>188.96222196568638</c:v>
                </c:pt>
                <c:pt idx="1233">
                  <c:v>189.15400469294684</c:v>
                </c:pt>
                <c:pt idx="1234">
                  <c:v>189.34070396720546</c:v>
                </c:pt>
                <c:pt idx="1235">
                  <c:v>187.45404500954177</c:v>
                </c:pt>
                <c:pt idx="1236">
                  <c:v>183.01721824481984</c:v>
                </c:pt>
                <c:pt idx="1237">
                  <c:v>181.50562420801293</c:v>
                </c:pt>
                <c:pt idx="1238">
                  <c:v>182.62090912891406</c:v>
                </c:pt>
                <c:pt idx="1239">
                  <c:v>181.63987732851575</c:v>
                </c:pt>
                <c:pt idx="1240">
                  <c:v>182.1266297334133</c:v>
                </c:pt>
                <c:pt idx="1241">
                  <c:v>181.65240821177173</c:v>
                </c:pt>
                <c:pt idx="1242">
                  <c:v>179.20988799874709</c:v>
                </c:pt>
                <c:pt idx="1243">
                  <c:v>178.80112292940487</c:v>
                </c:pt>
                <c:pt idx="1244">
                  <c:v>179.07023505186578</c:v>
                </c:pt>
                <c:pt idx="1245">
                  <c:v>181.68587904402656</c:v>
                </c:pt>
                <c:pt idx="1246">
                  <c:v>182.99493807384937</c:v>
                </c:pt>
                <c:pt idx="1247">
                  <c:v>183.11536374287081</c:v>
                </c:pt>
                <c:pt idx="1248">
                  <c:v>185.52223815361319</c:v>
                </c:pt>
                <c:pt idx="1249">
                  <c:v>186.95548353293668</c:v>
                </c:pt>
                <c:pt idx="1250">
                  <c:v>186.69821404527391</c:v>
                </c:pt>
                <c:pt idx="1251">
                  <c:v>187.70171403673973</c:v>
                </c:pt>
                <c:pt idx="1252">
                  <c:v>188.38184966543366</c:v>
                </c:pt>
                <c:pt idx="1253">
                  <c:v>188.42841482105484</c:v>
                </c:pt>
                <c:pt idx="1254">
                  <c:v>188.75800259043248</c:v>
                </c:pt>
                <c:pt idx="1255">
                  <c:v>188.67934235671439</c:v>
                </c:pt>
                <c:pt idx="1256">
                  <c:v>189.40014455722439</c:v>
                </c:pt>
                <c:pt idx="1257">
                  <c:v>190.56590254557835</c:v>
                </c:pt>
                <c:pt idx="1258">
                  <c:v>190.60036715811606</c:v>
                </c:pt>
                <c:pt idx="1259">
                  <c:v>190.23839012623404</c:v>
                </c:pt>
                <c:pt idx="1260">
                  <c:v>189.99819506130936</c:v>
                </c:pt>
                <c:pt idx="1261">
                  <c:v>190.31735921515508</c:v>
                </c:pt>
                <c:pt idx="1262">
                  <c:v>186.05024096512554</c:v>
                </c:pt>
                <c:pt idx="1263">
                  <c:v>189.83987789197883</c:v>
                </c:pt>
                <c:pt idx="1264">
                  <c:v>189.8305332329501</c:v>
                </c:pt>
                <c:pt idx="1265">
                  <c:v>189.98728777327889</c:v>
                </c:pt>
                <c:pt idx="1266">
                  <c:v>187.59334981277956</c:v>
                </c:pt>
                <c:pt idx="1267">
                  <c:v>186.69990863370165</c:v>
                </c:pt>
                <c:pt idx="1268">
                  <c:v>186.71206469087704</c:v>
                </c:pt>
                <c:pt idx="1269">
                  <c:v>184.87271144010015</c:v>
                </c:pt>
                <c:pt idx="1270">
                  <c:v>182.90552592056466</c:v>
                </c:pt>
                <c:pt idx="1271">
                  <c:v>181.6384243370313</c:v>
                </c:pt>
                <c:pt idx="1272">
                  <c:v>183.57617594675824</c:v>
                </c:pt>
                <c:pt idx="1273">
                  <c:v>184.77020353054317</c:v>
                </c:pt>
                <c:pt idx="1274">
                  <c:v>184.62457424388487</c:v>
                </c:pt>
                <c:pt idx="1275">
                  <c:v>184.71708349173664</c:v>
                </c:pt>
                <c:pt idx="1276">
                  <c:v>184.99442389029153</c:v>
                </c:pt>
                <c:pt idx="1277">
                  <c:v>183.10752633039641</c:v>
                </c:pt>
                <c:pt idx="1278">
                  <c:v>185.47408427726285</c:v>
                </c:pt>
                <c:pt idx="1279">
                  <c:v>186.78331345389347</c:v>
                </c:pt>
                <c:pt idx="1280">
                  <c:v>187.11184256677302</c:v>
                </c:pt>
                <c:pt idx="1281">
                  <c:v>188.51474099114822</c:v>
                </c:pt>
                <c:pt idx="1282">
                  <c:v>188.77029502757233</c:v>
                </c:pt>
                <c:pt idx="1283">
                  <c:v>189.86741707100225</c:v>
                </c:pt>
                <c:pt idx="1284">
                  <c:v>190.19930131737863</c:v>
                </c:pt>
                <c:pt idx="1285">
                  <c:v>190.45128796299133</c:v>
                </c:pt>
                <c:pt idx="1286">
                  <c:v>191.60574862607288</c:v>
                </c:pt>
                <c:pt idx="1287">
                  <c:v>189.28026359047033</c:v>
                </c:pt>
                <c:pt idx="1288">
                  <c:v>188.89075208707288</c:v>
                </c:pt>
                <c:pt idx="1289">
                  <c:v>189.58285411590657</c:v>
                </c:pt>
                <c:pt idx="1290">
                  <c:v>188.62912218674478</c:v>
                </c:pt>
                <c:pt idx="1291">
                  <c:v>186.11128657798241</c:v>
                </c:pt>
                <c:pt idx="1292">
                  <c:v>187.11671776828888</c:v>
                </c:pt>
                <c:pt idx="1293">
                  <c:v>185.38962709376185</c:v>
                </c:pt>
                <c:pt idx="1294">
                  <c:v>187.71012679345765</c:v>
                </c:pt>
                <c:pt idx="1295">
                  <c:v>188.58634702322058</c:v>
                </c:pt>
                <c:pt idx="1296">
                  <c:v>188.58634702322058</c:v>
                </c:pt>
                <c:pt idx="1297">
                  <c:v>188.58634702322058</c:v>
                </c:pt>
                <c:pt idx="1298">
                  <c:v>191.14564245888371</c:v>
                </c:pt>
                <c:pt idx="1299">
                  <c:v>190.17178525747241</c:v>
                </c:pt>
                <c:pt idx="1300">
                  <c:v>190.86386347939592</c:v>
                </c:pt>
                <c:pt idx="1301">
                  <c:v>189.46574076628374</c:v>
                </c:pt>
                <c:pt idx="1302">
                  <c:v>189.91889733370553</c:v>
                </c:pt>
                <c:pt idx="1303">
                  <c:v>192.22863248767948</c:v>
                </c:pt>
                <c:pt idx="1304">
                  <c:v>192.32089846021103</c:v>
                </c:pt>
                <c:pt idx="1305">
                  <c:v>192.32089846021103</c:v>
                </c:pt>
                <c:pt idx="1306">
                  <c:v>192.27217774661486</c:v>
                </c:pt>
                <c:pt idx="1307">
                  <c:v>191.92645358296625</c:v>
                </c:pt>
                <c:pt idx="1308">
                  <c:v>191.40958480759832</c:v>
                </c:pt>
                <c:pt idx="1309">
                  <c:v>191.62123059860141</c:v>
                </c:pt>
                <c:pt idx="1310">
                  <c:v>193.70652907907615</c:v>
                </c:pt>
                <c:pt idx="1311">
                  <c:v>193.19637070732645</c:v>
                </c:pt>
                <c:pt idx="1312">
                  <c:v>194.66132434533614</c:v>
                </c:pt>
                <c:pt idx="1313">
                  <c:v>195.27483578346789</c:v>
                </c:pt>
                <c:pt idx="1314">
                  <c:v>195.36712666002319</c:v>
                </c:pt>
                <c:pt idx="1315">
                  <c:v>193.85688947293258</c:v>
                </c:pt>
                <c:pt idx="1316">
                  <c:v>194.39622718402683</c:v>
                </c:pt>
                <c:pt idx="1317">
                  <c:v>194.18590934355802</c:v>
                </c:pt>
                <c:pt idx="1318">
                  <c:v>193.99961106007774</c:v>
                </c:pt>
                <c:pt idx="1319">
                  <c:v>195.13613455485935</c:v>
                </c:pt>
                <c:pt idx="1320">
                  <c:v>195.42618907848188</c:v>
                </c:pt>
                <c:pt idx="1321">
                  <c:v>195.83638924234853</c:v>
                </c:pt>
                <c:pt idx="1322">
                  <c:v>196.93617157722548</c:v>
                </c:pt>
                <c:pt idx="1323">
                  <c:v>197.31998585055453</c:v>
                </c:pt>
                <c:pt idx="1324">
                  <c:v>197.18506593345444</c:v>
                </c:pt>
                <c:pt idx="1325">
                  <c:v>197.18506593345444</c:v>
                </c:pt>
                <c:pt idx="1326">
                  <c:v>197.16961810527587</c:v>
                </c:pt>
                <c:pt idx="1327">
                  <c:v>197.67936955600936</c:v>
                </c:pt>
                <c:pt idx="1328">
                  <c:v>196.84095137365659</c:v>
                </c:pt>
                <c:pt idx="1329">
                  <c:v>196.88568881598627</c:v>
                </c:pt>
                <c:pt idx="1330">
                  <c:v>197.64305334822143</c:v>
                </c:pt>
                <c:pt idx="1331">
                  <c:v>198.88294267701897</c:v>
                </c:pt>
                <c:pt idx="1332">
                  <c:v>198.88294267701897</c:v>
                </c:pt>
                <c:pt idx="1333">
                  <c:v>200.30074219145243</c:v>
                </c:pt>
                <c:pt idx="1334">
                  <c:v>199.33170304164653</c:v>
                </c:pt>
                <c:pt idx="1335">
                  <c:v>199.39934899631211</c:v>
                </c:pt>
                <c:pt idx="1336">
                  <c:v>199.10037903298695</c:v>
                </c:pt>
                <c:pt idx="1337">
                  <c:v>198.26073046121937</c:v>
                </c:pt>
                <c:pt idx="1338">
                  <c:v>198.84746841046586</c:v>
                </c:pt>
                <c:pt idx="1339">
                  <c:v>198.70628171937631</c:v>
                </c:pt>
                <c:pt idx="1340">
                  <c:v>199.83814028753949</c:v>
                </c:pt>
                <c:pt idx="1341">
                  <c:v>199.8231083289447</c:v>
                </c:pt>
                <c:pt idx="1342">
                  <c:v>199.8231083289447</c:v>
                </c:pt>
                <c:pt idx="1343">
                  <c:v>198.51980055471446</c:v>
                </c:pt>
                <c:pt idx="1344">
                  <c:v>196.44163761278671</c:v>
                </c:pt>
                <c:pt idx="1345">
                  <c:v>196.30566969201092</c:v>
                </c:pt>
                <c:pt idx="1346">
                  <c:v>196.38360018119491</c:v>
                </c:pt>
                <c:pt idx="1347">
                  <c:v>196.30507107852412</c:v>
                </c:pt>
                <c:pt idx="1348">
                  <c:v>198.04162222861231</c:v>
                </c:pt>
                <c:pt idx="1349">
                  <c:v>198.47995355353197</c:v>
                </c:pt>
                <c:pt idx="1350">
                  <c:v>200.32322451500332</c:v>
                </c:pt>
                <c:pt idx="1351">
                  <c:v>199.77806341386724</c:v>
                </c:pt>
                <c:pt idx="1352">
                  <c:v>198.01303847318147</c:v>
                </c:pt>
                <c:pt idx="1353">
                  <c:v>195.33104636443187</c:v>
                </c:pt>
                <c:pt idx="1354">
                  <c:v>195.37066760254328</c:v>
                </c:pt>
                <c:pt idx="1355">
                  <c:v>193.35592562143418</c:v>
                </c:pt>
                <c:pt idx="1356">
                  <c:v>193.66307357320281</c:v>
                </c:pt>
                <c:pt idx="1357">
                  <c:v>195.30619598756456</c:v>
                </c:pt>
                <c:pt idx="1358">
                  <c:v>194.62071094529682</c:v>
                </c:pt>
                <c:pt idx="1359">
                  <c:v>197.24830855507696</c:v>
                </c:pt>
                <c:pt idx="1360">
                  <c:v>195.36117041056232</c:v>
                </c:pt>
                <c:pt idx="1361">
                  <c:v>195.35070382025683</c:v>
                </c:pt>
                <c:pt idx="1362">
                  <c:v>194.3586880898954</c:v>
                </c:pt>
                <c:pt idx="1363">
                  <c:v>196.9118777762456</c:v>
                </c:pt>
                <c:pt idx="1364">
                  <c:v>197.15763796230371</c:v>
                </c:pt>
                <c:pt idx="1365">
                  <c:v>197.96262507092098</c:v>
                </c:pt>
                <c:pt idx="1366">
                  <c:v>196.59674172896905</c:v>
                </c:pt>
                <c:pt idx="1367">
                  <c:v>196.24816388927536</c:v>
                </c:pt>
                <c:pt idx="1368">
                  <c:v>196.78766870280592</c:v>
                </c:pt>
                <c:pt idx="1369">
                  <c:v>195.732330791111</c:v>
                </c:pt>
                <c:pt idx="1370">
                  <c:v>193.28199153239362</c:v>
                </c:pt>
                <c:pt idx="1371">
                  <c:v>190.92817697448004</c:v>
                </c:pt>
                <c:pt idx="1372">
                  <c:v>190.50207996555838</c:v>
                </c:pt>
                <c:pt idx="1373">
                  <c:v>191.11335410672251</c:v>
                </c:pt>
                <c:pt idx="1374">
                  <c:v>189.65585985168676</c:v>
                </c:pt>
                <c:pt idx="1375">
                  <c:v>188.35184293415165</c:v>
                </c:pt>
                <c:pt idx="1376">
                  <c:v>187.18088440045591</c:v>
                </c:pt>
                <c:pt idx="1377">
                  <c:v>189.65676412416784</c:v>
                </c:pt>
                <c:pt idx="1378">
                  <c:v>189.25991742019102</c:v>
                </c:pt>
                <c:pt idx="1379">
                  <c:v>190.17603043323962</c:v>
                </c:pt>
                <c:pt idx="1380">
                  <c:v>190.72193053716566</c:v>
                </c:pt>
                <c:pt idx="1381">
                  <c:v>190.72193053716566</c:v>
                </c:pt>
                <c:pt idx="1382">
                  <c:v>192.20809525031851</c:v>
                </c:pt>
                <c:pt idx="1383">
                  <c:v>193.27718979339738</c:v>
                </c:pt>
                <c:pt idx="1384">
                  <c:v>193.28873192223011</c:v>
                </c:pt>
                <c:pt idx="1385">
                  <c:v>194.51190502815251</c:v>
                </c:pt>
                <c:pt idx="1386">
                  <c:v>194.03289483849375</c:v>
                </c:pt>
                <c:pt idx="1387">
                  <c:v>196.17978904729631</c:v>
                </c:pt>
                <c:pt idx="1388">
                  <c:v>197.60619904061238</c:v>
                </c:pt>
                <c:pt idx="1389">
                  <c:v>197.82133916699988</c:v>
                </c:pt>
                <c:pt idx="1390">
                  <c:v>196.57026827831257</c:v>
                </c:pt>
                <c:pt idx="1391">
                  <c:v>197.15809890976317</c:v>
                </c:pt>
                <c:pt idx="1392">
                  <c:v>197.6086914971377</c:v>
                </c:pt>
                <c:pt idx="1393">
                  <c:v>197.56380514052847</c:v>
                </c:pt>
                <c:pt idx="1394">
                  <c:v>198.88519700424268</c:v>
                </c:pt>
                <c:pt idx="1395">
                  <c:v>201.14445640899237</c:v>
                </c:pt>
                <c:pt idx="1396">
                  <c:v>200.36690175044026</c:v>
                </c:pt>
                <c:pt idx="1397">
                  <c:v>199.55972274708992</c:v>
                </c:pt>
                <c:pt idx="1398">
                  <c:v>198.82719351709224</c:v>
                </c:pt>
                <c:pt idx="1399">
                  <c:v>198.80525842559109</c:v>
                </c:pt>
                <c:pt idx="1400">
                  <c:v>198.54881699315789</c:v>
                </c:pt>
                <c:pt idx="1401">
                  <c:v>198.49241849022107</c:v>
                </c:pt>
                <c:pt idx="1402">
                  <c:v>198.33686676074112</c:v>
                </c:pt>
                <c:pt idx="1403">
                  <c:v>197.78818939623415</c:v>
                </c:pt>
                <c:pt idx="1404">
                  <c:v>198.63729271690084</c:v>
                </c:pt>
                <c:pt idx="1405">
                  <c:v>200.60239094161756</c:v>
                </c:pt>
                <c:pt idx="1406">
                  <c:v>200.99806162843436</c:v>
                </c:pt>
                <c:pt idx="1407">
                  <c:v>199.9674801279553</c:v>
                </c:pt>
                <c:pt idx="1408">
                  <c:v>197.24459041900496</c:v>
                </c:pt>
                <c:pt idx="1409">
                  <c:v>198.69000734880268</c:v>
                </c:pt>
                <c:pt idx="1410">
                  <c:v>196.95183009907143</c:v>
                </c:pt>
                <c:pt idx="1411">
                  <c:v>197.47008707623752</c:v>
                </c:pt>
                <c:pt idx="1412">
                  <c:v>196.7260156370194</c:v>
                </c:pt>
                <c:pt idx="1413">
                  <c:v>197.85963485889414</c:v>
                </c:pt>
                <c:pt idx="1414">
                  <c:v>196.21747108227802</c:v>
                </c:pt>
                <c:pt idx="1415">
                  <c:v>191.48050081468259</c:v>
                </c:pt>
                <c:pt idx="1416">
                  <c:v>193.25766679282665</c:v>
                </c:pt>
                <c:pt idx="1417">
                  <c:v>193.7126444733448</c:v>
                </c:pt>
                <c:pt idx="1418">
                  <c:v>190.83245398051088</c:v>
                </c:pt>
                <c:pt idx="1419">
                  <c:v>189.26655772461081</c:v>
                </c:pt>
                <c:pt idx="1420">
                  <c:v>188.52947620875423</c:v>
                </c:pt>
                <c:pt idx="1421">
                  <c:v>185.5518976018484</c:v>
                </c:pt>
                <c:pt idx="1422">
                  <c:v>185.60033686219873</c:v>
                </c:pt>
                <c:pt idx="1423">
                  <c:v>185.54552474444921</c:v>
                </c:pt>
                <c:pt idx="1424">
                  <c:v>179.66307630085745</c:v>
                </c:pt>
                <c:pt idx="1425">
                  <c:v>178.86161399993907</c:v>
                </c:pt>
                <c:pt idx="1426">
                  <c:v>183.81794240869615</c:v>
                </c:pt>
                <c:pt idx="1427">
                  <c:v>182.8129449199443</c:v>
                </c:pt>
                <c:pt idx="1428">
                  <c:v>186.6325261099347</c:v>
                </c:pt>
                <c:pt idx="1429">
                  <c:v>187.95347055701183</c:v>
                </c:pt>
                <c:pt idx="1430">
                  <c:v>189.3073078986547</c:v>
                </c:pt>
                <c:pt idx="1431">
                  <c:v>188.67783714279389</c:v>
                </c:pt>
                <c:pt idx="1432">
                  <c:v>187.51668121856932</c:v>
                </c:pt>
                <c:pt idx="1433">
                  <c:v>189.27862745186138</c:v>
                </c:pt>
                <c:pt idx="1434">
                  <c:v>189.66382003352956</c:v>
                </c:pt>
                <c:pt idx="1435">
                  <c:v>190.76381193048417</c:v>
                </c:pt>
                <c:pt idx="1436">
                  <c:v>194.23462501408994</c:v>
                </c:pt>
                <c:pt idx="1437">
                  <c:v>192.66782881188013</c:v>
                </c:pt>
                <c:pt idx="1438">
                  <c:v>190.63876209560306</c:v>
                </c:pt>
                <c:pt idx="1439">
                  <c:v>193.8302496893545</c:v>
                </c:pt>
                <c:pt idx="1440">
                  <c:v>194.40994727331983</c:v>
                </c:pt>
                <c:pt idx="1441">
                  <c:v>193.4610604253981</c:v>
                </c:pt>
                <c:pt idx="1442">
                  <c:v>194.83572160264742</c:v>
                </c:pt>
                <c:pt idx="1443">
                  <c:v>195.55380172746933</c:v>
                </c:pt>
                <c:pt idx="1444">
                  <c:v>193.35948430973323</c:v>
                </c:pt>
                <c:pt idx="1445">
                  <c:v>193.84059173780349</c:v>
                </c:pt>
                <c:pt idx="1446">
                  <c:v>193.70571226937872</c:v>
                </c:pt>
                <c:pt idx="1447">
                  <c:v>194.63932592298536</c:v>
                </c:pt>
                <c:pt idx="1448">
                  <c:v>195.81321560565951</c:v>
                </c:pt>
                <c:pt idx="1449">
                  <c:v>195.78101636565296</c:v>
                </c:pt>
                <c:pt idx="1450">
                  <c:v>195.33835473173519</c:v>
                </c:pt>
                <c:pt idx="1451">
                  <c:v>199.4023774634899</c:v>
                </c:pt>
                <c:pt idx="1452">
                  <c:v>199.64239749165861</c:v>
                </c:pt>
                <c:pt idx="1453">
                  <c:v>199.95814783499711</c:v>
                </c:pt>
                <c:pt idx="1454">
                  <c:v>199.97755983086586</c:v>
                </c:pt>
                <c:pt idx="1455">
                  <c:v>200.55359957299447</c:v>
                </c:pt>
                <c:pt idx="1456">
                  <c:v>200.39726447698663</c:v>
                </c:pt>
                <c:pt idx="1457">
                  <c:v>199.46445088648483</c:v>
                </c:pt>
                <c:pt idx="1458">
                  <c:v>200.53343560503012</c:v>
                </c:pt>
                <c:pt idx="1459">
                  <c:v>201.60274887377935</c:v>
                </c:pt>
                <c:pt idx="1460">
                  <c:v>198.94351170106262</c:v>
                </c:pt>
                <c:pt idx="1461">
                  <c:v>202.44807489537848</c:v>
                </c:pt>
                <c:pt idx="1462">
                  <c:v>200.99912792305625</c:v>
                </c:pt>
                <c:pt idx="1463">
                  <c:v>196.39485385183417</c:v>
                </c:pt>
                <c:pt idx="1464">
                  <c:v>195.63674413043665</c:v>
                </c:pt>
                <c:pt idx="1465">
                  <c:v>195.70299707960586</c:v>
                </c:pt>
                <c:pt idx="1466">
                  <c:v>190.54770092163665</c:v>
                </c:pt>
                <c:pt idx="1467">
                  <c:v>186.32047505872259</c:v>
                </c:pt>
                <c:pt idx="1468">
                  <c:v>189.6527936458111</c:v>
                </c:pt>
                <c:pt idx="1469">
                  <c:v>189.93323114245618</c:v>
                </c:pt>
                <c:pt idx="1470">
                  <c:v>195.51321513926842</c:v>
                </c:pt>
                <c:pt idx="1471">
                  <c:v>196.28771922296434</c:v>
                </c:pt>
                <c:pt idx="1472">
                  <c:v>197.27493331213478</c:v>
                </c:pt>
                <c:pt idx="1473">
                  <c:v>198.50476416864996</c:v>
                </c:pt>
                <c:pt idx="1474">
                  <c:v>198.50476416864996</c:v>
                </c:pt>
                <c:pt idx="1475">
                  <c:v>198.50476416864996</c:v>
                </c:pt>
                <c:pt idx="1476">
                  <c:v>198.50476416864996</c:v>
                </c:pt>
                <c:pt idx="1477">
                  <c:v>198.69695953589738</c:v>
                </c:pt>
                <c:pt idx="1478">
                  <c:v>196.72482256671151</c:v>
                </c:pt>
                <c:pt idx="1479">
                  <c:v>197.57110876002741</c:v>
                </c:pt>
                <c:pt idx="1480">
                  <c:v>197.57110876002741</c:v>
                </c:pt>
                <c:pt idx="1481">
                  <c:v>196.83459826643323</c:v>
                </c:pt>
                <c:pt idx="1482">
                  <c:v>192.44601084860483</c:v>
                </c:pt>
                <c:pt idx="1483">
                  <c:v>191.14040978905129</c:v>
                </c:pt>
                <c:pt idx="1484">
                  <c:v>192.08344165813136</c:v>
                </c:pt>
                <c:pt idx="1485">
                  <c:v>197.45487851367548</c:v>
                </c:pt>
                <c:pt idx="1486">
                  <c:v>194.78828356256517</c:v>
                </c:pt>
                <c:pt idx="1487">
                  <c:v>195.8999067407745</c:v>
                </c:pt>
                <c:pt idx="1488">
                  <c:v>198.67682019142143</c:v>
                </c:pt>
                <c:pt idx="1489">
                  <c:v>195.66366915689198</c:v>
                </c:pt>
                <c:pt idx="1490">
                  <c:v>200.94747251620348</c:v>
                </c:pt>
                <c:pt idx="1491">
                  <c:v>203.31139637605</c:v>
                </c:pt>
                <c:pt idx="1492">
                  <c:v>203.69602116628357</c:v>
                </c:pt>
                <c:pt idx="1493">
                  <c:v>205.32097544200761</c:v>
                </c:pt>
                <c:pt idx="1494">
                  <c:v>206.66027101730168</c:v>
                </c:pt>
                <c:pt idx="1495">
                  <c:v>210.13024514907039</c:v>
                </c:pt>
                <c:pt idx="1496">
                  <c:v>213.8568214473211</c:v>
                </c:pt>
                <c:pt idx="1497">
                  <c:v>215.04460352324801</c:v>
                </c:pt>
                <c:pt idx="1498">
                  <c:v>212.92363307161301</c:v>
                </c:pt>
                <c:pt idx="1499">
                  <c:v>213.17532328288115</c:v>
                </c:pt>
                <c:pt idx="1500">
                  <c:v>212.90135613647254</c:v>
                </c:pt>
                <c:pt idx="1501">
                  <c:v>211.85023805715338</c:v>
                </c:pt>
                <c:pt idx="1502">
                  <c:v>212.09856469922133</c:v>
                </c:pt>
                <c:pt idx="1503">
                  <c:v>213.85263927182351</c:v>
                </c:pt>
                <c:pt idx="1504">
                  <c:v>214.86550571692803</c:v>
                </c:pt>
                <c:pt idx="1505">
                  <c:v>215.1212130809559</c:v>
                </c:pt>
                <c:pt idx="1506">
                  <c:v>215.59008404183436</c:v>
                </c:pt>
                <c:pt idx="1507">
                  <c:v>214.08285300655416</c:v>
                </c:pt>
                <c:pt idx="1508">
                  <c:v>215.33061324523749</c:v>
                </c:pt>
                <c:pt idx="1509">
                  <c:v>214.79030644000986</c:v>
                </c:pt>
                <c:pt idx="1510">
                  <c:v>216.37467281462918</c:v>
                </c:pt>
                <c:pt idx="1511">
                  <c:v>217.72719371290762</c:v>
                </c:pt>
                <c:pt idx="1512">
                  <c:v>217.43768240738697</c:v>
                </c:pt>
                <c:pt idx="1513">
                  <c:v>217.77260378164999</c:v>
                </c:pt>
                <c:pt idx="1514">
                  <c:v>219.63935478201648</c:v>
                </c:pt>
                <c:pt idx="1515">
                  <c:v>220.26029272230835</c:v>
                </c:pt>
                <c:pt idx="1516">
                  <c:v>220.76440985683217</c:v>
                </c:pt>
                <c:pt idx="1517">
                  <c:v>222.34105913672471</c:v>
                </c:pt>
                <c:pt idx="1518">
                  <c:v>223.59102546015751</c:v>
                </c:pt>
                <c:pt idx="1519">
                  <c:v>223.31397963960023</c:v>
                </c:pt>
                <c:pt idx="1520">
                  <c:v>225.60226864220931</c:v>
                </c:pt>
                <c:pt idx="1521">
                  <c:v>226.51610845546463</c:v>
                </c:pt>
                <c:pt idx="1522">
                  <c:v>225.9725705104394</c:v>
                </c:pt>
                <c:pt idx="1523">
                  <c:v>223.98384580009534</c:v>
                </c:pt>
                <c:pt idx="1524">
                  <c:v>225.72375782549886</c:v>
                </c:pt>
                <c:pt idx="1525">
                  <c:v>227.70233188283959</c:v>
                </c:pt>
                <c:pt idx="1526">
                  <c:v>227.89440820185175</c:v>
                </c:pt>
                <c:pt idx="1527">
                  <c:v>227.35467161475464</c:v>
                </c:pt>
                <c:pt idx="1528">
                  <c:v>225.20226493617898</c:v>
                </c:pt>
                <c:pt idx="1529">
                  <c:v>228.59770064839063</c:v>
                </c:pt>
                <c:pt idx="1530">
                  <c:v>228.5908839224457</c:v>
                </c:pt>
                <c:pt idx="1531">
                  <c:v>229.25302333368595</c:v>
                </c:pt>
                <c:pt idx="1532">
                  <c:v>231.39516692237453</c:v>
                </c:pt>
                <c:pt idx="1533">
                  <c:v>229.84238735563198</c:v>
                </c:pt>
                <c:pt idx="1534">
                  <c:v>230.65451889517487</c:v>
                </c:pt>
                <c:pt idx="1535">
                  <c:v>232.0276755714585</c:v>
                </c:pt>
                <c:pt idx="1536">
                  <c:v>234.02910302822661</c:v>
                </c:pt>
                <c:pt idx="1537">
                  <c:v>232.49806784879664</c:v>
                </c:pt>
                <c:pt idx="1538">
                  <c:v>233.13942133111993</c:v>
                </c:pt>
                <c:pt idx="1539">
                  <c:v>230.54023023727419</c:v>
                </c:pt>
                <c:pt idx="1540">
                  <c:v>228.71647346588065</c:v>
                </c:pt>
                <c:pt idx="1541">
                  <c:v>229.32960553205416</c:v>
                </c:pt>
                <c:pt idx="1542">
                  <c:v>231.85292752643753</c:v>
                </c:pt>
                <c:pt idx="1543">
                  <c:v>230.28137151392011</c:v>
                </c:pt>
                <c:pt idx="1544">
                  <c:v>231.039654936348</c:v>
                </c:pt>
                <c:pt idx="1545">
                  <c:v>230.66409470304734</c:v>
                </c:pt>
                <c:pt idx="1546">
                  <c:v>230.66409470304734</c:v>
                </c:pt>
                <c:pt idx="1547">
                  <c:v>230.66409470304734</c:v>
                </c:pt>
                <c:pt idx="1548">
                  <c:v>234.60331536465392</c:v>
                </c:pt>
                <c:pt idx="1549">
                  <c:v>234.55351636108776</c:v>
                </c:pt>
                <c:pt idx="1550">
                  <c:v>237.16027886003829</c:v>
                </c:pt>
                <c:pt idx="1551">
                  <c:v>239.38633044261474</c:v>
                </c:pt>
                <c:pt idx="1552">
                  <c:v>239.77761921632404</c:v>
                </c:pt>
                <c:pt idx="1553">
                  <c:v>238.75021032695111</c:v>
                </c:pt>
                <c:pt idx="1554">
                  <c:v>240.24485544671958</c:v>
                </c:pt>
                <c:pt idx="1555">
                  <c:v>238.5473971149236</c:v>
                </c:pt>
                <c:pt idx="1556">
                  <c:v>234.39702882281074</c:v>
                </c:pt>
                <c:pt idx="1557">
                  <c:v>236.39880304039224</c:v>
                </c:pt>
                <c:pt idx="1558">
                  <c:v>237.65865622044555</c:v>
                </c:pt>
                <c:pt idx="1559">
                  <c:v>237.59815027611114</c:v>
                </c:pt>
                <c:pt idx="1560">
                  <c:v>236.72452120950928</c:v>
                </c:pt>
                <c:pt idx="1561">
                  <c:v>237.45677350144371</c:v>
                </c:pt>
                <c:pt idx="1562">
                  <c:v>239.83610143011705</c:v>
                </c:pt>
                <c:pt idx="1563">
                  <c:v>236.24818902546741</c:v>
                </c:pt>
                <c:pt idx="1564">
                  <c:v>231.05165284460276</c:v>
                </c:pt>
                <c:pt idx="1565">
                  <c:v>230.29714834573568</c:v>
                </c:pt>
                <c:pt idx="1566">
                  <c:v>230.29714834573568</c:v>
                </c:pt>
                <c:pt idx="1567">
                  <c:v>231.01312311273125</c:v>
                </c:pt>
                <c:pt idx="1568">
                  <c:v>227.80670863697918</c:v>
                </c:pt>
                <c:pt idx="1569">
                  <c:v>226.51319426592204</c:v>
                </c:pt>
                <c:pt idx="1570">
                  <c:v>226.64766648330655</c:v>
                </c:pt>
                <c:pt idx="1571">
                  <c:v>233.13772153902065</c:v>
                </c:pt>
                <c:pt idx="1572">
                  <c:v>234.01963950781987</c:v>
                </c:pt>
                <c:pt idx="1573">
                  <c:v>231.03807684379836</c:v>
                </c:pt>
                <c:pt idx="1574">
                  <c:v>230.59891653544719</c:v>
                </c:pt>
                <c:pt idx="1575">
                  <c:v>230.59891653544719</c:v>
                </c:pt>
                <c:pt idx="1576">
                  <c:v>231.15765070197477</c:v>
                </c:pt>
                <c:pt idx="1577">
                  <c:v>232.2780662490473</c:v>
                </c:pt>
                <c:pt idx="1578">
                  <c:v>236.10978360732267</c:v>
                </c:pt>
                <c:pt idx="1579">
                  <c:v>237.15932378647261</c:v>
                </c:pt>
                <c:pt idx="1580">
                  <c:v>238.15054561944189</c:v>
                </c:pt>
                <c:pt idx="1581">
                  <c:v>238.13280501719612</c:v>
                </c:pt>
                <c:pt idx="1582">
                  <c:v>238.13280501719612</c:v>
                </c:pt>
                <c:pt idx="1583">
                  <c:v>235.6491733033053</c:v>
                </c:pt>
                <c:pt idx="1584">
                  <c:v>238.78422201472995</c:v>
                </c:pt>
                <c:pt idx="1585">
                  <c:v>237.66625318776607</c:v>
                </c:pt>
                <c:pt idx="1586">
                  <c:v>233.56651852656523</c:v>
                </c:pt>
                <c:pt idx="1587">
                  <c:v>233.88656398657383</c:v>
                </c:pt>
                <c:pt idx="1588">
                  <c:v>231.50517989233114</c:v>
                </c:pt>
                <c:pt idx="1589">
                  <c:v>231.21538141924108</c:v>
                </c:pt>
                <c:pt idx="1590">
                  <c:v>229.33079322140753</c:v>
                </c:pt>
                <c:pt idx="1591">
                  <c:v>227.26836684446818</c:v>
                </c:pt>
                <c:pt idx="1592">
                  <c:v>225.2042762301825</c:v>
                </c:pt>
                <c:pt idx="1593">
                  <c:v>224.27381006502998</c:v>
                </c:pt>
                <c:pt idx="1594">
                  <c:v>228.38183637498383</c:v>
                </c:pt>
                <c:pt idx="1595">
                  <c:v>229.70937605920736</c:v>
                </c:pt>
                <c:pt idx="1596">
                  <c:v>227.58270369851596</c:v>
                </c:pt>
                <c:pt idx="1597">
                  <c:v>223.91225409788703</c:v>
                </c:pt>
                <c:pt idx="1598">
                  <c:v>225.33720412599499</c:v>
                </c:pt>
                <c:pt idx="1599">
                  <c:v>224.32834020192911</c:v>
                </c:pt>
                <c:pt idx="1600">
                  <c:v>224.67345927743793</c:v>
                </c:pt>
                <c:pt idx="1601">
                  <c:v>225.44122010061457</c:v>
                </c:pt>
                <c:pt idx="1602">
                  <c:v>230.61142967954638</c:v>
                </c:pt>
                <c:pt idx="1603">
                  <c:v>230.61142967954638</c:v>
                </c:pt>
                <c:pt idx="1604">
                  <c:v>232.41736294040248</c:v>
                </c:pt>
                <c:pt idx="1605">
                  <c:v>231.78319338132223</c:v>
                </c:pt>
                <c:pt idx="1606">
                  <c:v>232.05147064741172</c:v>
                </c:pt>
                <c:pt idx="1607">
                  <c:v>225.77719741099696</c:v>
                </c:pt>
                <c:pt idx="1608">
                  <c:v>222.76342995290364</c:v>
                </c:pt>
                <c:pt idx="1609">
                  <c:v>226.09243757787979</c:v>
                </c:pt>
                <c:pt idx="1610">
                  <c:v>225.2462242362831</c:v>
                </c:pt>
                <c:pt idx="1611">
                  <c:v>224.05145562045851</c:v>
                </c:pt>
                <c:pt idx="1612">
                  <c:v>221.26951565439717</c:v>
                </c:pt>
                <c:pt idx="1613">
                  <c:v>217.7684239433234</c:v>
                </c:pt>
                <c:pt idx="1614">
                  <c:v>218.03891124414599</c:v>
                </c:pt>
                <c:pt idx="1615">
                  <c:v>222.83113201472386</c:v>
                </c:pt>
                <c:pt idx="1616">
                  <c:v>227.36915867629256</c:v>
                </c:pt>
                <c:pt idx="1617">
                  <c:v>231.78077756168841</c:v>
                </c:pt>
                <c:pt idx="1618">
                  <c:v>232.9464379032471</c:v>
                </c:pt>
                <c:pt idx="1619">
                  <c:v>233.86603459483956</c:v>
                </c:pt>
                <c:pt idx="1620">
                  <c:v>237.0545801842355</c:v>
                </c:pt>
                <c:pt idx="1621">
                  <c:v>237.12524848015951</c:v>
                </c:pt>
                <c:pt idx="1622">
                  <c:v>237.77436435659868</c:v>
                </c:pt>
                <c:pt idx="1623">
                  <c:v>235.3849614431692</c:v>
                </c:pt>
                <c:pt idx="1624">
                  <c:v>233.89353001483627</c:v>
                </c:pt>
                <c:pt idx="1625">
                  <c:v>232.66450786806635</c:v>
                </c:pt>
                <c:pt idx="1626">
                  <c:v>230.57969885985358</c:v>
                </c:pt>
                <c:pt idx="1627">
                  <c:v>225.53262089995437</c:v>
                </c:pt>
                <c:pt idx="1628">
                  <c:v>227.89507173368713</c:v>
                </c:pt>
                <c:pt idx="1629">
                  <c:v>230.21927355999784</c:v>
                </c:pt>
                <c:pt idx="1630">
                  <c:v>231.65441455584204</c:v>
                </c:pt>
                <c:pt idx="1631">
                  <c:v>231.66535675566814</c:v>
                </c:pt>
                <c:pt idx="1632">
                  <c:v>233.48950284817383</c:v>
                </c:pt>
                <c:pt idx="1633">
                  <c:v>233.05239153421576</c:v>
                </c:pt>
                <c:pt idx="1634">
                  <c:v>236.17084885645454</c:v>
                </c:pt>
                <c:pt idx="1635">
                  <c:v>234.43768849059143</c:v>
                </c:pt>
                <c:pt idx="1636">
                  <c:v>232.410988634663</c:v>
                </c:pt>
                <c:pt idx="1637">
                  <c:v>233.99610991851287</c:v>
                </c:pt>
                <c:pt idx="1638">
                  <c:v>230.23532621535944</c:v>
                </c:pt>
                <c:pt idx="1639">
                  <c:v>224.02992310077451</c:v>
                </c:pt>
                <c:pt idx="1640">
                  <c:v>226.42776051217325</c:v>
                </c:pt>
                <c:pt idx="1641">
                  <c:v>226.05639873409427</c:v>
                </c:pt>
                <c:pt idx="1642">
                  <c:v>226.63649168484835</c:v>
                </c:pt>
                <c:pt idx="1643">
                  <c:v>227.03660888659175</c:v>
                </c:pt>
                <c:pt idx="1644">
                  <c:v>222.96121899638504</c:v>
                </c:pt>
                <c:pt idx="1645">
                  <c:v>218.5274121342772</c:v>
                </c:pt>
                <c:pt idx="1646">
                  <c:v>211.39295694643653</c:v>
                </c:pt>
                <c:pt idx="1647">
                  <c:v>200.04795338151879</c:v>
                </c:pt>
                <c:pt idx="1648">
                  <c:v>208.36875020991275</c:v>
                </c:pt>
                <c:pt idx="1649">
                  <c:v>204.60064452816403</c:v>
                </c:pt>
                <c:pt idx="1650">
                  <c:v>211.81580190770813</c:v>
                </c:pt>
                <c:pt idx="1651">
                  <c:v>212.469084521311</c:v>
                </c:pt>
                <c:pt idx="1652">
                  <c:v>212.16338837119912</c:v>
                </c:pt>
                <c:pt idx="1653">
                  <c:v>206.25635649718794</c:v>
                </c:pt>
                <c:pt idx="1654">
                  <c:v>206.76252933471466</c:v>
                </c:pt>
                <c:pt idx="1655">
                  <c:v>211.67236583015475</c:v>
                </c:pt>
                <c:pt idx="1656">
                  <c:v>206.24040875400502</c:v>
                </c:pt>
                <c:pt idx="1657">
                  <c:v>207.22968384710319</c:v>
                </c:pt>
                <c:pt idx="1658">
                  <c:v>209.68455073586497</c:v>
                </c:pt>
                <c:pt idx="1659">
                  <c:v>212.51227710200959</c:v>
                </c:pt>
                <c:pt idx="1660">
                  <c:v>209.89529666790526</c:v>
                </c:pt>
                <c:pt idx="1661">
                  <c:v>207.76829762464223</c:v>
                </c:pt>
                <c:pt idx="1662">
                  <c:v>206.52376182829903</c:v>
                </c:pt>
                <c:pt idx="1663">
                  <c:v>208.23171567940358</c:v>
                </c:pt>
                <c:pt idx="1664">
                  <c:v>211.50318295255474</c:v>
                </c:pt>
                <c:pt idx="1665">
                  <c:v>211.07082328385584</c:v>
                </c:pt>
                <c:pt idx="1666">
                  <c:v>207.15087789185307</c:v>
                </c:pt>
                <c:pt idx="1667">
                  <c:v>208.91936665038918</c:v>
                </c:pt>
                <c:pt idx="1668">
                  <c:v>202.30768323457986</c:v>
                </c:pt>
                <c:pt idx="1669">
                  <c:v>202.47761950501183</c:v>
                </c:pt>
                <c:pt idx="1670">
                  <c:v>198.12847833138832</c:v>
                </c:pt>
                <c:pt idx="1671">
                  <c:v>203.80229096658815</c:v>
                </c:pt>
                <c:pt idx="1672">
                  <c:v>199.20100534421786</c:v>
                </c:pt>
                <c:pt idx="1673">
                  <c:v>197.9542636140043</c:v>
                </c:pt>
                <c:pt idx="1674">
                  <c:v>203.02941240440205</c:v>
                </c:pt>
                <c:pt idx="1675">
                  <c:v>202.13431991992223</c:v>
                </c:pt>
                <c:pt idx="1676">
                  <c:v>203.13171942246058</c:v>
                </c:pt>
                <c:pt idx="1677">
                  <c:v>209.40843321783444</c:v>
                </c:pt>
                <c:pt idx="1678">
                  <c:v>210.74383005890999</c:v>
                </c:pt>
                <c:pt idx="1679">
                  <c:v>211.2854745550849</c:v>
                </c:pt>
                <c:pt idx="1680">
                  <c:v>211.7308666715401</c:v>
                </c:pt>
                <c:pt idx="1681">
                  <c:v>212.58113404737483</c:v>
                </c:pt>
                <c:pt idx="1682">
                  <c:v>211.99168385509731</c:v>
                </c:pt>
                <c:pt idx="1683">
                  <c:v>210.0286668141365</c:v>
                </c:pt>
                <c:pt idx="1684">
                  <c:v>208.44406390877288</c:v>
                </c:pt>
                <c:pt idx="1685">
                  <c:v>211.44713773577101</c:v>
                </c:pt>
                <c:pt idx="1686">
                  <c:v>212.72529602041493</c:v>
                </c:pt>
                <c:pt idx="1687">
                  <c:v>213.27853884507729</c:v>
                </c:pt>
                <c:pt idx="1688">
                  <c:v>212.28170983979382</c:v>
                </c:pt>
                <c:pt idx="1689">
                  <c:v>212.24587186096983</c:v>
                </c:pt>
                <c:pt idx="1690">
                  <c:v>216.75255731913273</c:v>
                </c:pt>
                <c:pt idx="1691">
                  <c:v>221.00734771584101</c:v>
                </c:pt>
                <c:pt idx="1692">
                  <c:v>220.15065749768766</c:v>
                </c:pt>
                <c:pt idx="1693">
                  <c:v>217.79176397532208</c:v>
                </c:pt>
                <c:pt idx="1694">
                  <c:v>220.13989026510123</c:v>
                </c:pt>
                <c:pt idx="1695">
                  <c:v>220.04088454647962</c:v>
                </c:pt>
                <c:pt idx="1696">
                  <c:v>219.85174062796261</c:v>
                </c:pt>
                <c:pt idx="1697">
                  <c:v>220.59500959724065</c:v>
                </c:pt>
                <c:pt idx="1698">
                  <c:v>221.62801422148425</c:v>
                </c:pt>
                <c:pt idx="1699">
                  <c:v>222.79697880476402</c:v>
                </c:pt>
                <c:pt idx="1700">
                  <c:v>221.8632755945959</c:v>
                </c:pt>
                <c:pt idx="1701">
                  <c:v>222.44849739572419</c:v>
                </c:pt>
                <c:pt idx="1702">
                  <c:v>220.01120995290125</c:v>
                </c:pt>
                <c:pt idx="1703">
                  <c:v>220.19572045834713</c:v>
                </c:pt>
                <c:pt idx="1704">
                  <c:v>221.58244957987154</c:v>
                </c:pt>
                <c:pt idx="1705">
                  <c:v>218.07354343859794</c:v>
                </c:pt>
                <c:pt idx="1706">
                  <c:v>216.25246419648843</c:v>
                </c:pt>
                <c:pt idx="1707">
                  <c:v>216.8742547236092</c:v>
                </c:pt>
                <c:pt idx="1708">
                  <c:v>222.34690353401533</c:v>
                </c:pt>
                <c:pt idx="1709">
                  <c:v>222.10447682047948</c:v>
                </c:pt>
                <c:pt idx="1710">
                  <c:v>223.14515917628879</c:v>
                </c:pt>
                <c:pt idx="1711">
                  <c:v>223.63009975873288</c:v>
                </c:pt>
                <c:pt idx="1712">
                  <c:v>222.80060309172538</c:v>
                </c:pt>
                <c:pt idx="1713">
                  <c:v>220.13183467704783</c:v>
                </c:pt>
                <c:pt idx="1714">
                  <c:v>223.15915413740001</c:v>
                </c:pt>
                <c:pt idx="1715">
                  <c:v>225.29687322849554</c:v>
                </c:pt>
                <c:pt idx="1716">
                  <c:v>224.80760129130547</c:v>
                </c:pt>
                <c:pt idx="1717">
                  <c:v>225.73282925856918</c:v>
                </c:pt>
                <c:pt idx="1718">
                  <c:v>224.96817820375742</c:v>
                </c:pt>
                <c:pt idx="1719">
                  <c:v>224.91708899154</c:v>
                </c:pt>
                <c:pt idx="1720">
                  <c:v>217.72113550732169</c:v>
                </c:pt>
                <c:pt idx="1721">
                  <c:v>216.761750249551</c:v>
                </c:pt>
                <c:pt idx="1722">
                  <c:v>217.78450312618091</c:v>
                </c:pt>
                <c:pt idx="1723">
                  <c:v>213.85975976394059</c:v>
                </c:pt>
                <c:pt idx="1724">
                  <c:v>212.97471567353</c:v>
                </c:pt>
                <c:pt idx="1725">
                  <c:v>212.37866505338786</c:v>
                </c:pt>
                <c:pt idx="1726">
                  <c:v>207.88955475291681</c:v>
                </c:pt>
                <c:pt idx="1727">
                  <c:v>204.13025406083122</c:v>
                </c:pt>
                <c:pt idx="1728">
                  <c:v>210.05444724544699</c:v>
                </c:pt>
                <c:pt idx="1729">
                  <c:v>210.58288734893367</c:v>
                </c:pt>
                <c:pt idx="1730">
                  <c:v>213.21814346752225</c:v>
                </c:pt>
                <c:pt idx="1731">
                  <c:v>211.03156654648862</c:v>
                </c:pt>
                <c:pt idx="1732">
                  <c:v>208.67210181594245</c:v>
                </c:pt>
                <c:pt idx="1733">
                  <c:v>208.57989892787933</c:v>
                </c:pt>
                <c:pt idx="1734">
                  <c:v>214.28019861862541</c:v>
                </c:pt>
                <c:pt idx="1735">
                  <c:v>214.28019861862541</c:v>
                </c:pt>
                <c:pt idx="1736">
                  <c:v>214.28019861862541</c:v>
                </c:pt>
                <c:pt idx="1737">
                  <c:v>213.21929478455536</c:v>
                </c:pt>
                <c:pt idx="1738">
                  <c:v>216.21935021673968</c:v>
                </c:pt>
                <c:pt idx="1739">
                  <c:v>214.96994613199325</c:v>
                </c:pt>
                <c:pt idx="1740">
                  <c:v>213.81968892275017</c:v>
                </c:pt>
                <c:pt idx="1741">
                  <c:v>213.81968892275017</c:v>
                </c:pt>
                <c:pt idx="1742">
                  <c:v>208.42490675480821</c:v>
                </c:pt>
                <c:pt idx="1743">
                  <c:v>209.72704298809174</c:v>
                </c:pt>
                <c:pt idx="1744">
                  <c:v>207.06152032470823</c:v>
                </c:pt>
                <c:pt idx="1745">
                  <c:v>202.47321271360138</c:v>
                </c:pt>
                <c:pt idx="1746">
                  <c:v>199.33265374903459</c:v>
                </c:pt>
                <c:pt idx="1747">
                  <c:v>198.67907228756869</c:v>
                </c:pt>
                <c:pt idx="1748">
                  <c:v>200.50928285617954</c:v>
                </c:pt>
                <c:pt idx="1749">
                  <c:v>201.36429940720402</c:v>
                </c:pt>
                <c:pt idx="1750">
                  <c:v>198.49428675669142</c:v>
                </c:pt>
                <c:pt idx="1751">
                  <c:v>192.86168799705584</c:v>
                </c:pt>
                <c:pt idx="1752">
                  <c:v>192.2562322884792</c:v>
                </c:pt>
                <c:pt idx="1753">
                  <c:v>194.73889006620007</c:v>
                </c:pt>
                <c:pt idx="1754">
                  <c:v>188.4728718616208</c:v>
                </c:pt>
                <c:pt idx="1755">
                  <c:v>192.23129682082535</c:v>
                </c:pt>
                <c:pt idx="1756">
                  <c:v>198.03474719906043</c:v>
                </c:pt>
                <c:pt idx="1757">
                  <c:v>196.75682372124623</c:v>
                </c:pt>
                <c:pt idx="1758">
                  <c:v>198.48397694454579</c:v>
                </c:pt>
                <c:pt idx="1759">
                  <c:v>199.24705871842889</c:v>
                </c:pt>
                <c:pt idx="1760">
                  <c:v>196.1610256400634</c:v>
                </c:pt>
                <c:pt idx="1761">
                  <c:v>200.51008717289821</c:v>
                </c:pt>
                <c:pt idx="1762">
                  <c:v>200.0707224897634</c:v>
                </c:pt>
                <c:pt idx="1763">
                  <c:v>195.83609338489623</c:v>
                </c:pt>
                <c:pt idx="1764">
                  <c:v>192.8451609983409</c:v>
                </c:pt>
                <c:pt idx="1765">
                  <c:v>192.64519899320501</c:v>
                </c:pt>
                <c:pt idx="1766">
                  <c:v>191.0797215367194</c:v>
                </c:pt>
                <c:pt idx="1767">
                  <c:v>184.517333914689</c:v>
                </c:pt>
                <c:pt idx="1768">
                  <c:v>181.52636222864771</c:v>
                </c:pt>
                <c:pt idx="1769">
                  <c:v>184.81346722842312</c:v>
                </c:pt>
                <c:pt idx="1770">
                  <c:v>177.97745703542657</c:v>
                </c:pt>
                <c:pt idx="1771">
                  <c:v>183.29200511700822</c:v>
                </c:pt>
                <c:pt idx="1772">
                  <c:v>188.72545482631375</c:v>
                </c:pt>
                <c:pt idx="1773">
                  <c:v>187.91687260878049</c:v>
                </c:pt>
                <c:pt idx="1774">
                  <c:v>192.90039169427953</c:v>
                </c:pt>
                <c:pt idx="1775">
                  <c:v>192.96779396639425</c:v>
                </c:pt>
                <c:pt idx="1776">
                  <c:v>191.4268339443486</c:v>
                </c:pt>
                <c:pt idx="1777">
                  <c:v>194.79112308978418</c:v>
                </c:pt>
                <c:pt idx="1778">
                  <c:v>192.29175233820857</c:v>
                </c:pt>
                <c:pt idx="1779">
                  <c:v>187.8070632417907</c:v>
                </c:pt>
                <c:pt idx="1780">
                  <c:v>191.66781918041011</c:v>
                </c:pt>
                <c:pt idx="1781">
                  <c:v>194.69492537485911</c:v>
                </c:pt>
                <c:pt idx="1782">
                  <c:v>196.10247050992703</c:v>
                </c:pt>
                <c:pt idx="1783">
                  <c:v>198.88164114350394</c:v>
                </c:pt>
                <c:pt idx="1784">
                  <c:v>200.33640984025945</c:v>
                </c:pt>
                <c:pt idx="1785">
                  <c:v>199.67187209012855</c:v>
                </c:pt>
                <c:pt idx="1786">
                  <c:v>201.09271201109999</c:v>
                </c:pt>
                <c:pt idx="1787">
                  <c:v>200.5984631166107</c:v>
                </c:pt>
                <c:pt idx="1788">
                  <c:v>198.61095256247492</c:v>
                </c:pt>
                <c:pt idx="1789">
                  <c:v>199.64157605006864</c:v>
                </c:pt>
                <c:pt idx="1790">
                  <c:v>196.25430127872377</c:v>
                </c:pt>
                <c:pt idx="1791">
                  <c:v>201.40604941184162</c:v>
                </c:pt>
                <c:pt idx="1792">
                  <c:v>202.81125578935138</c:v>
                </c:pt>
                <c:pt idx="1793">
                  <c:v>200.51166736343683</c:v>
                </c:pt>
                <c:pt idx="1794">
                  <c:v>200.62359217222831</c:v>
                </c:pt>
                <c:pt idx="1795">
                  <c:v>200.5695250581629</c:v>
                </c:pt>
                <c:pt idx="1796">
                  <c:v>201.16525099331005</c:v>
                </c:pt>
                <c:pt idx="1797">
                  <c:v>200.72563497436508</c:v>
                </c:pt>
                <c:pt idx="1798">
                  <c:v>200.39663824128345</c:v>
                </c:pt>
                <c:pt idx="1799">
                  <c:v>200.26319141838641</c:v>
                </c:pt>
                <c:pt idx="1800">
                  <c:v>197.3145280097828</c:v>
                </c:pt>
                <c:pt idx="1801">
                  <c:v>197.3145280097828</c:v>
                </c:pt>
                <c:pt idx="1802">
                  <c:v>197.3145280097828</c:v>
                </c:pt>
                <c:pt idx="1803">
                  <c:v>198.25873207604849</c:v>
                </c:pt>
                <c:pt idx="1804">
                  <c:v>200.90750773948818</c:v>
                </c:pt>
                <c:pt idx="1805">
                  <c:v>198.71886463857012</c:v>
                </c:pt>
                <c:pt idx="1806">
                  <c:v>196.15759153513122</c:v>
                </c:pt>
                <c:pt idx="1807">
                  <c:v>196.96951321716062</c:v>
                </c:pt>
                <c:pt idx="1808">
                  <c:v>193.21331339845719</c:v>
                </c:pt>
                <c:pt idx="1809">
                  <c:v>194.71617373652506</c:v>
                </c:pt>
                <c:pt idx="1810">
                  <c:v>193.45181797824603</c:v>
                </c:pt>
                <c:pt idx="1811">
                  <c:v>195.75287429838716</c:v>
                </c:pt>
                <c:pt idx="1812">
                  <c:v>196.50158873221704</c:v>
                </c:pt>
                <c:pt idx="1813">
                  <c:v>197.63319853985101</c:v>
                </c:pt>
                <c:pt idx="1814">
                  <c:v>202.73140761279845</c:v>
                </c:pt>
                <c:pt idx="1815">
                  <c:v>203.45936428878309</c:v>
                </c:pt>
                <c:pt idx="1816">
                  <c:v>202.79711416423564</c:v>
                </c:pt>
                <c:pt idx="1817">
                  <c:v>203.64094003124603</c:v>
                </c:pt>
                <c:pt idx="1818">
                  <c:v>206.7203000601944</c:v>
                </c:pt>
                <c:pt idx="1819">
                  <c:v>207.7339679884771</c:v>
                </c:pt>
                <c:pt idx="1820">
                  <c:v>207.15920278697411</c:v>
                </c:pt>
                <c:pt idx="1821">
                  <c:v>206.49378137062749</c:v>
                </c:pt>
                <c:pt idx="1822">
                  <c:v>205.28842027008176</c:v>
                </c:pt>
                <c:pt idx="1823">
                  <c:v>205.74037172960908</c:v>
                </c:pt>
                <c:pt idx="1824">
                  <c:v>206.42791011161785</c:v>
                </c:pt>
                <c:pt idx="1825">
                  <c:v>206.95881888009424</c:v>
                </c:pt>
                <c:pt idx="1826">
                  <c:v>202.54254836030236</c:v>
                </c:pt>
                <c:pt idx="1827">
                  <c:v>202.54300567489264</c:v>
                </c:pt>
                <c:pt idx="1828">
                  <c:v>199.11101057375896</c:v>
                </c:pt>
                <c:pt idx="1829">
                  <c:v>196.80871699972406</c:v>
                </c:pt>
                <c:pt idx="1830">
                  <c:v>196.80871699972406</c:v>
                </c:pt>
                <c:pt idx="1831">
                  <c:v>197.04971406091602</c:v>
                </c:pt>
                <c:pt idx="1832">
                  <c:v>197.92016149176669</c:v>
                </c:pt>
                <c:pt idx="1833">
                  <c:v>199.8075314781392</c:v>
                </c:pt>
                <c:pt idx="1834">
                  <c:v>198.94992413618908</c:v>
                </c:pt>
                <c:pt idx="1835">
                  <c:v>198.09482778533859</c:v>
                </c:pt>
                <c:pt idx="1836">
                  <c:v>199.13684662140668</c:v>
                </c:pt>
                <c:pt idx="1837">
                  <c:v>199.13684662140668</c:v>
                </c:pt>
                <c:pt idx="1838">
                  <c:v>199.26131795191887</c:v>
                </c:pt>
                <c:pt idx="1839">
                  <c:v>200.93568952581799</c:v>
                </c:pt>
                <c:pt idx="1840">
                  <c:v>198.82864824228449</c:v>
                </c:pt>
                <c:pt idx="1841">
                  <c:v>201.26568646317477</c:v>
                </c:pt>
                <c:pt idx="1842">
                  <c:v>200.4633648490111</c:v>
                </c:pt>
                <c:pt idx="1843">
                  <c:v>204.9310626278961</c:v>
                </c:pt>
                <c:pt idx="1844">
                  <c:v>207.71406056906483</c:v>
                </c:pt>
                <c:pt idx="1845">
                  <c:v>208.02700005319758</c:v>
                </c:pt>
                <c:pt idx="1846">
                  <c:v>208.47578868747613</c:v>
                </c:pt>
                <c:pt idx="1847">
                  <c:v>208.79100225804882</c:v>
                </c:pt>
                <c:pt idx="1848">
                  <c:v>207.15791826652458</c:v>
                </c:pt>
                <c:pt idx="1849">
                  <c:v>205.19921167010122</c:v>
                </c:pt>
                <c:pt idx="1850">
                  <c:v>205.44582874811383</c:v>
                </c:pt>
                <c:pt idx="1851">
                  <c:v>203.63088379715438</c:v>
                </c:pt>
                <c:pt idx="1852">
                  <c:v>204.37920001649647</c:v>
                </c:pt>
                <c:pt idx="1853">
                  <c:v>206.74453446506394</c:v>
                </c:pt>
                <c:pt idx="1854">
                  <c:v>205.82969768514437</c:v>
                </c:pt>
                <c:pt idx="1855">
                  <c:v>203.92819036929347</c:v>
                </c:pt>
                <c:pt idx="1856">
                  <c:v>199.02201532087932</c:v>
                </c:pt>
                <c:pt idx="1857">
                  <c:v>195.46589361957209</c:v>
                </c:pt>
                <c:pt idx="1858">
                  <c:v>191.746217014932</c:v>
                </c:pt>
                <c:pt idx="1859">
                  <c:v>193.58414846161682</c:v>
                </c:pt>
                <c:pt idx="1860">
                  <c:v>192.35960214885947</c:v>
                </c:pt>
                <c:pt idx="1861">
                  <c:v>194.95192300447715</c:v>
                </c:pt>
                <c:pt idx="1862">
                  <c:v>202.0134549314368</c:v>
                </c:pt>
                <c:pt idx="1863">
                  <c:v>203.489311330834</c:v>
                </c:pt>
                <c:pt idx="1864">
                  <c:v>204.25530164584433</c:v>
                </c:pt>
                <c:pt idx="1865">
                  <c:v>204.25530164584433</c:v>
                </c:pt>
                <c:pt idx="1866">
                  <c:v>193.13058587482189</c:v>
                </c:pt>
                <c:pt idx="1867">
                  <c:v>185.62805353078195</c:v>
                </c:pt>
                <c:pt idx="1868">
                  <c:v>190.28316399302079</c:v>
                </c:pt>
                <c:pt idx="1869">
                  <c:v>196.24872740870148</c:v>
                </c:pt>
                <c:pt idx="1870">
                  <c:v>198.35281514165331</c:v>
                </c:pt>
                <c:pt idx="1871">
                  <c:v>199.74319755670766</c:v>
                </c:pt>
                <c:pt idx="1872">
                  <c:v>198.38431420640313</c:v>
                </c:pt>
                <c:pt idx="1873">
                  <c:v>195.24445671457627</c:v>
                </c:pt>
                <c:pt idx="1874">
                  <c:v>191.96540426230686</c:v>
                </c:pt>
                <c:pt idx="1875">
                  <c:v>193.98170931267043</c:v>
                </c:pt>
                <c:pt idx="1876">
                  <c:v>197.02687412885982</c:v>
                </c:pt>
                <c:pt idx="1877">
                  <c:v>200.13596210790649</c:v>
                </c:pt>
                <c:pt idx="1878">
                  <c:v>202.2462006577336</c:v>
                </c:pt>
                <c:pt idx="1879">
                  <c:v>201.98413464222739</c:v>
                </c:pt>
                <c:pt idx="1880">
                  <c:v>203.55355480105516</c:v>
                </c:pt>
                <c:pt idx="1881">
                  <c:v>203.24436244620259</c:v>
                </c:pt>
                <c:pt idx="1882">
                  <c:v>203.65156442584365</c:v>
                </c:pt>
                <c:pt idx="1883">
                  <c:v>202.79703406978484</c:v>
                </c:pt>
                <c:pt idx="1884">
                  <c:v>204.85594109959649</c:v>
                </c:pt>
                <c:pt idx="1885">
                  <c:v>204.72002178975526</c:v>
                </c:pt>
                <c:pt idx="1886">
                  <c:v>204.63716759507039</c:v>
                </c:pt>
                <c:pt idx="1887">
                  <c:v>204.85734033595872</c:v>
                </c:pt>
                <c:pt idx="1888">
                  <c:v>205.11409706831384</c:v>
                </c:pt>
                <c:pt idx="1889">
                  <c:v>205.94904062506077</c:v>
                </c:pt>
                <c:pt idx="1890">
                  <c:v>203.88250056832464</c:v>
                </c:pt>
                <c:pt idx="1891">
                  <c:v>205.30826853325669</c:v>
                </c:pt>
                <c:pt idx="1892">
                  <c:v>204.0712851534019</c:v>
                </c:pt>
                <c:pt idx="1893">
                  <c:v>201.32388893569106</c:v>
                </c:pt>
                <c:pt idx="1894">
                  <c:v>201.44283168901484</c:v>
                </c:pt>
                <c:pt idx="1895">
                  <c:v>202.94123841496742</c:v>
                </c:pt>
                <c:pt idx="1896">
                  <c:v>205.0645800255034</c:v>
                </c:pt>
                <c:pt idx="1897">
                  <c:v>205.1636474799854</c:v>
                </c:pt>
                <c:pt idx="1898">
                  <c:v>207.0420528682514</c:v>
                </c:pt>
                <c:pt idx="1899">
                  <c:v>206.62932480675616</c:v>
                </c:pt>
                <c:pt idx="1900">
                  <c:v>208.56954961305991</c:v>
                </c:pt>
                <c:pt idx="1901">
                  <c:v>208.18622913249197</c:v>
                </c:pt>
                <c:pt idx="1902">
                  <c:v>208.18622913249197</c:v>
                </c:pt>
                <c:pt idx="1903">
                  <c:v>206.58578046331235</c:v>
                </c:pt>
                <c:pt idx="1904">
                  <c:v>204.90784700655755</c:v>
                </c:pt>
                <c:pt idx="1905">
                  <c:v>206.37768599037645</c:v>
                </c:pt>
                <c:pt idx="1906">
                  <c:v>204.73551925142252</c:v>
                </c:pt>
                <c:pt idx="1907">
                  <c:v>204.81110017656084</c:v>
                </c:pt>
                <c:pt idx="1908">
                  <c:v>206.6908063309763</c:v>
                </c:pt>
                <c:pt idx="1909">
                  <c:v>207.45458812497696</c:v>
                </c:pt>
                <c:pt idx="1910">
                  <c:v>205.75113531807693</c:v>
                </c:pt>
                <c:pt idx="1911">
                  <c:v>206.81927889269306</c:v>
                </c:pt>
                <c:pt idx="1912">
                  <c:v>206.51932287433169</c:v>
                </c:pt>
                <c:pt idx="1913">
                  <c:v>207.4755928823167</c:v>
                </c:pt>
                <c:pt idx="1914">
                  <c:v>206.74604943266579</c:v>
                </c:pt>
                <c:pt idx="1915">
                  <c:v>206.70645964965669</c:v>
                </c:pt>
                <c:pt idx="1916">
                  <c:v>210.86513306461302</c:v>
                </c:pt>
                <c:pt idx="1917">
                  <c:v>210.96648982627855</c:v>
                </c:pt>
                <c:pt idx="1918">
                  <c:v>210.15973091626185</c:v>
                </c:pt>
                <c:pt idx="1919">
                  <c:v>210.84565225904984</c:v>
                </c:pt>
                <c:pt idx="1920">
                  <c:v>210.14881379620741</c:v>
                </c:pt>
                <c:pt idx="1921">
                  <c:v>207.86074344122406</c:v>
                </c:pt>
                <c:pt idx="1922">
                  <c:v>205.90759740826411</c:v>
                </c:pt>
                <c:pt idx="1923">
                  <c:v>203.7868064851229</c:v>
                </c:pt>
                <c:pt idx="1924">
                  <c:v>203.56288299902579</c:v>
                </c:pt>
                <c:pt idx="1925">
                  <c:v>204.70070953800783</c:v>
                </c:pt>
                <c:pt idx="1926">
                  <c:v>203.13501722150482</c:v>
                </c:pt>
                <c:pt idx="1927">
                  <c:v>205.27540022428812</c:v>
                </c:pt>
                <c:pt idx="1928">
                  <c:v>205.11630128184984</c:v>
                </c:pt>
                <c:pt idx="1929">
                  <c:v>206.0336979911115</c:v>
                </c:pt>
                <c:pt idx="1930">
                  <c:v>209.35570357573891</c:v>
                </c:pt>
                <c:pt idx="1931">
                  <c:v>207.88908981265416</c:v>
                </c:pt>
                <c:pt idx="1932">
                  <c:v>204.63257509160792</c:v>
                </c:pt>
                <c:pt idx="1933">
                  <c:v>204.76220926393913</c:v>
                </c:pt>
                <c:pt idx="1934">
                  <c:v>206.15783155328421</c:v>
                </c:pt>
                <c:pt idx="1935">
                  <c:v>206.54858340680769</c:v>
                </c:pt>
                <c:pt idx="1936">
                  <c:v>206.68210149725414</c:v>
                </c:pt>
                <c:pt idx="1937">
                  <c:v>206.84809407321984</c:v>
                </c:pt>
                <c:pt idx="1938">
                  <c:v>208.69146527553312</c:v>
                </c:pt>
                <c:pt idx="1939">
                  <c:v>207.61759654430105</c:v>
                </c:pt>
                <c:pt idx="1940">
                  <c:v>206.83796804639297</c:v>
                </c:pt>
                <c:pt idx="1941">
                  <c:v>205.02924960117562</c:v>
                </c:pt>
                <c:pt idx="1942">
                  <c:v>206.51900310040259</c:v>
                </c:pt>
                <c:pt idx="1943">
                  <c:v>205.43768121008515</c:v>
                </c:pt>
                <c:pt idx="1944">
                  <c:v>204.46934322228492</c:v>
                </c:pt>
                <c:pt idx="1945">
                  <c:v>202.64283739326223</c:v>
                </c:pt>
                <c:pt idx="1946">
                  <c:v>205.26293694843835</c:v>
                </c:pt>
                <c:pt idx="1947">
                  <c:v>203.70525769827628</c:v>
                </c:pt>
                <c:pt idx="1948">
                  <c:v>206.73422330773144</c:v>
                </c:pt>
                <c:pt idx="1949">
                  <c:v>207.44248951303584</c:v>
                </c:pt>
                <c:pt idx="1950">
                  <c:v>208.02323282165784</c:v>
                </c:pt>
                <c:pt idx="1951">
                  <c:v>208.00109614184203</c:v>
                </c:pt>
                <c:pt idx="1952">
                  <c:v>207.9960902408713</c:v>
                </c:pt>
                <c:pt idx="1953">
                  <c:v>207.38701096640932</c:v>
                </c:pt>
                <c:pt idx="1954">
                  <c:v>206.55462147962606</c:v>
                </c:pt>
                <c:pt idx="1955">
                  <c:v>206.71773744655977</c:v>
                </c:pt>
                <c:pt idx="1956">
                  <c:v>206.12013583469704</c:v>
                </c:pt>
                <c:pt idx="1957">
                  <c:v>204.98496865353388</c:v>
                </c:pt>
                <c:pt idx="1958">
                  <c:v>204.98496865353388</c:v>
                </c:pt>
                <c:pt idx="1959">
                  <c:v>200.48882868875961</c:v>
                </c:pt>
                <c:pt idx="1960">
                  <c:v>200.41957544696453</c:v>
                </c:pt>
                <c:pt idx="1961">
                  <c:v>198.83820971898788</c:v>
                </c:pt>
                <c:pt idx="1962">
                  <c:v>201.91589599666165</c:v>
                </c:pt>
                <c:pt idx="1963">
                  <c:v>202.65074872447144</c:v>
                </c:pt>
                <c:pt idx="1964">
                  <c:v>205.5681011207453</c:v>
                </c:pt>
                <c:pt idx="1965">
                  <c:v>205.08957351421478</c:v>
                </c:pt>
                <c:pt idx="1966">
                  <c:v>204.20366432866598</c:v>
                </c:pt>
                <c:pt idx="1967">
                  <c:v>204.66406310902622</c:v>
                </c:pt>
                <c:pt idx="1968">
                  <c:v>205.30520804373174</c:v>
                </c:pt>
                <c:pt idx="1969">
                  <c:v>204.87586741368307</c:v>
                </c:pt>
                <c:pt idx="1970">
                  <c:v>206.1756427974685</c:v>
                </c:pt>
                <c:pt idx="1971">
                  <c:v>205.3772082593124</c:v>
                </c:pt>
                <c:pt idx="1972">
                  <c:v>206.01025859073002</c:v>
                </c:pt>
                <c:pt idx="1973">
                  <c:v>206.49180482138698</c:v>
                </c:pt>
                <c:pt idx="1974">
                  <c:v>206.37289475454156</c:v>
                </c:pt>
                <c:pt idx="1975">
                  <c:v>207.09657144049976</c:v>
                </c:pt>
                <c:pt idx="1976">
                  <c:v>207.4848363290331</c:v>
                </c:pt>
                <c:pt idx="1977">
                  <c:v>205.84255935479288</c:v>
                </c:pt>
                <c:pt idx="1978">
                  <c:v>206.42886771678107</c:v>
                </c:pt>
                <c:pt idx="1979">
                  <c:v>207.21814720382147</c:v>
                </c:pt>
                <c:pt idx="1980">
                  <c:v>206.65145156562903</c:v>
                </c:pt>
                <c:pt idx="1981">
                  <c:v>205.73964620551774</c:v>
                </c:pt>
                <c:pt idx="1982">
                  <c:v>206.92529501316227</c:v>
                </c:pt>
                <c:pt idx="1983">
                  <c:v>208.96668976749478</c:v>
                </c:pt>
                <c:pt idx="1984">
                  <c:v>210.92068075132292</c:v>
                </c:pt>
                <c:pt idx="1985">
                  <c:v>213.54086449847563</c:v>
                </c:pt>
                <c:pt idx="1986">
                  <c:v>215.5354850834895</c:v>
                </c:pt>
                <c:pt idx="1987">
                  <c:v>214.62972036073111</c:v>
                </c:pt>
                <c:pt idx="1988">
                  <c:v>216.91515663342375</c:v>
                </c:pt>
                <c:pt idx="1989">
                  <c:v>215.85665662993455</c:v>
                </c:pt>
                <c:pt idx="1990">
                  <c:v>217.73308662497863</c:v>
                </c:pt>
                <c:pt idx="1991">
                  <c:v>218.49447636031707</c:v>
                </c:pt>
                <c:pt idx="1992">
                  <c:v>218.24014372294488</c:v>
                </c:pt>
                <c:pt idx="1993">
                  <c:v>219.32691350079696</c:v>
                </c:pt>
                <c:pt idx="1994">
                  <c:v>218.85795002976448</c:v>
                </c:pt>
                <c:pt idx="1995">
                  <c:v>218.37156703718591</c:v>
                </c:pt>
                <c:pt idx="1996">
                  <c:v>218.43801184842536</c:v>
                </c:pt>
                <c:pt idx="1997">
                  <c:v>218.43801184842536</c:v>
                </c:pt>
                <c:pt idx="1998">
                  <c:v>218.71180665447497</c:v>
                </c:pt>
                <c:pt idx="1999">
                  <c:v>219.37662092617325</c:v>
                </c:pt>
                <c:pt idx="2000">
                  <c:v>218.60465096100944</c:v>
                </c:pt>
                <c:pt idx="2001">
                  <c:v>219.32903399606727</c:v>
                </c:pt>
                <c:pt idx="2002">
                  <c:v>220.34965118075189</c:v>
                </c:pt>
                <c:pt idx="2003">
                  <c:v>221.88754553471082</c:v>
                </c:pt>
                <c:pt idx="2004">
                  <c:v>221.63503202803088</c:v>
                </c:pt>
                <c:pt idx="2005">
                  <c:v>221.8016273874965</c:v>
                </c:pt>
                <c:pt idx="2006">
                  <c:v>221.70098452509049</c:v>
                </c:pt>
                <c:pt idx="2007">
                  <c:v>220.62285354399967</c:v>
                </c:pt>
                <c:pt idx="2008">
                  <c:v>220.88641164792446</c:v>
                </c:pt>
                <c:pt idx="2009">
                  <c:v>221.44014078309536</c:v>
                </c:pt>
                <c:pt idx="2010">
                  <c:v>220.00333128497363</c:v>
                </c:pt>
                <c:pt idx="2011">
                  <c:v>222.08847956574095</c:v>
                </c:pt>
                <c:pt idx="2012">
                  <c:v>220.31016077382986</c:v>
                </c:pt>
                <c:pt idx="2013">
                  <c:v>219.92242336359928</c:v>
                </c:pt>
                <c:pt idx="2014">
                  <c:v>220.30760187185101</c:v>
                </c:pt>
                <c:pt idx="2015">
                  <c:v>220.16904395851222</c:v>
                </c:pt>
                <c:pt idx="2016">
                  <c:v>220.05173850117603</c:v>
                </c:pt>
                <c:pt idx="2017">
                  <c:v>219.07716795846781</c:v>
                </c:pt>
                <c:pt idx="2018">
                  <c:v>219.69716005351682</c:v>
                </c:pt>
                <c:pt idx="2019">
                  <c:v>222.55323202821003</c:v>
                </c:pt>
                <c:pt idx="2020">
                  <c:v>223.06701251691968</c:v>
                </c:pt>
                <c:pt idx="2021">
                  <c:v>222.32142502487352</c:v>
                </c:pt>
                <c:pt idx="2022">
                  <c:v>220.01731436366151</c:v>
                </c:pt>
                <c:pt idx="2023">
                  <c:v>218.50886716110688</c:v>
                </c:pt>
                <c:pt idx="2024">
                  <c:v>220.27662247906963</c:v>
                </c:pt>
                <c:pt idx="2025">
                  <c:v>219.61057130855042</c:v>
                </c:pt>
                <c:pt idx="2026">
                  <c:v>220.87446944109979</c:v>
                </c:pt>
                <c:pt idx="2027">
                  <c:v>219.40475677421557</c:v>
                </c:pt>
                <c:pt idx="2028">
                  <c:v>220.00200296109989</c:v>
                </c:pt>
                <c:pt idx="2029">
                  <c:v>220.64875185077523</c:v>
                </c:pt>
                <c:pt idx="2030">
                  <c:v>222.49254732118243</c:v>
                </c:pt>
                <c:pt idx="2031">
                  <c:v>222.89044272083802</c:v>
                </c:pt>
                <c:pt idx="2032">
                  <c:v>224.55704714008945</c:v>
                </c:pt>
                <c:pt idx="2033">
                  <c:v>224.5742330118623</c:v>
                </c:pt>
                <c:pt idx="2034">
                  <c:v>225.36398820679557</c:v>
                </c:pt>
                <c:pt idx="2035">
                  <c:v>224.71565163406768</c:v>
                </c:pt>
                <c:pt idx="2036">
                  <c:v>224.78902574718239</c:v>
                </c:pt>
                <c:pt idx="2037">
                  <c:v>225.19772185733621</c:v>
                </c:pt>
                <c:pt idx="2038">
                  <c:v>226.62531621562678</c:v>
                </c:pt>
                <c:pt idx="2039">
                  <c:v>226.62912977518101</c:v>
                </c:pt>
                <c:pt idx="2040">
                  <c:v>226.527462914414</c:v>
                </c:pt>
                <c:pt idx="2041">
                  <c:v>224.82535044713057</c:v>
                </c:pt>
                <c:pt idx="2042">
                  <c:v>224.48659916028285</c:v>
                </c:pt>
                <c:pt idx="2043">
                  <c:v>224.88545969051268</c:v>
                </c:pt>
                <c:pt idx="2044">
                  <c:v>228.29699866375103</c:v>
                </c:pt>
                <c:pt idx="2045">
                  <c:v>228.4222951899844</c:v>
                </c:pt>
                <c:pt idx="2046">
                  <c:v>228.2450233109634</c:v>
                </c:pt>
                <c:pt idx="2047">
                  <c:v>227.04461472982672</c:v>
                </c:pt>
                <c:pt idx="2048">
                  <c:v>226.47790470419434</c:v>
                </c:pt>
                <c:pt idx="2049">
                  <c:v>226.61659942208269</c:v>
                </c:pt>
                <c:pt idx="2050">
                  <c:v>226.78726684933986</c:v>
                </c:pt>
                <c:pt idx="2051">
                  <c:v>226.99595537786146</c:v>
                </c:pt>
                <c:pt idx="2052">
                  <c:v>227.84705421464335</c:v>
                </c:pt>
                <c:pt idx="2053">
                  <c:v>227.09943964247407</c:v>
                </c:pt>
                <c:pt idx="2054">
                  <c:v>228.10066898725779</c:v>
                </c:pt>
                <c:pt idx="2055">
                  <c:v>229.92473061948999</c:v>
                </c:pt>
                <c:pt idx="2056">
                  <c:v>230.35080872352705</c:v>
                </c:pt>
                <c:pt idx="2057">
                  <c:v>229.95334569563065</c:v>
                </c:pt>
                <c:pt idx="2058">
                  <c:v>228.78179809484652</c:v>
                </c:pt>
                <c:pt idx="2059">
                  <c:v>227.83974185868701</c:v>
                </c:pt>
                <c:pt idx="2060">
                  <c:v>229.69693994662376</c:v>
                </c:pt>
                <c:pt idx="2061">
                  <c:v>229.28771614659701</c:v>
                </c:pt>
                <c:pt idx="2062">
                  <c:v>228.4074685558179</c:v>
                </c:pt>
                <c:pt idx="2063">
                  <c:v>229.84866073503474</c:v>
                </c:pt>
                <c:pt idx="2064">
                  <c:v>230.67345649444255</c:v>
                </c:pt>
                <c:pt idx="2065">
                  <c:v>231.9760689021345</c:v>
                </c:pt>
                <c:pt idx="2066">
                  <c:v>232.39625974812114</c:v>
                </c:pt>
                <c:pt idx="2067">
                  <c:v>231.27627358988235</c:v>
                </c:pt>
                <c:pt idx="2068">
                  <c:v>231.74564185499511</c:v>
                </c:pt>
                <c:pt idx="2069">
                  <c:v>231.76260487239992</c:v>
                </c:pt>
                <c:pt idx="2070">
                  <c:v>232.24663842087878</c:v>
                </c:pt>
                <c:pt idx="2071">
                  <c:v>232.6148562970393</c:v>
                </c:pt>
                <c:pt idx="2072">
                  <c:v>232.69121874073181</c:v>
                </c:pt>
                <c:pt idx="2073">
                  <c:v>232.65285761647081</c:v>
                </c:pt>
                <c:pt idx="2074">
                  <c:v>233.00828214239181</c:v>
                </c:pt>
                <c:pt idx="2075">
                  <c:v>232.17468565384394</c:v>
                </c:pt>
                <c:pt idx="2076">
                  <c:v>232.17468565384394</c:v>
                </c:pt>
                <c:pt idx="2077">
                  <c:v>232.17468565384394</c:v>
                </c:pt>
                <c:pt idx="2078">
                  <c:v>229.56287320563126</c:v>
                </c:pt>
                <c:pt idx="2079">
                  <c:v>230.04657477036767</c:v>
                </c:pt>
                <c:pt idx="2080">
                  <c:v>230.55962847078689</c:v>
                </c:pt>
                <c:pt idx="2081">
                  <c:v>230.63519056030395</c:v>
                </c:pt>
                <c:pt idx="2082">
                  <c:v>235.57417446629242</c:v>
                </c:pt>
                <c:pt idx="2083">
                  <c:v>236.11902244042815</c:v>
                </c:pt>
                <c:pt idx="2084">
                  <c:v>237.20974797875107</c:v>
                </c:pt>
                <c:pt idx="2085">
                  <c:v>236.71334580075566</c:v>
                </c:pt>
                <c:pt idx="2086">
                  <c:v>236.31550135080164</c:v>
                </c:pt>
                <c:pt idx="2087">
                  <c:v>236.31550135080164</c:v>
                </c:pt>
                <c:pt idx="2088">
                  <c:v>237.85812968891668</c:v>
                </c:pt>
                <c:pt idx="2089">
                  <c:v>237.87973770178698</c:v>
                </c:pt>
                <c:pt idx="2090">
                  <c:v>239.63759692240689</c:v>
                </c:pt>
                <c:pt idx="2091">
                  <c:v>241.35427653104261</c:v>
                </c:pt>
                <c:pt idx="2092">
                  <c:v>241.20122421107388</c:v>
                </c:pt>
                <c:pt idx="2093">
                  <c:v>242.34235730821837</c:v>
                </c:pt>
                <c:pt idx="2094">
                  <c:v>242.8134563156629</c:v>
                </c:pt>
                <c:pt idx="2095">
                  <c:v>241.83359482737532</c:v>
                </c:pt>
                <c:pt idx="2096">
                  <c:v>242.67560462055943</c:v>
                </c:pt>
                <c:pt idx="2097">
                  <c:v>243.03013843640878</c:v>
                </c:pt>
                <c:pt idx="2098">
                  <c:v>243.15817763613632</c:v>
                </c:pt>
                <c:pt idx="2099">
                  <c:v>240.36570859322399</c:v>
                </c:pt>
                <c:pt idx="2100">
                  <c:v>239.20722254234605</c:v>
                </c:pt>
                <c:pt idx="2101">
                  <c:v>240.5717025108637</c:v>
                </c:pt>
                <c:pt idx="2102">
                  <c:v>240.44146904863916</c:v>
                </c:pt>
                <c:pt idx="2103">
                  <c:v>240.97988261136032</c:v>
                </c:pt>
                <c:pt idx="2104">
                  <c:v>241.22351618758117</c:v>
                </c:pt>
                <c:pt idx="2105">
                  <c:v>241.22351618758117</c:v>
                </c:pt>
                <c:pt idx="2106">
                  <c:v>240.56837357638986</c:v>
                </c:pt>
                <c:pt idx="2107">
                  <c:v>240.58133670117772</c:v>
                </c:pt>
                <c:pt idx="2108">
                  <c:v>240.15112626741285</c:v>
                </c:pt>
                <c:pt idx="2109">
                  <c:v>239.94165011760646</c:v>
                </c:pt>
                <c:pt idx="2110">
                  <c:v>241.03138754633861</c:v>
                </c:pt>
                <c:pt idx="2111">
                  <c:v>241.59703385396205</c:v>
                </c:pt>
                <c:pt idx="2112">
                  <c:v>241.59703385396205</c:v>
                </c:pt>
                <c:pt idx="2113">
                  <c:v>239.82934743011657</c:v>
                </c:pt>
                <c:pt idx="2114">
                  <c:v>239.65762097686297</c:v>
                </c:pt>
                <c:pt idx="2115">
                  <c:v>239.72934729533188</c:v>
                </c:pt>
                <c:pt idx="2116">
                  <c:v>240.60786320056283</c:v>
                </c:pt>
                <c:pt idx="2117">
                  <c:v>238.39715986721811</c:v>
                </c:pt>
                <c:pt idx="2118">
                  <c:v>239.60634722367553</c:v>
                </c:pt>
                <c:pt idx="2119">
                  <c:v>238.82428743822965</c:v>
                </c:pt>
                <c:pt idx="2120">
                  <c:v>238.08199221179714</c:v>
                </c:pt>
                <c:pt idx="2121">
                  <c:v>239.63369823860509</c:v>
                </c:pt>
                <c:pt idx="2122">
                  <c:v>241.74194315934696</c:v>
                </c:pt>
                <c:pt idx="2123">
                  <c:v>239.99985402519766</c:v>
                </c:pt>
                <c:pt idx="2124">
                  <c:v>239.52557033627028</c:v>
                </c:pt>
                <c:pt idx="2125">
                  <c:v>239.54397457238579</c:v>
                </c:pt>
                <c:pt idx="2126">
                  <c:v>239.54397457238579</c:v>
                </c:pt>
                <c:pt idx="2127">
                  <c:v>239.92553619130697</c:v>
                </c:pt>
                <c:pt idx="2128">
                  <c:v>238.15356389051252</c:v>
                </c:pt>
                <c:pt idx="2129">
                  <c:v>238.05373399114066</c:v>
                </c:pt>
                <c:pt idx="2130">
                  <c:v>234.90317610254587</c:v>
                </c:pt>
                <c:pt idx="2131">
                  <c:v>233.98139584803528</c:v>
                </c:pt>
                <c:pt idx="2132">
                  <c:v>236.57071125755715</c:v>
                </c:pt>
                <c:pt idx="2133">
                  <c:v>235.85788209831392</c:v>
                </c:pt>
                <c:pt idx="2134">
                  <c:v>236.24872291506415</c:v>
                </c:pt>
                <c:pt idx="2135">
                  <c:v>234.68551992641608</c:v>
                </c:pt>
                <c:pt idx="2136">
                  <c:v>234.5121850081747</c:v>
                </c:pt>
                <c:pt idx="2137">
                  <c:v>235.37103903018104</c:v>
                </c:pt>
                <c:pt idx="2138">
                  <c:v>233.86479840207519</c:v>
                </c:pt>
                <c:pt idx="2139">
                  <c:v>237.5173469786219</c:v>
                </c:pt>
                <c:pt idx="2140">
                  <c:v>238.23664175889579</c:v>
                </c:pt>
                <c:pt idx="2141">
                  <c:v>238.63124892499025</c:v>
                </c:pt>
                <c:pt idx="2142">
                  <c:v>238.56819573460584</c:v>
                </c:pt>
                <c:pt idx="2143">
                  <c:v>235.84942842759818</c:v>
                </c:pt>
                <c:pt idx="2144">
                  <c:v>237.67382001411613</c:v>
                </c:pt>
                <c:pt idx="2145">
                  <c:v>236.81867815201247</c:v>
                </c:pt>
                <c:pt idx="2146">
                  <c:v>234.37467919750537</c:v>
                </c:pt>
                <c:pt idx="2147">
                  <c:v>233.80006619749861</c:v>
                </c:pt>
                <c:pt idx="2148">
                  <c:v>234.85358003179221</c:v>
                </c:pt>
                <c:pt idx="2149">
                  <c:v>236.02365351721423</c:v>
                </c:pt>
                <c:pt idx="2150">
                  <c:v>235.72290857142053</c:v>
                </c:pt>
                <c:pt idx="2151">
                  <c:v>233.37024084287933</c:v>
                </c:pt>
                <c:pt idx="2152">
                  <c:v>233.10805965897831</c:v>
                </c:pt>
                <c:pt idx="2153">
                  <c:v>234.5767477023457</c:v>
                </c:pt>
                <c:pt idx="2154">
                  <c:v>233.60825086681558</c:v>
                </c:pt>
                <c:pt idx="2155">
                  <c:v>233.93869519898573</c:v>
                </c:pt>
                <c:pt idx="2156">
                  <c:v>236.23031522848845</c:v>
                </c:pt>
                <c:pt idx="2157">
                  <c:v>235.91469185695155</c:v>
                </c:pt>
                <c:pt idx="2158">
                  <c:v>236.37706107468742</c:v>
                </c:pt>
                <c:pt idx="2159">
                  <c:v>234.6319428401512</c:v>
                </c:pt>
                <c:pt idx="2160">
                  <c:v>232.5551604350199</c:v>
                </c:pt>
                <c:pt idx="2161">
                  <c:v>230.15532062113331</c:v>
                </c:pt>
                <c:pt idx="2162">
                  <c:v>232.58728958271831</c:v>
                </c:pt>
                <c:pt idx="2163">
                  <c:v>232.58728958271831</c:v>
                </c:pt>
                <c:pt idx="2164">
                  <c:v>234.35502303406361</c:v>
                </c:pt>
                <c:pt idx="2165">
                  <c:v>233.05345158037318</c:v>
                </c:pt>
                <c:pt idx="2166">
                  <c:v>231.4115550575342</c:v>
                </c:pt>
                <c:pt idx="2167">
                  <c:v>230.47276199321578</c:v>
                </c:pt>
                <c:pt idx="2168">
                  <c:v>232.37066134642589</c:v>
                </c:pt>
                <c:pt idx="2169">
                  <c:v>231.26333885454548</c:v>
                </c:pt>
                <c:pt idx="2170">
                  <c:v>231.69730814586177</c:v>
                </c:pt>
                <c:pt idx="2171">
                  <c:v>231.43959183350768</c:v>
                </c:pt>
                <c:pt idx="2172">
                  <c:v>230.35997249699071</c:v>
                </c:pt>
                <c:pt idx="2173">
                  <c:v>228.00099942653654</c:v>
                </c:pt>
                <c:pt idx="2174">
                  <c:v>229.56987986977322</c:v>
                </c:pt>
                <c:pt idx="2175">
                  <c:v>231.30142200487475</c:v>
                </c:pt>
                <c:pt idx="2176">
                  <c:v>232.70438072566836</c:v>
                </c:pt>
                <c:pt idx="2177">
                  <c:v>231.49613942995799</c:v>
                </c:pt>
                <c:pt idx="2178">
                  <c:v>231.17413980257447</c:v>
                </c:pt>
                <c:pt idx="2179">
                  <c:v>231.34878890411889</c:v>
                </c:pt>
                <c:pt idx="2180">
                  <c:v>232.01376808744834</c:v>
                </c:pt>
                <c:pt idx="2181">
                  <c:v>232.32960777549522</c:v>
                </c:pt>
                <c:pt idx="2182">
                  <c:v>234.7612843726794</c:v>
                </c:pt>
                <c:pt idx="2183">
                  <c:v>236.00143181223808</c:v>
                </c:pt>
                <c:pt idx="2184">
                  <c:v>235.98057722611284</c:v>
                </c:pt>
                <c:pt idx="2185">
                  <c:v>236.2148447609357</c:v>
                </c:pt>
                <c:pt idx="2186">
                  <c:v>235.49201738603722</c:v>
                </c:pt>
                <c:pt idx="2187">
                  <c:v>236.29592378370469</c:v>
                </c:pt>
                <c:pt idx="2188">
                  <c:v>236.38082947073406</c:v>
                </c:pt>
                <c:pt idx="2189">
                  <c:v>236.31563580013869</c:v>
                </c:pt>
                <c:pt idx="2190">
                  <c:v>236.96028658316757</c:v>
                </c:pt>
                <c:pt idx="2191">
                  <c:v>237.16022769576855</c:v>
                </c:pt>
                <c:pt idx="2192">
                  <c:v>237.66211152384389</c:v>
                </c:pt>
                <c:pt idx="2193">
                  <c:v>237.8370849914746</c:v>
                </c:pt>
                <c:pt idx="2194">
                  <c:v>238.77639181177307</c:v>
                </c:pt>
                <c:pt idx="2195">
                  <c:v>239.18947415426851</c:v>
                </c:pt>
                <c:pt idx="2196">
                  <c:v>240.28783421610575</c:v>
                </c:pt>
                <c:pt idx="2197">
                  <c:v>241.53156351079636</c:v>
                </c:pt>
                <c:pt idx="2198">
                  <c:v>241.88195299238845</c:v>
                </c:pt>
                <c:pt idx="2199">
                  <c:v>241.67985757320429</c:v>
                </c:pt>
                <c:pt idx="2200">
                  <c:v>242.18339478231675</c:v>
                </c:pt>
                <c:pt idx="2201">
                  <c:v>241.20877903088046</c:v>
                </c:pt>
                <c:pt idx="2202">
                  <c:v>241.67145878274425</c:v>
                </c:pt>
                <c:pt idx="2203">
                  <c:v>241.62850005190748</c:v>
                </c:pt>
                <c:pt idx="2204">
                  <c:v>241.64096216045627</c:v>
                </c:pt>
                <c:pt idx="2205">
                  <c:v>241.76266641255117</c:v>
                </c:pt>
                <c:pt idx="2206">
                  <c:v>242.44886990399118</c:v>
                </c:pt>
                <c:pt idx="2207">
                  <c:v>242.45736878309705</c:v>
                </c:pt>
                <c:pt idx="2208">
                  <c:v>241.91731206573292</c:v>
                </c:pt>
                <c:pt idx="2209">
                  <c:v>242.61536299435127</c:v>
                </c:pt>
                <c:pt idx="2210">
                  <c:v>241.23022710554753</c:v>
                </c:pt>
                <c:pt idx="2211">
                  <c:v>241.86631454159306</c:v>
                </c:pt>
                <c:pt idx="2212">
                  <c:v>242.24368074015871</c:v>
                </c:pt>
                <c:pt idx="2213">
                  <c:v>241.40883427404361</c:v>
                </c:pt>
                <c:pt idx="2214">
                  <c:v>239.97209538288223</c:v>
                </c:pt>
                <c:pt idx="2215">
                  <c:v>242.50977282349501</c:v>
                </c:pt>
                <c:pt idx="2216">
                  <c:v>243.9026723363157</c:v>
                </c:pt>
                <c:pt idx="2217">
                  <c:v>244.18637233202145</c:v>
                </c:pt>
                <c:pt idx="2218">
                  <c:v>244.99250506650995</c:v>
                </c:pt>
                <c:pt idx="2219">
                  <c:v>244.99250506650995</c:v>
                </c:pt>
                <c:pt idx="2220">
                  <c:v>244.91753177424727</c:v>
                </c:pt>
                <c:pt idx="2221">
                  <c:v>245.51127904734145</c:v>
                </c:pt>
                <c:pt idx="2222">
                  <c:v>245.91488137311788</c:v>
                </c:pt>
                <c:pt idx="2223">
                  <c:v>244.69810524257522</c:v>
                </c:pt>
                <c:pt idx="2224">
                  <c:v>244.67690110658657</c:v>
                </c:pt>
                <c:pt idx="2225">
                  <c:v>242.11108337413521</c:v>
                </c:pt>
                <c:pt idx="2226">
                  <c:v>241.21350477148752</c:v>
                </c:pt>
                <c:pt idx="2227">
                  <c:v>239.72877511947704</c:v>
                </c:pt>
                <c:pt idx="2228">
                  <c:v>238.21823469861303</c:v>
                </c:pt>
                <c:pt idx="2229">
                  <c:v>237.04786618755946</c:v>
                </c:pt>
                <c:pt idx="2230">
                  <c:v>238.81789474780084</c:v>
                </c:pt>
                <c:pt idx="2231">
                  <c:v>238.11926961920312</c:v>
                </c:pt>
                <c:pt idx="2232">
                  <c:v>239.73810288020002</c:v>
                </c:pt>
                <c:pt idx="2233">
                  <c:v>240.76496110001648</c:v>
                </c:pt>
                <c:pt idx="2234">
                  <c:v>240.11165206565934</c:v>
                </c:pt>
                <c:pt idx="2235">
                  <c:v>240.17385503802285</c:v>
                </c:pt>
                <c:pt idx="2236">
                  <c:v>239.86757781153622</c:v>
                </c:pt>
                <c:pt idx="2237">
                  <c:v>238.75240412416267</c:v>
                </c:pt>
                <c:pt idx="2238">
                  <c:v>240.20070061324779</c:v>
                </c:pt>
                <c:pt idx="2239">
                  <c:v>240.72906530936402</c:v>
                </c:pt>
                <c:pt idx="2240">
                  <c:v>239.88914149634485</c:v>
                </c:pt>
                <c:pt idx="2241">
                  <c:v>238.21119019470177</c:v>
                </c:pt>
                <c:pt idx="2242">
                  <c:v>240.38506111072664</c:v>
                </c:pt>
                <c:pt idx="2243">
                  <c:v>239.98813664851787</c:v>
                </c:pt>
                <c:pt idx="2244">
                  <c:v>239.94241599286582</c:v>
                </c:pt>
                <c:pt idx="2245">
                  <c:v>239.99774293061392</c:v>
                </c:pt>
                <c:pt idx="2246">
                  <c:v>241.72098041849486</c:v>
                </c:pt>
                <c:pt idx="2247">
                  <c:v>241.65521199904285</c:v>
                </c:pt>
                <c:pt idx="2248">
                  <c:v>243.34447035577597</c:v>
                </c:pt>
                <c:pt idx="2249">
                  <c:v>242.74540152265013</c:v>
                </c:pt>
                <c:pt idx="2250">
                  <c:v>241.60166252006289</c:v>
                </c:pt>
                <c:pt idx="2251">
                  <c:v>241.20633813689815</c:v>
                </c:pt>
                <c:pt idx="2252">
                  <c:v>243.97118742368411</c:v>
                </c:pt>
                <c:pt idx="2253">
                  <c:v>242.93323791008805</c:v>
                </c:pt>
                <c:pt idx="2254">
                  <c:v>241.2453869822175</c:v>
                </c:pt>
                <c:pt idx="2255">
                  <c:v>242.74339845728511</c:v>
                </c:pt>
                <c:pt idx="2256">
                  <c:v>242.47195286441539</c:v>
                </c:pt>
                <c:pt idx="2257">
                  <c:v>242.47195286441539</c:v>
                </c:pt>
                <c:pt idx="2258">
                  <c:v>242.47195286441539</c:v>
                </c:pt>
                <c:pt idx="2259">
                  <c:v>242.57363351369929</c:v>
                </c:pt>
                <c:pt idx="2260">
                  <c:v>241.98515893156056</c:v>
                </c:pt>
                <c:pt idx="2261">
                  <c:v>241.7925408697597</c:v>
                </c:pt>
                <c:pt idx="2262">
                  <c:v>241.7925408697597</c:v>
                </c:pt>
                <c:pt idx="2263">
                  <c:v>241.22708719338911</c:v>
                </c:pt>
                <c:pt idx="2264">
                  <c:v>242.36674575876859</c:v>
                </c:pt>
                <c:pt idx="2265">
                  <c:v>244.55495180740127</c:v>
                </c:pt>
                <c:pt idx="2266">
                  <c:v>246.8110658600061</c:v>
                </c:pt>
                <c:pt idx="2267">
                  <c:v>247.49810391530281</c:v>
                </c:pt>
                <c:pt idx="2268">
                  <c:v>248.57848025173109</c:v>
                </c:pt>
                <c:pt idx="2269">
                  <c:v>247.7483758397652</c:v>
                </c:pt>
                <c:pt idx="2270">
                  <c:v>246.93783532256924</c:v>
                </c:pt>
                <c:pt idx="2271">
                  <c:v>247.64691436276553</c:v>
                </c:pt>
                <c:pt idx="2272">
                  <c:v>247.27039192754239</c:v>
                </c:pt>
                <c:pt idx="2273">
                  <c:v>247.53401797649479</c:v>
                </c:pt>
                <c:pt idx="2274">
                  <c:v>247.27470387621807</c:v>
                </c:pt>
                <c:pt idx="2275">
                  <c:v>247.7724628675015</c:v>
                </c:pt>
                <c:pt idx="2276">
                  <c:v>249.08673904622395</c:v>
                </c:pt>
                <c:pt idx="2277">
                  <c:v>249.90994689748774</c:v>
                </c:pt>
                <c:pt idx="2278">
                  <c:v>250.28793594211555</c:v>
                </c:pt>
                <c:pt idx="2279">
                  <c:v>248.99831570116925</c:v>
                </c:pt>
                <c:pt idx="2280">
                  <c:v>247.61897990914937</c:v>
                </c:pt>
                <c:pt idx="2281">
                  <c:v>248.8269002156411</c:v>
                </c:pt>
                <c:pt idx="2282">
                  <c:v>248.39889163033527</c:v>
                </c:pt>
                <c:pt idx="2283">
                  <c:v>246.15875009500181</c:v>
                </c:pt>
                <c:pt idx="2284">
                  <c:v>245.66451289196354</c:v>
                </c:pt>
              </c:numCache>
            </c:numRef>
          </c:val>
          <c:smooth val="0"/>
          <c:extLst xmlns:c16r2="http://schemas.microsoft.com/office/drawing/2015/06/chart">
            <c:ext xmlns:c16="http://schemas.microsoft.com/office/drawing/2014/chart" uri="{C3380CC4-5D6E-409C-BE32-E72D297353CC}">
              <c16:uniqueId val="{00000001-D9EF-4899-BC3A-4AA0FE740ADE}"/>
            </c:ext>
          </c:extLst>
        </c:ser>
        <c:dLbls>
          <c:showLegendKey val="0"/>
          <c:showVal val="0"/>
          <c:showCatName val="0"/>
          <c:showSerName val="0"/>
          <c:showPercent val="0"/>
          <c:showBubbleSize val="0"/>
        </c:dLbls>
        <c:marker val="1"/>
        <c:smooth val="0"/>
        <c:axId val="216836352"/>
        <c:axId val="216842240"/>
      </c:lineChart>
      <c:dateAx>
        <c:axId val="216836352"/>
        <c:scaling>
          <c:orientation val="minMax"/>
        </c:scaling>
        <c:delete val="0"/>
        <c:axPos val="b"/>
        <c:numFmt formatCode="[$-409]mmm\-yy;@" sourceLinked="0"/>
        <c:majorTickMark val="out"/>
        <c:minorTickMark val="none"/>
        <c:tickLblPos val="low"/>
        <c:spPr>
          <a:ln w="3175">
            <a:solidFill>
              <a:srgbClr val="003C64"/>
            </a:solidFill>
            <a:prstDash val="solid"/>
          </a:ln>
        </c:spPr>
        <c:txPr>
          <a:bodyPr rot="0" vert="horz"/>
          <a:lstStyle/>
          <a:p>
            <a:pPr>
              <a:defRPr sz="900" b="0" i="0" u="none" strike="noStrike" baseline="0">
                <a:solidFill>
                  <a:srgbClr val="003C64"/>
                </a:solidFill>
                <a:latin typeface="Arial"/>
                <a:ea typeface="Arial"/>
                <a:cs typeface="Arial"/>
              </a:defRPr>
            </a:pPr>
            <a:endParaRPr lang="en-US"/>
          </a:p>
        </c:txPr>
        <c:crossAx val="216842240"/>
        <c:crosses val="autoZero"/>
        <c:auto val="1"/>
        <c:lblOffset val="100"/>
        <c:baseTimeUnit val="days"/>
      </c:dateAx>
      <c:valAx>
        <c:axId val="216842240"/>
        <c:scaling>
          <c:orientation val="minMax"/>
        </c:scaling>
        <c:delete val="0"/>
        <c:axPos val="l"/>
        <c:numFmt formatCode="General" sourceLinked="0"/>
        <c:majorTickMark val="out"/>
        <c:minorTickMark val="none"/>
        <c:tickLblPos val="low"/>
        <c:spPr>
          <a:ln w="3175">
            <a:solidFill>
              <a:srgbClr val="003C64"/>
            </a:solidFill>
            <a:prstDash val="solid"/>
          </a:ln>
        </c:spPr>
        <c:txPr>
          <a:bodyPr rot="0" vert="horz"/>
          <a:lstStyle/>
          <a:p>
            <a:pPr>
              <a:defRPr sz="900" b="0" i="0" u="none" strike="noStrike" baseline="0">
                <a:solidFill>
                  <a:srgbClr val="003C64"/>
                </a:solidFill>
                <a:latin typeface="Arial"/>
                <a:ea typeface="Arial"/>
                <a:cs typeface="Arial"/>
              </a:defRPr>
            </a:pPr>
            <a:endParaRPr lang="en-US"/>
          </a:p>
        </c:txPr>
        <c:crossAx val="216836352"/>
        <c:crosses val="autoZero"/>
        <c:crossBetween val="between"/>
      </c:valAx>
      <c:spPr>
        <a:noFill/>
        <a:ln w="25400">
          <a:noFill/>
        </a:ln>
      </c:spPr>
    </c:plotArea>
    <c:plotVisOnly val="1"/>
    <c:dispBlanksAs val="span"/>
    <c:showDLblsOverMax val="0"/>
  </c:chart>
  <c:spPr>
    <a:noFill/>
    <a:ln w="25400">
      <a:noFill/>
    </a:ln>
  </c:spPr>
  <c:txPr>
    <a:bodyPr/>
    <a:lstStyle/>
    <a:p>
      <a:pPr>
        <a:defRPr sz="1000" b="0" i="0" u="none" strike="noStrike" baseline="0">
          <a:solidFill>
            <a:srgbClr val="000000"/>
          </a:solidFill>
          <a:latin typeface="Arial"/>
          <a:ea typeface="Arial"/>
          <a:cs typeface="Arial"/>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xMode val="edge"/>
          <c:yMode val="edge"/>
          <c:x val="7.2727272727272727E-3"/>
          <c:y val="1.3333333333333334E-2"/>
          <c:w val="0.99272727272727268"/>
          <c:h val="0.9"/>
        </c:manualLayout>
      </c:layout>
      <c:barChart>
        <c:barDir val="col"/>
        <c:grouping val="clustered"/>
        <c:varyColors val="0"/>
        <c:ser>
          <c:idx val="0"/>
          <c:order val="0"/>
          <c:tx>
            <c:strRef>
              <c:f>'Amundi Fds Europe MinVar BRUT'!$T$105</c:f>
              <c:strCache>
                <c:ptCount val="1"/>
                <c:pt idx="0">
                  <c:v>Amundi Fds Europe Conservative</c:v>
                </c:pt>
              </c:strCache>
            </c:strRef>
          </c:tx>
          <c:spPr>
            <a:solidFill>
              <a:srgbClr val="003C64"/>
            </a:solidFill>
            <a:ln>
              <a:noFill/>
              <a:round/>
            </a:ln>
            <a:effectLst/>
            <a:extLst>
              <a:ext uri="{91240B29-F687-4F45-9708-019B960494DF}">
                <a14:hiddenLine xmlns:a14="http://schemas.microsoft.com/office/drawing/2010/main">
                  <a:noFill/>
                  <a:round/>
                </a14:hiddenLine>
              </a:ext>
            </a:extLst>
          </c:spPr>
          <c:invertIfNegative val="0"/>
          <c:dLbls>
            <c:dLbl>
              <c:idx val="0"/>
              <c:layout>
                <c:manualLayout>
                  <c:x val="-1.6666666666666666E-2"/>
                  <c:y val="0"/>
                </c:manualLayout>
              </c:layout>
              <c:tx>
                <c:rich>
                  <a:bodyPr/>
                  <a:lstStyle/>
                  <a:p>
                    <a:r>
                      <a:rPr lang="en-US" dirty="0" smtClean="0"/>
                      <a:t>19.9</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342F-4052-AE90-F7C2DAA28C26}"/>
                </c:ext>
              </c:extLst>
            </c:dLbl>
            <c:dLbl>
              <c:idx val="1"/>
              <c:tx>
                <c:rich>
                  <a:bodyPr/>
                  <a:lstStyle/>
                  <a:p>
                    <a:r>
                      <a:rPr lang="en-US" smtClean="0"/>
                      <a:t>15.3</a:t>
                    </a:r>
                    <a:r>
                      <a:rPr lang="en-US"/>
                      <a:t>%</a:t>
                    </a:r>
                  </a:p>
                </c:rich>
              </c:tx>
              <c:showLegendKey val="0"/>
              <c:showVal val="1"/>
              <c:showCatName val="0"/>
              <c:showSerName val="0"/>
              <c:showPercent val="0"/>
              <c:showBubbleSize val="0"/>
            </c:dLbl>
            <c:dLbl>
              <c:idx val="2"/>
              <c:layout>
                <c:manualLayout>
                  <c:x val="3.5898243488794671E-3"/>
                  <c:y val="0"/>
                </c:manualLayout>
              </c:layout>
              <c:tx>
                <c:rich>
                  <a:bodyPr/>
                  <a:lstStyle/>
                  <a:p>
                    <a:r>
                      <a:rPr lang="en-US" dirty="0" smtClean="0"/>
                      <a:t>1.6</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342F-4052-AE90-F7C2DAA28C26}"/>
                </c:ext>
              </c:extLst>
            </c:dLbl>
            <c:dLbl>
              <c:idx val="3"/>
              <c:layout>
                <c:manualLayout>
                  <c:x val="-1.6176272789397528E-2"/>
                  <c:y val="1.2397675285739951E-2"/>
                </c:manualLayout>
              </c:layout>
              <c:tx>
                <c:rich>
                  <a:bodyPr/>
                  <a:lstStyle/>
                  <a:p>
                    <a:r>
                      <a:rPr lang="en-US" dirty="0" smtClean="0"/>
                      <a:t>16.9</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342F-4052-AE90-F7C2DAA28C26}"/>
                </c:ext>
              </c:extLst>
            </c:dLbl>
            <c:dLbl>
              <c:idx val="4"/>
              <c:layout>
                <c:manualLayout>
                  <c:x val="-1.1393266274737582E-2"/>
                  <c:y val="3.4110154818241456E-3"/>
                </c:manualLayout>
              </c:layout>
              <c:tx>
                <c:rich>
                  <a:bodyPr/>
                  <a:lstStyle/>
                  <a:p>
                    <a:r>
                      <a:rPr lang="en-US" dirty="0" smtClean="0"/>
                      <a:t>18.0</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342F-4052-AE90-F7C2DAA28C26}"/>
                </c:ext>
              </c:extLst>
            </c:dLbl>
            <c:dLbl>
              <c:idx val="5"/>
              <c:layout>
                <c:manualLayout>
                  <c:x val="-9.2307692307692316E-3"/>
                  <c:y val="5.0000000000000001E-3"/>
                </c:manualLayout>
              </c:layout>
              <c:tx>
                <c:rich>
                  <a:bodyPr/>
                  <a:lstStyle/>
                  <a:p>
                    <a:r>
                      <a:rPr lang="en-US" dirty="0" smtClean="0"/>
                      <a:t>11.5</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342F-4052-AE90-F7C2DAA28C26}"/>
                </c:ext>
              </c:extLst>
            </c:dLbl>
            <c:dLbl>
              <c:idx val="6"/>
              <c:layout>
                <c:manualLayout>
                  <c:x val="0"/>
                  <c:y val="1.4999999999999977E-2"/>
                </c:manualLayout>
              </c:layout>
              <c:tx>
                <c:rich>
                  <a:bodyPr/>
                  <a:lstStyle/>
                  <a:p>
                    <a:r>
                      <a:rPr lang="en-US" dirty="0" smtClean="0"/>
                      <a:t>20.0</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342F-4052-AE90-F7C2DAA28C26}"/>
                </c:ext>
              </c:extLst>
            </c:dLbl>
            <c:dLbl>
              <c:idx val="7"/>
              <c:layout>
                <c:manualLayout>
                  <c:x val="-1.1576172545301345E-2"/>
                  <c:y val="3.6839580557799551E-3"/>
                </c:manualLayout>
              </c:layout>
              <c:tx>
                <c:rich>
                  <a:bodyPr/>
                  <a:lstStyle/>
                  <a:p>
                    <a:r>
                      <a:rPr lang="en-US" dirty="0" smtClean="0"/>
                      <a:t>1.6</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342F-4052-AE90-F7C2DAA28C26}"/>
                </c:ext>
              </c:extLst>
            </c:dLbl>
            <c:dLbl>
              <c:idx val="8"/>
              <c:layout>
                <c:manualLayout>
                  <c:x val="-1.5384681460272012E-2"/>
                  <c:y val="1.1666666666666667E-2"/>
                </c:manualLayout>
              </c:layout>
              <c:tx>
                <c:rich>
                  <a:bodyPr/>
                  <a:lstStyle/>
                  <a:p>
                    <a:r>
                      <a:rPr lang="en-US" dirty="0" smtClean="0"/>
                      <a:t>9.3</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342F-4052-AE90-F7C2DAA28C26}"/>
                </c:ext>
              </c:extLst>
            </c:dLbl>
            <c:dLbl>
              <c:idx val="9"/>
              <c:layout>
                <c:manualLayout>
                  <c:x val="-1.5320096528671199E-2"/>
                  <c:y val="6.4913308787243051E-3"/>
                </c:manualLayout>
              </c:layout>
              <c:showLegendKey val="0"/>
              <c:showVal val="1"/>
              <c:showCatName val="0"/>
              <c:showSerName val="0"/>
              <c:showPercent val="0"/>
              <c:showBubbleSize val="0"/>
            </c:dLbl>
            <c:numFmt formatCode="0.0%" sourceLinked="0"/>
            <c:spPr>
              <a:noFill/>
              <a:ln>
                <a:noFill/>
              </a:ln>
              <a:effectLst/>
            </c:spPr>
            <c:txPr>
              <a:bodyPr/>
              <a:lstStyle/>
              <a:p>
                <a:pPr>
                  <a:defRPr sz="900" b="0" i="0" baseline="0">
                    <a:solidFill>
                      <a:srgbClr val="003C64"/>
                    </a:solidFill>
                    <a:latin typeface="Arial(Corps)"/>
                    <a:ea typeface="Arial(Corps)"/>
                    <a:cs typeface="Arial(Corp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mundi Fds Europe MinVar BRUT'!$S$107:$S$116</c:f>
              <c:strCache>
                <c:ptCount val="10"/>
                <c:pt idx="0">
                  <c:v>2009 (partial)</c:v>
                </c:pt>
                <c:pt idx="1">
                  <c:v>2010</c:v>
                </c:pt>
                <c:pt idx="2">
                  <c:v>2011</c:v>
                </c:pt>
                <c:pt idx="3">
                  <c:v>2012</c:v>
                </c:pt>
                <c:pt idx="4">
                  <c:v>2013</c:v>
                </c:pt>
                <c:pt idx="5">
                  <c:v>2014</c:v>
                </c:pt>
                <c:pt idx="6">
                  <c:v>2015</c:v>
                </c:pt>
                <c:pt idx="7">
                  <c:v>2016</c:v>
                </c:pt>
                <c:pt idx="8">
                  <c:v>2017</c:v>
                </c:pt>
                <c:pt idx="9">
                  <c:v>YTD</c:v>
                </c:pt>
              </c:strCache>
            </c:strRef>
          </c:cat>
          <c:val>
            <c:numRef>
              <c:f>'Amundi Fds Europe MinVar BRUT'!$T$107:$T$116</c:f>
              <c:numCache>
                <c:formatCode>0\.0%</c:formatCode>
                <c:ptCount val="10"/>
                <c:pt idx="0">
                  <c:v>0.19930220122717568</c:v>
                </c:pt>
                <c:pt idx="1">
                  <c:v>0.152790566508614</c:v>
                </c:pt>
                <c:pt idx="2">
                  <c:v>1.5935666422327355E-2</c:v>
                </c:pt>
                <c:pt idx="3">
                  <c:v>0.16945915108568821</c:v>
                </c:pt>
                <c:pt idx="4">
                  <c:v>0.17966131432930132</c:v>
                </c:pt>
                <c:pt idx="5">
                  <c:v>0.11539213168067408</c:v>
                </c:pt>
                <c:pt idx="6">
                  <c:v>0.19972228809625192</c:v>
                </c:pt>
                <c:pt idx="7">
                  <c:v>1.6038131670890632E-2</c:v>
                </c:pt>
                <c:pt idx="8">
                  <c:v>9.3205019692278679E-2</c:v>
                </c:pt>
                <c:pt idx="9">
                  <c:v>1.402958040144564E-2</c:v>
                </c:pt>
              </c:numCache>
            </c:numRef>
          </c:val>
          <c:extLst xmlns:c16r2="http://schemas.microsoft.com/office/drawing/2015/06/chart">
            <c:ext xmlns:c16="http://schemas.microsoft.com/office/drawing/2014/chart" uri="{C3380CC4-5D6E-409C-BE32-E72D297353CC}">
              <c16:uniqueId val="{00000008-342F-4052-AE90-F7C2DAA28C26}"/>
            </c:ext>
          </c:extLst>
        </c:ser>
        <c:ser>
          <c:idx val="1"/>
          <c:order val="1"/>
          <c:tx>
            <c:strRef>
              <c:f>'Amundi Fds Europe MinVar BRUT'!$U$105</c:f>
              <c:strCache>
                <c:ptCount val="1"/>
                <c:pt idx="0">
                  <c:v>MSCI Europe</c:v>
                </c:pt>
              </c:strCache>
            </c:strRef>
          </c:tx>
          <c:spPr>
            <a:solidFill>
              <a:srgbClr val="00A0E3"/>
            </a:solidFill>
            <a:ln>
              <a:noFill/>
              <a:round/>
            </a:ln>
            <a:effectLst/>
            <a:extLst>
              <a:ext uri="{91240B29-F687-4F45-9708-019B960494DF}">
                <a14:hiddenLine xmlns:a14="http://schemas.microsoft.com/office/drawing/2010/main">
                  <a:noFill/>
                  <a:round/>
                </a14:hiddenLine>
              </a:ext>
            </a:extLst>
          </c:spPr>
          <c:invertIfNegative val="0"/>
          <c:dLbls>
            <c:dLbl>
              <c:idx val="0"/>
              <c:layout>
                <c:manualLayout>
                  <c:x val="5.7574803149606302E-3"/>
                  <c:y val="7.6388006448119963E-18"/>
                </c:manualLayout>
              </c:layout>
              <c:tx>
                <c:rich>
                  <a:bodyPr/>
                  <a:lstStyle/>
                  <a:p>
                    <a:r>
                      <a:rPr lang="en-US" dirty="0" smtClean="0"/>
                      <a:t>28.9</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342F-4052-AE90-F7C2DAA28C26}"/>
                </c:ext>
              </c:extLst>
            </c:dLbl>
            <c:dLbl>
              <c:idx val="1"/>
              <c:layout>
                <c:manualLayout>
                  <c:x val="1.1491911238367932E-2"/>
                  <c:y val="5.3706036745406827E-3"/>
                </c:manualLayout>
              </c:layout>
              <c:tx>
                <c:rich>
                  <a:bodyPr/>
                  <a:lstStyle/>
                  <a:p>
                    <a:r>
                      <a:rPr lang="en-US" dirty="0" smtClean="0"/>
                      <a:t>11.1</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A-342F-4052-AE90-F7C2DAA28C26}"/>
                </c:ext>
              </c:extLst>
            </c:dLbl>
            <c:dLbl>
              <c:idx val="2"/>
              <c:layout>
                <c:manualLayout>
                  <c:x val="8.333318254498203E-3"/>
                  <c:y val="7.0183042752569634E-3"/>
                </c:manualLayout>
              </c:layout>
              <c:tx>
                <c:rich>
                  <a:bodyPr/>
                  <a:lstStyle/>
                  <a:p>
                    <a:r>
                      <a:rPr lang="en-US" dirty="0"/>
                      <a:t>-</a:t>
                    </a:r>
                    <a:r>
                      <a:rPr lang="en-US" dirty="0" smtClean="0"/>
                      <a:t>8.1</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B-342F-4052-AE90-F7C2DAA28C26}"/>
                </c:ext>
              </c:extLst>
            </c:dLbl>
            <c:dLbl>
              <c:idx val="3"/>
              <c:layout>
                <c:manualLayout>
                  <c:x val="1.8803149606299212E-3"/>
                  <c:y val="-1.7592650918635169E-2"/>
                </c:manualLayout>
              </c:layout>
              <c:tx>
                <c:rich>
                  <a:bodyPr/>
                  <a:lstStyle/>
                  <a:p>
                    <a:r>
                      <a:rPr lang="en-US" dirty="0" smtClean="0"/>
                      <a:t>17.3</a:t>
                    </a:r>
                    <a:r>
                      <a:rPr lang="en-US" dirty="0"/>
                      <a:t>%</a:t>
                    </a:r>
                  </a:p>
                </c:rich>
              </c:tx>
              <c:showLegendKey val="0"/>
              <c:showVal val="1"/>
              <c:showCatName val="0"/>
              <c:showSerName val="0"/>
              <c:showPercent val="0"/>
              <c:showBubbleSize val="0"/>
            </c:dLbl>
            <c:dLbl>
              <c:idx val="4"/>
              <c:layout>
                <c:manualLayout>
                  <c:x val="1.490336435218325E-4"/>
                  <c:y val="-1.1031496062992125E-2"/>
                </c:manualLayout>
              </c:layout>
              <c:tx>
                <c:rich>
                  <a:bodyPr/>
                  <a:lstStyle/>
                  <a:p>
                    <a:r>
                      <a:rPr lang="en-US" dirty="0" smtClean="0"/>
                      <a:t>19.8</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342F-4052-AE90-F7C2DAA28C26}"/>
                </c:ext>
              </c:extLst>
            </c:dLbl>
            <c:dLbl>
              <c:idx val="5"/>
              <c:layout>
                <c:manualLayout>
                  <c:x val="8.5354330708661413E-3"/>
                  <c:y val="1.4999999999999999E-2"/>
                </c:manualLayout>
              </c:layout>
              <c:tx>
                <c:rich>
                  <a:bodyPr/>
                  <a:lstStyle/>
                  <a:p>
                    <a:r>
                      <a:rPr lang="en-US" dirty="0" smtClean="0"/>
                      <a:t>6.8</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E-342F-4052-AE90-F7C2DAA28C26}"/>
                </c:ext>
              </c:extLst>
            </c:dLbl>
            <c:dLbl>
              <c:idx val="6"/>
              <c:layout>
                <c:manualLayout>
                  <c:x val="1.2118256669519583E-2"/>
                  <c:y val="4.5040635986865621E-3"/>
                </c:manualLayout>
              </c:layout>
              <c:tx>
                <c:rich>
                  <a:bodyPr/>
                  <a:lstStyle/>
                  <a:p>
                    <a:r>
                      <a:rPr lang="en-US" dirty="0" smtClean="0"/>
                      <a:t>8.2</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F-342F-4052-AE90-F7C2DAA28C26}"/>
                </c:ext>
              </c:extLst>
            </c:dLbl>
            <c:dLbl>
              <c:idx val="7"/>
              <c:layout>
                <c:manualLayout>
                  <c:x val="-2.2377952755905511E-3"/>
                  <c:y val="-0.01"/>
                </c:manualLayout>
              </c:layout>
              <c:tx>
                <c:rich>
                  <a:bodyPr/>
                  <a:lstStyle/>
                  <a:p>
                    <a:r>
                      <a:rPr lang="en-US" dirty="0" smtClean="0"/>
                      <a:t>2.6</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0-342F-4052-AE90-F7C2DAA28C26}"/>
                </c:ext>
              </c:extLst>
            </c:dLbl>
            <c:dLbl>
              <c:idx val="8"/>
              <c:layout>
                <c:manualLayout>
                  <c:x val="1.4545454545454545E-2"/>
                  <c:y val="-1.6666666666666668E-3"/>
                </c:manualLayout>
              </c:layout>
              <c:tx>
                <c:rich>
                  <a:bodyPr/>
                  <a:lstStyle/>
                  <a:p>
                    <a:r>
                      <a:rPr lang="en-US" dirty="0" smtClean="0"/>
                      <a:t>10.2</a:t>
                    </a:r>
                    <a:r>
                      <a:rPr lang="en-US" dirty="0"/>
                      <a:t>%</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1-342F-4052-AE90-F7C2DAA28C26}"/>
                </c:ext>
              </c:extLst>
            </c:dLbl>
            <c:numFmt formatCode="0.0%" sourceLinked="0"/>
            <c:spPr>
              <a:noFill/>
              <a:ln>
                <a:noFill/>
              </a:ln>
              <a:effectLst/>
            </c:spPr>
            <c:txPr>
              <a:bodyPr/>
              <a:lstStyle/>
              <a:p>
                <a:pPr>
                  <a:defRPr sz="900" b="0" i="0">
                    <a:solidFill>
                      <a:srgbClr val="00A0E3"/>
                    </a:solidFill>
                    <a:latin typeface="Arial(Corps)"/>
                    <a:ea typeface="Arial(Corps)"/>
                    <a:cs typeface="Arial(Corp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mundi Fds Europe MinVar BRUT'!$S$107:$S$116</c:f>
              <c:strCache>
                <c:ptCount val="10"/>
                <c:pt idx="0">
                  <c:v>2009 (partial)</c:v>
                </c:pt>
                <c:pt idx="1">
                  <c:v>2010</c:v>
                </c:pt>
                <c:pt idx="2">
                  <c:v>2011</c:v>
                </c:pt>
                <c:pt idx="3">
                  <c:v>2012</c:v>
                </c:pt>
                <c:pt idx="4">
                  <c:v>2013</c:v>
                </c:pt>
                <c:pt idx="5">
                  <c:v>2014</c:v>
                </c:pt>
                <c:pt idx="6">
                  <c:v>2015</c:v>
                </c:pt>
                <c:pt idx="7">
                  <c:v>2016</c:v>
                </c:pt>
                <c:pt idx="8">
                  <c:v>2017</c:v>
                </c:pt>
                <c:pt idx="9">
                  <c:v>YTD</c:v>
                </c:pt>
              </c:strCache>
            </c:strRef>
          </c:cat>
          <c:val>
            <c:numRef>
              <c:f>'Amundi Fds Europe MinVar BRUT'!$U$107:$U$116</c:f>
              <c:numCache>
                <c:formatCode>0\.0%</c:formatCode>
                <c:ptCount val="10"/>
                <c:pt idx="0">
                  <c:v>0.28858262714933725</c:v>
                </c:pt>
                <c:pt idx="1">
                  <c:v>0.11094124466194044</c:v>
                </c:pt>
                <c:pt idx="2">
                  <c:v>-8.0827276157913408E-2</c:v>
                </c:pt>
                <c:pt idx="3">
                  <c:v>0.17286865317118338</c:v>
                </c:pt>
                <c:pt idx="4">
                  <c:v>0.19823382050892002</c:v>
                </c:pt>
                <c:pt idx="5">
                  <c:v>6.8395360874025091E-2</c:v>
                </c:pt>
                <c:pt idx="6">
                  <c:v>8.2241681310087245E-2</c:v>
                </c:pt>
                <c:pt idx="7">
                  <c:v>2.5766313200967783E-2</c:v>
                </c:pt>
                <c:pt idx="8">
                  <c:v>0.10241921219648109</c:v>
                </c:pt>
                <c:pt idx="9">
                  <c:v>1.6013612364863761E-2</c:v>
                </c:pt>
              </c:numCache>
            </c:numRef>
          </c:val>
          <c:extLst xmlns:c16r2="http://schemas.microsoft.com/office/drawing/2015/06/chart">
            <c:ext xmlns:c16="http://schemas.microsoft.com/office/drawing/2014/chart" uri="{C3380CC4-5D6E-409C-BE32-E72D297353CC}">
              <c16:uniqueId val="{00000012-342F-4052-AE90-F7C2DAA28C26}"/>
            </c:ext>
          </c:extLst>
        </c:ser>
        <c:dLbls>
          <c:showLegendKey val="0"/>
          <c:showVal val="0"/>
          <c:showCatName val="0"/>
          <c:showSerName val="0"/>
          <c:showPercent val="0"/>
          <c:showBubbleSize val="0"/>
        </c:dLbls>
        <c:gapWidth val="150"/>
        <c:axId val="216992000"/>
        <c:axId val="217047040"/>
      </c:barChart>
      <c:catAx>
        <c:axId val="216992000"/>
        <c:scaling>
          <c:orientation val="minMax"/>
        </c:scaling>
        <c:delete val="0"/>
        <c:axPos val="b"/>
        <c:numFmt formatCode="General" sourceLinked="1"/>
        <c:majorTickMark val="out"/>
        <c:minorTickMark val="none"/>
        <c:tickLblPos val="low"/>
        <c:spPr>
          <a:ln>
            <a:solidFill>
              <a:srgbClr val="003C64"/>
            </a:solidFill>
          </a:ln>
        </c:spPr>
        <c:txPr>
          <a:bodyPr/>
          <a:lstStyle/>
          <a:p>
            <a:pPr>
              <a:defRPr sz="900" b="0" i="0" u="none">
                <a:solidFill>
                  <a:srgbClr val="003C64"/>
                </a:solidFill>
                <a:latin typeface="Arial"/>
                <a:ea typeface="Arial"/>
                <a:cs typeface="Arial"/>
              </a:defRPr>
            </a:pPr>
            <a:endParaRPr lang="en-US"/>
          </a:p>
        </c:txPr>
        <c:crossAx val="217047040"/>
        <c:crosses val="autoZero"/>
        <c:auto val="1"/>
        <c:lblAlgn val="ctr"/>
        <c:lblOffset val="100"/>
        <c:noMultiLvlLbl val="0"/>
      </c:catAx>
      <c:valAx>
        <c:axId val="217047040"/>
        <c:scaling>
          <c:orientation val="minMax"/>
        </c:scaling>
        <c:delete val="1"/>
        <c:axPos val="l"/>
        <c:majorGridlines>
          <c:spPr>
            <a:ln>
              <a:solidFill>
                <a:srgbClr val="FFFFFF"/>
              </a:solidFill>
            </a:ln>
          </c:spPr>
        </c:majorGridlines>
        <c:numFmt formatCode="0\.0%" sourceLinked="1"/>
        <c:majorTickMark val="none"/>
        <c:minorTickMark val="none"/>
        <c:tickLblPos val="nextTo"/>
        <c:crossAx val="216992000"/>
        <c:crosses val="autoZero"/>
        <c:crossBetween val="between"/>
      </c:valAx>
    </c:plotArea>
    <c:plotVisOnly val="1"/>
    <c:dispBlanksAs val="gap"/>
    <c:showDLblsOverMax val="0"/>
  </c:chart>
  <c:spPr>
    <a:ln w="9525">
      <a:noFill/>
    </a:ln>
  </c:sp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xMode val="edge"/>
          <c:yMode val="edge"/>
          <c:x val="7.2727965455930913E-3"/>
          <c:y val="2.1052631578947368E-2"/>
          <c:w val="0.9927272034544069"/>
          <c:h val="0.89473684210526316"/>
        </c:manualLayout>
      </c:layout>
      <c:lineChart>
        <c:grouping val="standard"/>
        <c:varyColors val="0"/>
        <c:ser>
          <c:idx val="0"/>
          <c:order val="0"/>
          <c:tx>
            <c:strRef>
              <c:f>'Amundi Fds Europe MinVar BRUT'!$D$4</c:f>
              <c:strCache>
                <c:ptCount val="1"/>
                <c:pt idx="0">
                  <c:v>AFE Europe Conservative</c:v>
                </c:pt>
              </c:strCache>
            </c:strRef>
          </c:tx>
          <c:spPr>
            <a:ln w="28575">
              <a:solidFill>
                <a:srgbClr val="001C4B"/>
              </a:solidFill>
              <a:prstDash val="solid"/>
            </a:ln>
          </c:spPr>
          <c:marker>
            <c:symbol val="none"/>
          </c:marker>
          <c:cat>
            <c:numRef>
              <c:f>[0]!DATE_EUROPEMINVARBR</c:f>
              <c:numCache>
                <c:formatCode>m/d/yyyy</c:formatCode>
                <c:ptCount val="1937"/>
                <c:pt idx="0">
                  <c:v>39933</c:v>
                </c:pt>
                <c:pt idx="1">
                  <c:v>39934</c:v>
                </c:pt>
                <c:pt idx="2">
                  <c:v>39937</c:v>
                </c:pt>
                <c:pt idx="3">
                  <c:v>39938</c:v>
                </c:pt>
                <c:pt idx="4">
                  <c:v>39939</c:v>
                </c:pt>
                <c:pt idx="5">
                  <c:v>39940</c:v>
                </c:pt>
                <c:pt idx="6">
                  <c:v>39941</c:v>
                </c:pt>
                <c:pt idx="7">
                  <c:v>39944</c:v>
                </c:pt>
                <c:pt idx="8">
                  <c:v>39945</c:v>
                </c:pt>
                <c:pt idx="9">
                  <c:v>39946</c:v>
                </c:pt>
                <c:pt idx="10">
                  <c:v>39947</c:v>
                </c:pt>
                <c:pt idx="11">
                  <c:v>39948</c:v>
                </c:pt>
                <c:pt idx="12">
                  <c:v>39951</c:v>
                </c:pt>
                <c:pt idx="13">
                  <c:v>39952</c:v>
                </c:pt>
                <c:pt idx="14">
                  <c:v>39953</c:v>
                </c:pt>
                <c:pt idx="15">
                  <c:v>39954</c:v>
                </c:pt>
                <c:pt idx="16">
                  <c:v>39955</c:v>
                </c:pt>
                <c:pt idx="17">
                  <c:v>39958</c:v>
                </c:pt>
                <c:pt idx="18">
                  <c:v>39959</c:v>
                </c:pt>
                <c:pt idx="19">
                  <c:v>39960</c:v>
                </c:pt>
                <c:pt idx="20">
                  <c:v>39961</c:v>
                </c:pt>
                <c:pt idx="21">
                  <c:v>39962</c:v>
                </c:pt>
                <c:pt idx="22">
                  <c:v>39965</c:v>
                </c:pt>
                <c:pt idx="23">
                  <c:v>39966</c:v>
                </c:pt>
                <c:pt idx="24">
                  <c:v>39967</c:v>
                </c:pt>
                <c:pt idx="25">
                  <c:v>39968</c:v>
                </c:pt>
                <c:pt idx="26">
                  <c:v>39969</c:v>
                </c:pt>
                <c:pt idx="27">
                  <c:v>39972</c:v>
                </c:pt>
                <c:pt idx="28">
                  <c:v>39973</c:v>
                </c:pt>
                <c:pt idx="29">
                  <c:v>39974</c:v>
                </c:pt>
                <c:pt idx="30">
                  <c:v>39975</c:v>
                </c:pt>
                <c:pt idx="31">
                  <c:v>39976</c:v>
                </c:pt>
                <c:pt idx="32">
                  <c:v>39979</c:v>
                </c:pt>
                <c:pt idx="33">
                  <c:v>39980</c:v>
                </c:pt>
                <c:pt idx="34">
                  <c:v>39981</c:v>
                </c:pt>
                <c:pt idx="35">
                  <c:v>39982</c:v>
                </c:pt>
                <c:pt idx="36">
                  <c:v>39983</c:v>
                </c:pt>
                <c:pt idx="37">
                  <c:v>39986</c:v>
                </c:pt>
                <c:pt idx="38">
                  <c:v>39987</c:v>
                </c:pt>
                <c:pt idx="39">
                  <c:v>39988</c:v>
                </c:pt>
                <c:pt idx="40">
                  <c:v>39989</c:v>
                </c:pt>
                <c:pt idx="41">
                  <c:v>39990</c:v>
                </c:pt>
                <c:pt idx="42">
                  <c:v>39993</c:v>
                </c:pt>
                <c:pt idx="43">
                  <c:v>39994</c:v>
                </c:pt>
                <c:pt idx="44">
                  <c:v>39995</c:v>
                </c:pt>
                <c:pt idx="45">
                  <c:v>39996</c:v>
                </c:pt>
                <c:pt idx="46">
                  <c:v>39997</c:v>
                </c:pt>
                <c:pt idx="47">
                  <c:v>40000</c:v>
                </c:pt>
                <c:pt idx="48">
                  <c:v>40001</c:v>
                </c:pt>
                <c:pt idx="49">
                  <c:v>40002</c:v>
                </c:pt>
                <c:pt idx="50">
                  <c:v>40003</c:v>
                </c:pt>
                <c:pt idx="51">
                  <c:v>40004</c:v>
                </c:pt>
                <c:pt idx="52">
                  <c:v>40007</c:v>
                </c:pt>
                <c:pt idx="53">
                  <c:v>40008</c:v>
                </c:pt>
                <c:pt idx="54">
                  <c:v>40009</c:v>
                </c:pt>
                <c:pt idx="55">
                  <c:v>40010</c:v>
                </c:pt>
                <c:pt idx="56">
                  <c:v>40011</c:v>
                </c:pt>
                <c:pt idx="57">
                  <c:v>40014</c:v>
                </c:pt>
                <c:pt idx="58">
                  <c:v>40015</c:v>
                </c:pt>
                <c:pt idx="59">
                  <c:v>40016</c:v>
                </c:pt>
                <c:pt idx="60">
                  <c:v>40017</c:v>
                </c:pt>
                <c:pt idx="61">
                  <c:v>40018</c:v>
                </c:pt>
                <c:pt idx="62">
                  <c:v>40021</c:v>
                </c:pt>
                <c:pt idx="63">
                  <c:v>40022</c:v>
                </c:pt>
                <c:pt idx="64">
                  <c:v>40023</c:v>
                </c:pt>
                <c:pt idx="65">
                  <c:v>40024</c:v>
                </c:pt>
                <c:pt idx="66">
                  <c:v>40025</c:v>
                </c:pt>
                <c:pt idx="67">
                  <c:v>40028</c:v>
                </c:pt>
                <c:pt idx="68">
                  <c:v>40029</c:v>
                </c:pt>
                <c:pt idx="69">
                  <c:v>40030</c:v>
                </c:pt>
                <c:pt idx="70">
                  <c:v>40031</c:v>
                </c:pt>
                <c:pt idx="71">
                  <c:v>40032</c:v>
                </c:pt>
                <c:pt idx="72">
                  <c:v>40035</c:v>
                </c:pt>
                <c:pt idx="73">
                  <c:v>40036</c:v>
                </c:pt>
                <c:pt idx="74">
                  <c:v>40037</c:v>
                </c:pt>
                <c:pt idx="75">
                  <c:v>40038</c:v>
                </c:pt>
                <c:pt idx="76">
                  <c:v>40039</c:v>
                </c:pt>
                <c:pt idx="77">
                  <c:v>40042</c:v>
                </c:pt>
                <c:pt idx="78">
                  <c:v>40043</c:v>
                </c:pt>
                <c:pt idx="79">
                  <c:v>40044</c:v>
                </c:pt>
                <c:pt idx="80">
                  <c:v>40045</c:v>
                </c:pt>
                <c:pt idx="81">
                  <c:v>40046</c:v>
                </c:pt>
                <c:pt idx="82">
                  <c:v>40049</c:v>
                </c:pt>
                <c:pt idx="83">
                  <c:v>40050</c:v>
                </c:pt>
                <c:pt idx="84">
                  <c:v>40051</c:v>
                </c:pt>
                <c:pt idx="85">
                  <c:v>40052</c:v>
                </c:pt>
                <c:pt idx="86">
                  <c:v>40053</c:v>
                </c:pt>
                <c:pt idx="87">
                  <c:v>40056</c:v>
                </c:pt>
                <c:pt idx="88">
                  <c:v>40057</c:v>
                </c:pt>
                <c:pt idx="89">
                  <c:v>40058</c:v>
                </c:pt>
                <c:pt idx="90">
                  <c:v>40059</c:v>
                </c:pt>
                <c:pt idx="91">
                  <c:v>40060</c:v>
                </c:pt>
                <c:pt idx="92">
                  <c:v>40063</c:v>
                </c:pt>
                <c:pt idx="93">
                  <c:v>40064</c:v>
                </c:pt>
                <c:pt idx="94">
                  <c:v>40065</c:v>
                </c:pt>
                <c:pt idx="95">
                  <c:v>40066</c:v>
                </c:pt>
                <c:pt idx="96">
                  <c:v>40067</c:v>
                </c:pt>
                <c:pt idx="97">
                  <c:v>40070</c:v>
                </c:pt>
                <c:pt idx="98">
                  <c:v>40071</c:v>
                </c:pt>
                <c:pt idx="99">
                  <c:v>40072</c:v>
                </c:pt>
                <c:pt idx="100">
                  <c:v>40073</c:v>
                </c:pt>
                <c:pt idx="101">
                  <c:v>40074</c:v>
                </c:pt>
                <c:pt idx="102">
                  <c:v>40077</c:v>
                </c:pt>
                <c:pt idx="103">
                  <c:v>40078</c:v>
                </c:pt>
                <c:pt idx="104">
                  <c:v>40079</c:v>
                </c:pt>
                <c:pt idx="105">
                  <c:v>40080</c:v>
                </c:pt>
                <c:pt idx="106">
                  <c:v>40081</c:v>
                </c:pt>
                <c:pt idx="107">
                  <c:v>40084</c:v>
                </c:pt>
                <c:pt idx="108">
                  <c:v>40085</c:v>
                </c:pt>
                <c:pt idx="109">
                  <c:v>40086</c:v>
                </c:pt>
                <c:pt idx="110">
                  <c:v>40087</c:v>
                </c:pt>
                <c:pt idx="111">
                  <c:v>40088</c:v>
                </c:pt>
                <c:pt idx="112">
                  <c:v>40091</c:v>
                </c:pt>
                <c:pt idx="113">
                  <c:v>40092</c:v>
                </c:pt>
                <c:pt idx="114">
                  <c:v>40093</c:v>
                </c:pt>
                <c:pt idx="115">
                  <c:v>40094</c:v>
                </c:pt>
                <c:pt idx="116">
                  <c:v>40095</c:v>
                </c:pt>
                <c:pt idx="117">
                  <c:v>40098</c:v>
                </c:pt>
                <c:pt idx="118">
                  <c:v>40099</c:v>
                </c:pt>
                <c:pt idx="119">
                  <c:v>40100</c:v>
                </c:pt>
                <c:pt idx="120">
                  <c:v>40101</c:v>
                </c:pt>
                <c:pt idx="121">
                  <c:v>40102</c:v>
                </c:pt>
                <c:pt idx="122">
                  <c:v>40105</c:v>
                </c:pt>
                <c:pt idx="123">
                  <c:v>40106</c:v>
                </c:pt>
                <c:pt idx="124">
                  <c:v>40107</c:v>
                </c:pt>
                <c:pt idx="125">
                  <c:v>40108</c:v>
                </c:pt>
                <c:pt idx="126">
                  <c:v>40109</c:v>
                </c:pt>
                <c:pt idx="127">
                  <c:v>40112</c:v>
                </c:pt>
                <c:pt idx="128">
                  <c:v>40113</c:v>
                </c:pt>
                <c:pt idx="129">
                  <c:v>40114</c:v>
                </c:pt>
                <c:pt idx="130">
                  <c:v>40115</c:v>
                </c:pt>
                <c:pt idx="131">
                  <c:v>40116</c:v>
                </c:pt>
                <c:pt idx="132">
                  <c:v>40119</c:v>
                </c:pt>
                <c:pt idx="133">
                  <c:v>40120</c:v>
                </c:pt>
                <c:pt idx="134">
                  <c:v>40121</c:v>
                </c:pt>
                <c:pt idx="135">
                  <c:v>40122</c:v>
                </c:pt>
                <c:pt idx="136">
                  <c:v>40123</c:v>
                </c:pt>
                <c:pt idx="137">
                  <c:v>40126</c:v>
                </c:pt>
                <c:pt idx="138">
                  <c:v>40127</c:v>
                </c:pt>
                <c:pt idx="139">
                  <c:v>40128</c:v>
                </c:pt>
                <c:pt idx="140">
                  <c:v>40129</c:v>
                </c:pt>
                <c:pt idx="141">
                  <c:v>40130</c:v>
                </c:pt>
                <c:pt idx="142">
                  <c:v>40133</c:v>
                </c:pt>
                <c:pt idx="143">
                  <c:v>40134</c:v>
                </c:pt>
                <c:pt idx="144">
                  <c:v>40135</c:v>
                </c:pt>
                <c:pt idx="145">
                  <c:v>40136</c:v>
                </c:pt>
                <c:pt idx="146">
                  <c:v>40137</c:v>
                </c:pt>
                <c:pt idx="147">
                  <c:v>40140</c:v>
                </c:pt>
                <c:pt idx="148">
                  <c:v>40141</c:v>
                </c:pt>
                <c:pt idx="149">
                  <c:v>40142</c:v>
                </c:pt>
                <c:pt idx="150">
                  <c:v>40143</c:v>
                </c:pt>
                <c:pt idx="151">
                  <c:v>40144</c:v>
                </c:pt>
                <c:pt idx="152">
                  <c:v>40147</c:v>
                </c:pt>
                <c:pt idx="153">
                  <c:v>40148</c:v>
                </c:pt>
                <c:pt idx="154">
                  <c:v>40149</c:v>
                </c:pt>
                <c:pt idx="155">
                  <c:v>40150</c:v>
                </c:pt>
                <c:pt idx="156">
                  <c:v>40151</c:v>
                </c:pt>
                <c:pt idx="157">
                  <c:v>40154</c:v>
                </c:pt>
                <c:pt idx="158">
                  <c:v>40155</c:v>
                </c:pt>
                <c:pt idx="159">
                  <c:v>40156</c:v>
                </c:pt>
                <c:pt idx="160">
                  <c:v>40157</c:v>
                </c:pt>
                <c:pt idx="161">
                  <c:v>40158</c:v>
                </c:pt>
                <c:pt idx="162">
                  <c:v>40161</c:v>
                </c:pt>
                <c:pt idx="163">
                  <c:v>40162</c:v>
                </c:pt>
                <c:pt idx="164">
                  <c:v>40163</c:v>
                </c:pt>
                <c:pt idx="165">
                  <c:v>40164</c:v>
                </c:pt>
                <c:pt idx="166">
                  <c:v>40165</c:v>
                </c:pt>
                <c:pt idx="167">
                  <c:v>40168</c:v>
                </c:pt>
                <c:pt idx="168">
                  <c:v>40169</c:v>
                </c:pt>
                <c:pt idx="169">
                  <c:v>40170</c:v>
                </c:pt>
                <c:pt idx="170">
                  <c:v>40171</c:v>
                </c:pt>
                <c:pt idx="171">
                  <c:v>40172</c:v>
                </c:pt>
                <c:pt idx="172">
                  <c:v>40175</c:v>
                </c:pt>
                <c:pt idx="173">
                  <c:v>40176</c:v>
                </c:pt>
                <c:pt idx="174">
                  <c:v>40177</c:v>
                </c:pt>
                <c:pt idx="175">
                  <c:v>40178</c:v>
                </c:pt>
                <c:pt idx="176">
                  <c:v>40179</c:v>
                </c:pt>
                <c:pt idx="177">
                  <c:v>40182</c:v>
                </c:pt>
                <c:pt idx="178">
                  <c:v>40183</c:v>
                </c:pt>
                <c:pt idx="179">
                  <c:v>40184</c:v>
                </c:pt>
                <c:pt idx="180">
                  <c:v>40185</c:v>
                </c:pt>
                <c:pt idx="181">
                  <c:v>40186</c:v>
                </c:pt>
                <c:pt idx="182">
                  <c:v>40189</c:v>
                </c:pt>
                <c:pt idx="183">
                  <c:v>40190</c:v>
                </c:pt>
                <c:pt idx="184">
                  <c:v>40191</c:v>
                </c:pt>
                <c:pt idx="185">
                  <c:v>40192</c:v>
                </c:pt>
                <c:pt idx="186">
                  <c:v>40193</c:v>
                </c:pt>
                <c:pt idx="187">
                  <c:v>40196</c:v>
                </c:pt>
                <c:pt idx="188">
                  <c:v>40197</c:v>
                </c:pt>
                <c:pt idx="189">
                  <c:v>40198</c:v>
                </c:pt>
                <c:pt idx="190">
                  <c:v>40199</c:v>
                </c:pt>
                <c:pt idx="191">
                  <c:v>40200</c:v>
                </c:pt>
                <c:pt idx="192">
                  <c:v>40203</c:v>
                </c:pt>
                <c:pt idx="193">
                  <c:v>40204</c:v>
                </c:pt>
                <c:pt idx="194">
                  <c:v>40205</c:v>
                </c:pt>
                <c:pt idx="195">
                  <c:v>40206</c:v>
                </c:pt>
                <c:pt idx="196">
                  <c:v>40207</c:v>
                </c:pt>
                <c:pt idx="197">
                  <c:v>40210</c:v>
                </c:pt>
                <c:pt idx="198">
                  <c:v>40211</c:v>
                </c:pt>
                <c:pt idx="199">
                  <c:v>40212</c:v>
                </c:pt>
                <c:pt idx="200">
                  <c:v>40213</c:v>
                </c:pt>
                <c:pt idx="201">
                  <c:v>40214</c:v>
                </c:pt>
                <c:pt idx="202">
                  <c:v>40217</c:v>
                </c:pt>
                <c:pt idx="203">
                  <c:v>40218</c:v>
                </c:pt>
                <c:pt idx="204">
                  <c:v>40219</c:v>
                </c:pt>
                <c:pt idx="205">
                  <c:v>40220</c:v>
                </c:pt>
                <c:pt idx="206">
                  <c:v>40221</c:v>
                </c:pt>
                <c:pt idx="207">
                  <c:v>40224</c:v>
                </c:pt>
                <c:pt idx="208">
                  <c:v>40225</c:v>
                </c:pt>
                <c:pt idx="209">
                  <c:v>40226</c:v>
                </c:pt>
                <c:pt idx="210">
                  <c:v>40227</c:v>
                </c:pt>
                <c:pt idx="211">
                  <c:v>40228</c:v>
                </c:pt>
                <c:pt idx="212">
                  <c:v>40231</c:v>
                </c:pt>
                <c:pt idx="213">
                  <c:v>40232</c:v>
                </c:pt>
                <c:pt idx="214">
                  <c:v>40233</c:v>
                </c:pt>
                <c:pt idx="215">
                  <c:v>40234</c:v>
                </c:pt>
                <c:pt idx="216">
                  <c:v>40235</c:v>
                </c:pt>
                <c:pt idx="217">
                  <c:v>40238</c:v>
                </c:pt>
                <c:pt idx="218">
                  <c:v>40239</c:v>
                </c:pt>
                <c:pt idx="219">
                  <c:v>40240</c:v>
                </c:pt>
                <c:pt idx="220">
                  <c:v>40241</c:v>
                </c:pt>
                <c:pt idx="221">
                  <c:v>40242</c:v>
                </c:pt>
                <c:pt idx="222">
                  <c:v>40245</c:v>
                </c:pt>
                <c:pt idx="223">
                  <c:v>40246</c:v>
                </c:pt>
                <c:pt idx="224">
                  <c:v>40247</c:v>
                </c:pt>
                <c:pt idx="225">
                  <c:v>40248</c:v>
                </c:pt>
                <c:pt idx="226">
                  <c:v>40249</c:v>
                </c:pt>
                <c:pt idx="227">
                  <c:v>40252</c:v>
                </c:pt>
                <c:pt idx="228">
                  <c:v>40253</c:v>
                </c:pt>
                <c:pt idx="229">
                  <c:v>40254</c:v>
                </c:pt>
                <c:pt idx="230">
                  <c:v>40255</c:v>
                </c:pt>
                <c:pt idx="231">
                  <c:v>40256</c:v>
                </c:pt>
                <c:pt idx="232">
                  <c:v>40259</c:v>
                </c:pt>
                <c:pt idx="233">
                  <c:v>40260</c:v>
                </c:pt>
                <c:pt idx="234">
                  <c:v>40261</c:v>
                </c:pt>
                <c:pt idx="235">
                  <c:v>40262</c:v>
                </c:pt>
                <c:pt idx="236">
                  <c:v>40263</c:v>
                </c:pt>
                <c:pt idx="237">
                  <c:v>40266</c:v>
                </c:pt>
                <c:pt idx="238">
                  <c:v>40267</c:v>
                </c:pt>
                <c:pt idx="239">
                  <c:v>40268</c:v>
                </c:pt>
                <c:pt idx="240">
                  <c:v>40269</c:v>
                </c:pt>
                <c:pt idx="241">
                  <c:v>40270</c:v>
                </c:pt>
                <c:pt idx="242">
                  <c:v>40273</c:v>
                </c:pt>
                <c:pt idx="243">
                  <c:v>40274</c:v>
                </c:pt>
                <c:pt idx="244">
                  <c:v>40275</c:v>
                </c:pt>
                <c:pt idx="245">
                  <c:v>40276</c:v>
                </c:pt>
                <c:pt idx="246">
                  <c:v>40277</c:v>
                </c:pt>
                <c:pt idx="247">
                  <c:v>40280</c:v>
                </c:pt>
                <c:pt idx="248">
                  <c:v>40281</c:v>
                </c:pt>
                <c:pt idx="249">
                  <c:v>40282</c:v>
                </c:pt>
                <c:pt idx="250">
                  <c:v>40283</c:v>
                </c:pt>
                <c:pt idx="251">
                  <c:v>40284</c:v>
                </c:pt>
                <c:pt idx="252">
                  <c:v>40287</c:v>
                </c:pt>
                <c:pt idx="253">
                  <c:v>40288</c:v>
                </c:pt>
                <c:pt idx="254">
                  <c:v>40289</c:v>
                </c:pt>
                <c:pt idx="255">
                  <c:v>40290</c:v>
                </c:pt>
                <c:pt idx="256">
                  <c:v>40291</c:v>
                </c:pt>
                <c:pt idx="257">
                  <c:v>40294</c:v>
                </c:pt>
                <c:pt idx="258">
                  <c:v>40295</c:v>
                </c:pt>
                <c:pt idx="259">
                  <c:v>40296</c:v>
                </c:pt>
                <c:pt idx="260">
                  <c:v>40297</c:v>
                </c:pt>
                <c:pt idx="261">
                  <c:v>40298</c:v>
                </c:pt>
                <c:pt idx="262">
                  <c:v>40301</c:v>
                </c:pt>
                <c:pt idx="263">
                  <c:v>40302</c:v>
                </c:pt>
                <c:pt idx="264">
                  <c:v>40303</c:v>
                </c:pt>
                <c:pt idx="265">
                  <c:v>40304</c:v>
                </c:pt>
                <c:pt idx="266">
                  <c:v>40305</c:v>
                </c:pt>
                <c:pt idx="267">
                  <c:v>40308</c:v>
                </c:pt>
                <c:pt idx="268">
                  <c:v>40309</c:v>
                </c:pt>
                <c:pt idx="269">
                  <c:v>40310</c:v>
                </c:pt>
                <c:pt idx="270">
                  <c:v>40311</c:v>
                </c:pt>
                <c:pt idx="271">
                  <c:v>40312</c:v>
                </c:pt>
                <c:pt idx="272">
                  <c:v>40315</c:v>
                </c:pt>
                <c:pt idx="273">
                  <c:v>40316</c:v>
                </c:pt>
                <c:pt idx="274">
                  <c:v>40317</c:v>
                </c:pt>
                <c:pt idx="275">
                  <c:v>40318</c:v>
                </c:pt>
                <c:pt idx="276">
                  <c:v>40319</c:v>
                </c:pt>
                <c:pt idx="277">
                  <c:v>40322</c:v>
                </c:pt>
                <c:pt idx="278">
                  <c:v>40323</c:v>
                </c:pt>
                <c:pt idx="279">
                  <c:v>40324</c:v>
                </c:pt>
                <c:pt idx="280">
                  <c:v>40325</c:v>
                </c:pt>
                <c:pt idx="281">
                  <c:v>40326</c:v>
                </c:pt>
                <c:pt idx="282">
                  <c:v>40329</c:v>
                </c:pt>
                <c:pt idx="283">
                  <c:v>40330</c:v>
                </c:pt>
                <c:pt idx="284">
                  <c:v>40331</c:v>
                </c:pt>
                <c:pt idx="285">
                  <c:v>40332</c:v>
                </c:pt>
                <c:pt idx="286">
                  <c:v>40333</c:v>
                </c:pt>
                <c:pt idx="287">
                  <c:v>40336</c:v>
                </c:pt>
                <c:pt idx="288">
                  <c:v>40337</c:v>
                </c:pt>
                <c:pt idx="289">
                  <c:v>40338</c:v>
                </c:pt>
                <c:pt idx="290">
                  <c:v>40339</c:v>
                </c:pt>
                <c:pt idx="291">
                  <c:v>40340</c:v>
                </c:pt>
                <c:pt idx="292">
                  <c:v>40343</c:v>
                </c:pt>
                <c:pt idx="293">
                  <c:v>40344</c:v>
                </c:pt>
                <c:pt idx="294">
                  <c:v>40345</c:v>
                </c:pt>
                <c:pt idx="295">
                  <c:v>40346</c:v>
                </c:pt>
                <c:pt idx="296">
                  <c:v>40347</c:v>
                </c:pt>
                <c:pt idx="297">
                  <c:v>40350</c:v>
                </c:pt>
                <c:pt idx="298">
                  <c:v>40351</c:v>
                </c:pt>
                <c:pt idx="299">
                  <c:v>40352</c:v>
                </c:pt>
                <c:pt idx="300">
                  <c:v>40353</c:v>
                </c:pt>
                <c:pt idx="301">
                  <c:v>40354</c:v>
                </c:pt>
                <c:pt idx="302">
                  <c:v>40357</c:v>
                </c:pt>
                <c:pt idx="303">
                  <c:v>40358</c:v>
                </c:pt>
                <c:pt idx="304">
                  <c:v>40359</c:v>
                </c:pt>
                <c:pt idx="305">
                  <c:v>40360</c:v>
                </c:pt>
                <c:pt idx="306">
                  <c:v>40361</c:v>
                </c:pt>
                <c:pt idx="307">
                  <c:v>40364</c:v>
                </c:pt>
                <c:pt idx="308">
                  <c:v>40365</c:v>
                </c:pt>
                <c:pt idx="309">
                  <c:v>40366</c:v>
                </c:pt>
                <c:pt idx="310">
                  <c:v>40367</c:v>
                </c:pt>
                <c:pt idx="311">
                  <c:v>40368</c:v>
                </c:pt>
                <c:pt idx="312">
                  <c:v>40371</c:v>
                </c:pt>
                <c:pt idx="313">
                  <c:v>40372</c:v>
                </c:pt>
                <c:pt idx="314">
                  <c:v>40373</c:v>
                </c:pt>
                <c:pt idx="315">
                  <c:v>40374</c:v>
                </c:pt>
                <c:pt idx="316">
                  <c:v>40375</c:v>
                </c:pt>
                <c:pt idx="317">
                  <c:v>40378</c:v>
                </c:pt>
                <c:pt idx="318">
                  <c:v>40379</c:v>
                </c:pt>
                <c:pt idx="319">
                  <c:v>40380</c:v>
                </c:pt>
                <c:pt idx="320">
                  <c:v>40381</c:v>
                </c:pt>
                <c:pt idx="321">
                  <c:v>40382</c:v>
                </c:pt>
                <c:pt idx="322">
                  <c:v>40385</c:v>
                </c:pt>
                <c:pt idx="323">
                  <c:v>40386</c:v>
                </c:pt>
                <c:pt idx="324">
                  <c:v>40387</c:v>
                </c:pt>
                <c:pt idx="325">
                  <c:v>40388</c:v>
                </c:pt>
                <c:pt idx="326">
                  <c:v>40389</c:v>
                </c:pt>
                <c:pt idx="327">
                  <c:v>40392</c:v>
                </c:pt>
                <c:pt idx="328">
                  <c:v>40393</c:v>
                </c:pt>
                <c:pt idx="329">
                  <c:v>40394</c:v>
                </c:pt>
                <c:pt idx="330">
                  <c:v>40395</c:v>
                </c:pt>
                <c:pt idx="331">
                  <c:v>40396</c:v>
                </c:pt>
                <c:pt idx="332">
                  <c:v>40399</c:v>
                </c:pt>
                <c:pt idx="333">
                  <c:v>40400</c:v>
                </c:pt>
                <c:pt idx="334">
                  <c:v>40401</c:v>
                </c:pt>
                <c:pt idx="335">
                  <c:v>40402</c:v>
                </c:pt>
                <c:pt idx="336">
                  <c:v>40403</c:v>
                </c:pt>
                <c:pt idx="337">
                  <c:v>40406</c:v>
                </c:pt>
                <c:pt idx="338">
                  <c:v>40407</c:v>
                </c:pt>
                <c:pt idx="339">
                  <c:v>40408</c:v>
                </c:pt>
                <c:pt idx="340">
                  <c:v>40409</c:v>
                </c:pt>
                <c:pt idx="341">
                  <c:v>40410</c:v>
                </c:pt>
                <c:pt idx="342">
                  <c:v>40413</c:v>
                </c:pt>
                <c:pt idx="343">
                  <c:v>40414</c:v>
                </c:pt>
                <c:pt idx="344">
                  <c:v>40415</c:v>
                </c:pt>
                <c:pt idx="345">
                  <c:v>40416</c:v>
                </c:pt>
                <c:pt idx="346">
                  <c:v>40417</c:v>
                </c:pt>
                <c:pt idx="347">
                  <c:v>40420</c:v>
                </c:pt>
                <c:pt idx="348">
                  <c:v>40421</c:v>
                </c:pt>
                <c:pt idx="349">
                  <c:v>40422</c:v>
                </c:pt>
                <c:pt idx="350">
                  <c:v>40423</c:v>
                </c:pt>
                <c:pt idx="351">
                  <c:v>40424</c:v>
                </c:pt>
                <c:pt idx="352">
                  <c:v>40427</c:v>
                </c:pt>
                <c:pt idx="353">
                  <c:v>40428</c:v>
                </c:pt>
                <c:pt idx="354">
                  <c:v>40429</c:v>
                </c:pt>
                <c:pt idx="355">
                  <c:v>40430</c:v>
                </c:pt>
                <c:pt idx="356">
                  <c:v>40431</c:v>
                </c:pt>
                <c:pt idx="357">
                  <c:v>40434</c:v>
                </c:pt>
                <c:pt idx="358">
                  <c:v>40435</c:v>
                </c:pt>
                <c:pt idx="359">
                  <c:v>40436</c:v>
                </c:pt>
                <c:pt idx="360">
                  <c:v>40437</c:v>
                </c:pt>
                <c:pt idx="361">
                  <c:v>40438</c:v>
                </c:pt>
                <c:pt idx="362">
                  <c:v>40441</c:v>
                </c:pt>
                <c:pt idx="363">
                  <c:v>40442</c:v>
                </c:pt>
                <c:pt idx="364">
                  <c:v>40443</c:v>
                </c:pt>
                <c:pt idx="365">
                  <c:v>40444</c:v>
                </c:pt>
                <c:pt idx="366">
                  <c:v>40445</c:v>
                </c:pt>
                <c:pt idx="367">
                  <c:v>40448</c:v>
                </c:pt>
                <c:pt idx="368">
                  <c:v>40449</c:v>
                </c:pt>
                <c:pt idx="369">
                  <c:v>40450</c:v>
                </c:pt>
                <c:pt idx="370">
                  <c:v>40451</c:v>
                </c:pt>
                <c:pt idx="371">
                  <c:v>40452</c:v>
                </c:pt>
                <c:pt idx="372">
                  <c:v>40455</c:v>
                </c:pt>
                <c:pt idx="373">
                  <c:v>40456</c:v>
                </c:pt>
                <c:pt idx="374">
                  <c:v>40457</c:v>
                </c:pt>
                <c:pt idx="375">
                  <c:v>40458</c:v>
                </c:pt>
                <c:pt idx="376">
                  <c:v>40459</c:v>
                </c:pt>
                <c:pt idx="377">
                  <c:v>40462</c:v>
                </c:pt>
                <c:pt idx="378">
                  <c:v>40463</c:v>
                </c:pt>
                <c:pt idx="379">
                  <c:v>40464</c:v>
                </c:pt>
                <c:pt idx="380">
                  <c:v>40465</c:v>
                </c:pt>
                <c:pt idx="381">
                  <c:v>40466</c:v>
                </c:pt>
                <c:pt idx="382">
                  <c:v>40469</c:v>
                </c:pt>
                <c:pt idx="383">
                  <c:v>40470</c:v>
                </c:pt>
                <c:pt idx="384">
                  <c:v>40471</c:v>
                </c:pt>
                <c:pt idx="385">
                  <c:v>40472</c:v>
                </c:pt>
                <c:pt idx="386">
                  <c:v>40473</c:v>
                </c:pt>
                <c:pt idx="387">
                  <c:v>40476</c:v>
                </c:pt>
                <c:pt idx="388">
                  <c:v>40477</c:v>
                </c:pt>
                <c:pt idx="389">
                  <c:v>40478</c:v>
                </c:pt>
                <c:pt idx="390">
                  <c:v>40479</c:v>
                </c:pt>
                <c:pt idx="391">
                  <c:v>40480</c:v>
                </c:pt>
                <c:pt idx="392">
                  <c:v>40483</c:v>
                </c:pt>
                <c:pt idx="393">
                  <c:v>40484</c:v>
                </c:pt>
                <c:pt idx="394">
                  <c:v>40485</c:v>
                </c:pt>
                <c:pt idx="395">
                  <c:v>40486</c:v>
                </c:pt>
                <c:pt idx="396">
                  <c:v>40487</c:v>
                </c:pt>
                <c:pt idx="397">
                  <c:v>40490</c:v>
                </c:pt>
                <c:pt idx="398">
                  <c:v>40491</c:v>
                </c:pt>
                <c:pt idx="399">
                  <c:v>40492</c:v>
                </c:pt>
                <c:pt idx="400">
                  <c:v>40493</c:v>
                </c:pt>
                <c:pt idx="401">
                  <c:v>40494</c:v>
                </c:pt>
                <c:pt idx="402">
                  <c:v>40497</c:v>
                </c:pt>
                <c:pt idx="403">
                  <c:v>40498</c:v>
                </c:pt>
                <c:pt idx="404">
                  <c:v>40499</c:v>
                </c:pt>
                <c:pt idx="405">
                  <c:v>40500</c:v>
                </c:pt>
                <c:pt idx="406">
                  <c:v>40501</c:v>
                </c:pt>
                <c:pt idx="407">
                  <c:v>40504</c:v>
                </c:pt>
                <c:pt idx="408">
                  <c:v>40505</c:v>
                </c:pt>
                <c:pt idx="409">
                  <c:v>40506</c:v>
                </c:pt>
                <c:pt idx="410">
                  <c:v>40507</c:v>
                </c:pt>
                <c:pt idx="411">
                  <c:v>40508</c:v>
                </c:pt>
                <c:pt idx="412">
                  <c:v>40511</c:v>
                </c:pt>
                <c:pt idx="413">
                  <c:v>40512</c:v>
                </c:pt>
                <c:pt idx="414">
                  <c:v>40513</c:v>
                </c:pt>
                <c:pt idx="415">
                  <c:v>40514</c:v>
                </c:pt>
                <c:pt idx="416">
                  <c:v>40515</c:v>
                </c:pt>
                <c:pt idx="417">
                  <c:v>40518</c:v>
                </c:pt>
                <c:pt idx="418">
                  <c:v>40519</c:v>
                </c:pt>
                <c:pt idx="419">
                  <c:v>40520</c:v>
                </c:pt>
                <c:pt idx="420">
                  <c:v>40521</c:v>
                </c:pt>
                <c:pt idx="421">
                  <c:v>40522</c:v>
                </c:pt>
                <c:pt idx="422">
                  <c:v>40525</c:v>
                </c:pt>
                <c:pt idx="423">
                  <c:v>40526</c:v>
                </c:pt>
                <c:pt idx="424">
                  <c:v>40527</c:v>
                </c:pt>
                <c:pt idx="425">
                  <c:v>40528</c:v>
                </c:pt>
                <c:pt idx="426">
                  <c:v>40529</c:v>
                </c:pt>
                <c:pt idx="427">
                  <c:v>40532</c:v>
                </c:pt>
                <c:pt idx="428">
                  <c:v>40533</c:v>
                </c:pt>
                <c:pt idx="429">
                  <c:v>40534</c:v>
                </c:pt>
                <c:pt idx="430">
                  <c:v>40535</c:v>
                </c:pt>
                <c:pt idx="431">
                  <c:v>40536</c:v>
                </c:pt>
                <c:pt idx="432">
                  <c:v>40539</c:v>
                </c:pt>
                <c:pt idx="433">
                  <c:v>40540</c:v>
                </c:pt>
                <c:pt idx="434">
                  <c:v>40541</c:v>
                </c:pt>
                <c:pt idx="435">
                  <c:v>40542</c:v>
                </c:pt>
                <c:pt idx="436">
                  <c:v>40543</c:v>
                </c:pt>
                <c:pt idx="437">
                  <c:v>40546</c:v>
                </c:pt>
                <c:pt idx="438">
                  <c:v>40547</c:v>
                </c:pt>
                <c:pt idx="439">
                  <c:v>40548</c:v>
                </c:pt>
                <c:pt idx="440">
                  <c:v>40549</c:v>
                </c:pt>
                <c:pt idx="441">
                  <c:v>40550</c:v>
                </c:pt>
                <c:pt idx="442">
                  <c:v>40553</c:v>
                </c:pt>
                <c:pt idx="443">
                  <c:v>40554</c:v>
                </c:pt>
                <c:pt idx="444">
                  <c:v>40555</c:v>
                </c:pt>
                <c:pt idx="445">
                  <c:v>40556</c:v>
                </c:pt>
                <c:pt idx="446">
                  <c:v>40557</c:v>
                </c:pt>
                <c:pt idx="447">
                  <c:v>40560</c:v>
                </c:pt>
                <c:pt idx="448">
                  <c:v>40561</c:v>
                </c:pt>
                <c:pt idx="449">
                  <c:v>40562</c:v>
                </c:pt>
                <c:pt idx="450">
                  <c:v>40563</c:v>
                </c:pt>
                <c:pt idx="451">
                  <c:v>40564</c:v>
                </c:pt>
                <c:pt idx="452">
                  <c:v>40567</c:v>
                </c:pt>
                <c:pt idx="453">
                  <c:v>40568</c:v>
                </c:pt>
                <c:pt idx="454">
                  <c:v>40569</c:v>
                </c:pt>
                <c:pt idx="455">
                  <c:v>40570</c:v>
                </c:pt>
                <c:pt idx="456">
                  <c:v>40571</c:v>
                </c:pt>
                <c:pt idx="457">
                  <c:v>40574</c:v>
                </c:pt>
                <c:pt idx="458">
                  <c:v>40575</c:v>
                </c:pt>
                <c:pt idx="459">
                  <c:v>40576</c:v>
                </c:pt>
                <c:pt idx="460">
                  <c:v>40577</c:v>
                </c:pt>
                <c:pt idx="461">
                  <c:v>40578</c:v>
                </c:pt>
                <c:pt idx="462">
                  <c:v>40581</c:v>
                </c:pt>
                <c:pt idx="463">
                  <c:v>40582</c:v>
                </c:pt>
                <c:pt idx="464">
                  <c:v>40583</c:v>
                </c:pt>
                <c:pt idx="465">
                  <c:v>40584</c:v>
                </c:pt>
                <c:pt idx="466">
                  <c:v>40585</c:v>
                </c:pt>
                <c:pt idx="467">
                  <c:v>40588</c:v>
                </c:pt>
                <c:pt idx="468">
                  <c:v>40589</c:v>
                </c:pt>
                <c:pt idx="469">
                  <c:v>40590</c:v>
                </c:pt>
                <c:pt idx="470">
                  <c:v>40591</c:v>
                </c:pt>
                <c:pt idx="471">
                  <c:v>40592</c:v>
                </c:pt>
                <c:pt idx="472">
                  <c:v>40595</c:v>
                </c:pt>
                <c:pt idx="473">
                  <c:v>40596</c:v>
                </c:pt>
                <c:pt idx="474">
                  <c:v>40597</c:v>
                </c:pt>
                <c:pt idx="475">
                  <c:v>40598</c:v>
                </c:pt>
                <c:pt idx="476">
                  <c:v>40599</c:v>
                </c:pt>
                <c:pt idx="477">
                  <c:v>40602</c:v>
                </c:pt>
                <c:pt idx="478">
                  <c:v>40603</c:v>
                </c:pt>
                <c:pt idx="479">
                  <c:v>40604</c:v>
                </c:pt>
                <c:pt idx="480">
                  <c:v>40605</c:v>
                </c:pt>
                <c:pt idx="481">
                  <c:v>40606</c:v>
                </c:pt>
                <c:pt idx="482">
                  <c:v>40609</c:v>
                </c:pt>
                <c:pt idx="483">
                  <c:v>40610</c:v>
                </c:pt>
                <c:pt idx="484">
                  <c:v>40611</c:v>
                </c:pt>
                <c:pt idx="485">
                  <c:v>40612</c:v>
                </c:pt>
                <c:pt idx="486">
                  <c:v>40613</c:v>
                </c:pt>
                <c:pt idx="487">
                  <c:v>40616</c:v>
                </c:pt>
                <c:pt idx="488">
                  <c:v>40617</c:v>
                </c:pt>
                <c:pt idx="489">
                  <c:v>40618</c:v>
                </c:pt>
                <c:pt idx="490">
                  <c:v>40619</c:v>
                </c:pt>
                <c:pt idx="491">
                  <c:v>40620</c:v>
                </c:pt>
                <c:pt idx="492">
                  <c:v>40623</c:v>
                </c:pt>
                <c:pt idx="493">
                  <c:v>40624</c:v>
                </c:pt>
                <c:pt idx="494">
                  <c:v>40625</c:v>
                </c:pt>
                <c:pt idx="495">
                  <c:v>40626</c:v>
                </c:pt>
                <c:pt idx="496">
                  <c:v>40627</c:v>
                </c:pt>
                <c:pt idx="497">
                  <c:v>40630</c:v>
                </c:pt>
                <c:pt idx="498">
                  <c:v>40631</c:v>
                </c:pt>
                <c:pt idx="499">
                  <c:v>40632</c:v>
                </c:pt>
                <c:pt idx="500">
                  <c:v>40633</c:v>
                </c:pt>
                <c:pt idx="501">
                  <c:v>40634</c:v>
                </c:pt>
                <c:pt idx="502">
                  <c:v>40637</c:v>
                </c:pt>
                <c:pt idx="503">
                  <c:v>40638</c:v>
                </c:pt>
                <c:pt idx="504">
                  <c:v>40639</c:v>
                </c:pt>
                <c:pt idx="505">
                  <c:v>40640</c:v>
                </c:pt>
                <c:pt idx="506">
                  <c:v>40641</c:v>
                </c:pt>
                <c:pt idx="507">
                  <c:v>40644</c:v>
                </c:pt>
                <c:pt idx="508">
                  <c:v>40645</c:v>
                </c:pt>
                <c:pt idx="509">
                  <c:v>40646</c:v>
                </c:pt>
                <c:pt idx="510">
                  <c:v>40647</c:v>
                </c:pt>
                <c:pt idx="511">
                  <c:v>40648</c:v>
                </c:pt>
                <c:pt idx="512">
                  <c:v>40651</c:v>
                </c:pt>
                <c:pt idx="513">
                  <c:v>40652</c:v>
                </c:pt>
                <c:pt idx="514">
                  <c:v>40653</c:v>
                </c:pt>
                <c:pt idx="515">
                  <c:v>40654</c:v>
                </c:pt>
                <c:pt idx="516">
                  <c:v>40655</c:v>
                </c:pt>
                <c:pt idx="517">
                  <c:v>40658</c:v>
                </c:pt>
                <c:pt idx="518">
                  <c:v>40659</c:v>
                </c:pt>
                <c:pt idx="519">
                  <c:v>40660</c:v>
                </c:pt>
                <c:pt idx="520">
                  <c:v>40661</c:v>
                </c:pt>
                <c:pt idx="521">
                  <c:v>40662</c:v>
                </c:pt>
                <c:pt idx="522">
                  <c:v>40665</c:v>
                </c:pt>
                <c:pt idx="523">
                  <c:v>40666</c:v>
                </c:pt>
                <c:pt idx="524">
                  <c:v>40667</c:v>
                </c:pt>
                <c:pt idx="525">
                  <c:v>40668</c:v>
                </c:pt>
                <c:pt idx="526">
                  <c:v>40669</c:v>
                </c:pt>
                <c:pt idx="527">
                  <c:v>40672</c:v>
                </c:pt>
                <c:pt idx="528">
                  <c:v>40673</c:v>
                </c:pt>
                <c:pt idx="529">
                  <c:v>40674</c:v>
                </c:pt>
                <c:pt idx="530">
                  <c:v>40675</c:v>
                </c:pt>
                <c:pt idx="531">
                  <c:v>40676</c:v>
                </c:pt>
                <c:pt idx="532">
                  <c:v>40679</c:v>
                </c:pt>
                <c:pt idx="533">
                  <c:v>40680</c:v>
                </c:pt>
                <c:pt idx="534">
                  <c:v>40681</c:v>
                </c:pt>
                <c:pt idx="535">
                  <c:v>40682</c:v>
                </c:pt>
                <c:pt idx="536">
                  <c:v>40683</c:v>
                </c:pt>
                <c:pt idx="537">
                  <c:v>40686</c:v>
                </c:pt>
                <c:pt idx="538">
                  <c:v>40687</c:v>
                </c:pt>
                <c:pt idx="539">
                  <c:v>40688</c:v>
                </c:pt>
                <c:pt idx="540">
                  <c:v>40689</c:v>
                </c:pt>
                <c:pt idx="541">
                  <c:v>40690</c:v>
                </c:pt>
                <c:pt idx="542">
                  <c:v>40693</c:v>
                </c:pt>
                <c:pt idx="543">
                  <c:v>40694</c:v>
                </c:pt>
                <c:pt idx="544">
                  <c:v>40695</c:v>
                </c:pt>
                <c:pt idx="545">
                  <c:v>40696</c:v>
                </c:pt>
                <c:pt idx="546">
                  <c:v>40697</c:v>
                </c:pt>
                <c:pt idx="547">
                  <c:v>40700</c:v>
                </c:pt>
                <c:pt idx="548">
                  <c:v>40701</c:v>
                </c:pt>
                <c:pt idx="549">
                  <c:v>40702</c:v>
                </c:pt>
                <c:pt idx="550">
                  <c:v>40703</c:v>
                </c:pt>
                <c:pt idx="551">
                  <c:v>40704</c:v>
                </c:pt>
                <c:pt idx="552">
                  <c:v>40707</c:v>
                </c:pt>
                <c:pt idx="553">
                  <c:v>40708</c:v>
                </c:pt>
                <c:pt idx="554">
                  <c:v>40709</c:v>
                </c:pt>
                <c:pt idx="555">
                  <c:v>40710</c:v>
                </c:pt>
                <c:pt idx="556">
                  <c:v>40711</c:v>
                </c:pt>
                <c:pt idx="557">
                  <c:v>40714</c:v>
                </c:pt>
                <c:pt idx="558">
                  <c:v>40715</c:v>
                </c:pt>
                <c:pt idx="559">
                  <c:v>40716</c:v>
                </c:pt>
                <c:pt idx="560">
                  <c:v>40717</c:v>
                </c:pt>
                <c:pt idx="561">
                  <c:v>40718</c:v>
                </c:pt>
                <c:pt idx="562">
                  <c:v>40721</c:v>
                </c:pt>
                <c:pt idx="563">
                  <c:v>40722</c:v>
                </c:pt>
                <c:pt idx="564">
                  <c:v>40723</c:v>
                </c:pt>
                <c:pt idx="565">
                  <c:v>40724</c:v>
                </c:pt>
                <c:pt idx="566">
                  <c:v>40725</c:v>
                </c:pt>
                <c:pt idx="567">
                  <c:v>40728</c:v>
                </c:pt>
                <c:pt idx="568">
                  <c:v>40729</c:v>
                </c:pt>
                <c:pt idx="569">
                  <c:v>40730</c:v>
                </c:pt>
                <c:pt idx="570">
                  <c:v>40731</c:v>
                </c:pt>
                <c:pt idx="571">
                  <c:v>40732</c:v>
                </c:pt>
                <c:pt idx="572">
                  <c:v>40735</c:v>
                </c:pt>
                <c:pt idx="573">
                  <c:v>40736</c:v>
                </c:pt>
                <c:pt idx="574">
                  <c:v>40737</c:v>
                </c:pt>
                <c:pt idx="575">
                  <c:v>40738</c:v>
                </c:pt>
                <c:pt idx="576">
                  <c:v>40739</c:v>
                </c:pt>
                <c:pt idx="577">
                  <c:v>40742</c:v>
                </c:pt>
                <c:pt idx="578">
                  <c:v>40743</c:v>
                </c:pt>
                <c:pt idx="579">
                  <c:v>40744</c:v>
                </c:pt>
                <c:pt idx="580">
                  <c:v>40745</c:v>
                </c:pt>
                <c:pt idx="581">
                  <c:v>40746</c:v>
                </c:pt>
                <c:pt idx="582">
                  <c:v>40749</c:v>
                </c:pt>
                <c:pt idx="583">
                  <c:v>40750</c:v>
                </c:pt>
                <c:pt idx="584">
                  <c:v>40751</c:v>
                </c:pt>
                <c:pt idx="585">
                  <c:v>40752</c:v>
                </c:pt>
                <c:pt idx="586">
                  <c:v>40753</c:v>
                </c:pt>
                <c:pt idx="587">
                  <c:v>40756</c:v>
                </c:pt>
                <c:pt idx="588">
                  <c:v>40757</c:v>
                </c:pt>
                <c:pt idx="589">
                  <c:v>40758</c:v>
                </c:pt>
                <c:pt idx="590">
                  <c:v>40759</c:v>
                </c:pt>
                <c:pt idx="591">
                  <c:v>40760</c:v>
                </c:pt>
                <c:pt idx="592">
                  <c:v>40763</c:v>
                </c:pt>
                <c:pt idx="593">
                  <c:v>40764</c:v>
                </c:pt>
                <c:pt idx="594">
                  <c:v>40765</c:v>
                </c:pt>
                <c:pt idx="595">
                  <c:v>40766</c:v>
                </c:pt>
                <c:pt idx="596">
                  <c:v>40767</c:v>
                </c:pt>
                <c:pt idx="597">
                  <c:v>40770</c:v>
                </c:pt>
                <c:pt idx="598">
                  <c:v>40771</c:v>
                </c:pt>
                <c:pt idx="599">
                  <c:v>40772</c:v>
                </c:pt>
                <c:pt idx="600">
                  <c:v>40773</c:v>
                </c:pt>
                <c:pt idx="601">
                  <c:v>40774</c:v>
                </c:pt>
                <c:pt idx="602">
                  <c:v>40777</c:v>
                </c:pt>
                <c:pt idx="603">
                  <c:v>40778</c:v>
                </c:pt>
                <c:pt idx="604">
                  <c:v>40779</c:v>
                </c:pt>
                <c:pt idx="605">
                  <c:v>40780</c:v>
                </c:pt>
                <c:pt idx="606">
                  <c:v>40781</c:v>
                </c:pt>
                <c:pt idx="607">
                  <c:v>40784</c:v>
                </c:pt>
                <c:pt idx="608">
                  <c:v>40785</c:v>
                </c:pt>
                <c:pt idx="609">
                  <c:v>40786</c:v>
                </c:pt>
                <c:pt idx="610">
                  <c:v>40787</c:v>
                </c:pt>
                <c:pt idx="611">
                  <c:v>40788</c:v>
                </c:pt>
                <c:pt idx="612">
                  <c:v>40791</c:v>
                </c:pt>
                <c:pt idx="613">
                  <c:v>40792</c:v>
                </c:pt>
                <c:pt idx="614">
                  <c:v>40793</c:v>
                </c:pt>
                <c:pt idx="615">
                  <c:v>40794</c:v>
                </c:pt>
                <c:pt idx="616">
                  <c:v>40795</c:v>
                </c:pt>
                <c:pt idx="617">
                  <c:v>40798</c:v>
                </c:pt>
                <c:pt idx="618">
                  <c:v>40799</c:v>
                </c:pt>
                <c:pt idx="619">
                  <c:v>40800</c:v>
                </c:pt>
                <c:pt idx="620">
                  <c:v>40801</c:v>
                </c:pt>
                <c:pt idx="621">
                  <c:v>40802</c:v>
                </c:pt>
                <c:pt idx="622">
                  <c:v>40805</c:v>
                </c:pt>
                <c:pt idx="623">
                  <c:v>40806</c:v>
                </c:pt>
                <c:pt idx="624">
                  <c:v>40807</c:v>
                </c:pt>
                <c:pt idx="625">
                  <c:v>40808</c:v>
                </c:pt>
                <c:pt idx="626">
                  <c:v>40809</c:v>
                </c:pt>
                <c:pt idx="627">
                  <c:v>40812</c:v>
                </c:pt>
                <c:pt idx="628">
                  <c:v>40813</c:v>
                </c:pt>
                <c:pt idx="629">
                  <c:v>40814</c:v>
                </c:pt>
                <c:pt idx="630">
                  <c:v>40815</c:v>
                </c:pt>
                <c:pt idx="631">
                  <c:v>40816</c:v>
                </c:pt>
                <c:pt idx="632">
                  <c:v>40819</c:v>
                </c:pt>
                <c:pt idx="633">
                  <c:v>40820</c:v>
                </c:pt>
                <c:pt idx="634">
                  <c:v>40821</c:v>
                </c:pt>
                <c:pt idx="635">
                  <c:v>40822</c:v>
                </c:pt>
                <c:pt idx="636">
                  <c:v>40823</c:v>
                </c:pt>
                <c:pt idx="637">
                  <c:v>40826</c:v>
                </c:pt>
                <c:pt idx="638">
                  <c:v>40827</c:v>
                </c:pt>
                <c:pt idx="639">
                  <c:v>40828</c:v>
                </c:pt>
                <c:pt idx="640">
                  <c:v>40829</c:v>
                </c:pt>
                <c:pt idx="641">
                  <c:v>40830</c:v>
                </c:pt>
                <c:pt idx="642">
                  <c:v>40833</c:v>
                </c:pt>
                <c:pt idx="643">
                  <c:v>40834</c:v>
                </c:pt>
                <c:pt idx="644">
                  <c:v>40835</c:v>
                </c:pt>
                <c:pt idx="645">
                  <c:v>40836</c:v>
                </c:pt>
                <c:pt idx="646">
                  <c:v>40837</c:v>
                </c:pt>
                <c:pt idx="647">
                  <c:v>40840</c:v>
                </c:pt>
                <c:pt idx="648">
                  <c:v>40841</c:v>
                </c:pt>
                <c:pt idx="649">
                  <c:v>40842</c:v>
                </c:pt>
                <c:pt idx="650">
                  <c:v>40843</c:v>
                </c:pt>
                <c:pt idx="651">
                  <c:v>40844</c:v>
                </c:pt>
                <c:pt idx="652">
                  <c:v>40847</c:v>
                </c:pt>
                <c:pt idx="653">
                  <c:v>40848</c:v>
                </c:pt>
                <c:pt idx="654">
                  <c:v>40849</c:v>
                </c:pt>
                <c:pt idx="655">
                  <c:v>40850</c:v>
                </c:pt>
                <c:pt idx="656">
                  <c:v>40851</c:v>
                </c:pt>
                <c:pt idx="657">
                  <c:v>40854</c:v>
                </c:pt>
                <c:pt idx="658">
                  <c:v>40855</c:v>
                </c:pt>
                <c:pt idx="659">
                  <c:v>40856</c:v>
                </c:pt>
                <c:pt idx="660">
                  <c:v>40857</c:v>
                </c:pt>
                <c:pt idx="661">
                  <c:v>40858</c:v>
                </c:pt>
                <c:pt idx="662">
                  <c:v>40861</c:v>
                </c:pt>
                <c:pt idx="663">
                  <c:v>40862</c:v>
                </c:pt>
                <c:pt idx="664">
                  <c:v>40863</c:v>
                </c:pt>
                <c:pt idx="665">
                  <c:v>40864</c:v>
                </c:pt>
                <c:pt idx="666">
                  <c:v>40865</c:v>
                </c:pt>
                <c:pt idx="667">
                  <c:v>40868</c:v>
                </c:pt>
                <c:pt idx="668">
                  <c:v>40869</c:v>
                </c:pt>
                <c:pt idx="669">
                  <c:v>40870</c:v>
                </c:pt>
                <c:pt idx="670">
                  <c:v>40871</c:v>
                </c:pt>
                <c:pt idx="671">
                  <c:v>40872</c:v>
                </c:pt>
                <c:pt idx="672">
                  <c:v>40875</c:v>
                </c:pt>
                <c:pt idx="673">
                  <c:v>40876</c:v>
                </c:pt>
                <c:pt idx="674">
                  <c:v>40877</c:v>
                </c:pt>
                <c:pt idx="675">
                  <c:v>40878</c:v>
                </c:pt>
                <c:pt idx="676">
                  <c:v>40879</c:v>
                </c:pt>
                <c:pt idx="677">
                  <c:v>40882</c:v>
                </c:pt>
                <c:pt idx="678">
                  <c:v>40883</c:v>
                </c:pt>
                <c:pt idx="679">
                  <c:v>40884</c:v>
                </c:pt>
                <c:pt idx="680">
                  <c:v>40885</c:v>
                </c:pt>
                <c:pt idx="681">
                  <c:v>40886</c:v>
                </c:pt>
                <c:pt idx="682">
                  <c:v>40889</c:v>
                </c:pt>
                <c:pt idx="683">
                  <c:v>40890</c:v>
                </c:pt>
                <c:pt idx="684">
                  <c:v>40891</c:v>
                </c:pt>
                <c:pt idx="685">
                  <c:v>40892</c:v>
                </c:pt>
                <c:pt idx="686">
                  <c:v>40893</c:v>
                </c:pt>
                <c:pt idx="687">
                  <c:v>40896</c:v>
                </c:pt>
                <c:pt idx="688">
                  <c:v>40897</c:v>
                </c:pt>
                <c:pt idx="689">
                  <c:v>40898</c:v>
                </c:pt>
                <c:pt idx="690">
                  <c:v>40899</c:v>
                </c:pt>
                <c:pt idx="691">
                  <c:v>40900</c:v>
                </c:pt>
                <c:pt idx="692">
                  <c:v>40903</c:v>
                </c:pt>
                <c:pt idx="693">
                  <c:v>40904</c:v>
                </c:pt>
                <c:pt idx="694">
                  <c:v>40905</c:v>
                </c:pt>
                <c:pt idx="695">
                  <c:v>40906</c:v>
                </c:pt>
                <c:pt idx="696">
                  <c:v>40907</c:v>
                </c:pt>
                <c:pt idx="697">
                  <c:v>40910</c:v>
                </c:pt>
                <c:pt idx="698">
                  <c:v>40911</c:v>
                </c:pt>
                <c:pt idx="699">
                  <c:v>40912</c:v>
                </c:pt>
                <c:pt idx="700">
                  <c:v>40913</c:v>
                </c:pt>
                <c:pt idx="701">
                  <c:v>40914</c:v>
                </c:pt>
                <c:pt idx="702">
                  <c:v>40917</c:v>
                </c:pt>
                <c:pt idx="703">
                  <c:v>40918</c:v>
                </c:pt>
                <c:pt idx="704">
                  <c:v>40919</c:v>
                </c:pt>
                <c:pt idx="705">
                  <c:v>40920</c:v>
                </c:pt>
                <c:pt idx="706">
                  <c:v>40921</c:v>
                </c:pt>
                <c:pt idx="707">
                  <c:v>40924</c:v>
                </c:pt>
                <c:pt idx="708">
                  <c:v>40925</c:v>
                </c:pt>
                <c:pt idx="709">
                  <c:v>40926</c:v>
                </c:pt>
                <c:pt idx="710">
                  <c:v>40927</c:v>
                </c:pt>
                <c:pt idx="711">
                  <c:v>40928</c:v>
                </c:pt>
                <c:pt idx="712">
                  <c:v>40931</c:v>
                </c:pt>
                <c:pt idx="713">
                  <c:v>40932</c:v>
                </c:pt>
                <c:pt idx="714">
                  <c:v>40933</c:v>
                </c:pt>
                <c:pt idx="715">
                  <c:v>40934</c:v>
                </c:pt>
                <c:pt idx="716">
                  <c:v>40935</c:v>
                </c:pt>
                <c:pt idx="717">
                  <c:v>40938</c:v>
                </c:pt>
                <c:pt idx="718">
                  <c:v>40939</c:v>
                </c:pt>
                <c:pt idx="719">
                  <c:v>40940</c:v>
                </c:pt>
                <c:pt idx="720">
                  <c:v>40941</c:v>
                </c:pt>
                <c:pt idx="721">
                  <c:v>40942</c:v>
                </c:pt>
                <c:pt idx="722">
                  <c:v>40945</c:v>
                </c:pt>
                <c:pt idx="723">
                  <c:v>40946</c:v>
                </c:pt>
                <c:pt idx="724">
                  <c:v>40947</c:v>
                </c:pt>
                <c:pt idx="725">
                  <c:v>40948</c:v>
                </c:pt>
                <c:pt idx="726">
                  <c:v>40949</c:v>
                </c:pt>
                <c:pt idx="727">
                  <c:v>40952</c:v>
                </c:pt>
                <c:pt idx="728">
                  <c:v>40953</c:v>
                </c:pt>
                <c:pt idx="729">
                  <c:v>40954</c:v>
                </c:pt>
                <c:pt idx="730">
                  <c:v>40955</c:v>
                </c:pt>
                <c:pt idx="731">
                  <c:v>40956</c:v>
                </c:pt>
                <c:pt idx="732">
                  <c:v>40959</c:v>
                </c:pt>
                <c:pt idx="733">
                  <c:v>40960</c:v>
                </c:pt>
                <c:pt idx="734">
                  <c:v>40961</c:v>
                </c:pt>
                <c:pt idx="735">
                  <c:v>40962</c:v>
                </c:pt>
                <c:pt idx="736">
                  <c:v>40963</c:v>
                </c:pt>
                <c:pt idx="737">
                  <c:v>40966</c:v>
                </c:pt>
                <c:pt idx="738">
                  <c:v>40967</c:v>
                </c:pt>
                <c:pt idx="739">
                  <c:v>40968</c:v>
                </c:pt>
                <c:pt idx="740">
                  <c:v>40969</c:v>
                </c:pt>
                <c:pt idx="741">
                  <c:v>40970</c:v>
                </c:pt>
                <c:pt idx="742">
                  <c:v>40973</c:v>
                </c:pt>
                <c:pt idx="743">
                  <c:v>40974</c:v>
                </c:pt>
                <c:pt idx="744">
                  <c:v>40975</c:v>
                </c:pt>
                <c:pt idx="745">
                  <c:v>40976</c:v>
                </c:pt>
                <c:pt idx="746">
                  <c:v>40977</c:v>
                </c:pt>
                <c:pt idx="747">
                  <c:v>40980</c:v>
                </c:pt>
                <c:pt idx="748">
                  <c:v>40981</c:v>
                </c:pt>
                <c:pt idx="749">
                  <c:v>40982</c:v>
                </c:pt>
                <c:pt idx="750">
                  <c:v>40983</c:v>
                </c:pt>
                <c:pt idx="751">
                  <c:v>40984</c:v>
                </c:pt>
                <c:pt idx="752">
                  <c:v>40987</c:v>
                </c:pt>
                <c:pt idx="753">
                  <c:v>40988</c:v>
                </c:pt>
                <c:pt idx="754">
                  <c:v>40989</c:v>
                </c:pt>
                <c:pt idx="755">
                  <c:v>40990</c:v>
                </c:pt>
                <c:pt idx="756">
                  <c:v>40991</c:v>
                </c:pt>
                <c:pt idx="757">
                  <c:v>40994</c:v>
                </c:pt>
                <c:pt idx="758">
                  <c:v>40995</c:v>
                </c:pt>
                <c:pt idx="759">
                  <c:v>40996</c:v>
                </c:pt>
                <c:pt idx="760">
                  <c:v>40997</c:v>
                </c:pt>
                <c:pt idx="761">
                  <c:v>40998</c:v>
                </c:pt>
                <c:pt idx="762">
                  <c:v>41001</c:v>
                </c:pt>
                <c:pt idx="763">
                  <c:v>41002</c:v>
                </c:pt>
                <c:pt idx="764">
                  <c:v>41003</c:v>
                </c:pt>
                <c:pt idx="765">
                  <c:v>41004</c:v>
                </c:pt>
                <c:pt idx="766">
                  <c:v>41005</c:v>
                </c:pt>
                <c:pt idx="767">
                  <c:v>41008</c:v>
                </c:pt>
                <c:pt idx="768">
                  <c:v>41009</c:v>
                </c:pt>
                <c:pt idx="769">
                  <c:v>41010</c:v>
                </c:pt>
                <c:pt idx="770">
                  <c:v>41011</c:v>
                </c:pt>
                <c:pt idx="771">
                  <c:v>41012</c:v>
                </c:pt>
                <c:pt idx="772">
                  <c:v>41015</c:v>
                </c:pt>
                <c:pt idx="773">
                  <c:v>41016</c:v>
                </c:pt>
                <c:pt idx="774">
                  <c:v>41017</c:v>
                </c:pt>
                <c:pt idx="775">
                  <c:v>41018</c:v>
                </c:pt>
                <c:pt idx="776">
                  <c:v>41019</c:v>
                </c:pt>
                <c:pt idx="777">
                  <c:v>41022</c:v>
                </c:pt>
                <c:pt idx="778">
                  <c:v>41023</c:v>
                </c:pt>
                <c:pt idx="779">
                  <c:v>41024</c:v>
                </c:pt>
                <c:pt idx="780">
                  <c:v>41025</c:v>
                </c:pt>
                <c:pt idx="781">
                  <c:v>41026</c:v>
                </c:pt>
                <c:pt idx="782">
                  <c:v>41029</c:v>
                </c:pt>
                <c:pt idx="783">
                  <c:v>41030</c:v>
                </c:pt>
                <c:pt idx="784">
                  <c:v>41031</c:v>
                </c:pt>
                <c:pt idx="785">
                  <c:v>41032</c:v>
                </c:pt>
                <c:pt idx="786">
                  <c:v>41033</c:v>
                </c:pt>
                <c:pt idx="787">
                  <c:v>41036</c:v>
                </c:pt>
                <c:pt idx="788">
                  <c:v>41037</c:v>
                </c:pt>
                <c:pt idx="789">
                  <c:v>41038</c:v>
                </c:pt>
                <c:pt idx="790">
                  <c:v>41039</c:v>
                </c:pt>
                <c:pt idx="791">
                  <c:v>41040</c:v>
                </c:pt>
                <c:pt idx="792">
                  <c:v>41043</c:v>
                </c:pt>
                <c:pt idx="793">
                  <c:v>41044</c:v>
                </c:pt>
                <c:pt idx="794">
                  <c:v>41045</c:v>
                </c:pt>
                <c:pt idx="795">
                  <c:v>41046</c:v>
                </c:pt>
                <c:pt idx="796">
                  <c:v>41047</c:v>
                </c:pt>
                <c:pt idx="797">
                  <c:v>41050</c:v>
                </c:pt>
                <c:pt idx="798">
                  <c:v>41051</c:v>
                </c:pt>
                <c:pt idx="799">
                  <c:v>41052</c:v>
                </c:pt>
                <c:pt idx="800">
                  <c:v>41053</c:v>
                </c:pt>
                <c:pt idx="801">
                  <c:v>41054</c:v>
                </c:pt>
                <c:pt idx="802">
                  <c:v>41057</c:v>
                </c:pt>
                <c:pt idx="803">
                  <c:v>41058</c:v>
                </c:pt>
                <c:pt idx="804">
                  <c:v>41059</c:v>
                </c:pt>
                <c:pt idx="805">
                  <c:v>41060</c:v>
                </c:pt>
                <c:pt idx="806">
                  <c:v>41061</c:v>
                </c:pt>
                <c:pt idx="807">
                  <c:v>41064</c:v>
                </c:pt>
                <c:pt idx="808">
                  <c:v>41065</c:v>
                </c:pt>
                <c:pt idx="809">
                  <c:v>41066</c:v>
                </c:pt>
                <c:pt idx="810">
                  <c:v>41067</c:v>
                </c:pt>
                <c:pt idx="811">
                  <c:v>41068</c:v>
                </c:pt>
                <c:pt idx="812">
                  <c:v>41071</c:v>
                </c:pt>
                <c:pt idx="813">
                  <c:v>41072</c:v>
                </c:pt>
                <c:pt idx="814">
                  <c:v>41073</c:v>
                </c:pt>
                <c:pt idx="815">
                  <c:v>41074</c:v>
                </c:pt>
                <c:pt idx="816">
                  <c:v>41075</c:v>
                </c:pt>
                <c:pt idx="817">
                  <c:v>41078</c:v>
                </c:pt>
                <c:pt idx="818">
                  <c:v>41079</c:v>
                </c:pt>
                <c:pt idx="819">
                  <c:v>41080</c:v>
                </c:pt>
                <c:pt idx="820">
                  <c:v>41081</c:v>
                </c:pt>
                <c:pt idx="821">
                  <c:v>41082</c:v>
                </c:pt>
                <c:pt idx="822">
                  <c:v>41085</c:v>
                </c:pt>
                <c:pt idx="823">
                  <c:v>41086</c:v>
                </c:pt>
                <c:pt idx="824">
                  <c:v>41087</c:v>
                </c:pt>
                <c:pt idx="825">
                  <c:v>41088</c:v>
                </c:pt>
                <c:pt idx="826">
                  <c:v>41089</c:v>
                </c:pt>
                <c:pt idx="827">
                  <c:v>41092</c:v>
                </c:pt>
                <c:pt idx="828">
                  <c:v>41093</c:v>
                </c:pt>
                <c:pt idx="829">
                  <c:v>41094</c:v>
                </c:pt>
                <c:pt idx="830">
                  <c:v>41095</c:v>
                </c:pt>
                <c:pt idx="831">
                  <c:v>41096</c:v>
                </c:pt>
                <c:pt idx="832">
                  <c:v>41099</c:v>
                </c:pt>
                <c:pt idx="833">
                  <c:v>41100</c:v>
                </c:pt>
                <c:pt idx="834">
                  <c:v>41101</c:v>
                </c:pt>
                <c:pt idx="835">
                  <c:v>41102</c:v>
                </c:pt>
                <c:pt idx="836">
                  <c:v>41103</c:v>
                </c:pt>
                <c:pt idx="837">
                  <c:v>41106</c:v>
                </c:pt>
                <c:pt idx="838">
                  <c:v>41107</c:v>
                </c:pt>
                <c:pt idx="839">
                  <c:v>41108</c:v>
                </c:pt>
                <c:pt idx="840">
                  <c:v>41109</c:v>
                </c:pt>
                <c:pt idx="841">
                  <c:v>41110</c:v>
                </c:pt>
                <c:pt idx="842">
                  <c:v>41113</c:v>
                </c:pt>
                <c:pt idx="843">
                  <c:v>41114</c:v>
                </c:pt>
                <c:pt idx="844">
                  <c:v>41115</c:v>
                </c:pt>
                <c:pt idx="845">
                  <c:v>41116</c:v>
                </c:pt>
                <c:pt idx="846">
                  <c:v>41117</c:v>
                </c:pt>
                <c:pt idx="847">
                  <c:v>41120</c:v>
                </c:pt>
                <c:pt idx="848">
                  <c:v>41121</c:v>
                </c:pt>
                <c:pt idx="849">
                  <c:v>41122</c:v>
                </c:pt>
                <c:pt idx="850">
                  <c:v>41123</c:v>
                </c:pt>
                <c:pt idx="851">
                  <c:v>41124</c:v>
                </c:pt>
                <c:pt idx="852">
                  <c:v>41127</c:v>
                </c:pt>
                <c:pt idx="853">
                  <c:v>41128</c:v>
                </c:pt>
                <c:pt idx="854">
                  <c:v>41129</c:v>
                </c:pt>
                <c:pt idx="855">
                  <c:v>41130</c:v>
                </c:pt>
                <c:pt idx="856">
                  <c:v>41131</c:v>
                </c:pt>
                <c:pt idx="857">
                  <c:v>41134</c:v>
                </c:pt>
                <c:pt idx="858">
                  <c:v>41135</c:v>
                </c:pt>
                <c:pt idx="859">
                  <c:v>41136</c:v>
                </c:pt>
                <c:pt idx="860">
                  <c:v>41137</c:v>
                </c:pt>
                <c:pt idx="861">
                  <c:v>41138</c:v>
                </c:pt>
                <c:pt idx="862">
                  <c:v>41141</c:v>
                </c:pt>
                <c:pt idx="863">
                  <c:v>41142</c:v>
                </c:pt>
                <c:pt idx="864">
                  <c:v>41143</c:v>
                </c:pt>
                <c:pt idx="865">
                  <c:v>41144</c:v>
                </c:pt>
                <c:pt idx="866">
                  <c:v>41145</c:v>
                </c:pt>
                <c:pt idx="867">
                  <c:v>41148</c:v>
                </c:pt>
                <c:pt idx="868">
                  <c:v>41149</c:v>
                </c:pt>
                <c:pt idx="869">
                  <c:v>41150</c:v>
                </c:pt>
                <c:pt idx="870">
                  <c:v>41151</c:v>
                </c:pt>
                <c:pt idx="871">
                  <c:v>41152</c:v>
                </c:pt>
                <c:pt idx="872">
                  <c:v>41155</c:v>
                </c:pt>
                <c:pt idx="873">
                  <c:v>41156</c:v>
                </c:pt>
                <c:pt idx="874">
                  <c:v>41157</c:v>
                </c:pt>
                <c:pt idx="875">
                  <c:v>41158</c:v>
                </c:pt>
                <c:pt idx="876">
                  <c:v>41159</c:v>
                </c:pt>
                <c:pt idx="877">
                  <c:v>41162</c:v>
                </c:pt>
                <c:pt idx="878">
                  <c:v>41163</c:v>
                </c:pt>
                <c:pt idx="879">
                  <c:v>41164</c:v>
                </c:pt>
                <c:pt idx="880">
                  <c:v>41165</c:v>
                </c:pt>
                <c:pt idx="881">
                  <c:v>41166</c:v>
                </c:pt>
                <c:pt idx="882">
                  <c:v>41169</c:v>
                </c:pt>
                <c:pt idx="883">
                  <c:v>41170</c:v>
                </c:pt>
                <c:pt idx="884">
                  <c:v>41171</c:v>
                </c:pt>
                <c:pt idx="885">
                  <c:v>41172</c:v>
                </c:pt>
                <c:pt idx="886">
                  <c:v>41173</c:v>
                </c:pt>
                <c:pt idx="887">
                  <c:v>41176</c:v>
                </c:pt>
                <c:pt idx="888">
                  <c:v>41177</c:v>
                </c:pt>
                <c:pt idx="889">
                  <c:v>41178</c:v>
                </c:pt>
                <c:pt idx="890">
                  <c:v>41179</c:v>
                </c:pt>
                <c:pt idx="891">
                  <c:v>41180</c:v>
                </c:pt>
                <c:pt idx="892">
                  <c:v>41183</c:v>
                </c:pt>
                <c:pt idx="893">
                  <c:v>41184</c:v>
                </c:pt>
                <c:pt idx="894">
                  <c:v>41185</c:v>
                </c:pt>
                <c:pt idx="895">
                  <c:v>41186</c:v>
                </c:pt>
                <c:pt idx="896">
                  <c:v>41187</c:v>
                </c:pt>
                <c:pt idx="897">
                  <c:v>41190</c:v>
                </c:pt>
                <c:pt idx="898">
                  <c:v>41191</c:v>
                </c:pt>
                <c:pt idx="899">
                  <c:v>41192</c:v>
                </c:pt>
                <c:pt idx="900">
                  <c:v>41193</c:v>
                </c:pt>
                <c:pt idx="901">
                  <c:v>41194</c:v>
                </c:pt>
                <c:pt idx="902">
                  <c:v>41197</c:v>
                </c:pt>
                <c:pt idx="903">
                  <c:v>41198</c:v>
                </c:pt>
                <c:pt idx="904">
                  <c:v>41199</c:v>
                </c:pt>
                <c:pt idx="905">
                  <c:v>41200</c:v>
                </c:pt>
                <c:pt idx="906">
                  <c:v>41201</c:v>
                </c:pt>
                <c:pt idx="907">
                  <c:v>41204</c:v>
                </c:pt>
                <c:pt idx="908">
                  <c:v>41205</c:v>
                </c:pt>
                <c:pt idx="909">
                  <c:v>41206</c:v>
                </c:pt>
                <c:pt idx="910">
                  <c:v>41207</c:v>
                </c:pt>
                <c:pt idx="911">
                  <c:v>41208</c:v>
                </c:pt>
                <c:pt idx="912">
                  <c:v>41211</c:v>
                </c:pt>
                <c:pt idx="913">
                  <c:v>41212</c:v>
                </c:pt>
                <c:pt idx="914">
                  <c:v>41213</c:v>
                </c:pt>
                <c:pt idx="915">
                  <c:v>41214</c:v>
                </c:pt>
                <c:pt idx="916">
                  <c:v>41215</c:v>
                </c:pt>
                <c:pt idx="917">
                  <c:v>41218</c:v>
                </c:pt>
                <c:pt idx="918">
                  <c:v>41219</c:v>
                </c:pt>
                <c:pt idx="919">
                  <c:v>41220</c:v>
                </c:pt>
                <c:pt idx="920">
                  <c:v>41221</c:v>
                </c:pt>
                <c:pt idx="921">
                  <c:v>41222</c:v>
                </c:pt>
                <c:pt idx="922">
                  <c:v>41225</c:v>
                </c:pt>
                <c:pt idx="923">
                  <c:v>41226</c:v>
                </c:pt>
                <c:pt idx="924">
                  <c:v>41227</c:v>
                </c:pt>
                <c:pt idx="925">
                  <c:v>41228</c:v>
                </c:pt>
                <c:pt idx="926">
                  <c:v>41229</c:v>
                </c:pt>
                <c:pt idx="927">
                  <c:v>41232</c:v>
                </c:pt>
                <c:pt idx="928">
                  <c:v>41233</c:v>
                </c:pt>
                <c:pt idx="929">
                  <c:v>41234</c:v>
                </c:pt>
                <c:pt idx="930">
                  <c:v>41235</c:v>
                </c:pt>
                <c:pt idx="931">
                  <c:v>41236</c:v>
                </c:pt>
                <c:pt idx="932">
                  <c:v>41239</c:v>
                </c:pt>
                <c:pt idx="933">
                  <c:v>41240</c:v>
                </c:pt>
                <c:pt idx="934">
                  <c:v>41241</c:v>
                </c:pt>
                <c:pt idx="935">
                  <c:v>41242</c:v>
                </c:pt>
                <c:pt idx="936">
                  <c:v>41243</c:v>
                </c:pt>
                <c:pt idx="937">
                  <c:v>41246</c:v>
                </c:pt>
                <c:pt idx="938">
                  <c:v>41247</c:v>
                </c:pt>
                <c:pt idx="939">
                  <c:v>41248</c:v>
                </c:pt>
                <c:pt idx="940">
                  <c:v>41249</c:v>
                </c:pt>
                <c:pt idx="941">
                  <c:v>41250</c:v>
                </c:pt>
                <c:pt idx="942">
                  <c:v>41253</c:v>
                </c:pt>
                <c:pt idx="943">
                  <c:v>41254</c:v>
                </c:pt>
                <c:pt idx="944">
                  <c:v>41255</c:v>
                </c:pt>
                <c:pt idx="945">
                  <c:v>41256</c:v>
                </c:pt>
                <c:pt idx="946">
                  <c:v>41257</c:v>
                </c:pt>
                <c:pt idx="947">
                  <c:v>41260</c:v>
                </c:pt>
                <c:pt idx="948">
                  <c:v>41261</c:v>
                </c:pt>
                <c:pt idx="949">
                  <c:v>41262</c:v>
                </c:pt>
                <c:pt idx="950">
                  <c:v>41263</c:v>
                </c:pt>
                <c:pt idx="951">
                  <c:v>41264</c:v>
                </c:pt>
                <c:pt idx="952">
                  <c:v>41267</c:v>
                </c:pt>
                <c:pt idx="953">
                  <c:v>41268</c:v>
                </c:pt>
                <c:pt idx="954">
                  <c:v>41269</c:v>
                </c:pt>
                <c:pt idx="955">
                  <c:v>41270</c:v>
                </c:pt>
                <c:pt idx="956">
                  <c:v>41271</c:v>
                </c:pt>
                <c:pt idx="957">
                  <c:v>41274</c:v>
                </c:pt>
                <c:pt idx="958">
                  <c:v>41275</c:v>
                </c:pt>
                <c:pt idx="959">
                  <c:v>41276</c:v>
                </c:pt>
                <c:pt idx="960">
                  <c:v>41277</c:v>
                </c:pt>
                <c:pt idx="961">
                  <c:v>41278</c:v>
                </c:pt>
                <c:pt idx="962">
                  <c:v>41281</c:v>
                </c:pt>
                <c:pt idx="963">
                  <c:v>41282</c:v>
                </c:pt>
                <c:pt idx="964">
                  <c:v>41283</c:v>
                </c:pt>
                <c:pt idx="965">
                  <c:v>41284</c:v>
                </c:pt>
                <c:pt idx="966">
                  <c:v>41285</c:v>
                </c:pt>
                <c:pt idx="967">
                  <c:v>41288</c:v>
                </c:pt>
                <c:pt idx="968">
                  <c:v>41289</c:v>
                </c:pt>
                <c:pt idx="969">
                  <c:v>41290</c:v>
                </c:pt>
                <c:pt idx="970">
                  <c:v>41291</c:v>
                </c:pt>
                <c:pt idx="971">
                  <c:v>41292</c:v>
                </c:pt>
                <c:pt idx="972">
                  <c:v>41295</c:v>
                </c:pt>
                <c:pt idx="973">
                  <c:v>41296</c:v>
                </c:pt>
                <c:pt idx="974">
                  <c:v>41297</c:v>
                </c:pt>
                <c:pt idx="975">
                  <c:v>41298</c:v>
                </c:pt>
                <c:pt idx="976">
                  <c:v>41299</c:v>
                </c:pt>
                <c:pt idx="977">
                  <c:v>41302</c:v>
                </c:pt>
                <c:pt idx="978">
                  <c:v>41303</c:v>
                </c:pt>
                <c:pt idx="979">
                  <c:v>41304</c:v>
                </c:pt>
                <c:pt idx="980">
                  <c:v>41305</c:v>
                </c:pt>
                <c:pt idx="981">
                  <c:v>41306</c:v>
                </c:pt>
                <c:pt idx="982">
                  <c:v>41309</c:v>
                </c:pt>
                <c:pt idx="983">
                  <c:v>41310</c:v>
                </c:pt>
                <c:pt idx="984">
                  <c:v>41311</c:v>
                </c:pt>
                <c:pt idx="985">
                  <c:v>41312</c:v>
                </c:pt>
                <c:pt idx="986">
                  <c:v>41313</c:v>
                </c:pt>
                <c:pt idx="987">
                  <c:v>41316</c:v>
                </c:pt>
                <c:pt idx="988">
                  <c:v>41317</c:v>
                </c:pt>
                <c:pt idx="989">
                  <c:v>41318</c:v>
                </c:pt>
                <c:pt idx="990">
                  <c:v>41319</c:v>
                </c:pt>
                <c:pt idx="991">
                  <c:v>41320</c:v>
                </c:pt>
                <c:pt idx="992">
                  <c:v>41323</c:v>
                </c:pt>
                <c:pt idx="993">
                  <c:v>41324</c:v>
                </c:pt>
                <c:pt idx="994">
                  <c:v>41325</c:v>
                </c:pt>
                <c:pt idx="995">
                  <c:v>41326</c:v>
                </c:pt>
                <c:pt idx="996">
                  <c:v>41327</c:v>
                </c:pt>
                <c:pt idx="997">
                  <c:v>41330</c:v>
                </c:pt>
                <c:pt idx="998">
                  <c:v>41331</c:v>
                </c:pt>
                <c:pt idx="999">
                  <c:v>41332</c:v>
                </c:pt>
                <c:pt idx="1000">
                  <c:v>41333</c:v>
                </c:pt>
                <c:pt idx="1001">
                  <c:v>41334</c:v>
                </c:pt>
                <c:pt idx="1002">
                  <c:v>41337</c:v>
                </c:pt>
                <c:pt idx="1003">
                  <c:v>41338</c:v>
                </c:pt>
                <c:pt idx="1004">
                  <c:v>41339</c:v>
                </c:pt>
                <c:pt idx="1005">
                  <c:v>41340</c:v>
                </c:pt>
                <c:pt idx="1006">
                  <c:v>41341</c:v>
                </c:pt>
                <c:pt idx="1007">
                  <c:v>41344</c:v>
                </c:pt>
                <c:pt idx="1008">
                  <c:v>41345</c:v>
                </c:pt>
                <c:pt idx="1009">
                  <c:v>41346</c:v>
                </c:pt>
                <c:pt idx="1010">
                  <c:v>41347</c:v>
                </c:pt>
                <c:pt idx="1011">
                  <c:v>41348</c:v>
                </c:pt>
                <c:pt idx="1012">
                  <c:v>41351</c:v>
                </c:pt>
                <c:pt idx="1013">
                  <c:v>41352</c:v>
                </c:pt>
                <c:pt idx="1014">
                  <c:v>41353</c:v>
                </c:pt>
                <c:pt idx="1015">
                  <c:v>41354</c:v>
                </c:pt>
                <c:pt idx="1016">
                  <c:v>41355</c:v>
                </c:pt>
                <c:pt idx="1017">
                  <c:v>41358</c:v>
                </c:pt>
                <c:pt idx="1018">
                  <c:v>41359</c:v>
                </c:pt>
                <c:pt idx="1019">
                  <c:v>41360</c:v>
                </c:pt>
                <c:pt idx="1020">
                  <c:v>41361</c:v>
                </c:pt>
                <c:pt idx="1021">
                  <c:v>41362</c:v>
                </c:pt>
                <c:pt idx="1022">
                  <c:v>41365</c:v>
                </c:pt>
                <c:pt idx="1023">
                  <c:v>41366</c:v>
                </c:pt>
                <c:pt idx="1024">
                  <c:v>41367</c:v>
                </c:pt>
                <c:pt idx="1025">
                  <c:v>41368</c:v>
                </c:pt>
                <c:pt idx="1026">
                  <c:v>41369</c:v>
                </c:pt>
                <c:pt idx="1027">
                  <c:v>41372</c:v>
                </c:pt>
                <c:pt idx="1028">
                  <c:v>41373</c:v>
                </c:pt>
                <c:pt idx="1029">
                  <c:v>41374</c:v>
                </c:pt>
                <c:pt idx="1030">
                  <c:v>41375</c:v>
                </c:pt>
                <c:pt idx="1031">
                  <c:v>41376</c:v>
                </c:pt>
                <c:pt idx="1032">
                  <c:v>41379</c:v>
                </c:pt>
                <c:pt idx="1033">
                  <c:v>41380</c:v>
                </c:pt>
                <c:pt idx="1034">
                  <c:v>41381</c:v>
                </c:pt>
                <c:pt idx="1035">
                  <c:v>41382</c:v>
                </c:pt>
                <c:pt idx="1036">
                  <c:v>41383</c:v>
                </c:pt>
                <c:pt idx="1037">
                  <c:v>41386</c:v>
                </c:pt>
                <c:pt idx="1038">
                  <c:v>41387</c:v>
                </c:pt>
                <c:pt idx="1039">
                  <c:v>41388</c:v>
                </c:pt>
                <c:pt idx="1040">
                  <c:v>41389</c:v>
                </c:pt>
                <c:pt idx="1041">
                  <c:v>41390</c:v>
                </c:pt>
                <c:pt idx="1042">
                  <c:v>41393</c:v>
                </c:pt>
                <c:pt idx="1043">
                  <c:v>41394</c:v>
                </c:pt>
                <c:pt idx="1044">
                  <c:v>41395</c:v>
                </c:pt>
                <c:pt idx="1045">
                  <c:v>41396</c:v>
                </c:pt>
                <c:pt idx="1046">
                  <c:v>41397</c:v>
                </c:pt>
                <c:pt idx="1047">
                  <c:v>41400</c:v>
                </c:pt>
                <c:pt idx="1048">
                  <c:v>41401</c:v>
                </c:pt>
                <c:pt idx="1049">
                  <c:v>41402</c:v>
                </c:pt>
                <c:pt idx="1050">
                  <c:v>41403</c:v>
                </c:pt>
                <c:pt idx="1051">
                  <c:v>41404</c:v>
                </c:pt>
                <c:pt idx="1052">
                  <c:v>41407</c:v>
                </c:pt>
                <c:pt idx="1053">
                  <c:v>41408</c:v>
                </c:pt>
                <c:pt idx="1054">
                  <c:v>41409</c:v>
                </c:pt>
                <c:pt idx="1055">
                  <c:v>41410</c:v>
                </c:pt>
                <c:pt idx="1056">
                  <c:v>41411</c:v>
                </c:pt>
                <c:pt idx="1057">
                  <c:v>41414</c:v>
                </c:pt>
                <c:pt idx="1058">
                  <c:v>41415</c:v>
                </c:pt>
                <c:pt idx="1059">
                  <c:v>41416</c:v>
                </c:pt>
                <c:pt idx="1060">
                  <c:v>41417</c:v>
                </c:pt>
                <c:pt idx="1061">
                  <c:v>41418</c:v>
                </c:pt>
                <c:pt idx="1062">
                  <c:v>41421</c:v>
                </c:pt>
                <c:pt idx="1063">
                  <c:v>41422</c:v>
                </c:pt>
                <c:pt idx="1064">
                  <c:v>41423</c:v>
                </c:pt>
                <c:pt idx="1065">
                  <c:v>41424</c:v>
                </c:pt>
                <c:pt idx="1066">
                  <c:v>41425</c:v>
                </c:pt>
                <c:pt idx="1067">
                  <c:v>41428</c:v>
                </c:pt>
                <c:pt idx="1068">
                  <c:v>41429</c:v>
                </c:pt>
                <c:pt idx="1069">
                  <c:v>41430</c:v>
                </c:pt>
                <c:pt idx="1070">
                  <c:v>41431</c:v>
                </c:pt>
                <c:pt idx="1071">
                  <c:v>41432</c:v>
                </c:pt>
                <c:pt idx="1072">
                  <c:v>41435</c:v>
                </c:pt>
                <c:pt idx="1073">
                  <c:v>41436</c:v>
                </c:pt>
                <c:pt idx="1074">
                  <c:v>41437</c:v>
                </c:pt>
                <c:pt idx="1075">
                  <c:v>41438</c:v>
                </c:pt>
                <c:pt idx="1076">
                  <c:v>41439</c:v>
                </c:pt>
                <c:pt idx="1077">
                  <c:v>41442</c:v>
                </c:pt>
                <c:pt idx="1078">
                  <c:v>41443</c:v>
                </c:pt>
                <c:pt idx="1079">
                  <c:v>41444</c:v>
                </c:pt>
                <c:pt idx="1080">
                  <c:v>41445</c:v>
                </c:pt>
                <c:pt idx="1081">
                  <c:v>41446</c:v>
                </c:pt>
                <c:pt idx="1082">
                  <c:v>41449</c:v>
                </c:pt>
                <c:pt idx="1083">
                  <c:v>41450</c:v>
                </c:pt>
                <c:pt idx="1084">
                  <c:v>41451</c:v>
                </c:pt>
                <c:pt idx="1085">
                  <c:v>41452</c:v>
                </c:pt>
                <c:pt idx="1086">
                  <c:v>41453</c:v>
                </c:pt>
                <c:pt idx="1087">
                  <c:v>41456</c:v>
                </c:pt>
                <c:pt idx="1088">
                  <c:v>41457</c:v>
                </c:pt>
                <c:pt idx="1089">
                  <c:v>41458</c:v>
                </c:pt>
                <c:pt idx="1090">
                  <c:v>41459</c:v>
                </c:pt>
                <c:pt idx="1091">
                  <c:v>41460</c:v>
                </c:pt>
                <c:pt idx="1092">
                  <c:v>41463</c:v>
                </c:pt>
                <c:pt idx="1093">
                  <c:v>41464</c:v>
                </c:pt>
                <c:pt idx="1094">
                  <c:v>41465</c:v>
                </c:pt>
                <c:pt idx="1095">
                  <c:v>41466</c:v>
                </c:pt>
                <c:pt idx="1096">
                  <c:v>41467</c:v>
                </c:pt>
                <c:pt idx="1097">
                  <c:v>41470</c:v>
                </c:pt>
                <c:pt idx="1098">
                  <c:v>41471</c:v>
                </c:pt>
                <c:pt idx="1099">
                  <c:v>41472</c:v>
                </c:pt>
                <c:pt idx="1100">
                  <c:v>41473</c:v>
                </c:pt>
                <c:pt idx="1101">
                  <c:v>41474</c:v>
                </c:pt>
                <c:pt idx="1102">
                  <c:v>41477</c:v>
                </c:pt>
                <c:pt idx="1103">
                  <c:v>41478</c:v>
                </c:pt>
                <c:pt idx="1104">
                  <c:v>41479</c:v>
                </c:pt>
                <c:pt idx="1105">
                  <c:v>41480</c:v>
                </c:pt>
                <c:pt idx="1106">
                  <c:v>41481</c:v>
                </c:pt>
                <c:pt idx="1107">
                  <c:v>41484</c:v>
                </c:pt>
                <c:pt idx="1108">
                  <c:v>41485</c:v>
                </c:pt>
                <c:pt idx="1109">
                  <c:v>41486</c:v>
                </c:pt>
                <c:pt idx="1110">
                  <c:v>41487</c:v>
                </c:pt>
                <c:pt idx="1111">
                  <c:v>41488</c:v>
                </c:pt>
                <c:pt idx="1112">
                  <c:v>41491</c:v>
                </c:pt>
                <c:pt idx="1113">
                  <c:v>41492</c:v>
                </c:pt>
                <c:pt idx="1114">
                  <c:v>41493</c:v>
                </c:pt>
                <c:pt idx="1115">
                  <c:v>41494</c:v>
                </c:pt>
                <c:pt idx="1116">
                  <c:v>41495</c:v>
                </c:pt>
                <c:pt idx="1117">
                  <c:v>41498</c:v>
                </c:pt>
                <c:pt idx="1118">
                  <c:v>41499</c:v>
                </c:pt>
                <c:pt idx="1119">
                  <c:v>41500</c:v>
                </c:pt>
                <c:pt idx="1120">
                  <c:v>41501</c:v>
                </c:pt>
                <c:pt idx="1121">
                  <c:v>41502</c:v>
                </c:pt>
                <c:pt idx="1122">
                  <c:v>41505</c:v>
                </c:pt>
                <c:pt idx="1123">
                  <c:v>41506</c:v>
                </c:pt>
                <c:pt idx="1124">
                  <c:v>41507</c:v>
                </c:pt>
                <c:pt idx="1125">
                  <c:v>41508</c:v>
                </c:pt>
                <c:pt idx="1126">
                  <c:v>41509</c:v>
                </c:pt>
                <c:pt idx="1127">
                  <c:v>41512</c:v>
                </c:pt>
                <c:pt idx="1128">
                  <c:v>41513</c:v>
                </c:pt>
                <c:pt idx="1129">
                  <c:v>41514</c:v>
                </c:pt>
                <c:pt idx="1130">
                  <c:v>41515</c:v>
                </c:pt>
                <c:pt idx="1131">
                  <c:v>41516</c:v>
                </c:pt>
                <c:pt idx="1132">
                  <c:v>41519</c:v>
                </c:pt>
                <c:pt idx="1133">
                  <c:v>41520</c:v>
                </c:pt>
                <c:pt idx="1134">
                  <c:v>41521</c:v>
                </c:pt>
                <c:pt idx="1135">
                  <c:v>41522</c:v>
                </c:pt>
                <c:pt idx="1136">
                  <c:v>41523</c:v>
                </c:pt>
                <c:pt idx="1137">
                  <c:v>41526</c:v>
                </c:pt>
                <c:pt idx="1138">
                  <c:v>41527</c:v>
                </c:pt>
                <c:pt idx="1139">
                  <c:v>41528</c:v>
                </c:pt>
                <c:pt idx="1140">
                  <c:v>41529</c:v>
                </c:pt>
                <c:pt idx="1141">
                  <c:v>41530</c:v>
                </c:pt>
                <c:pt idx="1142">
                  <c:v>41533</c:v>
                </c:pt>
                <c:pt idx="1143">
                  <c:v>41534</c:v>
                </c:pt>
                <c:pt idx="1144">
                  <c:v>41535</c:v>
                </c:pt>
                <c:pt idx="1145">
                  <c:v>41536</c:v>
                </c:pt>
                <c:pt idx="1146">
                  <c:v>41537</c:v>
                </c:pt>
                <c:pt idx="1147">
                  <c:v>41540</c:v>
                </c:pt>
                <c:pt idx="1148">
                  <c:v>41541</c:v>
                </c:pt>
                <c:pt idx="1149">
                  <c:v>41542</c:v>
                </c:pt>
                <c:pt idx="1150">
                  <c:v>41543</c:v>
                </c:pt>
                <c:pt idx="1151">
                  <c:v>41544</c:v>
                </c:pt>
                <c:pt idx="1152">
                  <c:v>41547</c:v>
                </c:pt>
                <c:pt idx="1153">
                  <c:v>41548</c:v>
                </c:pt>
                <c:pt idx="1154">
                  <c:v>41549</c:v>
                </c:pt>
                <c:pt idx="1155">
                  <c:v>41550</c:v>
                </c:pt>
                <c:pt idx="1156">
                  <c:v>41551</c:v>
                </c:pt>
                <c:pt idx="1157">
                  <c:v>41554</c:v>
                </c:pt>
                <c:pt idx="1158">
                  <c:v>41555</c:v>
                </c:pt>
                <c:pt idx="1159">
                  <c:v>41556</c:v>
                </c:pt>
                <c:pt idx="1160">
                  <c:v>41557</c:v>
                </c:pt>
                <c:pt idx="1161">
                  <c:v>41558</c:v>
                </c:pt>
                <c:pt idx="1162">
                  <c:v>41561</c:v>
                </c:pt>
                <c:pt idx="1163">
                  <c:v>41562</c:v>
                </c:pt>
                <c:pt idx="1164">
                  <c:v>41563</c:v>
                </c:pt>
                <c:pt idx="1165">
                  <c:v>41564</c:v>
                </c:pt>
                <c:pt idx="1166">
                  <c:v>41565</c:v>
                </c:pt>
                <c:pt idx="1167">
                  <c:v>41568</c:v>
                </c:pt>
                <c:pt idx="1168">
                  <c:v>41569</c:v>
                </c:pt>
                <c:pt idx="1169">
                  <c:v>41570</c:v>
                </c:pt>
                <c:pt idx="1170">
                  <c:v>41571</c:v>
                </c:pt>
                <c:pt idx="1171">
                  <c:v>41572</c:v>
                </c:pt>
                <c:pt idx="1172">
                  <c:v>41575</c:v>
                </c:pt>
                <c:pt idx="1173">
                  <c:v>41576</c:v>
                </c:pt>
                <c:pt idx="1174">
                  <c:v>41577</c:v>
                </c:pt>
                <c:pt idx="1175">
                  <c:v>41578</c:v>
                </c:pt>
                <c:pt idx="1176">
                  <c:v>41579</c:v>
                </c:pt>
                <c:pt idx="1177">
                  <c:v>41582</c:v>
                </c:pt>
                <c:pt idx="1178">
                  <c:v>41583</c:v>
                </c:pt>
                <c:pt idx="1179">
                  <c:v>41584</c:v>
                </c:pt>
                <c:pt idx="1180">
                  <c:v>41585</c:v>
                </c:pt>
                <c:pt idx="1181">
                  <c:v>41586</c:v>
                </c:pt>
                <c:pt idx="1182">
                  <c:v>41589</c:v>
                </c:pt>
                <c:pt idx="1183">
                  <c:v>41590</c:v>
                </c:pt>
                <c:pt idx="1184">
                  <c:v>41591</c:v>
                </c:pt>
                <c:pt idx="1185">
                  <c:v>41592</c:v>
                </c:pt>
                <c:pt idx="1186">
                  <c:v>41593</c:v>
                </c:pt>
                <c:pt idx="1187">
                  <c:v>41596</c:v>
                </c:pt>
                <c:pt idx="1188">
                  <c:v>41597</c:v>
                </c:pt>
                <c:pt idx="1189">
                  <c:v>41598</c:v>
                </c:pt>
                <c:pt idx="1190">
                  <c:v>41599</c:v>
                </c:pt>
                <c:pt idx="1191">
                  <c:v>41600</c:v>
                </c:pt>
                <c:pt idx="1192">
                  <c:v>41603</c:v>
                </c:pt>
                <c:pt idx="1193">
                  <c:v>41604</c:v>
                </c:pt>
                <c:pt idx="1194">
                  <c:v>41605</c:v>
                </c:pt>
                <c:pt idx="1195">
                  <c:v>41606</c:v>
                </c:pt>
                <c:pt idx="1196">
                  <c:v>41607</c:v>
                </c:pt>
                <c:pt idx="1197">
                  <c:v>41610</c:v>
                </c:pt>
                <c:pt idx="1198">
                  <c:v>41611</c:v>
                </c:pt>
                <c:pt idx="1199">
                  <c:v>41612</c:v>
                </c:pt>
                <c:pt idx="1200">
                  <c:v>41613</c:v>
                </c:pt>
                <c:pt idx="1201">
                  <c:v>41614</c:v>
                </c:pt>
                <c:pt idx="1202">
                  <c:v>41617</c:v>
                </c:pt>
                <c:pt idx="1203">
                  <c:v>41618</c:v>
                </c:pt>
                <c:pt idx="1204">
                  <c:v>41619</c:v>
                </c:pt>
                <c:pt idx="1205">
                  <c:v>41620</c:v>
                </c:pt>
                <c:pt idx="1206">
                  <c:v>41621</c:v>
                </c:pt>
                <c:pt idx="1207">
                  <c:v>41624</c:v>
                </c:pt>
                <c:pt idx="1208">
                  <c:v>41625</c:v>
                </c:pt>
                <c:pt idx="1209">
                  <c:v>41626</c:v>
                </c:pt>
                <c:pt idx="1210">
                  <c:v>41627</c:v>
                </c:pt>
                <c:pt idx="1211">
                  <c:v>41628</c:v>
                </c:pt>
                <c:pt idx="1212">
                  <c:v>41631</c:v>
                </c:pt>
                <c:pt idx="1213">
                  <c:v>41632</c:v>
                </c:pt>
                <c:pt idx="1214">
                  <c:v>41633</c:v>
                </c:pt>
                <c:pt idx="1215">
                  <c:v>41634</c:v>
                </c:pt>
                <c:pt idx="1216">
                  <c:v>41635</c:v>
                </c:pt>
                <c:pt idx="1217">
                  <c:v>41638</c:v>
                </c:pt>
                <c:pt idx="1218">
                  <c:v>41639</c:v>
                </c:pt>
                <c:pt idx="1219">
                  <c:v>41640</c:v>
                </c:pt>
                <c:pt idx="1220">
                  <c:v>41641</c:v>
                </c:pt>
                <c:pt idx="1221">
                  <c:v>41642</c:v>
                </c:pt>
                <c:pt idx="1222">
                  <c:v>41645</c:v>
                </c:pt>
                <c:pt idx="1223">
                  <c:v>41646</c:v>
                </c:pt>
                <c:pt idx="1224">
                  <c:v>41647</c:v>
                </c:pt>
                <c:pt idx="1225">
                  <c:v>41648</c:v>
                </c:pt>
                <c:pt idx="1226">
                  <c:v>41649</c:v>
                </c:pt>
                <c:pt idx="1227">
                  <c:v>41652</c:v>
                </c:pt>
                <c:pt idx="1228">
                  <c:v>41653</c:v>
                </c:pt>
                <c:pt idx="1229">
                  <c:v>41654</c:v>
                </c:pt>
                <c:pt idx="1230">
                  <c:v>41655</c:v>
                </c:pt>
                <c:pt idx="1231">
                  <c:v>41656</c:v>
                </c:pt>
                <c:pt idx="1232">
                  <c:v>41659</c:v>
                </c:pt>
                <c:pt idx="1233">
                  <c:v>41660</c:v>
                </c:pt>
                <c:pt idx="1234">
                  <c:v>41661</c:v>
                </c:pt>
                <c:pt idx="1235">
                  <c:v>41662</c:v>
                </c:pt>
                <c:pt idx="1236">
                  <c:v>41663</c:v>
                </c:pt>
                <c:pt idx="1237">
                  <c:v>41666</c:v>
                </c:pt>
                <c:pt idx="1238">
                  <c:v>41667</c:v>
                </c:pt>
                <c:pt idx="1239">
                  <c:v>41668</c:v>
                </c:pt>
                <c:pt idx="1240">
                  <c:v>41669</c:v>
                </c:pt>
                <c:pt idx="1241">
                  <c:v>41670</c:v>
                </c:pt>
                <c:pt idx="1242">
                  <c:v>41673</c:v>
                </c:pt>
                <c:pt idx="1243">
                  <c:v>41674</c:v>
                </c:pt>
                <c:pt idx="1244">
                  <c:v>41675</c:v>
                </c:pt>
                <c:pt idx="1245">
                  <c:v>41676</c:v>
                </c:pt>
                <c:pt idx="1246">
                  <c:v>41677</c:v>
                </c:pt>
                <c:pt idx="1247">
                  <c:v>41680</c:v>
                </c:pt>
                <c:pt idx="1248">
                  <c:v>41681</c:v>
                </c:pt>
                <c:pt idx="1249">
                  <c:v>41682</c:v>
                </c:pt>
                <c:pt idx="1250">
                  <c:v>41683</c:v>
                </c:pt>
                <c:pt idx="1251">
                  <c:v>41684</c:v>
                </c:pt>
                <c:pt idx="1252">
                  <c:v>41687</c:v>
                </c:pt>
                <c:pt idx="1253">
                  <c:v>41688</c:v>
                </c:pt>
                <c:pt idx="1254">
                  <c:v>41689</c:v>
                </c:pt>
                <c:pt idx="1255">
                  <c:v>41690</c:v>
                </c:pt>
                <c:pt idx="1256">
                  <c:v>41691</c:v>
                </c:pt>
                <c:pt idx="1257">
                  <c:v>41694</c:v>
                </c:pt>
                <c:pt idx="1258">
                  <c:v>41695</c:v>
                </c:pt>
                <c:pt idx="1259">
                  <c:v>41696</c:v>
                </c:pt>
                <c:pt idx="1260">
                  <c:v>41697</c:v>
                </c:pt>
                <c:pt idx="1261">
                  <c:v>41698</c:v>
                </c:pt>
                <c:pt idx="1262">
                  <c:v>41701</c:v>
                </c:pt>
                <c:pt idx="1263">
                  <c:v>41702</c:v>
                </c:pt>
                <c:pt idx="1264">
                  <c:v>41703</c:v>
                </c:pt>
                <c:pt idx="1265">
                  <c:v>41704</c:v>
                </c:pt>
                <c:pt idx="1266">
                  <c:v>41705</c:v>
                </c:pt>
                <c:pt idx="1267">
                  <c:v>41708</c:v>
                </c:pt>
                <c:pt idx="1268">
                  <c:v>41709</c:v>
                </c:pt>
                <c:pt idx="1269">
                  <c:v>41710</c:v>
                </c:pt>
                <c:pt idx="1270">
                  <c:v>41711</c:v>
                </c:pt>
                <c:pt idx="1271">
                  <c:v>41712</c:v>
                </c:pt>
                <c:pt idx="1272">
                  <c:v>41715</c:v>
                </c:pt>
                <c:pt idx="1273">
                  <c:v>41716</c:v>
                </c:pt>
                <c:pt idx="1274">
                  <c:v>41717</c:v>
                </c:pt>
                <c:pt idx="1275">
                  <c:v>41718</c:v>
                </c:pt>
                <c:pt idx="1276">
                  <c:v>41719</c:v>
                </c:pt>
                <c:pt idx="1277">
                  <c:v>41722</c:v>
                </c:pt>
                <c:pt idx="1278">
                  <c:v>41723</c:v>
                </c:pt>
                <c:pt idx="1279">
                  <c:v>41724</c:v>
                </c:pt>
                <c:pt idx="1280">
                  <c:v>41725</c:v>
                </c:pt>
                <c:pt idx="1281">
                  <c:v>41726</c:v>
                </c:pt>
                <c:pt idx="1282">
                  <c:v>41729</c:v>
                </c:pt>
                <c:pt idx="1283">
                  <c:v>41730</c:v>
                </c:pt>
                <c:pt idx="1284">
                  <c:v>41731</c:v>
                </c:pt>
                <c:pt idx="1285">
                  <c:v>41732</c:v>
                </c:pt>
                <c:pt idx="1286">
                  <c:v>41733</c:v>
                </c:pt>
                <c:pt idx="1287">
                  <c:v>41736</c:v>
                </c:pt>
                <c:pt idx="1288">
                  <c:v>41737</c:v>
                </c:pt>
                <c:pt idx="1289">
                  <c:v>41738</c:v>
                </c:pt>
                <c:pt idx="1290">
                  <c:v>41739</c:v>
                </c:pt>
                <c:pt idx="1291">
                  <c:v>41740</c:v>
                </c:pt>
                <c:pt idx="1292">
                  <c:v>41743</c:v>
                </c:pt>
                <c:pt idx="1293">
                  <c:v>41744</c:v>
                </c:pt>
                <c:pt idx="1294">
                  <c:v>41745</c:v>
                </c:pt>
                <c:pt idx="1295">
                  <c:v>41746</c:v>
                </c:pt>
                <c:pt idx="1296">
                  <c:v>41747</c:v>
                </c:pt>
                <c:pt idx="1297">
                  <c:v>41750</c:v>
                </c:pt>
                <c:pt idx="1298">
                  <c:v>41751</c:v>
                </c:pt>
                <c:pt idx="1299">
                  <c:v>41752</c:v>
                </c:pt>
                <c:pt idx="1300">
                  <c:v>41753</c:v>
                </c:pt>
                <c:pt idx="1301">
                  <c:v>41754</c:v>
                </c:pt>
                <c:pt idx="1302">
                  <c:v>41757</c:v>
                </c:pt>
                <c:pt idx="1303">
                  <c:v>41758</c:v>
                </c:pt>
                <c:pt idx="1304">
                  <c:v>41759</c:v>
                </c:pt>
                <c:pt idx="1305">
                  <c:v>41760</c:v>
                </c:pt>
                <c:pt idx="1306">
                  <c:v>41761</c:v>
                </c:pt>
                <c:pt idx="1307">
                  <c:v>41764</c:v>
                </c:pt>
                <c:pt idx="1308">
                  <c:v>41765</c:v>
                </c:pt>
                <c:pt idx="1309">
                  <c:v>41766</c:v>
                </c:pt>
                <c:pt idx="1310">
                  <c:v>41767</c:v>
                </c:pt>
                <c:pt idx="1311">
                  <c:v>41768</c:v>
                </c:pt>
                <c:pt idx="1312">
                  <c:v>41771</c:v>
                </c:pt>
                <c:pt idx="1313">
                  <c:v>41772</c:v>
                </c:pt>
                <c:pt idx="1314">
                  <c:v>41773</c:v>
                </c:pt>
                <c:pt idx="1315">
                  <c:v>41774</c:v>
                </c:pt>
                <c:pt idx="1316">
                  <c:v>41775</c:v>
                </c:pt>
                <c:pt idx="1317">
                  <c:v>41778</c:v>
                </c:pt>
                <c:pt idx="1318">
                  <c:v>41779</c:v>
                </c:pt>
                <c:pt idx="1319">
                  <c:v>41780</c:v>
                </c:pt>
                <c:pt idx="1320">
                  <c:v>41781</c:v>
                </c:pt>
                <c:pt idx="1321">
                  <c:v>41782</c:v>
                </c:pt>
                <c:pt idx="1322">
                  <c:v>41785</c:v>
                </c:pt>
                <c:pt idx="1323">
                  <c:v>41786</c:v>
                </c:pt>
                <c:pt idx="1324">
                  <c:v>41787</c:v>
                </c:pt>
                <c:pt idx="1325">
                  <c:v>41788</c:v>
                </c:pt>
                <c:pt idx="1326">
                  <c:v>41789</c:v>
                </c:pt>
                <c:pt idx="1327">
                  <c:v>41792</c:v>
                </c:pt>
                <c:pt idx="1328">
                  <c:v>41793</c:v>
                </c:pt>
                <c:pt idx="1329">
                  <c:v>41794</c:v>
                </c:pt>
                <c:pt idx="1330">
                  <c:v>41795</c:v>
                </c:pt>
                <c:pt idx="1331">
                  <c:v>41796</c:v>
                </c:pt>
                <c:pt idx="1332">
                  <c:v>41799</c:v>
                </c:pt>
                <c:pt idx="1333">
                  <c:v>41800</c:v>
                </c:pt>
                <c:pt idx="1334">
                  <c:v>41801</c:v>
                </c:pt>
                <c:pt idx="1335">
                  <c:v>41802</c:v>
                </c:pt>
                <c:pt idx="1336">
                  <c:v>41803</c:v>
                </c:pt>
                <c:pt idx="1337">
                  <c:v>41806</c:v>
                </c:pt>
                <c:pt idx="1338">
                  <c:v>41807</c:v>
                </c:pt>
                <c:pt idx="1339">
                  <c:v>41808</c:v>
                </c:pt>
                <c:pt idx="1340">
                  <c:v>41809</c:v>
                </c:pt>
                <c:pt idx="1341">
                  <c:v>41810</c:v>
                </c:pt>
                <c:pt idx="1342">
                  <c:v>41813</c:v>
                </c:pt>
                <c:pt idx="1343">
                  <c:v>41814</c:v>
                </c:pt>
                <c:pt idx="1344">
                  <c:v>41815</c:v>
                </c:pt>
                <c:pt idx="1345">
                  <c:v>41816</c:v>
                </c:pt>
                <c:pt idx="1346">
                  <c:v>41817</c:v>
                </c:pt>
                <c:pt idx="1347">
                  <c:v>41820</c:v>
                </c:pt>
                <c:pt idx="1348">
                  <c:v>41821</c:v>
                </c:pt>
                <c:pt idx="1349">
                  <c:v>41822</c:v>
                </c:pt>
                <c:pt idx="1350">
                  <c:v>41823</c:v>
                </c:pt>
                <c:pt idx="1351">
                  <c:v>41824</c:v>
                </c:pt>
                <c:pt idx="1352">
                  <c:v>41827</c:v>
                </c:pt>
                <c:pt idx="1353">
                  <c:v>41828</c:v>
                </c:pt>
                <c:pt idx="1354">
                  <c:v>41829</c:v>
                </c:pt>
                <c:pt idx="1355">
                  <c:v>41830</c:v>
                </c:pt>
                <c:pt idx="1356">
                  <c:v>41831</c:v>
                </c:pt>
                <c:pt idx="1357">
                  <c:v>41834</c:v>
                </c:pt>
                <c:pt idx="1358">
                  <c:v>41835</c:v>
                </c:pt>
                <c:pt idx="1359">
                  <c:v>41836</c:v>
                </c:pt>
                <c:pt idx="1360">
                  <c:v>41837</c:v>
                </c:pt>
                <c:pt idx="1361">
                  <c:v>41838</c:v>
                </c:pt>
                <c:pt idx="1362">
                  <c:v>41841</c:v>
                </c:pt>
                <c:pt idx="1363">
                  <c:v>41842</c:v>
                </c:pt>
                <c:pt idx="1364">
                  <c:v>41843</c:v>
                </c:pt>
                <c:pt idx="1365">
                  <c:v>41844</c:v>
                </c:pt>
                <c:pt idx="1366">
                  <c:v>41845</c:v>
                </c:pt>
                <c:pt idx="1367">
                  <c:v>41848</c:v>
                </c:pt>
                <c:pt idx="1368">
                  <c:v>41849</c:v>
                </c:pt>
                <c:pt idx="1369">
                  <c:v>41850</c:v>
                </c:pt>
                <c:pt idx="1370">
                  <c:v>41851</c:v>
                </c:pt>
                <c:pt idx="1371">
                  <c:v>41852</c:v>
                </c:pt>
                <c:pt idx="1372">
                  <c:v>41855</c:v>
                </c:pt>
                <c:pt idx="1373">
                  <c:v>41856</c:v>
                </c:pt>
                <c:pt idx="1374">
                  <c:v>41857</c:v>
                </c:pt>
                <c:pt idx="1375">
                  <c:v>41858</c:v>
                </c:pt>
                <c:pt idx="1376">
                  <c:v>41859</c:v>
                </c:pt>
                <c:pt idx="1377">
                  <c:v>41862</c:v>
                </c:pt>
                <c:pt idx="1378">
                  <c:v>41863</c:v>
                </c:pt>
                <c:pt idx="1379">
                  <c:v>41864</c:v>
                </c:pt>
                <c:pt idx="1380">
                  <c:v>41865</c:v>
                </c:pt>
                <c:pt idx="1381">
                  <c:v>41866</c:v>
                </c:pt>
                <c:pt idx="1382">
                  <c:v>41869</c:v>
                </c:pt>
                <c:pt idx="1383">
                  <c:v>41870</c:v>
                </c:pt>
                <c:pt idx="1384">
                  <c:v>41871</c:v>
                </c:pt>
                <c:pt idx="1385">
                  <c:v>41872</c:v>
                </c:pt>
                <c:pt idx="1386">
                  <c:v>41873</c:v>
                </c:pt>
                <c:pt idx="1387">
                  <c:v>41876</c:v>
                </c:pt>
                <c:pt idx="1388">
                  <c:v>41877</c:v>
                </c:pt>
                <c:pt idx="1389">
                  <c:v>41878</c:v>
                </c:pt>
                <c:pt idx="1390">
                  <c:v>41879</c:v>
                </c:pt>
                <c:pt idx="1391">
                  <c:v>41880</c:v>
                </c:pt>
                <c:pt idx="1392">
                  <c:v>41883</c:v>
                </c:pt>
                <c:pt idx="1393">
                  <c:v>41884</c:v>
                </c:pt>
                <c:pt idx="1394">
                  <c:v>41885</c:v>
                </c:pt>
                <c:pt idx="1395">
                  <c:v>41886</c:v>
                </c:pt>
                <c:pt idx="1396">
                  <c:v>41887</c:v>
                </c:pt>
                <c:pt idx="1397">
                  <c:v>41890</c:v>
                </c:pt>
                <c:pt idx="1398">
                  <c:v>41891</c:v>
                </c:pt>
                <c:pt idx="1399">
                  <c:v>41892</c:v>
                </c:pt>
                <c:pt idx="1400">
                  <c:v>41893</c:v>
                </c:pt>
                <c:pt idx="1401">
                  <c:v>41894</c:v>
                </c:pt>
                <c:pt idx="1402">
                  <c:v>41897</c:v>
                </c:pt>
                <c:pt idx="1403">
                  <c:v>41898</c:v>
                </c:pt>
                <c:pt idx="1404">
                  <c:v>41899</c:v>
                </c:pt>
                <c:pt idx="1405">
                  <c:v>41900</c:v>
                </c:pt>
                <c:pt idx="1406">
                  <c:v>41901</c:v>
                </c:pt>
                <c:pt idx="1407">
                  <c:v>41904</c:v>
                </c:pt>
                <c:pt idx="1408">
                  <c:v>41905</c:v>
                </c:pt>
                <c:pt idx="1409">
                  <c:v>41906</c:v>
                </c:pt>
                <c:pt idx="1410">
                  <c:v>41907</c:v>
                </c:pt>
                <c:pt idx="1411">
                  <c:v>41908</c:v>
                </c:pt>
                <c:pt idx="1412">
                  <c:v>41911</c:v>
                </c:pt>
                <c:pt idx="1413">
                  <c:v>41912</c:v>
                </c:pt>
                <c:pt idx="1414">
                  <c:v>41913</c:v>
                </c:pt>
                <c:pt idx="1415">
                  <c:v>41914</c:v>
                </c:pt>
                <c:pt idx="1416">
                  <c:v>41915</c:v>
                </c:pt>
                <c:pt idx="1417">
                  <c:v>41918</c:v>
                </c:pt>
                <c:pt idx="1418">
                  <c:v>41919</c:v>
                </c:pt>
                <c:pt idx="1419">
                  <c:v>41920</c:v>
                </c:pt>
                <c:pt idx="1420">
                  <c:v>41921</c:v>
                </c:pt>
                <c:pt idx="1421">
                  <c:v>41922</c:v>
                </c:pt>
                <c:pt idx="1422">
                  <c:v>41925</c:v>
                </c:pt>
                <c:pt idx="1423">
                  <c:v>41926</c:v>
                </c:pt>
                <c:pt idx="1424">
                  <c:v>41927</c:v>
                </c:pt>
                <c:pt idx="1425">
                  <c:v>41928</c:v>
                </c:pt>
                <c:pt idx="1426">
                  <c:v>41929</c:v>
                </c:pt>
                <c:pt idx="1427">
                  <c:v>41932</c:v>
                </c:pt>
                <c:pt idx="1428">
                  <c:v>41933</c:v>
                </c:pt>
                <c:pt idx="1429">
                  <c:v>41934</c:v>
                </c:pt>
                <c:pt idx="1430">
                  <c:v>41935</c:v>
                </c:pt>
                <c:pt idx="1431">
                  <c:v>41936</c:v>
                </c:pt>
                <c:pt idx="1432">
                  <c:v>41939</c:v>
                </c:pt>
                <c:pt idx="1433">
                  <c:v>41940</c:v>
                </c:pt>
                <c:pt idx="1434">
                  <c:v>41941</c:v>
                </c:pt>
                <c:pt idx="1435">
                  <c:v>41942</c:v>
                </c:pt>
                <c:pt idx="1436">
                  <c:v>41943</c:v>
                </c:pt>
                <c:pt idx="1437">
                  <c:v>41946</c:v>
                </c:pt>
                <c:pt idx="1438">
                  <c:v>41947</c:v>
                </c:pt>
                <c:pt idx="1439">
                  <c:v>41948</c:v>
                </c:pt>
                <c:pt idx="1440">
                  <c:v>41949</c:v>
                </c:pt>
                <c:pt idx="1441">
                  <c:v>41950</c:v>
                </c:pt>
                <c:pt idx="1442">
                  <c:v>41953</c:v>
                </c:pt>
                <c:pt idx="1443">
                  <c:v>41954</c:v>
                </c:pt>
                <c:pt idx="1444">
                  <c:v>41955</c:v>
                </c:pt>
                <c:pt idx="1445">
                  <c:v>41956</c:v>
                </c:pt>
                <c:pt idx="1446">
                  <c:v>41957</c:v>
                </c:pt>
                <c:pt idx="1447">
                  <c:v>41960</c:v>
                </c:pt>
                <c:pt idx="1448">
                  <c:v>41961</c:v>
                </c:pt>
                <c:pt idx="1449">
                  <c:v>41962</c:v>
                </c:pt>
                <c:pt idx="1450">
                  <c:v>41963</c:v>
                </c:pt>
                <c:pt idx="1451">
                  <c:v>41964</c:v>
                </c:pt>
                <c:pt idx="1452">
                  <c:v>41967</c:v>
                </c:pt>
                <c:pt idx="1453">
                  <c:v>41968</c:v>
                </c:pt>
                <c:pt idx="1454">
                  <c:v>41969</c:v>
                </c:pt>
                <c:pt idx="1455">
                  <c:v>41970</c:v>
                </c:pt>
                <c:pt idx="1456">
                  <c:v>41971</c:v>
                </c:pt>
                <c:pt idx="1457">
                  <c:v>41974</c:v>
                </c:pt>
                <c:pt idx="1458">
                  <c:v>41975</c:v>
                </c:pt>
                <c:pt idx="1459">
                  <c:v>41976</c:v>
                </c:pt>
                <c:pt idx="1460">
                  <c:v>41977</c:v>
                </c:pt>
                <c:pt idx="1461">
                  <c:v>41978</c:v>
                </c:pt>
                <c:pt idx="1462">
                  <c:v>41981</c:v>
                </c:pt>
                <c:pt idx="1463">
                  <c:v>41982</c:v>
                </c:pt>
                <c:pt idx="1464">
                  <c:v>41983</c:v>
                </c:pt>
                <c:pt idx="1465">
                  <c:v>41984</c:v>
                </c:pt>
                <c:pt idx="1466">
                  <c:v>41985</c:v>
                </c:pt>
                <c:pt idx="1467">
                  <c:v>41988</c:v>
                </c:pt>
                <c:pt idx="1468">
                  <c:v>41989</c:v>
                </c:pt>
                <c:pt idx="1469">
                  <c:v>41990</c:v>
                </c:pt>
                <c:pt idx="1470">
                  <c:v>41991</c:v>
                </c:pt>
                <c:pt idx="1471">
                  <c:v>41992</c:v>
                </c:pt>
                <c:pt idx="1472">
                  <c:v>41995</c:v>
                </c:pt>
                <c:pt idx="1473">
                  <c:v>41996</c:v>
                </c:pt>
                <c:pt idx="1474">
                  <c:v>41997</c:v>
                </c:pt>
                <c:pt idx="1475">
                  <c:v>41998</c:v>
                </c:pt>
                <c:pt idx="1476">
                  <c:v>41999</c:v>
                </c:pt>
                <c:pt idx="1477">
                  <c:v>42002</c:v>
                </c:pt>
                <c:pt idx="1478">
                  <c:v>42003</c:v>
                </c:pt>
                <c:pt idx="1479">
                  <c:v>42004</c:v>
                </c:pt>
                <c:pt idx="1480">
                  <c:v>42005</c:v>
                </c:pt>
                <c:pt idx="1481">
                  <c:v>42006</c:v>
                </c:pt>
                <c:pt idx="1482">
                  <c:v>42009</c:v>
                </c:pt>
                <c:pt idx="1483">
                  <c:v>42010</c:v>
                </c:pt>
                <c:pt idx="1484">
                  <c:v>42011</c:v>
                </c:pt>
                <c:pt idx="1485">
                  <c:v>42012</c:v>
                </c:pt>
                <c:pt idx="1486">
                  <c:v>42013</c:v>
                </c:pt>
                <c:pt idx="1487">
                  <c:v>42016</c:v>
                </c:pt>
                <c:pt idx="1488">
                  <c:v>42017</c:v>
                </c:pt>
                <c:pt idx="1489">
                  <c:v>42018</c:v>
                </c:pt>
                <c:pt idx="1490">
                  <c:v>42019</c:v>
                </c:pt>
                <c:pt idx="1491">
                  <c:v>42020</c:v>
                </c:pt>
                <c:pt idx="1492">
                  <c:v>42023</c:v>
                </c:pt>
                <c:pt idx="1493">
                  <c:v>42024</c:v>
                </c:pt>
                <c:pt idx="1494">
                  <c:v>42025</c:v>
                </c:pt>
                <c:pt idx="1495">
                  <c:v>42026</c:v>
                </c:pt>
                <c:pt idx="1496">
                  <c:v>42027</c:v>
                </c:pt>
                <c:pt idx="1497">
                  <c:v>42030</c:v>
                </c:pt>
                <c:pt idx="1498">
                  <c:v>42031</c:v>
                </c:pt>
                <c:pt idx="1499">
                  <c:v>42032</c:v>
                </c:pt>
                <c:pt idx="1500">
                  <c:v>42033</c:v>
                </c:pt>
                <c:pt idx="1501">
                  <c:v>42034</c:v>
                </c:pt>
                <c:pt idx="1502">
                  <c:v>42037</c:v>
                </c:pt>
                <c:pt idx="1503">
                  <c:v>42038</c:v>
                </c:pt>
                <c:pt idx="1504">
                  <c:v>42039</c:v>
                </c:pt>
                <c:pt idx="1505">
                  <c:v>42040</c:v>
                </c:pt>
                <c:pt idx="1506">
                  <c:v>42041</c:v>
                </c:pt>
                <c:pt idx="1507">
                  <c:v>42044</c:v>
                </c:pt>
                <c:pt idx="1508">
                  <c:v>42045</c:v>
                </c:pt>
                <c:pt idx="1509">
                  <c:v>42046</c:v>
                </c:pt>
                <c:pt idx="1510">
                  <c:v>42047</c:v>
                </c:pt>
                <c:pt idx="1511">
                  <c:v>42048</c:v>
                </c:pt>
                <c:pt idx="1512">
                  <c:v>42051</c:v>
                </c:pt>
                <c:pt idx="1513">
                  <c:v>42052</c:v>
                </c:pt>
                <c:pt idx="1514">
                  <c:v>42053</c:v>
                </c:pt>
                <c:pt idx="1515">
                  <c:v>42054</c:v>
                </c:pt>
                <c:pt idx="1516">
                  <c:v>42055</c:v>
                </c:pt>
                <c:pt idx="1517">
                  <c:v>42058</c:v>
                </c:pt>
                <c:pt idx="1518">
                  <c:v>42059</c:v>
                </c:pt>
                <c:pt idx="1519">
                  <c:v>42060</c:v>
                </c:pt>
                <c:pt idx="1520">
                  <c:v>42061</c:v>
                </c:pt>
                <c:pt idx="1521">
                  <c:v>42062</c:v>
                </c:pt>
                <c:pt idx="1522">
                  <c:v>42065</c:v>
                </c:pt>
                <c:pt idx="1523">
                  <c:v>42066</c:v>
                </c:pt>
                <c:pt idx="1524">
                  <c:v>42067</c:v>
                </c:pt>
                <c:pt idx="1525">
                  <c:v>42068</c:v>
                </c:pt>
                <c:pt idx="1526">
                  <c:v>42069</c:v>
                </c:pt>
                <c:pt idx="1527">
                  <c:v>42072</c:v>
                </c:pt>
                <c:pt idx="1528">
                  <c:v>42073</c:v>
                </c:pt>
                <c:pt idx="1529">
                  <c:v>42074</c:v>
                </c:pt>
                <c:pt idx="1530">
                  <c:v>42075</c:v>
                </c:pt>
                <c:pt idx="1531">
                  <c:v>42076</c:v>
                </c:pt>
                <c:pt idx="1532">
                  <c:v>42079</c:v>
                </c:pt>
                <c:pt idx="1533">
                  <c:v>42080</c:v>
                </c:pt>
                <c:pt idx="1534">
                  <c:v>42081</c:v>
                </c:pt>
                <c:pt idx="1535">
                  <c:v>42082</c:v>
                </c:pt>
                <c:pt idx="1536">
                  <c:v>42083</c:v>
                </c:pt>
                <c:pt idx="1537">
                  <c:v>42086</c:v>
                </c:pt>
                <c:pt idx="1538">
                  <c:v>42087</c:v>
                </c:pt>
                <c:pt idx="1539">
                  <c:v>42088</c:v>
                </c:pt>
                <c:pt idx="1540">
                  <c:v>42089</c:v>
                </c:pt>
                <c:pt idx="1541">
                  <c:v>42090</c:v>
                </c:pt>
                <c:pt idx="1542">
                  <c:v>42093</c:v>
                </c:pt>
                <c:pt idx="1543">
                  <c:v>42094</c:v>
                </c:pt>
                <c:pt idx="1544">
                  <c:v>42095</c:v>
                </c:pt>
                <c:pt idx="1545">
                  <c:v>42096</c:v>
                </c:pt>
                <c:pt idx="1546">
                  <c:v>42097</c:v>
                </c:pt>
                <c:pt idx="1547">
                  <c:v>42100</c:v>
                </c:pt>
                <c:pt idx="1548">
                  <c:v>42101</c:v>
                </c:pt>
                <c:pt idx="1549">
                  <c:v>42102</c:v>
                </c:pt>
                <c:pt idx="1550">
                  <c:v>42103</c:v>
                </c:pt>
                <c:pt idx="1551">
                  <c:v>42104</c:v>
                </c:pt>
                <c:pt idx="1552">
                  <c:v>42107</c:v>
                </c:pt>
                <c:pt idx="1553">
                  <c:v>42108</c:v>
                </c:pt>
                <c:pt idx="1554">
                  <c:v>42109</c:v>
                </c:pt>
                <c:pt idx="1555">
                  <c:v>42110</c:v>
                </c:pt>
                <c:pt idx="1556">
                  <c:v>42111</c:v>
                </c:pt>
                <c:pt idx="1557">
                  <c:v>42114</c:v>
                </c:pt>
                <c:pt idx="1558">
                  <c:v>42115</c:v>
                </c:pt>
                <c:pt idx="1559">
                  <c:v>42116</c:v>
                </c:pt>
                <c:pt idx="1560">
                  <c:v>42117</c:v>
                </c:pt>
                <c:pt idx="1561">
                  <c:v>42118</c:v>
                </c:pt>
                <c:pt idx="1562">
                  <c:v>42121</c:v>
                </c:pt>
                <c:pt idx="1563">
                  <c:v>42122</c:v>
                </c:pt>
                <c:pt idx="1564">
                  <c:v>42123</c:v>
                </c:pt>
                <c:pt idx="1565">
                  <c:v>42124</c:v>
                </c:pt>
                <c:pt idx="1566">
                  <c:v>42125</c:v>
                </c:pt>
                <c:pt idx="1567">
                  <c:v>42128</c:v>
                </c:pt>
                <c:pt idx="1568">
                  <c:v>42129</c:v>
                </c:pt>
                <c:pt idx="1569">
                  <c:v>42130</c:v>
                </c:pt>
                <c:pt idx="1570">
                  <c:v>42131</c:v>
                </c:pt>
                <c:pt idx="1571">
                  <c:v>42132</c:v>
                </c:pt>
                <c:pt idx="1572">
                  <c:v>42135</c:v>
                </c:pt>
                <c:pt idx="1573">
                  <c:v>42136</c:v>
                </c:pt>
                <c:pt idx="1574">
                  <c:v>42137</c:v>
                </c:pt>
                <c:pt idx="1575">
                  <c:v>42138</c:v>
                </c:pt>
                <c:pt idx="1576">
                  <c:v>42139</c:v>
                </c:pt>
                <c:pt idx="1577">
                  <c:v>42142</c:v>
                </c:pt>
                <c:pt idx="1578">
                  <c:v>42143</c:v>
                </c:pt>
                <c:pt idx="1579">
                  <c:v>42144</c:v>
                </c:pt>
                <c:pt idx="1580">
                  <c:v>42145</c:v>
                </c:pt>
                <c:pt idx="1581">
                  <c:v>42146</c:v>
                </c:pt>
                <c:pt idx="1582">
                  <c:v>42149</c:v>
                </c:pt>
                <c:pt idx="1583">
                  <c:v>42150</c:v>
                </c:pt>
                <c:pt idx="1584">
                  <c:v>42151</c:v>
                </c:pt>
                <c:pt idx="1585">
                  <c:v>42152</c:v>
                </c:pt>
                <c:pt idx="1586">
                  <c:v>42153</c:v>
                </c:pt>
                <c:pt idx="1587">
                  <c:v>42156</c:v>
                </c:pt>
                <c:pt idx="1588">
                  <c:v>42157</c:v>
                </c:pt>
                <c:pt idx="1589">
                  <c:v>42158</c:v>
                </c:pt>
                <c:pt idx="1590">
                  <c:v>42159</c:v>
                </c:pt>
                <c:pt idx="1591">
                  <c:v>42160</c:v>
                </c:pt>
                <c:pt idx="1592">
                  <c:v>42163</c:v>
                </c:pt>
                <c:pt idx="1593">
                  <c:v>42164</c:v>
                </c:pt>
                <c:pt idx="1594">
                  <c:v>42165</c:v>
                </c:pt>
                <c:pt idx="1595">
                  <c:v>42166</c:v>
                </c:pt>
                <c:pt idx="1596">
                  <c:v>42167</c:v>
                </c:pt>
                <c:pt idx="1597">
                  <c:v>42170</c:v>
                </c:pt>
                <c:pt idx="1598">
                  <c:v>42171</c:v>
                </c:pt>
                <c:pt idx="1599">
                  <c:v>42172</c:v>
                </c:pt>
                <c:pt idx="1600">
                  <c:v>42173</c:v>
                </c:pt>
                <c:pt idx="1601">
                  <c:v>42174</c:v>
                </c:pt>
                <c:pt idx="1602">
                  <c:v>42177</c:v>
                </c:pt>
                <c:pt idx="1603">
                  <c:v>42178</c:v>
                </c:pt>
                <c:pt idx="1604">
                  <c:v>42179</c:v>
                </c:pt>
                <c:pt idx="1605">
                  <c:v>42180</c:v>
                </c:pt>
                <c:pt idx="1606">
                  <c:v>42181</c:v>
                </c:pt>
                <c:pt idx="1607">
                  <c:v>42184</c:v>
                </c:pt>
                <c:pt idx="1608">
                  <c:v>42185</c:v>
                </c:pt>
                <c:pt idx="1609">
                  <c:v>42186</c:v>
                </c:pt>
                <c:pt idx="1610">
                  <c:v>42187</c:v>
                </c:pt>
                <c:pt idx="1611">
                  <c:v>42188</c:v>
                </c:pt>
                <c:pt idx="1612">
                  <c:v>42191</c:v>
                </c:pt>
                <c:pt idx="1613">
                  <c:v>42192</c:v>
                </c:pt>
                <c:pt idx="1614">
                  <c:v>42193</c:v>
                </c:pt>
                <c:pt idx="1615">
                  <c:v>42194</c:v>
                </c:pt>
                <c:pt idx="1616">
                  <c:v>42195</c:v>
                </c:pt>
                <c:pt idx="1617">
                  <c:v>42198</c:v>
                </c:pt>
                <c:pt idx="1618">
                  <c:v>42199</c:v>
                </c:pt>
                <c:pt idx="1619">
                  <c:v>42200</c:v>
                </c:pt>
                <c:pt idx="1620">
                  <c:v>42201</c:v>
                </c:pt>
                <c:pt idx="1621">
                  <c:v>42202</c:v>
                </c:pt>
                <c:pt idx="1622">
                  <c:v>42205</c:v>
                </c:pt>
                <c:pt idx="1623">
                  <c:v>42206</c:v>
                </c:pt>
                <c:pt idx="1624">
                  <c:v>42207</c:v>
                </c:pt>
                <c:pt idx="1625">
                  <c:v>42208</c:v>
                </c:pt>
                <c:pt idx="1626">
                  <c:v>42209</c:v>
                </c:pt>
                <c:pt idx="1627">
                  <c:v>42212</c:v>
                </c:pt>
                <c:pt idx="1628">
                  <c:v>42213</c:v>
                </c:pt>
                <c:pt idx="1629">
                  <c:v>42214</c:v>
                </c:pt>
                <c:pt idx="1630">
                  <c:v>42215</c:v>
                </c:pt>
                <c:pt idx="1631">
                  <c:v>42216</c:v>
                </c:pt>
                <c:pt idx="1632">
                  <c:v>42219</c:v>
                </c:pt>
                <c:pt idx="1633">
                  <c:v>42220</c:v>
                </c:pt>
                <c:pt idx="1634">
                  <c:v>42221</c:v>
                </c:pt>
                <c:pt idx="1635">
                  <c:v>42222</c:v>
                </c:pt>
                <c:pt idx="1636">
                  <c:v>42223</c:v>
                </c:pt>
                <c:pt idx="1637">
                  <c:v>42226</c:v>
                </c:pt>
                <c:pt idx="1638">
                  <c:v>42227</c:v>
                </c:pt>
                <c:pt idx="1639">
                  <c:v>42228</c:v>
                </c:pt>
                <c:pt idx="1640">
                  <c:v>42229</c:v>
                </c:pt>
                <c:pt idx="1641">
                  <c:v>42230</c:v>
                </c:pt>
                <c:pt idx="1642">
                  <c:v>42233</c:v>
                </c:pt>
                <c:pt idx="1643">
                  <c:v>42234</c:v>
                </c:pt>
                <c:pt idx="1644">
                  <c:v>42235</c:v>
                </c:pt>
                <c:pt idx="1645">
                  <c:v>42236</c:v>
                </c:pt>
                <c:pt idx="1646">
                  <c:v>42237</c:v>
                </c:pt>
                <c:pt idx="1647">
                  <c:v>42240</c:v>
                </c:pt>
                <c:pt idx="1648">
                  <c:v>42241</c:v>
                </c:pt>
                <c:pt idx="1649">
                  <c:v>42242</c:v>
                </c:pt>
                <c:pt idx="1650">
                  <c:v>42243</c:v>
                </c:pt>
                <c:pt idx="1651">
                  <c:v>42244</c:v>
                </c:pt>
                <c:pt idx="1652">
                  <c:v>42247</c:v>
                </c:pt>
                <c:pt idx="1653">
                  <c:v>42248</c:v>
                </c:pt>
                <c:pt idx="1654">
                  <c:v>42249</c:v>
                </c:pt>
                <c:pt idx="1655">
                  <c:v>42250</c:v>
                </c:pt>
                <c:pt idx="1656">
                  <c:v>42251</c:v>
                </c:pt>
                <c:pt idx="1657">
                  <c:v>42254</c:v>
                </c:pt>
                <c:pt idx="1658">
                  <c:v>42255</c:v>
                </c:pt>
                <c:pt idx="1659">
                  <c:v>42256</c:v>
                </c:pt>
                <c:pt idx="1660">
                  <c:v>42257</c:v>
                </c:pt>
                <c:pt idx="1661">
                  <c:v>42258</c:v>
                </c:pt>
                <c:pt idx="1662">
                  <c:v>42261</c:v>
                </c:pt>
                <c:pt idx="1663">
                  <c:v>42262</c:v>
                </c:pt>
                <c:pt idx="1664">
                  <c:v>42263</c:v>
                </c:pt>
                <c:pt idx="1665">
                  <c:v>42264</c:v>
                </c:pt>
                <c:pt idx="1666">
                  <c:v>42265</c:v>
                </c:pt>
                <c:pt idx="1667">
                  <c:v>42268</c:v>
                </c:pt>
                <c:pt idx="1668">
                  <c:v>42269</c:v>
                </c:pt>
                <c:pt idx="1669">
                  <c:v>42270</c:v>
                </c:pt>
                <c:pt idx="1670">
                  <c:v>42271</c:v>
                </c:pt>
                <c:pt idx="1671">
                  <c:v>42272</c:v>
                </c:pt>
                <c:pt idx="1672">
                  <c:v>42275</c:v>
                </c:pt>
                <c:pt idx="1673">
                  <c:v>42276</c:v>
                </c:pt>
                <c:pt idx="1674">
                  <c:v>42277</c:v>
                </c:pt>
                <c:pt idx="1675">
                  <c:v>42278</c:v>
                </c:pt>
                <c:pt idx="1676">
                  <c:v>42279</c:v>
                </c:pt>
                <c:pt idx="1677">
                  <c:v>42282</c:v>
                </c:pt>
                <c:pt idx="1678">
                  <c:v>42283</c:v>
                </c:pt>
                <c:pt idx="1679">
                  <c:v>42284</c:v>
                </c:pt>
                <c:pt idx="1680">
                  <c:v>42285</c:v>
                </c:pt>
                <c:pt idx="1681">
                  <c:v>42286</c:v>
                </c:pt>
                <c:pt idx="1682">
                  <c:v>42289</c:v>
                </c:pt>
                <c:pt idx="1683">
                  <c:v>42290</c:v>
                </c:pt>
                <c:pt idx="1684">
                  <c:v>42291</c:v>
                </c:pt>
                <c:pt idx="1685">
                  <c:v>42292</c:v>
                </c:pt>
                <c:pt idx="1686">
                  <c:v>42293</c:v>
                </c:pt>
                <c:pt idx="1687">
                  <c:v>42296</c:v>
                </c:pt>
                <c:pt idx="1688">
                  <c:v>42297</c:v>
                </c:pt>
                <c:pt idx="1689">
                  <c:v>42298</c:v>
                </c:pt>
                <c:pt idx="1690">
                  <c:v>42299</c:v>
                </c:pt>
                <c:pt idx="1691">
                  <c:v>42300</c:v>
                </c:pt>
                <c:pt idx="1692">
                  <c:v>42303</c:v>
                </c:pt>
                <c:pt idx="1693">
                  <c:v>42304</c:v>
                </c:pt>
                <c:pt idx="1694">
                  <c:v>42305</c:v>
                </c:pt>
                <c:pt idx="1695">
                  <c:v>42306</c:v>
                </c:pt>
                <c:pt idx="1696">
                  <c:v>42307</c:v>
                </c:pt>
                <c:pt idx="1697">
                  <c:v>42310</c:v>
                </c:pt>
                <c:pt idx="1698">
                  <c:v>42311</c:v>
                </c:pt>
                <c:pt idx="1699">
                  <c:v>42312</c:v>
                </c:pt>
                <c:pt idx="1700">
                  <c:v>42313</c:v>
                </c:pt>
                <c:pt idx="1701">
                  <c:v>42314</c:v>
                </c:pt>
                <c:pt idx="1702">
                  <c:v>42317</c:v>
                </c:pt>
                <c:pt idx="1703">
                  <c:v>42318</c:v>
                </c:pt>
                <c:pt idx="1704">
                  <c:v>42319</c:v>
                </c:pt>
                <c:pt idx="1705">
                  <c:v>42320</c:v>
                </c:pt>
                <c:pt idx="1706">
                  <c:v>42321</c:v>
                </c:pt>
                <c:pt idx="1707">
                  <c:v>42324</c:v>
                </c:pt>
                <c:pt idx="1708">
                  <c:v>42325</c:v>
                </c:pt>
                <c:pt idx="1709">
                  <c:v>42326</c:v>
                </c:pt>
                <c:pt idx="1710">
                  <c:v>42327</c:v>
                </c:pt>
                <c:pt idx="1711">
                  <c:v>42328</c:v>
                </c:pt>
                <c:pt idx="1712">
                  <c:v>42331</c:v>
                </c:pt>
                <c:pt idx="1713">
                  <c:v>42332</c:v>
                </c:pt>
                <c:pt idx="1714">
                  <c:v>42333</c:v>
                </c:pt>
                <c:pt idx="1715">
                  <c:v>42334</c:v>
                </c:pt>
                <c:pt idx="1716">
                  <c:v>42335</c:v>
                </c:pt>
                <c:pt idx="1717">
                  <c:v>42338</c:v>
                </c:pt>
                <c:pt idx="1718">
                  <c:v>42339</c:v>
                </c:pt>
                <c:pt idx="1719">
                  <c:v>42340</c:v>
                </c:pt>
                <c:pt idx="1720">
                  <c:v>42341</c:v>
                </c:pt>
                <c:pt idx="1721">
                  <c:v>42342</c:v>
                </c:pt>
                <c:pt idx="1722">
                  <c:v>42345</c:v>
                </c:pt>
                <c:pt idx="1723">
                  <c:v>42346</c:v>
                </c:pt>
                <c:pt idx="1724">
                  <c:v>42347</c:v>
                </c:pt>
                <c:pt idx="1725">
                  <c:v>42348</c:v>
                </c:pt>
                <c:pt idx="1726">
                  <c:v>42349</c:v>
                </c:pt>
                <c:pt idx="1727">
                  <c:v>42352</c:v>
                </c:pt>
                <c:pt idx="1728">
                  <c:v>42353</c:v>
                </c:pt>
                <c:pt idx="1729">
                  <c:v>42354</c:v>
                </c:pt>
                <c:pt idx="1730">
                  <c:v>42355</c:v>
                </c:pt>
                <c:pt idx="1731">
                  <c:v>42356</c:v>
                </c:pt>
                <c:pt idx="1732">
                  <c:v>42359</c:v>
                </c:pt>
                <c:pt idx="1733">
                  <c:v>42360</c:v>
                </c:pt>
                <c:pt idx="1734">
                  <c:v>42361</c:v>
                </c:pt>
                <c:pt idx="1735">
                  <c:v>42362</c:v>
                </c:pt>
                <c:pt idx="1736">
                  <c:v>42363</c:v>
                </c:pt>
                <c:pt idx="1737">
                  <c:v>42366</c:v>
                </c:pt>
                <c:pt idx="1738">
                  <c:v>42367</c:v>
                </c:pt>
                <c:pt idx="1739">
                  <c:v>42368</c:v>
                </c:pt>
                <c:pt idx="1740">
                  <c:v>42369</c:v>
                </c:pt>
                <c:pt idx="1741">
                  <c:v>42370</c:v>
                </c:pt>
                <c:pt idx="1742">
                  <c:v>42373</c:v>
                </c:pt>
                <c:pt idx="1743">
                  <c:v>42374</c:v>
                </c:pt>
                <c:pt idx="1744">
                  <c:v>42375</c:v>
                </c:pt>
                <c:pt idx="1745">
                  <c:v>42376</c:v>
                </c:pt>
                <c:pt idx="1746">
                  <c:v>42377</c:v>
                </c:pt>
                <c:pt idx="1747">
                  <c:v>42380</c:v>
                </c:pt>
                <c:pt idx="1748">
                  <c:v>42381</c:v>
                </c:pt>
                <c:pt idx="1749">
                  <c:v>42382</c:v>
                </c:pt>
                <c:pt idx="1750">
                  <c:v>42383</c:v>
                </c:pt>
                <c:pt idx="1751">
                  <c:v>42384</c:v>
                </c:pt>
                <c:pt idx="1752">
                  <c:v>42387</c:v>
                </c:pt>
                <c:pt idx="1753">
                  <c:v>42388</c:v>
                </c:pt>
                <c:pt idx="1754">
                  <c:v>42389</c:v>
                </c:pt>
                <c:pt idx="1755">
                  <c:v>42390</c:v>
                </c:pt>
                <c:pt idx="1756">
                  <c:v>42391</c:v>
                </c:pt>
                <c:pt idx="1757">
                  <c:v>42394</c:v>
                </c:pt>
                <c:pt idx="1758">
                  <c:v>42395</c:v>
                </c:pt>
                <c:pt idx="1759">
                  <c:v>42396</c:v>
                </c:pt>
                <c:pt idx="1760">
                  <c:v>42397</c:v>
                </c:pt>
                <c:pt idx="1761">
                  <c:v>42398</c:v>
                </c:pt>
                <c:pt idx="1762">
                  <c:v>42401</c:v>
                </c:pt>
                <c:pt idx="1763">
                  <c:v>42402</c:v>
                </c:pt>
                <c:pt idx="1764">
                  <c:v>42403</c:v>
                </c:pt>
                <c:pt idx="1765">
                  <c:v>42404</c:v>
                </c:pt>
                <c:pt idx="1766">
                  <c:v>42405</c:v>
                </c:pt>
                <c:pt idx="1767">
                  <c:v>42408</c:v>
                </c:pt>
                <c:pt idx="1768">
                  <c:v>42409</c:v>
                </c:pt>
                <c:pt idx="1769">
                  <c:v>42410</c:v>
                </c:pt>
                <c:pt idx="1770">
                  <c:v>42411</c:v>
                </c:pt>
                <c:pt idx="1771">
                  <c:v>42412</c:v>
                </c:pt>
                <c:pt idx="1772">
                  <c:v>42415</c:v>
                </c:pt>
                <c:pt idx="1773">
                  <c:v>42416</c:v>
                </c:pt>
                <c:pt idx="1774">
                  <c:v>42417</c:v>
                </c:pt>
                <c:pt idx="1775">
                  <c:v>42418</c:v>
                </c:pt>
                <c:pt idx="1776">
                  <c:v>42419</c:v>
                </c:pt>
                <c:pt idx="1777">
                  <c:v>42422</c:v>
                </c:pt>
                <c:pt idx="1778">
                  <c:v>42423</c:v>
                </c:pt>
                <c:pt idx="1779">
                  <c:v>42424</c:v>
                </c:pt>
                <c:pt idx="1780">
                  <c:v>42425</c:v>
                </c:pt>
                <c:pt idx="1781">
                  <c:v>42426</c:v>
                </c:pt>
                <c:pt idx="1782">
                  <c:v>42429</c:v>
                </c:pt>
                <c:pt idx="1783">
                  <c:v>42430</c:v>
                </c:pt>
                <c:pt idx="1784">
                  <c:v>42431</c:v>
                </c:pt>
                <c:pt idx="1785">
                  <c:v>42432</c:v>
                </c:pt>
                <c:pt idx="1786">
                  <c:v>42433</c:v>
                </c:pt>
                <c:pt idx="1787">
                  <c:v>42436</c:v>
                </c:pt>
                <c:pt idx="1788">
                  <c:v>42437</c:v>
                </c:pt>
                <c:pt idx="1789">
                  <c:v>42438</c:v>
                </c:pt>
                <c:pt idx="1790">
                  <c:v>42439</c:v>
                </c:pt>
                <c:pt idx="1791">
                  <c:v>42440</c:v>
                </c:pt>
                <c:pt idx="1792">
                  <c:v>42443</c:v>
                </c:pt>
                <c:pt idx="1793">
                  <c:v>42444</c:v>
                </c:pt>
                <c:pt idx="1794">
                  <c:v>42445</c:v>
                </c:pt>
                <c:pt idx="1795">
                  <c:v>42446</c:v>
                </c:pt>
                <c:pt idx="1796">
                  <c:v>42447</c:v>
                </c:pt>
                <c:pt idx="1797">
                  <c:v>42450</c:v>
                </c:pt>
                <c:pt idx="1798">
                  <c:v>42451</c:v>
                </c:pt>
                <c:pt idx="1799">
                  <c:v>42452</c:v>
                </c:pt>
                <c:pt idx="1800">
                  <c:v>42453</c:v>
                </c:pt>
                <c:pt idx="1801">
                  <c:v>42454</c:v>
                </c:pt>
                <c:pt idx="1802">
                  <c:v>42457</c:v>
                </c:pt>
                <c:pt idx="1803">
                  <c:v>42458</c:v>
                </c:pt>
                <c:pt idx="1804">
                  <c:v>42459</c:v>
                </c:pt>
                <c:pt idx="1805">
                  <c:v>42460</c:v>
                </c:pt>
                <c:pt idx="1806">
                  <c:v>42461</c:v>
                </c:pt>
                <c:pt idx="1807">
                  <c:v>42464</c:v>
                </c:pt>
                <c:pt idx="1808">
                  <c:v>42465</c:v>
                </c:pt>
                <c:pt idx="1809">
                  <c:v>42466</c:v>
                </c:pt>
                <c:pt idx="1810">
                  <c:v>42467</c:v>
                </c:pt>
                <c:pt idx="1811">
                  <c:v>42468</c:v>
                </c:pt>
                <c:pt idx="1812">
                  <c:v>42471</c:v>
                </c:pt>
                <c:pt idx="1813">
                  <c:v>42472</c:v>
                </c:pt>
                <c:pt idx="1814">
                  <c:v>42473</c:v>
                </c:pt>
                <c:pt idx="1815">
                  <c:v>42474</c:v>
                </c:pt>
                <c:pt idx="1816">
                  <c:v>42475</c:v>
                </c:pt>
                <c:pt idx="1817">
                  <c:v>42478</c:v>
                </c:pt>
                <c:pt idx="1818">
                  <c:v>42479</c:v>
                </c:pt>
                <c:pt idx="1819">
                  <c:v>42480</c:v>
                </c:pt>
                <c:pt idx="1820">
                  <c:v>42481</c:v>
                </c:pt>
                <c:pt idx="1821">
                  <c:v>42482</c:v>
                </c:pt>
                <c:pt idx="1822">
                  <c:v>42485</c:v>
                </c:pt>
                <c:pt idx="1823">
                  <c:v>42486</c:v>
                </c:pt>
                <c:pt idx="1824">
                  <c:v>42487</c:v>
                </c:pt>
                <c:pt idx="1825">
                  <c:v>42488</c:v>
                </c:pt>
                <c:pt idx="1826">
                  <c:v>42489</c:v>
                </c:pt>
                <c:pt idx="1827">
                  <c:v>42492</c:v>
                </c:pt>
                <c:pt idx="1828">
                  <c:v>42493</c:v>
                </c:pt>
                <c:pt idx="1829">
                  <c:v>42494</c:v>
                </c:pt>
                <c:pt idx="1830">
                  <c:v>42495</c:v>
                </c:pt>
                <c:pt idx="1831">
                  <c:v>42496</c:v>
                </c:pt>
                <c:pt idx="1832">
                  <c:v>42499</c:v>
                </c:pt>
                <c:pt idx="1833">
                  <c:v>42500</c:v>
                </c:pt>
                <c:pt idx="1834">
                  <c:v>42501</c:v>
                </c:pt>
                <c:pt idx="1835">
                  <c:v>42502</c:v>
                </c:pt>
                <c:pt idx="1836">
                  <c:v>42503</c:v>
                </c:pt>
                <c:pt idx="1837">
                  <c:v>42506</c:v>
                </c:pt>
                <c:pt idx="1838">
                  <c:v>42507</c:v>
                </c:pt>
                <c:pt idx="1839">
                  <c:v>42508</c:v>
                </c:pt>
                <c:pt idx="1840">
                  <c:v>42509</c:v>
                </c:pt>
                <c:pt idx="1841">
                  <c:v>42510</c:v>
                </c:pt>
                <c:pt idx="1842">
                  <c:v>42513</c:v>
                </c:pt>
                <c:pt idx="1843">
                  <c:v>42514</c:v>
                </c:pt>
                <c:pt idx="1844">
                  <c:v>42515</c:v>
                </c:pt>
                <c:pt idx="1845">
                  <c:v>42516</c:v>
                </c:pt>
                <c:pt idx="1846">
                  <c:v>42517</c:v>
                </c:pt>
                <c:pt idx="1847">
                  <c:v>42520</c:v>
                </c:pt>
                <c:pt idx="1848">
                  <c:v>42521</c:v>
                </c:pt>
                <c:pt idx="1849">
                  <c:v>42522</c:v>
                </c:pt>
                <c:pt idx="1850">
                  <c:v>42523</c:v>
                </c:pt>
                <c:pt idx="1851">
                  <c:v>42524</c:v>
                </c:pt>
                <c:pt idx="1852">
                  <c:v>42527</c:v>
                </c:pt>
                <c:pt idx="1853">
                  <c:v>42528</c:v>
                </c:pt>
                <c:pt idx="1854">
                  <c:v>42529</c:v>
                </c:pt>
                <c:pt idx="1855">
                  <c:v>42530</c:v>
                </c:pt>
                <c:pt idx="1856">
                  <c:v>42531</c:v>
                </c:pt>
                <c:pt idx="1857">
                  <c:v>42534</c:v>
                </c:pt>
                <c:pt idx="1858">
                  <c:v>42535</c:v>
                </c:pt>
                <c:pt idx="1859">
                  <c:v>42536</c:v>
                </c:pt>
                <c:pt idx="1860">
                  <c:v>42537</c:v>
                </c:pt>
                <c:pt idx="1861">
                  <c:v>42538</c:v>
                </c:pt>
                <c:pt idx="1862">
                  <c:v>42541</c:v>
                </c:pt>
                <c:pt idx="1863">
                  <c:v>42542</c:v>
                </c:pt>
                <c:pt idx="1864">
                  <c:v>42543</c:v>
                </c:pt>
                <c:pt idx="1865">
                  <c:v>42544</c:v>
                </c:pt>
                <c:pt idx="1866">
                  <c:v>42545</c:v>
                </c:pt>
                <c:pt idx="1867">
                  <c:v>42548</c:v>
                </c:pt>
                <c:pt idx="1868">
                  <c:v>42549</c:v>
                </c:pt>
                <c:pt idx="1869">
                  <c:v>42550</c:v>
                </c:pt>
                <c:pt idx="1870">
                  <c:v>42551</c:v>
                </c:pt>
                <c:pt idx="1871">
                  <c:v>42552</c:v>
                </c:pt>
                <c:pt idx="1872">
                  <c:v>42555</c:v>
                </c:pt>
                <c:pt idx="1873">
                  <c:v>42556</c:v>
                </c:pt>
                <c:pt idx="1874">
                  <c:v>42557</c:v>
                </c:pt>
                <c:pt idx="1875">
                  <c:v>42558</c:v>
                </c:pt>
                <c:pt idx="1876">
                  <c:v>42559</c:v>
                </c:pt>
                <c:pt idx="1877">
                  <c:v>42562</c:v>
                </c:pt>
                <c:pt idx="1878">
                  <c:v>42563</c:v>
                </c:pt>
                <c:pt idx="1879">
                  <c:v>42564</c:v>
                </c:pt>
                <c:pt idx="1880">
                  <c:v>42565</c:v>
                </c:pt>
                <c:pt idx="1881">
                  <c:v>42566</c:v>
                </c:pt>
                <c:pt idx="1882">
                  <c:v>42569</c:v>
                </c:pt>
                <c:pt idx="1883">
                  <c:v>42570</c:v>
                </c:pt>
                <c:pt idx="1884">
                  <c:v>42571</c:v>
                </c:pt>
                <c:pt idx="1885">
                  <c:v>42572</c:v>
                </c:pt>
                <c:pt idx="1886">
                  <c:v>42573</c:v>
                </c:pt>
                <c:pt idx="1887">
                  <c:v>42576</c:v>
                </c:pt>
                <c:pt idx="1888">
                  <c:v>42577</c:v>
                </c:pt>
                <c:pt idx="1889">
                  <c:v>42578</c:v>
                </c:pt>
                <c:pt idx="1890">
                  <c:v>42579</c:v>
                </c:pt>
                <c:pt idx="1891">
                  <c:v>42580</c:v>
                </c:pt>
                <c:pt idx="1892">
                  <c:v>42583</c:v>
                </c:pt>
                <c:pt idx="1893">
                  <c:v>42584</c:v>
                </c:pt>
                <c:pt idx="1894">
                  <c:v>42585</c:v>
                </c:pt>
                <c:pt idx="1895">
                  <c:v>42586</c:v>
                </c:pt>
                <c:pt idx="1896">
                  <c:v>42587</c:v>
                </c:pt>
                <c:pt idx="1897">
                  <c:v>42590</c:v>
                </c:pt>
                <c:pt idx="1898">
                  <c:v>42591</c:v>
                </c:pt>
                <c:pt idx="1899">
                  <c:v>42592</c:v>
                </c:pt>
                <c:pt idx="1900">
                  <c:v>42593</c:v>
                </c:pt>
                <c:pt idx="1901">
                  <c:v>42594</c:v>
                </c:pt>
                <c:pt idx="1902">
                  <c:v>42597</c:v>
                </c:pt>
                <c:pt idx="1903">
                  <c:v>42598</c:v>
                </c:pt>
                <c:pt idx="1904">
                  <c:v>42599</c:v>
                </c:pt>
                <c:pt idx="1905">
                  <c:v>42600</c:v>
                </c:pt>
                <c:pt idx="1906">
                  <c:v>42601</c:v>
                </c:pt>
                <c:pt idx="1907">
                  <c:v>42604</c:v>
                </c:pt>
                <c:pt idx="1908">
                  <c:v>42605</c:v>
                </c:pt>
                <c:pt idx="1909">
                  <c:v>42606</c:v>
                </c:pt>
                <c:pt idx="1910">
                  <c:v>42607</c:v>
                </c:pt>
                <c:pt idx="1911">
                  <c:v>42608</c:v>
                </c:pt>
                <c:pt idx="1912">
                  <c:v>42611</c:v>
                </c:pt>
                <c:pt idx="1913">
                  <c:v>42612</c:v>
                </c:pt>
                <c:pt idx="1914">
                  <c:v>42613</c:v>
                </c:pt>
                <c:pt idx="1915">
                  <c:v>42614</c:v>
                </c:pt>
                <c:pt idx="1916">
                  <c:v>42615</c:v>
                </c:pt>
                <c:pt idx="1917">
                  <c:v>42618</c:v>
                </c:pt>
                <c:pt idx="1918">
                  <c:v>42619</c:v>
                </c:pt>
                <c:pt idx="1919">
                  <c:v>42620</c:v>
                </c:pt>
                <c:pt idx="1920">
                  <c:v>42621</c:v>
                </c:pt>
                <c:pt idx="1921">
                  <c:v>42622</c:v>
                </c:pt>
                <c:pt idx="1922">
                  <c:v>42625</c:v>
                </c:pt>
                <c:pt idx="1923">
                  <c:v>42626</c:v>
                </c:pt>
                <c:pt idx="1924">
                  <c:v>42627</c:v>
                </c:pt>
                <c:pt idx="1925">
                  <c:v>42628</c:v>
                </c:pt>
                <c:pt idx="1926">
                  <c:v>42629</c:v>
                </c:pt>
                <c:pt idx="1927">
                  <c:v>42632</c:v>
                </c:pt>
                <c:pt idx="1928">
                  <c:v>42633</c:v>
                </c:pt>
                <c:pt idx="1929">
                  <c:v>42634</c:v>
                </c:pt>
                <c:pt idx="1930">
                  <c:v>42635</c:v>
                </c:pt>
                <c:pt idx="1931">
                  <c:v>42636</c:v>
                </c:pt>
                <c:pt idx="1932">
                  <c:v>42639</c:v>
                </c:pt>
                <c:pt idx="1933">
                  <c:v>42640</c:v>
                </c:pt>
                <c:pt idx="1934">
                  <c:v>42641</c:v>
                </c:pt>
                <c:pt idx="1935">
                  <c:v>42642</c:v>
                </c:pt>
                <c:pt idx="1936">
                  <c:v>42643</c:v>
                </c:pt>
              </c:numCache>
            </c:numRef>
          </c:cat>
          <c:val>
            <c:numRef>
              <c:f>[0]!AMUNDIMVEUROPEBR</c:f>
              <c:numCache>
                <c:formatCode>#,##0.00_);[Red]\(#,##0.00\)</c:formatCode>
                <c:ptCount val="1937"/>
                <c:pt idx="0">
                  <c:v>100</c:v>
                </c:pt>
                <c:pt idx="1">
                  <c:v>100</c:v>
                </c:pt>
                <c:pt idx="2">
                  <c:v>102.03285498972181</c:v>
                </c:pt>
                <c:pt idx="3">
                  <c:v>101.10327530284893</c:v>
                </c:pt>
                <c:pt idx="4">
                  <c:v>101.79796660127209</c:v>
                </c:pt>
                <c:pt idx="5">
                  <c:v>101.30543006724848</c:v>
                </c:pt>
                <c:pt idx="6">
                  <c:v>102.16820358649265</c:v>
                </c:pt>
                <c:pt idx="7">
                  <c:v>101.24164983064973</c:v>
                </c:pt>
                <c:pt idx="8">
                  <c:v>102.3806058020659</c:v>
                </c:pt>
                <c:pt idx="9">
                  <c:v>102.15510849226146</c:v>
                </c:pt>
                <c:pt idx="10">
                  <c:v>102.25458443688224</c:v>
                </c:pt>
                <c:pt idx="11">
                  <c:v>102.28006750381154</c:v>
                </c:pt>
                <c:pt idx="12">
                  <c:v>103.67690218066679</c:v>
                </c:pt>
                <c:pt idx="13">
                  <c:v>103.59940613819865</c:v>
                </c:pt>
                <c:pt idx="14">
                  <c:v>104.339433790332</c:v>
                </c:pt>
                <c:pt idx="15">
                  <c:v>104.339433790332</c:v>
                </c:pt>
                <c:pt idx="16">
                  <c:v>102.17239431714158</c:v>
                </c:pt>
                <c:pt idx="17">
                  <c:v>102.57530073239936</c:v>
                </c:pt>
                <c:pt idx="18">
                  <c:v>103.59457457531458</c:v>
                </c:pt>
                <c:pt idx="19">
                  <c:v>103.87736122756273</c:v>
                </c:pt>
                <c:pt idx="20">
                  <c:v>103.12537870138412</c:v>
                </c:pt>
                <c:pt idx="21">
                  <c:v>102.84572766567122</c:v>
                </c:pt>
                <c:pt idx="22">
                  <c:v>102.84572766567122</c:v>
                </c:pt>
                <c:pt idx="23">
                  <c:v>104.39661699823262</c:v>
                </c:pt>
                <c:pt idx="24">
                  <c:v>103.26718336853706</c:v>
                </c:pt>
                <c:pt idx="25">
                  <c:v>103.22367762974469</c:v>
                </c:pt>
                <c:pt idx="26">
                  <c:v>102.96396823440304</c:v>
                </c:pt>
                <c:pt idx="27">
                  <c:v>102.8484296738083</c:v>
                </c:pt>
                <c:pt idx="28">
                  <c:v>102.94104779647961</c:v>
                </c:pt>
                <c:pt idx="29">
                  <c:v>103.5321966255319</c:v>
                </c:pt>
                <c:pt idx="30">
                  <c:v>104.11136206900298</c:v>
                </c:pt>
                <c:pt idx="31">
                  <c:v>104.22407836943857</c:v>
                </c:pt>
                <c:pt idx="32">
                  <c:v>102.30860017082988</c:v>
                </c:pt>
                <c:pt idx="33">
                  <c:v>102.49504392958002</c:v>
                </c:pt>
                <c:pt idx="34">
                  <c:v>102.37739650722833</c:v>
                </c:pt>
                <c:pt idx="35">
                  <c:v>102.71237158891728</c:v>
                </c:pt>
                <c:pt idx="36">
                  <c:v>103.52804297261532</c:v>
                </c:pt>
                <c:pt idx="37">
                  <c:v>101.67089426838993</c:v>
                </c:pt>
                <c:pt idx="38">
                  <c:v>101.67089426838993</c:v>
                </c:pt>
                <c:pt idx="39">
                  <c:v>102.93274360697407</c:v>
                </c:pt>
                <c:pt idx="40">
                  <c:v>102.07993514564424</c:v>
                </c:pt>
                <c:pt idx="41">
                  <c:v>101.71986588291627</c:v>
                </c:pt>
                <c:pt idx="42">
                  <c:v>102.83809033273201</c:v>
                </c:pt>
                <c:pt idx="43">
                  <c:v>101.96206089667992</c:v>
                </c:pt>
                <c:pt idx="44">
                  <c:v>103.65233023318537</c:v>
                </c:pt>
                <c:pt idx="45">
                  <c:v>101.50236514418015</c:v>
                </c:pt>
                <c:pt idx="46">
                  <c:v>101.45051416413308</c:v>
                </c:pt>
                <c:pt idx="47">
                  <c:v>101.21275483793258</c:v>
                </c:pt>
                <c:pt idx="48">
                  <c:v>100.04317095161875</c:v>
                </c:pt>
                <c:pt idx="49">
                  <c:v>99.750444304039064</c:v>
                </c:pt>
                <c:pt idx="50">
                  <c:v>100.06824429761924</c:v>
                </c:pt>
                <c:pt idx="51">
                  <c:v>99.118738764520813</c:v>
                </c:pt>
                <c:pt idx="52">
                  <c:v>100.29879463369826</c:v>
                </c:pt>
                <c:pt idx="53">
                  <c:v>100.71723994934632</c:v>
                </c:pt>
                <c:pt idx="54">
                  <c:v>102.06634058864152</c:v>
                </c:pt>
                <c:pt idx="55">
                  <c:v>102.86837799255231</c:v>
                </c:pt>
                <c:pt idx="56">
                  <c:v>103.12336532954873</c:v>
                </c:pt>
                <c:pt idx="57">
                  <c:v>104.02169641904659</c:v>
                </c:pt>
                <c:pt idx="58">
                  <c:v>104.5984512506769</c:v>
                </c:pt>
                <c:pt idx="59">
                  <c:v>104.88257793698168</c:v>
                </c:pt>
                <c:pt idx="60">
                  <c:v>105.78812792513301</c:v>
                </c:pt>
                <c:pt idx="61">
                  <c:v>105.33861659567711</c:v>
                </c:pt>
                <c:pt idx="62">
                  <c:v>105.65388563756719</c:v>
                </c:pt>
                <c:pt idx="63">
                  <c:v>105.45592815126075</c:v>
                </c:pt>
                <c:pt idx="64">
                  <c:v>106.26138156971476</c:v>
                </c:pt>
                <c:pt idx="65">
                  <c:v>107.69640869725366</c:v>
                </c:pt>
                <c:pt idx="66">
                  <c:v>107.04782908256732</c:v>
                </c:pt>
                <c:pt idx="67">
                  <c:v>107.48257175438154</c:v>
                </c:pt>
                <c:pt idx="68">
                  <c:v>107.23951711234633</c:v>
                </c:pt>
                <c:pt idx="69">
                  <c:v>106.49015572985047</c:v>
                </c:pt>
                <c:pt idx="70">
                  <c:v>106.41549891002491</c:v>
                </c:pt>
                <c:pt idx="71">
                  <c:v>107.85779043718054</c:v>
                </c:pt>
                <c:pt idx="72">
                  <c:v>107.62688253463983</c:v>
                </c:pt>
                <c:pt idx="73">
                  <c:v>106.91452203627389</c:v>
                </c:pt>
                <c:pt idx="74">
                  <c:v>107.83658173495132</c:v>
                </c:pt>
                <c:pt idx="75">
                  <c:v>107.70579147543565</c:v>
                </c:pt>
                <c:pt idx="76">
                  <c:v>107.05154250738683</c:v>
                </c:pt>
                <c:pt idx="77">
                  <c:v>105.90703395574685</c:v>
                </c:pt>
                <c:pt idx="78">
                  <c:v>106.68581254218155</c:v>
                </c:pt>
                <c:pt idx="79">
                  <c:v>106.86587912933649</c:v>
                </c:pt>
                <c:pt idx="80">
                  <c:v>107.90849725007381</c:v>
                </c:pt>
                <c:pt idx="81">
                  <c:v>109.86488259884895</c:v>
                </c:pt>
                <c:pt idx="82">
                  <c:v>110.18170795322548</c:v>
                </c:pt>
                <c:pt idx="83">
                  <c:v>110.87947697413891</c:v>
                </c:pt>
                <c:pt idx="84">
                  <c:v>110.52101389127711</c:v>
                </c:pt>
                <c:pt idx="85">
                  <c:v>110.10338671139897</c:v>
                </c:pt>
                <c:pt idx="86">
                  <c:v>110.55446681789476</c:v>
                </c:pt>
                <c:pt idx="87">
                  <c:v>110.20269273392435</c:v>
                </c:pt>
                <c:pt idx="88">
                  <c:v>109.23123463710873</c:v>
                </c:pt>
                <c:pt idx="89">
                  <c:v>109.62615462584439</c:v>
                </c:pt>
                <c:pt idx="90">
                  <c:v>108.94053011145486</c:v>
                </c:pt>
                <c:pt idx="91">
                  <c:v>109.77992315460664</c:v>
                </c:pt>
                <c:pt idx="92">
                  <c:v>110.66787198148633</c:v>
                </c:pt>
                <c:pt idx="93">
                  <c:v>111.11405905525203</c:v>
                </c:pt>
                <c:pt idx="94">
                  <c:v>111.92952781386873</c:v>
                </c:pt>
                <c:pt idx="95">
                  <c:v>112.07272780980992</c:v>
                </c:pt>
                <c:pt idx="96">
                  <c:v>112.37247635080136</c:v>
                </c:pt>
                <c:pt idx="97">
                  <c:v>112.616496228622</c:v>
                </c:pt>
                <c:pt idx="98">
                  <c:v>112.63178663231888</c:v>
                </c:pt>
                <c:pt idx="99">
                  <c:v>113.26374691193169</c:v>
                </c:pt>
                <c:pt idx="100">
                  <c:v>113.49629263989604</c:v>
                </c:pt>
                <c:pt idx="101">
                  <c:v>113.31032478470399</c:v>
                </c:pt>
                <c:pt idx="102">
                  <c:v>113.32549628451538</c:v>
                </c:pt>
                <c:pt idx="103">
                  <c:v>113.90741510826726</c:v>
                </c:pt>
                <c:pt idx="104">
                  <c:v>113.75258910079118</c:v>
                </c:pt>
                <c:pt idx="105">
                  <c:v>112.18339560532429</c:v>
                </c:pt>
                <c:pt idx="106">
                  <c:v>112.17812604128274</c:v>
                </c:pt>
                <c:pt idx="107">
                  <c:v>113.91189636353745</c:v>
                </c:pt>
                <c:pt idx="108">
                  <c:v>113.86141828064846</c:v>
                </c:pt>
                <c:pt idx="109">
                  <c:v>113.41653443276813</c:v>
                </c:pt>
                <c:pt idx="110">
                  <c:v>112.46865940416035</c:v>
                </c:pt>
                <c:pt idx="111">
                  <c:v>111.22556719017729</c:v>
                </c:pt>
                <c:pt idx="112">
                  <c:v>111.97398983590536</c:v>
                </c:pt>
                <c:pt idx="113">
                  <c:v>113.1335202166488</c:v>
                </c:pt>
                <c:pt idx="114">
                  <c:v>112.76686920272776</c:v>
                </c:pt>
                <c:pt idx="115">
                  <c:v>113.53185528434781</c:v>
                </c:pt>
                <c:pt idx="116">
                  <c:v>113.1913036089301</c:v>
                </c:pt>
                <c:pt idx="117">
                  <c:v>114.12277816756151</c:v>
                </c:pt>
                <c:pt idx="118">
                  <c:v>113.19772739406389</c:v>
                </c:pt>
                <c:pt idx="119">
                  <c:v>114.51519789228735</c:v>
                </c:pt>
                <c:pt idx="120">
                  <c:v>114.64320486552992</c:v>
                </c:pt>
                <c:pt idx="121">
                  <c:v>114.08464160336753</c:v>
                </c:pt>
                <c:pt idx="122">
                  <c:v>115.35592429609397</c:v>
                </c:pt>
                <c:pt idx="123">
                  <c:v>115.23327710588612</c:v>
                </c:pt>
                <c:pt idx="124">
                  <c:v>115.73946029116475</c:v>
                </c:pt>
                <c:pt idx="125">
                  <c:v>115.07736926559342</c:v>
                </c:pt>
                <c:pt idx="126">
                  <c:v>114.06564965055853</c:v>
                </c:pt>
                <c:pt idx="127">
                  <c:v>113.4082112539939</c:v>
                </c:pt>
                <c:pt idx="128">
                  <c:v>114.57550833426716</c:v>
                </c:pt>
                <c:pt idx="129">
                  <c:v>113.87008334669464</c:v>
                </c:pt>
                <c:pt idx="130">
                  <c:v>113.95434545246523</c:v>
                </c:pt>
                <c:pt idx="131">
                  <c:v>112.04415841463707</c:v>
                </c:pt>
                <c:pt idx="132">
                  <c:v>112.28394472397056</c:v>
                </c:pt>
                <c:pt idx="133">
                  <c:v>111.51004230303923</c:v>
                </c:pt>
                <c:pt idx="134">
                  <c:v>112.55189143323476</c:v>
                </c:pt>
                <c:pt idx="135">
                  <c:v>112.91348249132429</c:v>
                </c:pt>
                <c:pt idx="136">
                  <c:v>112.77162879903382</c:v>
                </c:pt>
                <c:pt idx="137">
                  <c:v>114.51781402699679</c:v>
                </c:pt>
                <c:pt idx="138">
                  <c:v>114.39910148084577</c:v>
                </c:pt>
                <c:pt idx="139">
                  <c:v>114.31455439701845</c:v>
                </c:pt>
                <c:pt idx="140">
                  <c:v>114.46418440869365</c:v>
                </c:pt>
                <c:pt idx="141">
                  <c:v>114.8420134638433</c:v>
                </c:pt>
                <c:pt idx="142">
                  <c:v>115.86403516290376</c:v>
                </c:pt>
                <c:pt idx="143">
                  <c:v>115.8760116062971</c:v>
                </c:pt>
                <c:pt idx="144">
                  <c:v>115.38331694995871</c:v>
                </c:pt>
                <c:pt idx="145">
                  <c:v>113.94758111581203</c:v>
                </c:pt>
                <c:pt idx="146">
                  <c:v>113.45179640774548</c:v>
                </c:pt>
                <c:pt idx="147">
                  <c:v>115.26819902435538</c:v>
                </c:pt>
                <c:pt idx="148">
                  <c:v>114.76736926384665</c:v>
                </c:pt>
                <c:pt idx="149">
                  <c:v>115.61388639135004</c:v>
                </c:pt>
                <c:pt idx="150">
                  <c:v>113.33526694409493</c:v>
                </c:pt>
                <c:pt idx="151">
                  <c:v>113.98369691295129</c:v>
                </c:pt>
                <c:pt idx="152">
                  <c:v>112.8177660743783</c:v>
                </c:pt>
                <c:pt idx="153">
                  <c:v>115.29352510638813</c:v>
                </c:pt>
                <c:pt idx="154">
                  <c:v>115.96018944004169</c:v>
                </c:pt>
                <c:pt idx="155">
                  <c:v>115.93093801079206</c:v>
                </c:pt>
                <c:pt idx="156">
                  <c:v>117.22724153725714</c:v>
                </c:pt>
                <c:pt idx="157">
                  <c:v>116.74328520686169</c:v>
                </c:pt>
                <c:pt idx="158">
                  <c:v>115.53118611379548</c:v>
                </c:pt>
                <c:pt idx="159">
                  <c:v>114.75865815795198</c:v>
                </c:pt>
                <c:pt idx="160">
                  <c:v>115.87309431162087</c:v>
                </c:pt>
                <c:pt idx="161">
                  <c:v>116.74113198861562</c:v>
                </c:pt>
                <c:pt idx="162">
                  <c:v>117.32039722723495</c:v>
                </c:pt>
                <c:pt idx="163">
                  <c:v>117.62919996296002</c:v>
                </c:pt>
                <c:pt idx="164">
                  <c:v>118.47123499544003</c:v>
                </c:pt>
                <c:pt idx="165">
                  <c:v>117.39972042712239</c:v>
                </c:pt>
                <c:pt idx="166">
                  <c:v>117.34634525902679</c:v>
                </c:pt>
                <c:pt idx="167">
                  <c:v>118.47916696366676</c:v>
                </c:pt>
                <c:pt idx="168">
                  <c:v>119.1321821798595</c:v>
                </c:pt>
                <c:pt idx="169">
                  <c:v>119.34449363342341</c:v>
                </c:pt>
                <c:pt idx="170">
                  <c:v>119.34449363342341</c:v>
                </c:pt>
                <c:pt idx="171">
                  <c:v>119.34449363342341</c:v>
                </c:pt>
                <c:pt idx="172">
                  <c:v>119.65344167033098</c:v>
                </c:pt>
                <c:pt idx="173">
                  <c:v>120.04594421220965</c:v>
                </c:pt>
                <c:pt idx="174">
                  <c:v>119.68062560321671</c:v>
                </c:pt>
                <c:pt idx="175">
                  <c:v>119.93022012271757</c:v>
                </c:pt>
                <c:pt idx="176">
                  <c:v>119.93022012271757</c:v>
                </c:pt>
                <c:pt idx="177">
                  <c:v>120.94986058926027</c:v>
                </c:pt>
                <c:pt idx="178">
                  <c:v>119.92424124612423</c:v>
                </c:pt>
                <c:pt idx="179">
                  <c:v>119.88097106357138</c:v>
                </c:pt>
                <c:pt idx="180">
                  <c:v>119.45922284581292</c:v>
                </c:pt>
                <c:pt idx="181">
                  <c:v>119.49244089569677</c:v>
                </c:pt>
                <c:pt idx="182">
                  <c:v>119.57599791768547</c:v>
                </c:pt>
                <c:pt idx="183">
                  <c:v>119.06861717612109</c:v>
                </c:pt>
                <c:pt idx="184">
                  <c:v>119.43606653753203</c:v>
                </c:pt>
                <c:pt idx="185">
                  <c:v>120.14382070146286</c:v>
                </c:pt>
                <c:pt idx="186">
                  <c:v>119.60833668775028</c:v>
                </c:pt>
                <c:pt idx="187">
                  <c:v>120.24066946352603</c:v>
                </c:pt>
                <c:pt idx="188">
                  <c:v>121.32714515369155</c:v>
                </c:pt>
                <c:pt idx="189">
                  <c:v>120.71195294864729</c:v>
                </c:pt>
                <c:pt idx="190">
                  <c:v>119.81679371272085</c:v>
                </c:pt>
                <c:pt idx="191">
                  <c:v>118.79370157921079</c:v>
                </c:pt>
                <c:pt idx="192">
                  <c:v>118.01820733797639</c:v>
                </c:pt>
                <c:pt idx="193">
                  <c:v>118.87218255673464</c:v>
                </c:pt>
                <c:pt idx="194">
                  <c:v>118.62340825041674</c:v>
                </c:pt>
                <c:pt idx="195">
                  <c:v>117.62429990288834</c:v>
                </c:pt>
                <c:pt idx="196">
                  <c:v>118.3886924589135</c:v>
                </c:pt>
                <c:pt idx="197">
                  <c:v>118.33625954614593</c:v>
                </c:pt>
                <c:pt idx="198">
                  <c:v>118.62732299627497</c:v>
                </c:pt>
                <c:pt idx="199">
                  <c:v>118.22036230551622</c:v>
                </c:pt>
                <c:pt idx="200">
                  <c:v>116.45957371485243</c:v>
                </c:pt>
                <c:pt idx="201">
                  <c:v>114.60904400035589</c:v>
                </c:pt>
                <c:pt idx="202">
                  <c:v>115.76214130948253</c:v>
                </c:pt>
                <c:pt idx="203">
                  <c:v>115.22911702789796</c:v>
                </c:pt>
                <c:pt idx="204">
                  <c:v>115.92817861011736</c:v>
                </c:pt>
                <c:pt idx="205">
                  <c:v>116.919444067177</c:v>
                </c:pt>
                <c:pt idx="206">
                  <c:v>117.23976312290571</c:v>
                </c:pt>
                <c:pt idx="207">
                  <c:v>117.49120611433884</c:v>
                </c:pt>
                <c:pt idx="208">
                  <c:v>117.86498056166866</c:v>
                </c:pt>
                <c:pt idx="209">
                  <c:v>119.04892171773294</c:v>
                </c:pt>
                <c:pt idx="210">
                  <c:v>119.83086201919184</c:v>
                </c:pt>
                <c:pt idx="211">
                  <c:v>120.49494127430538</c:v>
                </c:pt>
                <c:pt idx="212">
                  <c:v>120.0475574122984</c:v>
                </c:pt>
                <c:pt idx="213">
                  <c:v>119.39451329239601</c:v>
                </c:pt>
                <c:pt idx="214">
                  <c:v>119.67166040001531</c:v>
                </c:pt>
                <c:pt idx="215">
                  <c:v>118.15585127740735</c:v>
                </c:pt>
                <c:pt idx="216">
                  <c:v>118.91777051321483</c:v>
                </c:pt>
                <c:pt idx="217">
                  <c:v>119.95489163067701</c:v>
                </c:pt>
                <c:pt idx="218">
                  <c:v>120.42665906142558</c:v>
                </c:pt>
                <c:pt idx="219">
                  <c:v>121.02344995240631</c:v>
                </c:pt>
                <c:pt idx="220">
                  <c:v>121.05271949576652</c:v>
                </c:pt>
                <c:pt idx="221">
                  <c:v>122.33708789998946</c:v>
                </c:pt>
                <c:pt idx="222">
                  <c:v>122.34233314410609</c:v>
                </c:pt>
                <c:pt idx="223">
                  <c:v>122.39684451602402</c:v>
                </c:pt>
                <c:pt idx="224">
                  <c:v>122.68022914151521</c:v>
                </c:pt>
                <c:pt idx="225">
                  <c:v>122.60871874047984</c:v>
                </c:pt>
                <c:pt idx="226">
                  <c:v>122.62694252008835</c:v>
                </c:pt>
                <c:pt idx="227">
                  <c:v>122.29917240150432</c:v>
                </c:pt>
                <c:pt idx="228">
                  <c:v>123.13016721012815</c:v>
                </c:pt>
                <c:pt idx="229">
                  <c:v>123.72724751179982</c:v>
                </c:pt>
                <c:pt idx="230">
                  <c:v>124.18519066952467</c:v>
                </c:pt>
                <c:pt idx="231">
                  <c:v>124.04310784902724</c:v>
                </c:pt>
                <c:pt idx="232">
                  <c:v>124.12614039140981</c:v>
                </c:pt>
                <c:pt idx="233">
                  <c:v>124.54078234093527</c:v>
                </c:pt>
                <c:pt idx="234">
                  <c:v>124.41079336464868</c:v>
                </c:pt>
                <c:pt idx="235">
                  <c:v>125.01307092164905</c:v>
                </c:pt>
                <c:pt idx="236">
                  <c:v>124.37673649859488</c:v>
                </c:pt>
                <c:pt idx="237">
                  <c:v>124.55664683148085</c:v>
                </c:pt>
                <c:pt idx="238">
                  <c:v>124.83317183489757</c:v>
                </c:pt>
                <c:pt idx="239">
                  <c:v>124.76961926879066</c:v>
                </c:pt>
                <c:pt idx="240">
                  <c:v>126.0539113586531</c:v>
                </c:pt>
                <c:pt idx="241">
                  <c:v>126.0539113586531</c:v>
                </c:pt>
                <c:pt idx="242">
                  <c:v>126.0539113586531</c:v>
                </c:pt>
                <c:pt idx="243">
                  <c:v>126.582365458184</c:v>
                </c:pt>
                <c:pt idx="244">
                  <c:v>126.39992306199423</c:v>
                </c:pt>
                <c:pt idx="245">
                  <c:v>125.86332962107909</c:v>
                </c:pt>
                <c:pt idx="246">
                  <c:v>126.92593658625529</c:v>
                </c:pt>
                <c:pt idx="247">
                  <c:v>126.64293702857007</c:v>
                </c:pt>
                <c:pt idx="248">
                  <c:v>126.38377762698245</c:v>
                </c:pt>
                <c:pt idx="249">
                  <c:v>126.76437777992284</c:v>
                </c:pt>
                <c:pt idx="250">
                  <c:v>127.24382751360264</c:v>
                </c:pt>
                <c:pt idx="251">
                  <c:v>125.98860583420144</c:v>
                </c:pt>
                <c:pt idx="252">
                  <c:v>125.59748877245787</c:v>
                </c:pt>
                <c:pt idx="253">
                  <c:v>127.13476266471521</c:v>
                </c:pt>
                <c:pt idx="254">
                  <c:v>127.12687404686893</c:v>
                </c:pt>
                <c:pt idx="255">
                  <c:v>126.39933468946218</c:v>
                </c:pt>
                <c:pt idx="256">
                  <c:v>126.76185957703183</c:v>
                </c:pt>
                <c:pt idx="257">
                  <c:v>127.64563948313786</c:v>
                </c:pt>
                <c:pt idx="258">
                  <c:v>124.66491327281857</c:v>
                </c:pt>
                <c:pt idx="259">
                  <c:v>123.30526400047397</c:v>
                </c:pt>
                <c:pt idx="260">
                  <c:v>124.63689297681472</c:v>
                </c:pt>
                <c:pt idx="261">
                  <c:v>124.12619104483191</c:v>
                </c:pt>
                <c:pt idx="262">
                  <c:v>124.37084383924804</c:v>
                </c:pt>
                <c:pt idx="263">
                  <c:v>123.10588399481294</c:v>
                </c:pt>
                <c:pt idx="264">
                  <c:v>122.8686962675194</c:v>
                </c:pt>
                <c:pt idx="265">
                  <c:v>122.52345982306613</c:v>
                </c:pt>
                <c:pt idx="266">
                  <c:v>117.89600861297708</c:v>
                </c:pt>
                <c:pt idx="267">
                  <c:v>122.97106846671157</c:v>
                </c:pt>
                <c:pt idx="268">
                  <c:v>123.1529145352918</c:v>
                </c:pt>
                <c:pt idx="269">
                  <c:v>124.79096351146694</c:v>
                </c:pt>
                <c:pt idx="270">
                  <c:v>124.79096351146694</c:v>
                </c:pt>
                <c:pt idx="271">
                  <c:v>122.57146508669278</c:v>
                </c:pt>
                <c:pt idx="272">
                  <c:v>122.49289330481471</c:v>
                </c:pt>
                <c:pt idx="273">
                  <c:v>123.51002421554857</c:v>
                </c:pt>
                <c:pt idx="274">
                  <c:v>121.22847272243642</c:v>
                </c:pt>
                <c:pt idx="275">
                  <c:v>119.27709171286325</c:v>
                </c:pt>
                <c:pt idx="276">
                  <c:v>117.79933701502017</c:v>
                </c:pt>
                <c:pt idx="277">
                  <c:v>117.79933701502017</c:v>
                </c:pt>
                <c:pt idx="278">
                  <c:v>116.8323811408758</c:v>
                </c:pt>
                <c:pt idx="279">
                  <c:v>118.92645571559588</c:v>
                </c:pt>
                <c:pt idx="280">
                  <c:v>121.54292621079199</c:v>
                </c:pt>
                <c:pt idx="281">
                  <c:v>121.82078822667339</c:v>
                </c:pt>
                <c:pt idx="282">
                  <c:v>122.25127637791844</c:v>
                </c:pt>
                <c:pt idx="283">
                  <c:v>122.99494098226829</c:v>
                </c:pt>
                <c:pt idx="284">
                  <c:v>123.63053502831023</c:v>
                </c:pt>
                <c:pt idx="285">
                  <c:v>125.33615932210932</c:v>
                </c:pt>
                <c:pt idx="286">
                  <c:v>124.22080238772479</c:v>
                </c:pt>
                <c:pt idx="287">
                  <c:v>123.83209100228545</c:v>
                </c:pt>
                <c:pt idx="288">
                  <c:v>123.14876168002758</c:v>
                </c:pt>
                <c:pt idx="289">
                  <c:v>125.07404593466083</c:v>
                </c:pt>
                <c:pt idx="290">
                  <c:v>126.63753297123598</c:v>
                </c:pt>
                <c:pt idx="291">
                  <c:v>126.24356881991407</c:v>
                </c:pt>
                <c:pt idx="292">
                  <c:v>127.25169068627076</c:v>
                </c:pt>
                <c:pt idx="293">
                  <c:v>128.00620105205724</c:v>
                </c:pt>
                <c:pt idx="294">
                  <c:v>128.52896081927801</c:v>
                </c:pt>
                <c:pt idx="295">
                  <c:v>128.4675202829585</c:v>
                </c:pt>
                <c:pt idx="296">
                  <c:v>127.87136408968335</c:v>
                </c:pt>
                <c:pt idx="297">
                  <c:v>128.92024185287681</c:v>
                </c:pt>
                <c:pt idx="298">
                  <c:v>128.64853527896094</c:v>
                </c:pt>
                <c:pt idx="299">
                  <c:v>128.64853527896094</c:v>
                </c:pt>
                <c:pt idx="300">
                  <c:v>126.18932430351732</c:v>
                </c:pt>
                <c:pt idx="301">
                  <c:v>126.11264682710168</c:v>
                </c:pt>
                <c:pt idx="302">
                  <c:v>127.36884330614238</c:v>
                </c:pt>
                <c:pt idx="303">
                  <c:v>124.84435627117487</c:v>
                </c:pt>
                <c:pt idx="304">
                  <c:v>124.47138006233232</c:v>
                </c:pt>
                <c:pt idx="305">
                  <c:v>121.77957781604923</c:v>
                </c:pt>
                <c:pt idx="306">
                  <c:v>121.07069176547569</c:v>
                </c:pt>
                <c:pt idx="307">
                  <c:v>121.03011825242875</c:v>
                </c:pt>
                <c:pt idx="308">
                  <c:v>123.18732624729239</c:v>
                </c:pt>
                <c:pt idx="309">
                  <c:v>123.84068018889467</c:v>
                </c:pt>
                <c:pt idx="310">
                  <c:v>124.60935387211633</c:v>
                </c:pt>
                <c:pt idx="311">
                  <c:v>125.5075144412918</c:v>
                </c:pt>
                <c:pt idx="312">
                  <c:v>125.94586154990799</c:v>
                </c:pt>
                <c:pt idx="313">
                  <c:v>127.88691608158499</c:v>
                </c:pt>
                <c:pt idx="314">
                  <c:v>128.2431416884157</c:v>
                </c:pt>
                <c:pt idx="315">
                  <c:v>127.28683448462417</c:v>
                </c:pt>
                <c:pt idx="316">
                  <c:v>125.09301509029686</c:v>
                </c:pt>
                <c:pt idx="317">
                  <c:v>124.23151086398721</c:v>
                </c:pt>
                <c:pt idx="318">
                  <c:v>124.09504627284869</c:v>
                </c:pt>
                <c:pt idx="319">
                  <c:v>125.34555546026876</c:v>
                </c:pt>
                <c:pt idx="320">
                  <c:v>127.11613284313465</c:v>
                </c:pt>
                <c:pt idx="321">
                  <c:v>127.75267559315515</c:v>
                </c:pt>
                <c:pt idx="322">
                  <c:v>127.66320928406105</c:v>
                </c:pt>
                <c:pt idx="323">
                  <c:v>126.74568775083905</c:v>
                </c:pt>
                <c:pt idx="324">
                  <c:v>126.01126218989145</c:v>
                </c:pt>
                <c:pt idx="325">
                  <c:v>125.60363104854434</c:v>
                </c:pt>
                <c:pt idx="326">
                  <c:v>125.59162782016331</c:v>
                </c:pt>
                <c:pt idx="327">
                  <c:v>128.03473040466764</c:v>
                </c:pt>
                <c:pt idx="328">
                  <c:v>128.04808651233947</c:v>
                </c:pt>
                <c:pt idx="329">
                  <c:v>128.48951620875272</c:v>
                </c:pt>
                <c:pt idx="330">
                  <c:v>128.07075238817472</c:v>
                </c:pt>
                <c:pt idx="331">
                  <c:v>126.84233183222074</c:v>
                </c:pt>
                <c:pt idx="332">
                  <c:v>128.42984872960591</c:v>
                </c:pt>
                <c:pt idx="333">
                  <c:v>127.87034082033746</c:v>
                </c:pt>
                <c:pt idx="334">
                  <c:v>126.5951977512475</c:v>
                </c:pt>
                <c:pt idx="335">
                  <c:v>127.64501215896769</c:v>
                </c:pt>
                <c:pt idx="336">
                  <c:v>128.11499980760595</c:v>
                </c:pt>
                <c:pt idx="337">
                  <c:v>128.10042011843518</c:v>
                </c:pt>
                <c:pt idx="338">
                  <c:v>128.97124558701302</c:v>
                </c:pt>
                <c:pt idx="339">
                  <c:v>128.94109713075352</c:v>
                </c:pt>
                <c:pt idx="340">
                  <c:v>127.46421926633063</c:v>
                </c:pt>
                <c:pt idx="341">
                  <c:v>127.16674923672646</c:v>
                </c:pt>
                <c:pt idx="342">
                  <c:v>127.8426242343929</c:v>
                </c:pt>
                <c:pt idx="343">
                  <c:v>126.60145009218596</c:v>
                </c:pt>
                <c:pt idx="344">
                  <c:v>126.57832385539378</c:v>
                </c:pt>
                <c:pt idx="345">
                  <c:v>127.35108935158124</c:v>
                </c:pt>
                <c:pt idx="346">
                  <c:v>128.16439879726019</c:v>
                </c:pt>
                <c:pt idx="347">
                  <c:v>128.36855518023731</c:v>
                </c:pt>
                <c:pt idx="348">
                  <c:v>128.44653224631045</c:v>
                </c:pt>
                <c:pt idx="349">
                  <c:v>131.1425918033915</c:v>
                </c:pt>
                <c:pt idx="350">
                  <c:v>130.58687297524128</c:v>
                </c:pt>
                <c:pt idx="351">
                  <c:v>131.2697415309176</c:v>
                </c:pt>
                <c:pt idx="352">
                  <c:v>131.5744350846908</c:v>
                </c:pt>
                <c:pt idx="353">
                  <c:v>131.57978673041663</c:v>
                </c:pt>
                <c:pt idx="354">
                  <c:v>133.23109775387726</c:v>
                </c:pt>
                <c:pt idx="355">
                  <c:v>133.79359959742538</c:v>
                </c:pt>
                <c:pt idx="356">
                  <c:v>133.70379030802098</c:v>
                </c:pt>
                <c:pt idx="357">
                  <c:v>133.87398862355082</c:v>
                </c:pt>
                <c:pt idx="358">
                  <c:v>133.88446401505146</c:v>
                </c:pt>
                <c:pt idx="359">
                  <c:v>133.66862464283449</c:v>
                </c:pt>
                <c:pt idx="360">
                  <c:v>132.67812762189246</c:v>
                </c:pt>
                <c:pt idx="361">
                  <c:v>132.72707341797789</c:v>
                </c:pt>
                <c:pt idx="362">
                  <c:v>134.34411918447157</c:v>
                </c:pt>
                <c:pt idx="363">
                  <c:v>133.47003635248947</c:v>
                </c:pt>
                <c:pt idx="364">
                  <c:v>131.70016913552749</c:v>
                </c:pt>
                <c:pt idx="365">
                  <c:v>132.14225985457259</c:v>
                </c:pt>
                <c:pt idx="366">
                  <c:v>132.86405280351383</c:v>
                </c:pt>
                <c:pt idx="367">
                  <c:v>132.26405667643999</c:v>
                </c:pt>
                <c:pt idx="368">
                  <c:v>132.23902382699444</c:v>
                </c:pt>
                <c:pt idx="369">
                  <c:v>132.12075117691461</c:v>
                </c:pt>
                <c:pt idx="370">
                  <c:v>131.55755147820446</c:v>
                </c:pt>
                <c:pt idx="371">
                  <c:v>130.93048748580492</c:v>
                </c:pt>
                <c:pt idx="372">
                  <c:v>130.33835947325275</c:v>
                </c:pt>
                <c:pt idx="373">
                  <c:v>131.27010410633056</c:v>
                </c:pt>
                <c:pt idx="374">
                  <c:v>131.41836973818332</c:v>
                </c:pt>
                <c:pt idx="375">
                  <c:v>131.42777359555501</c:v>
                </c:pt>
                <c:pt idx="376">
                  <c:v>131.57503691712299</c:v>
                </c:pt>
                <c:pt idx="377">
                  <c:v>131.9753079220136</c:v>
                </c:pt>
                <c:pt idx="378">
                  <c:v>132.05670451746528</c:v>
                </c:pt>
                <c:pt idx="379">
                  <c:v>133.10729691440923</c:v>
                </c:pt>
                <c:pt idx="380">
                  <c:v>133.03563861417703</c:v>
                </c:pt>
                <c:pt idx="381">
                  <c:v>133.47456657403239</c:v>
                </c:pt>
                <c:pt idx="382">
                  <c:v>133.62360006896768</c:v>
                </c:pt>
                <c:pt idx="383">
                  <c:v>132.91212572723583</c:v>
                </c:pt>
                <c:pt idx="384">
                  <c:v>132.90433145118899</c:v>
                </c:pt>
                <c:pt idx="385">
                  <c:v>133.97951688166609</c:v>
                </c:pt>
                <c:pt idx="386">
                  <c:v>132.98811835732315</c:v>
                </c:pt>
                <c:pt idx="387">
                  <c:v>133.12902673697479</c:v>
                </c:pt>
                <c:pt idx="388">
                  <c:v>133.44069552076897</c:v>
                </c:pt>
                <c:pt idx="389">
                  <c:v>132.71182932780357</c:v>
                </c:pt>
                <c:pt idx="390">
                  <c:v>133.57827489630625</c:v>
                </c:pt>
                <c:pt idx="391">
                  <c:v>133.86766549322041</c:v>
                </c:pt>
                <c:pt idx="392">
                  <c:v>133.86766549322041</c:v>
                </c:pt>
                <c:pt idx="393">
                  <c:v>134.54218684836562</c:v>
                </c:pt>
                <c:pt idx="394">
                  <c:v>133.95930070921122</c:v>
                </c:pt>
                <c:pt idx="395">
                  <c:v>134.49218466992471</c:v>
                </c:pt>
                <c:pt idx="396">
                  <c:v>135.01698051454915</c:v>
                </c:pt>
                <c:pt idx="397">
                  <c:v>135.23822915380282</c:v>
                </c:pt>
                <c:pt idx="398">
                  <c:v>135.84931870317644</c:v>
                </c:pt>
                <c:pt idx="399">
                  <c:v>135.71680719499628</c:v>
                </c:pt>
                <c:pt idx="400">
                  <c:v>135.41181625171072</c:v>
                </c:pt>
                <c:pt idx="401">
                  <c:v>134.93534728542451</c:v>
                </c:pt>
                <c:pt idx="402">
                  <c:v>135.56798374602957</c:v>
                </c:pt>
                <c:pt idx="403">
                  <c:v>133.42713997665615</c:v>
                </c:pt>
                <c:pt idx="404">
                  <c:v>133.90342118081148</c:v>
                </c:pt>
                <c:pt idx="405">
                  <c:v>135.66858706620911</c:v>
                </c:pt>
                <c:pt idx="406">
                  <c:v>134.99915315558076</c:v>
                </c:pt>
                <c:pt idx="407">
                  <c:v>134.52728818000347</c:v>
                </c:pt>
                <c:pt idx="408">
                  <c:v>133.0366372148352</c:v>
                </c:pt>
                <c:pt idx="409">
                  <c:v>134.35138848379995</c:v>
                </c:pt>
                <c:pt idx="410">
                  <c:v>134.74252707870474</c:v>
                </c:pt>
                <c:pt idx="411">
                  <c:v>134.66066825387236</c:v>
                </c:pt>
                <c:pt idx="412">
                  <c:v>132.76851668645259</c:v>
                </c:pt>
                <c:pt idx="413">
                  <c:v>132.88760115403144</c:v>
                </c:pt>
                <c:pt idx="414">
                  <c:v>134.65017520306461</c:v>
                </c:pt>
                <c:pt idx="415">
                  <c:v>136.11245150106271</c:v>
                </c:pt>
                <c:pt idx="416">
                  <c:v>135.51791154770319</c:v>
                </c:pt>
                <c:pt idx="417">
                  <c:v>135.7211848042781</c:v>
                </c:pt>
                <c:pt idx="418">
                  <c:v>136.85063180330306</c:v>
                </c:pt>
                <c:pt idx="419">
                  <c:v>137.41454431703028</c:v>
                </c:pt>
                <c:pt idx="420">
                  <c:v>137.96430091536266</c:v>
                </c:pt>
                <c:pt idx="421">
                  <c:v>137.94240279362231</c:v>
                </c:pt>
                <c:pt idx="422">
                  <c:v>137.99754635130517</c:v>
                </c:pt>
                <c:pt idx="423">
                  <c:v>138.55348044309662</c:v>
                </c:pt>
                <c:pt idx="424">
                  <c:v>138.0695746747225</c:v>
                </c:pt>
                <c:pt idx="425">
                  <c:v>138.7281367010894</c:v>
                </c:pt>
                <c:pt idx="426">
                  <c:v>138.44827968655628</c:v>
                </c:pt>
                <c:pt idx="427">
                  <c:v>139.32417175023446</c:v>
                </c:pt>
                <c:pt idx="428">
                  <c:v>140.14028970896439</c:v>
                </c:pt>
                <c:pt idx="429">
                  <c:v>140.42012208304862</c:v>
                </c:pt>
                <c:pt idx="430">
                  <c:v>140.97524955827771</c:v>
                </c:pt>
                <c:pt idx="431">
                  <c:v>140.79393335522767</c:v>
                </c:pt>
                <c:pt idx="432">
                  <c:v>139.92484125471989</c:v>
                </c:pt>
                <c:pt idx="433">
                  <c:v>140.34490818065566</c:v>
                </c:pt>
                <c:pt idx="434">
                  <c:v>140.7761720924949</c:v>
                </c:pt>
                <c:pt idx="435">
                  <c:v>139.054598192132</c:v>
                </c:pt>
                <c:pt idx="436">
                  <c:v>138.25442639677036</c:v>
                </c:pt>
                <c:pt idx="437">
                  <c:v>139.0696100642657</c:v>
                </c:pt>
                <c:pt idx="438">
                  <c:v>140.0322864175792</c:v>
                </c:pt>
                <c:pt idx="439">
                  <c:v>139.8529306258051</c:v>
                </c:pt>
                <c:pt idx="440">
                  <c:v>140.43768195684294</c:v>
                </c:pt>
                <c:pt idx="441">
                  <c:v>140.60483021619328</c:v>
                </c:pt>
                <c:pt idx="442">
                  <c:v>139.39298641003381</c:v>
                </c:pt>
                <c:pt idx="443">
                  <c:v>140.58246440132945</c:v>
                </c:pt>
                <c:pt idx="444">
                  <c:v>141.34008893372066</c:v>
                </c:pt>
                <c:pt idx="445">
                  <c:v>140.33041216618386</c:v>
                </c:pt>
                <c:pt idx="446">
                  <c:v>140.04257937048118</c:v>
                </c:pt>
                <c:pt idx="447">
                  <c:v>140.56546651600118</c:v>
                </c:pt>
                <c:pt idx="448">
                  <c:v>141.66270210093265</c:v>
                </c:pt>
                <c:pt idx="449">
                  <c:v>140.07755711698329</c:v>
                </c:pt>
                <c:pt idx="450">
                  <c:v>138.32867736504826</c:v>
                </c:pt>
                <c:pt idx="451">
                  <c:v>138.97459959860268</c:v>
                </c:pt>
                <c:pt idx="452">
                  <c:v>139.40092410698244</c:v>
                </c:pt>
                <c:pt idx="453">
                  <c:v>138.68570088474732</c:v>
                </c:pt>
                <c:pt idx="454">
                  <c:v>139.57367767358878</c:v>
                </c:pt>
                <c:pt idx="455">
                  <c:v>139.70123924972955</c:v>
                </c:pt>
                <c:pt idx="456">
                  <c:v>138.53150689528277</c:v>
                </c:pt>
                <c:pt idx="457">
                  <c:v>138.52529314575762</c:v>
                </c:pt>
                <c:pt idx="458">
                  <c:v>140.44744147870867</c:v>
                </c:pt>
                <c:pt idx="459">
                  <c:v>140.79669843537943</c:v>
                </c:pt>
                <c:pt idx="460">
                  <c:v>140.75755091523351</c:v>
                </c:pt>
                <c:pt idx="461">
                  <c:v>141.01633216304211</c:v>
                </c:pt>
                <c:pt idx="462">
                  <c:v>142.17411973347996</c:v>
                </c:pt>
                <c:pt idx="463">
                  <c:v>141.78923751896619</c:v>
                </c:pt>
                <c:pt idx="464">
                  <c:v>140.84296350946479</c:v>
                </c:pt>
                <c:pt idx="465">
                  <c:v>141.30722698801739</c:v>
                </c:pt>
                <c:pt idx="466">
                  <c:v>141.81219514579158</c:v>
                </c:pt>
                <c:pt idx="467">
                  <c:v>142.23182026379155</c:v>
                </c:pt>
                <c:pt idx="468">
                  <c:v>142.24861742748115</c:v>
                </c:pt>
                <c:pt idx="469">
                  <c:v>142.60721247864291</c:v>
                </c:pt>
                <c:pt idx="470">
                  <c:v>142.64133380831873</c:v>
                </c:pt>
                <c:pt idx="471">
                  <c:v>142.72631886806263</c:v>
                </c:pt>
                <c:pt idx="472">
                  <c:v>141.68421768809156</c:v>
                </c:pt>
                <c:pt idx="473">
                  <c:v>140.80677774275583</c:v>
                </c:pt>
                <c:pt idx="474">
                  <c:v>139.98826262211028</c:v>
                </c:pt>
                <c:pt idx="475">
                  <c:v>139.2663970469082</c:v>
                </c:pt>
                <c:pt idx="476">
                  <c:v>140.61698585251307</c:v>
                </c:pt>
                <c:pt idx="477">
                  <c:v>141.52003115220333</c:v>
                </c:pt>
                <c:pt idx="478">
                  <c:v>141.18170155495307</c:v>
                </c:pt>
                <c:pt idx="479">
                  <c:v>140.2215980104215</c:v>
                </c:pt>
                <c:pt idx="480">
                  <c:v>140.40017518505093</c:v>
                </c:pt>
                <c:pt idx="481">
                  <c:v>139.7626000596799</c:v>
                </c:pt>
                <c:pt idx="482">
                  <c:v>139.13100901517885</c:v>
                </c:pt>
                <c:pt idx="483">
                  <c:v>139.58742961888169</c:v>
                </c:pt>
                <c:pt idx="484">
                  <c:v>139.5919759670638</c:v>
                </c:pt>
                <c:pt idx="485">
                  <c:v>138.59764446085293</c:v>
                </c:pt>
                <c:pt idx="486">
                  <c:v>137.05200132145001</c:v>
                </c:pt>
                <c:pt idx="487">
                  <c:v>135.38792773560738</c:v>
                </c:pt>
                <c:pt idx="488">
                  <c:v>132.41949743464917</c:v>
                </c:pt>
                <c:pt idx="489">
                  <c:v>130.63216780584992</c:v>
                </c:pt>
                <c:pt idx="490">
                  <c:v>132.44451683135057</c:v>
                </c:pt>
                <c:pt idx="491">
                  <c:v>132.69219941682283</c:v>
                </c:pt>
                <c:pt idx="492">
                  <c:v>134.82609885598623</c:v>
                </c:pt>
                <c:pt idx="493">
                  <c:v>134.55867488333598</c:v>
                </c:pt>
                <c:pt idx="494">
                  <c:v>135.1699363858792</c:v>
                </c:pt>
                <c:pt idx="495">
                  <c:v>136.03069211999173</c:v>
                </c:pt>
                <c:pt idx="496">
                  <c:v>136.61962059460879</c:v>
                </c:pt>
                <c:pt idx="497">
                  <c:v>136.61878040567044</c:v>
                </c:pt>
                <c:pt idx="498">
                  <c:v>137.02753601754299</c:v>
                </c:pt>
                <c:pt idx="499">
                  <c:v>138.42413499604118</c:v>
                </c:pt>
                <c:pt idx="500">
                  <c:v>137.41390774300095</c:v>
                </c:pt>
                <c:pt idx="501">
                  <c:v>139.00502670812699</c:v>
                </c:pt>
                <c:pt idx="502">
                  <c:v>139.22842505398941</c:v>
                </c:pt>
                <c:pt idx="503">
                  <c:v>139.78701530406883</c:v>
                </c:pt>
                <c:pt idx="504">
                  <c:v>139.11935449287304</c:v>
                </c:pt>
                <c:pt idx="505">
                  <c:v>138.63397659326085</c:v>
                </c:pt>
                <c:pt idx="506">
                  <c:v>138.88397164343314</c:v>
                </c:pt>
                <c:pt idx="507">
                  <c:v>138.59502614334176</c:v>
                </c:pt>
                <c:pt idx="508">
                  <c:v>136.92283310166161</c:v>
                </c:pt>
                <c:pt idx="509">
                  <c:v>138.17214783561261</c:v>
                </c:pt>
                <c:pt idx="510">
                  <c:v>138.01875874138611</c:v>
                </c:pt>
                <c:pt idx="511">
                  <c:v>138.90401720082988</c:v>
                </c:pt>
                <c:pt idx="512">
                  <c:v>137.37693752520278</c:v>
                </c:pt>
                <c:pt idx="513">
                  <c:v>138.11713907114424</c:v>
                </c:pt>
                <c:pt idx="514">
                  <c:v>140.39507178276628</c:v>
                </c:pt>
                <c:pt idx="515">
                  <c:v>140.42715378004533</c:v>
                </c:pt>
                <c:pt idx="516">
                  <c:v>140.42715378004533</c:v>
                </c:pt>
                <c:pt idx="517">
                  <c:v>140.42715378004533</c:v>
                </c:pt>
                <c:pt idx="518">
                  <c:v>140.68339044263786</c:v>
                </c:pt>
                <c:pt idx="519">
                  <c:v>141.0324546123835</c:v>
                </c:pt>
                <c:pt idx="520">
                  <c:v>140.85561705429234</c:v>
                </c:pt>
                <c:pt idx="521">
                  <c:v>141.36676378714893</c:v>
                </c:pt>
                <c:pt idx="522">
                  <c:v>141.5966385436937</c:v>
                </c:pt>
                <c:pt idx="523">
                  <c:v>141.54211457002381</c:v>
                </c:pt>
                <c:pt idx="524">
                  <c:v>140.32243702498909</c:v>
                </c:pt>
                <c:pt idx="525">
                  <c:v>140.15064638830989</c:v>
                </c:pt>
                <c:pt idx="526">
                  <c:v>141.60993774660929</c:v>
                </c:pt>
                <c:pt idx="527">
                  <c:v>141.83069626634529</c:v>
                </c:pt>
                <c:pt idx="528">
                  <c:v>142.96086869637031</c:v>
                </c:pt>
                <c:pt idx="529">
                  <c:v>143.77605408991789</c:v>
                </c:pt>
                <c:pt idx="530">
                  <c:v>143.37185314187076</c:v>
                </c:pt>
                <c:pt idx="531">
                  <c:v>143.17303568930288</c:v>
                </c:pt>
                <c:pt idx="532">
                  <c:v>142.51091431834772</c:v>
                </c:pt>
                <c:pt idx="533">
                  <c:v>141.24601887899985</c:v>
                </c:pt>
                <c:pt idx="534">
                  <c:v>141.5106372991003</c:v>
                </c:pt>
                <c:pt idx="535">
                  <c:v>142.68182227181728</c:v>
                </c:pt>
                <c:pt idx="536">
                  <c:v>142.83839463966009</c:v>
                </c:pt>
                <c:pt idx="537">
                  <c:v>141.1379214706165</c:v>
                </c:pt>
                <c:pt idx="538">
                  <c:v>141.26285424515905</c:v>
                </c:pt>
                <c:pt idx="539">
                  <c:v>141.55709700095366</c:v>
                </c:pt>
                <c:pt idx="540">
                  <c:v>141.64940901298669</c:v>
                </c:pt>
                <c:pt idx="541">
                  <c:v>141.95693567019887</c:v>
                </c:pt>
                <c:pt idx="542">
                  <c:v>142.03604383386337</c:v>
                </c:pt>
                <c:pt idx="543">
                  <c:v>143.04689509460383</c:v>
                </c:pt>
                <c:pt idx="544">
                  <c:v>142.40685480229794</c:v>
                </c:pt>
                <c:pt idx="545">
                  <c:v>142.40685480229794</c:v>
                </c:pt>
                <c:pt idx="546">
                  <c:v>140.32589061932106</c:v>
                </c:pt>
                <c:pt idx="547">
                  <c:v>140.14677798637814</c:v>
                </c:pt>
                <c:pt idx="548">
                  <c:v>139.96857963285154</c:v>
                </c:pt>
                <c:pt idx="549">
                  <c:v>138.937595642665</c:v>
                </c:pt>
                <c:pt idx="550">
                  <c:v>140.26541140023102</c:v>
                </c:pt>
                <c:pt idx="551">
                  <c:v>138.84769165752934</c:v>
                </c:pt>
                <c:pt idx="552">
                  <c:v>138.84769165752934</c:v>
                </c:pt>
                <c:pt idx="553">
                  <c:v>139.83620885188714</c:v>
                </c:pt>
                <c:pt idx="554">
                  <c:v>138.70763802880955</c:v>
                </c:pt>
                <c:pt idx="555">
                  <c:v>138.1218539744203</c:v>
                </c:pt>
                <c:pt idx="556">
                  <c:v>138.24992590696633</c:v>
                </c:pt>
                <c:pt idx="557">
                  <c:v>138.01033674378144</c:v>
                </c:pt>
                <c:pt idx="558">
                  <c:v>139.04068647578487</c:v>
                </c:pt>
                <c:pt idx="559">
                  <c:v>138.37968448338717</c:v>
                </c:pt>
                <c:pt idx="560">
                  <c:v>138.37968448338717</c:v>
                </c:pt>
                <c:pt idx="561">
                  <c:v>137.53838355819025</c:v>
                </c:pt>
                <c:pt idx="562">
                  <c:v>137.58454566363591</c:v>
                </c:pt>
                <c:pt idx="563">
                  <c:v>137.8340649401087</c:v>
                </c:pt>
                <c:pt idx="564">
                  <c:v>139.3291506032414</c:v>
                </c:pt>
                <c:pt idx="565">
                  <c:v>140.36589625231056</c:v>
                </c:pt>
                <c:pt idx="566">
                  <c:v>140.84623878538034</c:v>
                </c:pt>
                <c:pt idx="567">
                  <c:v>141.50222427710565</c:v>
                </c:pt>
                <c:pt idx="568">
                  <c:v>141.97808367826048</c:v>
                </c:pt>
                <c:pt idx="569">
                  <c:v>141.818862246565</c:v>
                </c:pt>
                <c:pt idx="570">
                  <c:v>142.35128083457229</c:v>
                </c:pt>
                <c:pt idx="571">
                  <c:v>142.26915647337833</c:v>
                </c:pt>
                <c:pt idx="572">
                  <c:v>141.45192182218304</c:v>
                </c:pt>
                <c:pt idx="573">
                  <c:v>140.6416466943171</c:v>
                </c:pt>
                <c:pt idx="574">
                  <c:v>141.14672951013495</c:v>
                </c:pt>
                <c:pt idx="575">
                  <c:v>139.67130840021747</c:v>
                </c:pt>
                <c:pt idx="576">
                  <c:v>139.9007027603551</c:v>
                </c:pt>
                <c:pt idx="577">
                  <c:v>138.43574387032621</c:v>
                </c:pt>
                <c:pt idx="578">
                  <c:v>138.80371754108378</c:v>
                </c:pt>
                <c:pt idx="579">
                  <c:v>139.62109126963432</c:v>
                </c:pt>
                <c:pt idx="580">
                  <c:v>140.49992363525701</c:v>
                </c:pt>
                <c:pt idx="581">
                  <c:v>141.47055110441039</c:v>
                </c:pt>
                <c:pt idx="582">
                  <c:v>141.48604790928502</c:v>
                </c:pt>
                <c:pt idx="583">
                  <c:v>140.85858586148078</c:v>
                </c:pt>
                <c:pt idx="584">
                  <c:v>140.00571432071828</c:v>
                </c:pt>
                <c:pt idx="585">
                  <c:v>140.50327368191824</c:v>
                </c:pt>
                <c:pt idx="586">
                  <c:v>139.86394174497235</c:v>
                </c:pt>
                <c:pt idx="587">
                  <c:v>138.823812437507</c:v>
                </c:pt>
                <c:pt idx="588">
                  <c:v>137.26775312773296</c:v>
                </c:pt>
                <c:pt idx="589">
                  <c:v>135.21261421347529</c:v>
                </c:pt>
                <c:pt idx="590">
                  <c:v>131.30234228612983</c:v>
                </c:pt>
                <c:pt idx="591">
                  <c:v>129.23078601143007</c:v>
                </c:pt>
                <c:pt idx="592">
                  <c:v>124.62171658821765</c:v>
                </c:pt>
                <c:pt idx="593">
                  <c:v>126.06669030195448</c:v>
                </c:pt>
                <c:pt idx="594">
                  <c:v>123.29099675287833</c:v>
                </c:pt>
                <c:pt idx="595">
                  <c:v>125.1388661340668</c:v>
                </c:pt>
                <c:pt idx="596">
                  <c:v>129.49230883093884</c:v>
                </c:pt>
                <c:pt idx="597">
                  <c:v>129.49230883093884</c:v>
                </c:pt>
                <c:pt idx="598">
                  <c:v>129.52955330761151</c:v>
                </c:pt>
                <c:pt idx="599">
                  <c:v>130.46429066419108</c:v>
                </c:pt>
                <c:pt idx="600">
                  <c:v>126.29122050571775</c:v>
                </c:pt>
                <c:pt idx="601">
                  <c:v>125.29978390165178</c:v>
                </c:pt>
                <c:pt idx="602">
                  <c:v>126.73843711172843</c:v>
                </c:pt>
                <c:pt idx="603">
                  <c:v>127.77631580454347</c:v>
                </c:pt>
                <c:pt idx="604">
                  <c:v>128.51589055208504</c:v>
                </c:pt>
                <c:pt idx="605">
                  <c:v>126.59293294317054</c:v>
                </c:pt>
                <c:pt idx="606">
                  <c:v>126.17806269650835</c:v>
                </c:pt>
                <c:pt idx="607">
                  <c:v>126.92386567805976</c:v>
                </c:pt>
                <c:pt idx="608">
                  <c:v>127.81341371539385</c:v>
                </c:pt>
                <c:pt idx="609">
                  <c:v>131.1737718501391</c:v>
                </c:pt>
                <c:pt idx="610">
                  <c:v>132.6845011208209</c:v>
                </c:pt>
                <c:pt idx="611">
                  <c:v>131.00595171428816</c:v>
                </c:pt>
                <c:pt idx="612">
                  <c:v>127.1231184020982</c:v>
                </c:pt>
                <c:pt idx="613">
                  <c:v>126.51718163499355</c:v>
                </c:pt>
                <c:pt idx="614">
                  <c:v>129.17589765776722</c:v>
                </c:pt>
                <c:pt idx="615">
                  <c:v>129.87192785840583</c:v>
                </c:pt>
                <c:pt idx="616">
                  <c:v>128.38566041024762</c:v>
                </c:pt>
                <c:pt idx="617">
                  <c:v>125.63940717187027</c:v>
                </c:pt>
                <c:pt idx="618">
                  <c:v>125.71006392168013</c:v>
                </c:pt>
                <c:pt idx="619">
                  <c:v>127.34835453740551</c:v>
                </c:pt>
                <c:pt idx="620">
                  <c:v>128.95430717377744</c:v>
                </c:pt>
                <c:pt idx="621">
                  <c:v>129.97132703656155</c:v>
                </c:pt>
                <c:pt idx="622">
                  <c:v>127.97202651646383</c:v>
                </c:pt>
                <c:pt idx="623">
                  <c:v>130.33330873994348</c:v>
                </c:pt>
                <c:pt idx="624">
                  <c:v>128.58449157662776</c:v>
                </c:pt>
                <c:pt idx="625">
                  <c:v>123.88178238033171</c:v>
                </c:pt>
                <c:pt idx="626">
                  <c:v>124.50250462719492</c:v>
                </c:pt>
                <c:pt idx="627">
                  <c:v>126.34452533980188</c:v>
                </c:pt>
                <c:pt idx="628">
                  <c:v>130.05517556827724</c:v>
                </c:pt>
                <c:pt idx="629">
                  <c:v>129.05206167603438</c:v>
                </c:pt>
                <c:pt idx="630">
                  <c:v>129.09262921912122</c:v>
                </c:pt>
                <c:pt idx="631">
                  <c:v>128.46272885846659</c:v>
                </c:pt>
                <c:pt idx="632">
                  <c:v>127.88617631372875</c:v>
                </c:pt>
                <c:pt idx="633">
                  <c:v>125.70877891708101</c:v>
                </c:pt>
                <c:pt idx="634">
                  <c:v>128.13203929991047</c:v>
                </c:pt>
                <c:pt idx="635">
                  <c:v>129.77961571417524</c:v>
                </c:pt>
                <c:pt idx="636">
                  <c:v>130.88302444135326</c:v>
                </c:pt>
                <c:pt idx="637">
                  <c:v>132.26751180315782</c:v>
                </c:pt>
                <c:pt idx="638">
                  <c:v>131.6063732691934</c:v>
                </c:pt>
                <c:pt idx="639">
                  <c:v>132.95410854612842</c:v>
                </c:pt>
                <c:pt idx="640">
                  <c:v>132.48056251181467</c:v>
                </c:pt>
                <c:pt idx="641">
                  <c:v>133.63550411538645</c:v>
                </c:pt>
                <c:pt idx="642">
                  <c:v>132.6475505281073</c:v>
                </c:pt>
                <c:pt idx="643">
                  <c:v>132.32863852634176</c:v>
                </c:pt>
                <c:pt idx="644">
                  <c:v>132.79736329873009</c:v>
                </c:pt>
                <c:pt idx="645">
                  <c:v>131.74901983255</c:v>
                </c:pt>
                <c:pt idx="646">
                  <c:v>134.11638317917308</c:v>
                </c:pt>
                <c:pt idx="647">
                  <c:v>134.66675246720746</c:v>
                </c:pt>
                <c:pt idx="648">
                  <c:v>133.65425269832096</c:v>
                </c:pt>
                <c:pt idx="649">
                  <c:v>134.26642100298747</c:v>
                </c:pt>
                <c:pt idx="650">
                  <c:v>136.89971882981354</c:v>
                </c:pt>
                <c:pt idx="651">
                  <c:v>136.75940483532992</c:v>
                </c:pt>
                <c:pt idx="652">
                  <c:v>135.17695289152357</c:v>
                </c:pt>
                <c:pt idx="653">
                  <c:v>135.17695289152357</c:v>
                </c:pt>
                <c:pt idx="654">
                  <c:v>132.80281357376006</c:v>
                </c:pt>
                <c:pt idx="655">
                  <c:v>135.19102051407884</c:v>
                </c:pt>
                <c:pt idx="656">
                  <c:v>134.689581098925</c:v>
                </c:pt>
                <c:pt idx="657">
                  <c:v>134.23757927477766</c:v>
                </c:pt>
                <c:pt idx="658">
                  <c:v>135.19865264494837</c:v>
                </c:pt>
                <c:pt idx="659">
                  <c:v>133.26614080763761</c:v>
                </c:pt>
                <c:pt idx="660">
                  <c:v>133.04834438477045</c:v>
                </c:pt>
                <c:pt idx="661">
                  <c:v>135.29873129376139</c:v>
                </c:pt>
                <c:pt idx="662">
                  <c:v>134.36728856821088</c:v>
                </c:pt>
                <c:pt idx="663">
                  <c:v>134.10017246239701</c:v>
                </c:pt>
                <c:pt idx="664">
                  <c:v>134.06079995857729</c:v>
                </c:pt>
                <c:pt idx="665">
                  <c:v>133.0345097666912</c:v>
                </c:pt>
                <c:pt idx="666">
                  <c:v>131.96896909461552</c:v>
                </c:pt>
                <c:pt idx="667">
                  <c:v>128.75446900023618</c:v>
                </c:pt>
                <c:pt idx="668">
                  <c:v>128.78706729302459</c:v>
                </c:pt>
                <c:pt idx="669">
                  <c:v>127.53407828679255</c:v>
                </c:pt>
                <c:pt idx="670">
                  <c:v>127.10061726679061</c:v>
                </c:pt>
                <c:pt idx="671">
                  <c:v>127.88668244689502</c:v>
                </c:pt>
                <c:pt idx="672">
                  <c:v>131.40332959892592</c:v>
                </c:pt>
                <c:pt idx="673">
                  <c:v>132.48666535008661</c:v>
                </c:pt>
                <c:pt idx="674">
                  <c:v>136.41209198438045</c:v>
                </c:pt>
                <c:pt idx="675">
                  <c:v>135.41475333483697</c:v>
                </c:pt>
                <c:pt idx="676">
                  <c:v>135.48182275951984</c:v>
                </c:pt>
                <c:pt idx="677">
                  <c:v>135.97192621343964</c:v>
                </c:pt>
                <c:pt idx="678">
                  <c:v>135.88874889827679</c:v>
                </c:pt>
                <c:pt idx="679">
                  <c:v>136.17276617967639</c:v>
                </c:pt>
                <c:pt idx="680">
                  <c:v>135.22247561542824</c:v>
                </c:pt>
                <c:pt idx="681">
                  <c:v>136.0459672609885</c:v>
                </c:pt>
                <c:pt idx="682">
                  <c:v>135.10429484936805</c:v>
                </c:pt>
                <c:pt idx="683">
                  <c:v>136.04155029706695</c:v>
                </c:pt>
                <c:pt idx="684">
                  <c:v>134.1843142511498</c:v>
                </c:pt>
                <c:pt idx="685">
                  <c:v>135.27210641605853</c:v>
                </c:pt>
                <c:pt idx="686">
                  <c:v>134.37422264287605</c:v>
                </c:pt>
                <c:pt idx="687">
                  <c:v>134.98103540263071</c:v>
                </c:pt>
                <c:pt idx="688">
                  <c:v>136.64580962880606</c:v>
                </c:pt>
                <c:pt idx="689">
                  <c:v>136.17607584777724</c:v>
                </c:pt>
                <c:pt idx="690">
                  <c:v>137.10843723259649</c:v>
                </c:pt>
                <c:pt idx="691">
                  <c:v>138.43094468053917</c:v>
                </c:pt>
                <c:pt idx="692">
                  <c:v>138.43094468053917</c:v>
                </c:pt>
                <c:pt idx="693">
                  <c:v>138.42161596645192</c:v>
                </c:pt>
                <c:pt idx="694">
                  <c:v>138.42794808087837</c:v>
                </c:pt>
                <c:pt idx="695">
                  <c:v>139.59803070598616</c:v>
                </c:pt>
                <c:pt idx="696">
                  <c:v>140.45760281723949</c:v>
                </c:pt>
                <c:pt idx="697">
                  <c:v>141.3546037474388</c:v>
                </c:pt>
                <c:pt idx="698">
                  <c:v>142.76869792618797</c:v>
                </c:pt>
                <c:pt idx="699">
                  <c:v>142.18931737683417</c:v>
                </c:pt>
                <c:pt idx="700">
                  <c:v>141.0022749158972</c:v>
                </c:pt>
                <c:pt idx="701">
                  <c:v>141.38315745186199</c:v>
                </c:pt>
                <c:pt idx="702">
                  <c:v>141.1776824341639</c:v>
                </c:pt>
                <c:pt idx="703">
                  <c:v>142.75412477063242</c:v>
                </c:pt>
                <c:pt idx="704">
                  <c:v>141.95788550805062</c:v>
                </c:pt>
                <c:pt idx="705">
                  <c:v>140.51414987877035</c:v>
                </c:pt>
                <c:pt idx="706">
                  <c:v>139.99605846958991</c:v>
                </c:pt>
                <c:pt idx="707">
                  <c:v>140.872089996255</c:v>
                </c:pt>
                <c:pt idx="708">
                  <c:v>141.4336869867744</c:v>
                </c:pt>
                <c:pt idx="709">
                  <c:v>141.25613777656923</c:v>
                </c:pt>
                <c:pt idx="710">
                  <c:v>141.00656273186644</c:v>
                </c:pt>
                <c:pt idx="711">
                  <c:v>140.57587344903507</c:v>
                </c:pt>
                <c:pt idx="712">
                  <c:v>140.35795458168724</c:v>
                </c:pt>
                <c:pt idx="713">
                  <c:v>140.31865203427321</c:v>
                </c:pt>
                <c:pt idx="714">
                  <c:v>139.62170583750606</c:v>
                </c:pt>
                <c:pt idx="715">
                  <c:v>140.44818024470024</c:v>
                </c:pt>
                <c:pt idx="716">
                  <c:v>139.30431542364073</c:v>
                </c:pt>
                <c:pt idx="717">
                  <c:v>138.88086236484008</c:v>
                </c:pt>
                <c:pt idx="718">
                  <c:v>139.83626363543647</c:v>
                </c:pt>
                <c:pt idx="719">
                  <c:v>141.54039461228206</c:v>
                </c:pt>
                <c:pt idx="720">
                  <c:v>140.91825894603087</c:v>
                </c:pt>
                <c:pt idx="721">
                  <c:v>143.13220490154984</c:v>
                </c:pt>
                <c:pt idx="722">
                  <c:v>143.18312077744599</c:v>
                </c:pt>
                <c:pt idx="723">
                  <c:v>143.18478853628881</c:v>
                </c:pt>
                <c:pt idx="724">
                  <c:v>142.42922551516841</c:v>
                </c:pt>
                <c:pt idx="725">
                  <c:v>142.76442782604067</c:v>
                </c:pt>
                <c:pt idx="726">
                  <c:v>142.61883327424516</c:v>
                </c:pt>
                <c:pt idx="727">
                  <c:v>143.67079335605155</c:v>
                </c:pt>
                <c:pt idx="728">
                  <c:v>144.05475532748693</c:v>
                </c:pt>
                <c:pt idx="729">
                  <c:v>144.95012702336493</c:v>
                </c:pt>
                <c:pt idx="730">
                  <c:v>144.9174916056713</c:v>
                </c:pt>
                <c:pt idx="731">
                  <c:v>144.4990671618516</c:v>
                </c:pt>
                <c:pt idx="732">
                  <c:v>144.34638225138303</c:v>
                </c:pt>
                <c:pt idx="733">
                  <c:v>144.1584422258592</c:v>
                </c:pt>
                <c:pt idx="734">
                  <c:v>143.68121731153173</c:v>
                </c:pt>
                <c:pt idx="735">
                  <c:v>144.11872440465595</c:v>
                </c:pt>
                <c:pt idx="736">
                  <c:v>143.98959307484853</c:v>
                </c:pt>
                <c:pt idx="737">
                  <c:v>143.95280259801001</c:v>
                </c:pt>
                <c:pt idx="738">
                  <c:v>144.05216103900761</c:v>
                </c:pt>
                <c:pt idx="739">
                  <c:v>144.26742768668836</c:v>
                </c:pt>
                <c:pt idx="740">
                  <c:v>145.62454651963174</c:v>
                </c:pt>
                <c:pt idx="741">
                  <c:v>145.52240537738012</c:v>
                </c:pt>
                <c:pt idx="742">
                  <c:v>145.57707633631387</c:v>
                </c:pt>
                <c:pt idx="743">
                  <c:v>143.05172429512376</c:v>
                </c:pt>
                <c:pt idx="744">
                  <c:v>144.15603767292421</c:v>
                </c:pt>
                <c:pt idx="745">
                  <c:v>145.45989720345369</c:v>
                </c:pt>
                <c:pt idx="746">
                  <c:v>146.51684813757299</c:v>
                </c:pt>
                <c:pt idx="747">
                  <c:v>146.51776611123501</c:v>
                </c:pt>
                <c:pt idx="748">
                  <c:v>148.19089158860393</c:v>
                </c:pt>
                <c:pt idx="749">
                  <c:v>147.85843395410652</c:v>
                </c:pt>
                <c:pt idx="750">
                  <c:v>147.45164474164201</c:v>
                </c:pt>
                <c:pt idx="751">
                  <c:v>147.75044565532133</c:v>
                </c:pt>
                <c:pt idx="752">
                  <c:v>147.4416967049319</c:v>
                </c:pt>
                <c:pt idx="753">
                  <c:v>146.90525587965885</c:v>
                </c:pt>
                <c:pt idx="754">
                  <c:v>147.07806342190617</c:v>
                </c:pt>
                <c:pt idx="755">
                  <c:v>146.66704926398279</c:v>
                </c:pt>
                <c:pt idx="756">
                  <c:v>147.14821997293996</c:v>
                </c:pt>
                <c:pt idx="757">
                  <c:v>148.63542408791582</c:v>
                </c:pt>
                <c:pt idx="758">
                  <c:v>147.64861463659955</c:v>
                </c:pt>
                <c:pt idx="759">
                  <c:v>147.17378529874097</c:v>
                </c:pt>
                <c:pt idx="760">
                  <c:v>146.15336854025085</c:v>
                </c:pt>
                <c:pt idx="761">
                  <c:v>147.42134210310266</c:v>
                </c:pt>
                <c:pt idx="762">
                  <c:v>150.33291340033415</c:v>
                </c:pt>
                <c:pt idx="763">
                  <c:v>149.44505395048941</c:v>
                </c:pt>
                <c:pt idx="764">
                  <c:v>146.9801607731342</c:v>
                </c:pt>
                <c:pt idx="765">
                  <c:v>147.54245374472484</c:v>
                </c:pt>
                <c:pt idx="766">
                  <c:v>147.54245374472484</c:v>
                </c:pt>
                <c:pt idx="767">
                  <c:v>147.54245374472484</c:v>
                </c:pt>
                <c:pt idx="768">
                  <c:v>145.36223191654423</c:v>
                </c:pt>
                <c:pt idx="769">
                  <c:v>145.66445524395144</c:v>
                </c:pt>
                <c:pt idx="770">
                  <c:v>147.07008690245601</c:v>
                </c:pt>
                <c:pt idx="771">
                  <c:v>146.05906369624893</c:v>
                </c:pt>
                <c:pt idx="772">
                  <c:v>147.10882429535653</c:v>
                </c:pt>
                <c:pt idx="773">
                  <c:v>148.82109582092133</c:v>
                </c:pt>
                <c:pt idx="774">
                  <c:v>148.76457830112895</c:v>
                </c:pt>
                <c:pt idx="775">
                  <c:v>148.76981140481305</c:v>
                </c:pt>
                <c:pt idx="776">
                  <c:v>148.95715651671765</c:v>
                </c:pt>
                <c:pt idx="777">
                  <c:v>146.78123200470853</c:v>
                </c:pt>
                <c:pt idx="778">
                  <c:v>147.96564270243113</c:v>
                </c:pt>
                <c:pt idx="779">
                  <c:v>149.23553223226114</c:v>
                </c:pt>
                <c:pt idx="780">
                  <c:v>151.26986200822125</c:v>
                </c:pt>
                <c:pt idx="781">
                  <c:v>151.50581950021206</c:v>
                </c:pt>
                <c:pt idx="782">
                  <c:v>151.16440638707778</c:v>
                </c:pt>
                <c:pt idx="783">
                  <c:v>151.16440638707778</c:v>
                </c:pt>
                <c:pt idx="784">
                  <c:v>152.2902775358435</c:v>
                </c:pt>
                <c:pt idx="785">
                  <c:v>152.81772200981402</c:v>
                </c:pt>
                <c:pt idx="786">
                  <c:v>150.84353819229722</c:v>
                </c:pt>
                <c:pt idx="787">
                  <c:v>151.60742948643082</c:v>
                </c:pt>
                <c:pt idx="788">
                  <c:v>149.8975126446943</c:v>
                </c:pt>
                <c:pt idx="789">
                  <c:v>150.21518597607923</c:v>
                </c:pt>
                <c:pt idx="790">
                  <c:v>149.99976943016833</c:v>
                </c:pt>
                <c:pt idx="791">
                  <c:v>151.21812096590963</c:v>
                </c:pt>
                <c:pt idx="792">
                  <c:v>149.95045032363373</c:v>
                </c:pt>
                <c:pt idx="793">
                  <c:v>149.86078470865522</c:v>
                </c:pt>
                <c:pt idx="794">
                  <c:v>149.07650047054022</c:v>
                </c:pt>
                <c:pt idx="795">
                  <c:v>149.07650047054022</c:v>
                </c:pt>
                <c:pt idx="796">
                  <c:v>146.81591770166648</c:v>
                </c:pt>
                <c:pt idx="797">
                  <c:v>147.17950944532669</c:v>
                </c:pt>
                <c:pt idx="798">
                  <c:v>149.16787887960535</c:v>
                </c:pt>
                <c:pt idx="799">
                  <c:v>147.02729559372537</c:v>
                </c:pt>
                <c:pt idx="800">
                  <c:v>148.30622511223837</c:v>
                </c:pt>
                <c:pt idx="801">
                  <c:v>148.93427986247823</c:v>
                </c:pt>
                <c:pt idx="802">
                  <c:v>148.93427986247823</c:v>
                </c:pt>
                <c:pt idx="803">
                  <c:v>150.25647793215049</c:v>
                </c:pt>
                <c:pt idx="804">
                  <c:v>148.75954392287917</c:v>
                </c:pt>
                <c:pt idx="805">
                  <c:v>148.58041549474791</c:v>
                </c:pt>
                <c:pt idx="806">
                  <c:v>145.94485038947113</c:v>
                </c:pt>
                <c:pt idx="807">
                  <c:v>144.80218141889605</c:v>
                </c:pt>
                <c:pt idx="808">
                  <c:v>145.0836716297452</c:v>
                </c:pt>
                <c:pt idx="809">
                  <c:v>147.3228408620167</c:v>
                </c:pt>
                <c:pt idx="810">
                  <c:v>148.72100209317352</c:v>
                </c:pt>
                <c:pt idx="811">
                  <c:v>149.15472601201785</c:v>
                </c:pt>
                <c:pt idx="812">
                  <c:v>149.30092290965683</c:v>
                </c:pt>
                <c:pt idx="813">
                  <c:v>150.46997084521178</c:v>
                </c:pt>
                <c:pt idx="814">
                  <c:v>150.09735428850999</c:v>
                </c:pt>
                <c:pt idx="815">
                  <c:v>149.74737190835313</c:v>
                </c:pt>
                <c:pt idx="816">
                  <c:v>149.60708638004758</c:v>
                </c:pt>
                <c:pt idx="817">
                  <c:v>150.3841331016832</c:v>
                </c:pt>
                <c:pt idx="818">
                  <c:v>151.58476890041294</c:v>
                </c:pt>
                <c:pt idx="819">
                  <c:v>151.56791878854492</c:v>
                </c:pt>
                <c:pt idx="820">
                  <c:v>151.13672262835476</c:v>
                </c:pt>
                <c:pt idx="821">
                  <c:v>150.25229911684784</c:v>
                </c:pt>
                <c:pt idx="822">
                  <c:v>148.73649262217612</c:v>
                </c:pt>
                <c:pt idx="823">
                  <c:v>148.90235921184919</c:v>
                </c:pt>
                <c:pt idx="824">
                  <c:v>150.50839226595093</c:v>
                </c:pt>
                <c:pt idx="825">
                  <c:v>150.1258140018756</c:v>
                </c:pt>
                <c:pt idx="826">
                  <c:v>152.8146214793168</c:v>
                </c:pt>
                <c:pt idx="827">
                  <c:v>154.90776587425358</c:v>
                </c:pt>
                <c:pt idx="828">
                  <c:v>155.9419837685096</c:v>
                </c:pt>
                <c:pt idx="829">
                  <c:v>155.96798279629539</c:v>
                </c:pt>
                <c:pt idx="830">
                  <c:v>156.16429429997041</c:v>
                </c:pt>
                <c:pt idx="831">
                  <c:v>155.45387783758403</c:v>
                </c:pt>
                <c:pt idx="832">
                  <c:v>154.94406360000119</c:v>
                </c:pt>
                <c:pt idx="833">
                  <c:v>155.72032852545476</c:v>
                </c:pt>
                <c:pt idx="834">
                  <c:v>155.76048667873872</c:v>
                </c:pt>
                <c:pt idx="835">
                  <c:v>154.52871554974325</c:v>
                </c:pt>
                <c:pt idx="836">
                  <c:v>156.51671881607592</c:v>
                </c:pt>
                <c:pt idx="837">
                  <c:v>157.07364564644701</c:v>
                </c:pt>
                <c:pt idx="838">
                  <c:v>156.70588631038774</c:v>
                </c:pt>
                <c:pt idx="839">
                  <c:v>158.5056663532809</c:v>
                </c:pt>
                <c:pt idx="840">
                  <c:v>159.75909452643256</c:v>
                </c:pt>
                <c:pt idx="841">
                  <c:v>158.3072828854969</c:v>
                </c:pt>
                <c:pt idx="842">
                  <c:v>154.81324828201807</c:v>
                </c:pt>
                <c:pt idx="843">
                  <c:v>154.647311822023</c:v>
                </c:pt>
                <c:pt idx="844">
                  <c:v>154.15462583219175</c:v>
                </c:pt>
                <c:pt idx="845">
                  <c:v>157.2187907356373</c:v>
                </c:pt>
                <c:pt idx="846">
                  <c:v>158.27775187251959</c:v>
                </c:pt>
                <c:pt idx="847">
                  <c:v>159.45566024495125</c:v>
                </c:pt>
                <c:pt idx="848">
                  <c:v>158.09737573049983</c:v>
                </c:pt>
                <c:pt idx="849">
                  <c:v>159.1551333429563</c:v>
                </c:pt>
                <c:pt idx="850">
                  <c:v>158.23594838546998</c:v>
                </c:pt>
                <c:pt idx="851">
                  <c:v>160.64827846121074</c:v>
                </c:pt>
                <c:pt idx="852">
                  <c:v>160.78767329258335</c:v>
                </c:pt>
                <c:pt idx="853">
                  <c:v>161.46260454405274</c:v>
                </c:pt>
                <c:pt idx="854">
                  <c:v>161.89042070740553</c:v>
                </c:pt>
                <c:pt idx="855">
                  <c:v>162.20509120268048</c:v>
                </c:pt>
                <c:pt idx="856">
                  <c:v>161.9050019299072</c:v>
                </c:pt>
                <c:pt idx="857">
                  <c:v>161.28976703371731</c:v>
                </c:pt>
                <c:pt idx="858">
                  <c:v>162.43227287746836</c:v>
                </c:pt>
                <c:pt idx="859">
                  <c:v>162.43227287746836</c:v>
                </c:pt>
                <c:pt idx="860">
                  <c:v>162.65526835448415</c:v>
                </c:pt>
                <c:pt idx="861">
                  <c:v>163.02333040361009</c:v>
                </c:pt>
                <c:pt idx="862">
                  <c:v>162.64506897982915</c:v>
                </c:pt>
                <c:pt idx="863">
                  <c:v>162.73633599227776</c:v>
                </c:pt>
                <c:pt idx="864">
                  <c:v>160.84776707927759</c:v>
                </c:pt>
                <c:pt idx="865">
                  <c:v>159.93833966126664</c:v>
                </c:pt>
                <c:pt idx="866">
                  <c:v>160.77747960359036</c:v>
                </c:pt>
                <c:pt idx="867">
                  <c:v>161.28547295448999</c:v>
                </c:pt>
                <c:pt idx="868">
                  <c:v>160.35779597424849</c:v>
                </c:pt>
                <c:pt idx="869">
                  <c:v>160.52044838044429</c:v>
                </c:pt>
                <c:pt idx="870">
                  <c:v>160.17033618026332</c:v>
                </c:pt>
                <c:pt idx="871">
                  <c:v>160.52751080777952</c:v>
                </c:pt>
                <c:pt idx="872">
                  <c:v>161.83818830735132</c:v>
                </c:pt>
                <c:pt idx="873">
                  <c:v>160.15367146503613</c:v>
                </c:pt>
                <c:pt idx="874">
                  <c:v>160.2597630927678</c:v>
                </c:pt>
                <c:pt idx="875">
                  <c:v>162.5441256447254</c:v>
                </c:pt>
                <c:pt idx="876">
                  <c:v>161.44417024126122</c:v>
                </c:pt>
                <c:pt idx="877">
                  <c:v>161.18501839070342</c:v>
                </c:pt>
                <c:pt idx="878">
                  <c:v>161.25673809723685</c:v>
                </c:pt>
                <c:pt idx="879">
                  <c:v>160.86042747198729</c:v>
                </c:pt>
                <c:pt idx="880">
                  <c:v>161.08465194215105</c:v>
                </c:pt>
                <c:pt idx="881">
                  <c:v>161.35937235949518</c:v>
                </c:pt>
                <c:pt idx="882">
                  <c:v>161.03811506076806</c:v>
                </c:pt>
                <c:pt idx="883">
                  <c:v>160.98466648630122</c:v>
                </c:pt>
                <c:pt idx="884">
                  <c:v>161.21418104481606</c:v>
                </c:pt>
                <c:pt idx="885">
                  <c:v>161.41105781242518</c:v>
                </c:pt>
                <c:pt idx="886">
                  <c:v>162.21155301742843</c:v>
                </c:pt>
                <c:pt idx="887">
                  <c:v>161.91737921074494</c:v>
                </c:pt>
                <c:pt idx="888">
                  <c:v>162.70051568653119</c:v>
                </c:pt>
                <c:pt idx="889">
                  <c:v>160.86153616875933</c:v>
                </c:pt>
                <c:pt idx="890">
                  <c:v>161.55099686912803</c:v>
                </c:pt>
                <c:pt idx="891">
                  <c:v>160.44095962981288</c:v>
                </c:pt>
                <c:pt idx="892">
                  <c:v>161.712267625111</c:v>
                </c:pt>
                <c:pt idx="893">
                  <c:v>161.74866364103985</c:v>
                </c:pt>
                <c:pt idx="894">
                  <c:v>161.86885651049471</c:v>
                </c:pt>
                <c:pt idx="895">
                  <c:v>161.69121415390313</c:v>
                </c:pt>
                <c:pt idx="896">
                  <c:v>162.66236644954446</c:v>
                </c:pt>
                <c:pt idx="897">
                  <c:v>161.62731070436624</c:v>
                </c:pt>
                <c:pt idx="898">
                  <c:v>161.29492518451539</c:v>
                </c:pt>
                <c:pt idx="899">
                  <c:v>160.35302887214348</c:v>
                </c:pt>
                <c:pt idx="900">
                  <c:v>161.38280384415151</c:v>
                </c:pt>
                <c:pt idx="901">
                  <c:v>160.85456740406681</c:v>
                </c:pt>
                <c:pt idx="902">
                  <c:v>161.2857114901156</c:v>
                </c:pt>
                <c:pt idx="903">
                  <c:v>162.49520586558924</c:v>
                </c:pt>
                <c:pt idx="904">
                  <c:v>162.07551237236427</c:v>
                </c:pt>
                <c:pt idx="905">
                  <c:v>161.85898926527119</c:v>
                </c:pt>
                <c:pt idx="906">
                  <c:v>161.21486116122219</c:v>
                </c:pt>
                <c:pt idx="907">
                  <c:v>160.20006616793418</c:v>
                </c:pt>
                <c:pt idx="908">
                  <c:v>158.1143615119185</c:v>
                </c:pt>
                <c:pt idx="909">
                  <c:v>159.49006695540851</c:v>
                </c:pt>
                <c:pt idx="910">
                  <c:v>160.06520421489662</c:v>
                </c:pt>
                <c:pt idx="911">
                  <c:v>160.55295906965387</c:v>
                </c:pt>
                <c:pt idx="912">
                  <c:v>160.0193423478178</c:v>
                </c:pt>
                <c:pt idx="913">
                  <c:v>160.61667076418215</c:v>
                </c:pt>
                <c:pt idx="914">
                  <c:v>160.27767127937665</c:v>
                </c:pt>
                <c:pt idx="915">
                  <c:v>160.27767127937665</c:v>
                </c:pt>
                <c:pt idx="916">
                  <c:v>162.32342949042746</c:v>
                </c:pt>
                <c:pt idx="917">
                  <c:v>162.0182838538077</c:v>
                </c:pt>
                <c:pt idx="918">
                  <c:v>162.26922758868062</c:v>
                </c:pt>
                <c:pt idx="919">
                  <c:v>161.07687334519488</c:v>
                </c:pt>
                <c:pt idx="920">
                  <c:v>160.68304639401546</c:v>
                </c:pt>
                <c:pt idx="921">
                  <c:v>160.65268703534929</c:v>
                </c:pt>
                <c:pt idx="922">
                  <c:v>160.02212464596019</c:v>
                </c:pt>
                <c:pt idx="923">
                  <c:v>160.56702979293479</c:v>
                </c:pt>
                <c:pt idx="924">
                  <c:v>159.23116500450243</c:v>
                </c:pt>
                <c:pt idx="925">
                  <c:v>157.60969496353155</c:v>
                </c:pt>
                <c:pt idx="926">
                  <c:v>156.96414157585522</c:v>
                </c:pt>
                <c:pt idx="927">
                  <c:v>158.81912559783575</c:v>
                </c:pt>
                <c:pt idx="928">
                  <c:v>159.55166786465023</c:v>
                </c:pt>
                <c:pt idx="929">
                  <c:v>159.93974117329927</c:v>
                </c:pt>
                <c:pt idx="930">
                  <c:v>160.70958123593564</c:v>
                </c:pt>
                <c:pt idx="931">
                  <c:v>161.34841626353048</c:v>
                </c:pt>
                <c:pt idx="932">
                  <c:v>161.18568902734918</c:v>
                </c:pt>
                <c:pt idx="933">
                  <c:v>161.65700698780552</c:v>
                </c:pt>
                <c:pt idx="934">
                  <c:v>161.62829570423375</c:v>
                </c:pt>
                <c:pt idx="935">
                  <c:v>162.94092079142729</c:v>
                </c:pt>
                <c:pt idx="936">
                  <c:v>162.48891065169971</c:v>
                </c:pt>
                <c:pt idx="937">
                  <c:v>162.94922421045644</c:v>
                </c:pt>
                <c:pt idx="938">
                  <c:v>162.88830757542397</c:v>
                </c:pt>
                <c:pt idx="939">
                  <c:v>163.42516953690972</c:v>
                </c:pt>
                <c:pt idx="940">
                  <c:v>164.17080626926949</c:v>
                </c:pt>
                <c:pt idx="941">
                  <c:v>164.62337025528925</c:v>
                </c:pt>
                <c:pt idx="942">
                  <c:v>165.09969972681262</c:v>
                </c:pt>
                <c:pt idx="943">
                  <c:v>165.50487195291402</c:v>
                </c:pt>
                <c:pt idx="944">
                  <c:v>165.344880257878</c:v>
                </c:pt>
                <c:pt idx="945">
                  <c:v>164.68084776324454</c:v>
                </c:pt>
                <c:pt idx="946">
                  <c:v>164.76758184258827</c:v>
                </c:pt>
                <c:pt idx="947">
                  <c:v>164.35078294549623</c:v>
                </c:pt>
                <c:pt idx="948">
                  <c:v>164.88993141356761</c:v>
                </c:pt>
                <c:pt idx="949">
                  <c:v>165.24771033811078</c:v>
                </c:pt>
                <c:pt idx="950">
                  <c:v>165.34184916456024</c:v>
                </c:pt>
                <c:pt idx="951">
                  <c:v>164.90128813065743</c:v>
                </c:pt>
                <c:pt idx="952">
                  <c:v>164.90128813065743</c:v>
                </c:pt>
                <c:pt idx="953">
                  <c:v>164.90128813065743</c:v>
                </c:pt>
                <c:pt idx="954">
                  <c:v>164.90128813065743</c:v>
                </c:pt>
                <c:pt idx="955">
                  <c:v>164.36603094196454</c:v>
                </c:pt>
                <c:pt idx="956">
                  <c:v>163.78710276533329</c:v>
                </c:pt>
                <c:pt idx="957">
                  <c:v>164.25942895417967</c:v>
                </c:pt>
                <c:pt idx="958">
                  <c:v>164.25942895417967</c:v>
                </c:pt>
                <c:pt idx="959">
                  <c:v>166.06008428327115</c:v>
                </c:pt>
                <c:pt idx="960">
                  <c:v>167.24818190099367</c:v>
                </c:pt>
                <c:pt idx="961">
                  <c:v>167.76966082281143</c:v>
                </c:pt>
                <c:pt idx="962">
                  <c:v>167.17114304176101</c:v>
                </c:pt>
                <c:pt idx="963">
                  <c:v>167.06352485116869</c:v>
                </c:pt>
                <c:pt idx="964">
                  <c:v>167.77832815546105</c:v>
                </c:pt>
                <c:pt idx="965">
                  <c:v>167.1044301230254</c:v>
                </c:pt>
                <c:pt idx="966">
                  <c:v>166.47059947976632</c:v>
                </c:pt>
                <c:pt idx="967">
                  <c:v>165.83800621760818</c:v>
                </c:pt>
                <c:pt idx="968">
                  <c:v>165.30434577608995</c:v>
                </c:pt>
                <c:pt idx="969">
                  <c:v>165.46607934932561</c:v>
                </c:pt>
                <c:pt idx="970">
                  <c:v>165.6692640514558</c:v>
                </c:pt>
                <c:pt idx="971">
                  <c:v>165.42962974120243</c:v>
                </c:pt>
                <c:pt idx="972">
                  <c:v>165.53938188979106</c:v>
                </c:pt>
                <c:pt idx="973">
                  <c:v>165.77885727042235</c:v>
                </c:pt>
                <c:pt idx="974">
                  <c:v>166.26370716733624</c:v>
                </c:pt>
                <c:pt idx="975">
                  <c:v>166.0095778827436</c:v>
                </c:pt>
                <c:pt idx="976">
                  <c:v>166.52842246909159</c:v>
                </c:pt>
                <c:pt idx="977">
                  <c:v>165.89266880010092</c:v>
                </c:pt>
                <c:pt idx="978">
                  <c:v>166.45466171158111</c:v>
                </c:pt>
                <c:pt idx="979">
                  <c:v>166.09068911306883</c:v>
                </c:pt>
                <c:pt idx="980">
                  <c:v>165.88818630531284</c:v>
                </c:pt>
                <c:pt idx="981">
                  <c:v>166.7870474059244</c:v>
                </c:pt>
                <c:pt idx="982">
                  <c:v>165.89779525515064</c:v>
                </c:pt>
                <c:pt idx="983">
                  <c:v>166.11711519885259</c:v>
                </c:pt>
                <c:pt idx="984">
                  <c:v>165.48070119552983</c:v>
                </c:pt>
                <c:pt idx="985">
                  <c:v>165.40771752051012</c:v>
                </c:pt>
                <c:pt idx="986">
                  <c:v>166.8548258241361</c:v>
                </c:pt>
                <c:pt idx="987">
                  <c:v>166.38256809566147</c:v>
                </c:pt>
                <c:pt idx="988">
                  <c:v>166.75146787420096</c:v>
                </c:pt>
                <c:pt idx="989">
                  <c:v>167.2872614647932</c:v>
                </c:pt>
                <c:pt idx="990">
                  <c:v>167.2453316894707</c:v>
                </c:pt>
                <c:pt idx="991">
                  <c:v>167.20867777007584</c:v>
                </c:pt>
                <c:pt idx="992">
                  <c:v>166.83251835002878</c:v>
                </c:pt>
                <c:pt idx="993">
                  <c:v>168.62531828260521</c:v>
                </c:pt>
                <c:pt idx="994">
                  <c:v>168.49480455200342</c:v>
                </c:pt>
                <c:pt idx="995">
                  <c:v>167.38279044002522</c:v>
                </c:pt>
                <c:pt idx="996">
                  <c:v>169.34507232872025</c:v>
                </c:pt>
                <c:pt idx="997">
                  <c:v>168.22960889206385</c:v>
                </c:pt>
                <c:pt idx="998">
                  <c:v>167.91334063688865</c:v>
                </c:pt>
                <c:pt idx="999">
                  <c:v>168.62285555062024</c:v>
                </c:pt>
                <c:pt idx="1000">
                  <c:v>170.51495624377262</c:v>
                </c:pt>
                <c:pt idx="1001">
                  <c:v>170.94015847015663</c:v>
                </c:pt>
                <c:pt idx="1002">
                  <c:v>171.68023369993136</c:v>
                </c:pt>
                <c:pt idx="1003">
                  <c:v>173.62523641491507</c:v>
                </c:pt>
                <c:pt idx="1004">
                  <c:v>172.82421056740822</c:v>
                </c:pt>
                <c:pt idx="1005">
                  <c:v>172.54257352177669</c:v>
                </c:pt>
                <c:pt idx="1006">
                  <c:v>172.77350020574178</c:v>
                </c:pt>
                <c:pt idx="1007">
                  <c:v>172.84983524024832</c:v>
                </c:pt>
                <c:pt idx="1008">
                  <c:v>173.15997677392417</c:v>
                </c:pt>
                <c:pt idx="1009">
                  <c:v>173.87081743193602</c:v>
                </c:pt>
                <c:pt idx="1010">
                  <c:v>175.54046326171689</c:v>
                </c:pt>
                <c:pt idx="1011">
                  <c:v>174.99230963282039</c:v>
                </c:pt>
                <c:pt idx="1012">
                  <c:v>175.25167963964273</c:v>
                </c:pt>
                <c:pt idx="1013">
                  <c:v>175.64649260635326</c:v>
                </c:pt>
                <c:pt idx="1014">
                  <c:v>175.89859744274347</c:v>
                </c:pt>
                <c:pt idx="1015">
                  <c:v>175.16324802309146</c:v>
                </c:pt>
                <c:pt idx="1016">
                  <c:v>175.63544687371348</c:v>
                </c:pt>
                <c:pt idx="1017">
                  <c:v>175.99745764751142</c:v>
                </c:pt>
                <c:pt idx="1018">
                  <c:v>175.91814107651288</c:v>
                </c:pt>
                <c:pt idx="1019">
                  <c:v>175.83389072546709</c:v>
                </c:pt>
                <c:pt idx="1020">
                  <c:v>177.11554895880911</c:v>
                </c:pt>
                <c:pt idx="1021">
                  <c:v>177.11554895880911</c:v>
                </c:pt>
                <c:pt idx="1022">
                  <c:v>177.11554895880911</c:v>
                </c:pt>
                <c:pt idx="1023">
                  <c:v>179.02765257585844</c:v>
                </c:pt>
                <c:pt idx="1024">
                  <c:v>178.1146974410037</c:v>
                </c:pt>
                <c:pt idx="1025">
                  <c:v>176.55982008350642</c:v>
                </c:pt>
                <c:pt idx="1026">
                  <c:v>173.82560092381621</c:v>
                </c:pt>
                <c:pt idx="1027">
                  <c:v>174.37364572437261</c:v>
                </c:pt>
                <c:pt idx="1028">
                  <c:v>173.61810431603016</c:v>
                </c:pt>
                <c:pt idx="1029">
                  <c:v>175.97331989467617</c:v>
                </c:pt>
                <c:pt idx="1030">
                  <c:v>176.73221129435302</c:v>
                </c:pt>
                <c:pt idx="1031">
                  <c:v>175.93801270087761</c:v>
                </c:pt>
                <c:pt idx="1032">
                  <c:v>175.27168138369359</c:v>
                </c:pt>
                <c:pt idx="1033">
                  <c:v>173.56928509920766</c:v>
                </c:pt>
                <c:pt idx="1034">
                  <c:v>171.72768595184499</c:v>
                </c:pt>
                <c:pt idx="1035">
                  <c:v>171.62700854074052</c:v>
                </c:pt>
                <c:pt idx="1036">
                  <c:v>172.22247443543748</c:v>
                </c:pt>
                <c:pt idx="1037">
                  <c:v>172.28563177882324</c:v>
                </c:pt>
                <c:pt idx="1038">
                  <c:v>175.91989750820903</c:v>
                </c:pt>
                <c:pt idx="1039">
                  <c:v>176.81827839478984</c:v>
                </c:pt>
                <c:pt idx="1040">
                  <c:v>177.87764350604405</c:v>
                </c:pt>
                <c:pt idx="1041">
                  <c:v>177.44723067815087</c:v>
                </c:pt>
                <c:pt idx="1042">
                  <c:v>178.08723827792275</c:v>
                </c:pt>
                <c:pt idx="1043">
                  <c:v>177.69911863442823</c:v>
                </c:pt>
                <c:pt idx="1044">
                  <c:v>177.69911863442823</c:v>
                </c:pt>
                <c:pt idx="1045">
                  <c:v>178.0835665462042</c:v>
                </c:pt>
                <c:pt idx="1046">
                  <c:v>179.14210208134563</c:v>
                </c:pt>
                <c:pt idx="1047">
                  <c:v>179.26450372962628</c:v>
                </c:pt>
                <c:pt idx="1048">
                  <c:v>178.87846893957376</c:v>
                </c:pt>
                <c:pt idx="1049">
                  <c:v>180.15746955873368</c:v>
                </c:pt>
                <c:pt idx="1050">
                  <c:v>180.15746955873368</c:v>
                </c:pt>
                <c:pt idx="1051">
                  <c:v>181.7220263321318</c:v>
                </c:pt>
                <c:pt idx="1052">
                  <c:v>181.88804885454093</c:v>
                </c:pt>
                <c:pt idx="1053">
                  <c:v>182.43104836182295</c:v>
                </c:pt>
                <c:pt idx="1054">
                  <c:v>183.53449470513453</c:v>
                </c:pt>
                <c:pt idx="1055">
                  <c:v>183.50443506599888</c:v>
                </c:pt>
                <c:pt idx="1056">
                  <c:v>183.2646274284985</c:v>
                </c:pt>
                <c:pt idx="1057">
                  <c:v>183.2646274284985</c:v>
                </c:pt>
                <c:pt idx="1058">
                  <c:v>184.59998972908343</c:v>
                </c:pt>
                <c:pt idx="1059">
                  <c:v>184.52756930811154</c:v>
                </c:pt>
                <c:pt idx="1060">
                  <c:v>182.04262437809822</c:v>
                </c:pt>
                <c:pt idx="1061">
                  <c:v>181.87583068639762</c:v>
                </c:pt>
                <c:pt idx="1062">
                  <c:v>182.14467746790245</c:v>
                </c:pt>
                <c:pt idx="1063">
                  <c:v>183.94342244226308</c:v>
                </c:pt>
                <c:pt idx="1064">
                  <c:v>180.38897166522102</c:v>
                </c:pt>
                <c:pt idx="1065">
                  <c:v>180.35886819738656</c:v>
                </c:pt>
                <c:pt idx="1066">
                  <c:v>179.0378373600341</c:v>
                </c:pt>
                <c:pt idx="1067">
                  <c:v>177.64683480639155</c:v>
                </c:pt>
                <c:pt idx="1068">
                  <c:v>177.78511187471031</c:v>
                </c:pt>
                <c:pt idx="1069">
                  <c:v>175.87142192048969</c:v>
                </c:pt>
                <c:pt idx="1070">
                  <c:v>174.66255733011303</c:v>
                </c:pt>
                <c:pt idx="1071">
                  <c:v>176.36736424595665</c:v>
                </c:pt>
                <c:pt idx="1072">
                  <c:v>176.65716701717545</c:v>
                </c:pt>
                <c:pt idx="1073">
                  <c:v>175.23928262050481</c:v>
                </c:pt>
                <c:pt idx="1074">
                  <c:v>175.65420851180744</c:v>
                </c:pt>
                <c:pt idx="1075">
                  <c:v>175.18613421219607</c:v>
                </c:pt>
                <c:pt idx="1076">
                  <c:v>175.02965664099418</c:v>
                </c:pt>
                <c:pt idx="1077">
                  <c:v>176.58631451284529</c:v>
                </c:pt>
                <c:pt idx="1078">
                  <c:v>176.40872718170726</c:v>
                </c:pt>
                <c:pt idx="1079">
                  <c:v>176.21095960102556</c:v>
                </c:pt>
                <c:pt idx="1080">
                  <c:v>171.8093525425414</c:v>
                </c:pt>
                <c:pt idx="1081">
                  <c:v>170.32287812926032</c:v>
                </c:pt>
                <c:pt idx="1082">
                  <c:v>167.78676705698737</c:v>
                </c:pt>
                <c:pt idx="1083">
                  <c:v>170.01697577129192</c:v>
                </c:pt>
                <c:pt idx="1084">
                  <c:v>172.52388230508785</c:v>
                </c:pt>
                <c:pt idx="1085">
                  <c:v>173.98573311252574</c:v>
                </c:pt>
                <c:pt idx="1086">
                  <c:v>173.31881657641517</c:v>
                </c:pt>
                <c:pt idx="1087">
                  <c:v>174.92111453251064</c:v>
                </c:pt>
                <c:pt idx="1088">
                  <c:v>174.65803805417463</c:v>
                </c:pt>
                <c:pt idx="1089">
                  <c:v>174.41843954175286</c:v>
                </c:pt>
                <c:pt idx="1090">
                  <c:v>177.5326895580728</c:v>
                </c:pt>
                <c:pt idx="1091">
                  <c:v>175.99398447321977</c:v>
                </c:pt>
                <c:pt idx="1092">
                  <c:v>177.68245113705029</c:v>
                </c:pt>
                <c:pt idx="1093">
                  <c:v>178.69026279204735</c:v>
                </c:pt>
                <c:pt idx="1094">
                  <c:v>179.13533601472821</c:v>
                </c:pt>
                <c:pt idx="1095">
                  <c:v>179.74593825520478</c:v>
                </c:pt>
                <c:pt idx="1096">
                  <c:v>179.50884549026958</c:v>
                </c:pt>
                <c:pt idx="1097">
                  <c:v>179.92007891975177</c:v>
                </c:pt>
                <c:pt idx="1098">
                  <c:v>178.59759770530664</c:v>
                </c:pt>
                <c:pt idx="1099">
                  <c:v>179.445728271234</c:v>
                </c:pt>
                <c:pt idx="1100">
                  <c:v>180.46495765451246</c:v>
                </c:pt>
                <c:pt idx="1101">
                  <c:v>180.30423890414184</c:v>
                </c:pt>
                <c:pt idx="1102">
                  <c:v>180.15632754797574</c:v>
                </c:pt>
                <c:pt idx="1103">
                  <c:v>179.59974261705858</c:v>
                </c:pt>
                <c:pt idx="1104">
                  <c:v>180.42277164023443</c:v>
                </c:pt>
                <c:pt idx="1105">
                  <c:v>179.87784885445765</c:v>
                </c:pt>
                <c:pt idx="1106">
                  <c:v>179.43423796302764</c:v>
                </c:pt>
                <c:pt idx="1107">
                  <c:v>180.01008429123436</c:v>
                </c:pt>
                <c:pt idx="1108">
                  <c:v>180.23672023924397</c:v>
                </c:pt>
                <c:pt idx="1109">
                  <c:v>180.17779891563811</c:v>
                </c:pt>
                <c:pt idx="1110">
                  <c:v>181.34700539066344</c:v>
                </c:pt>
                <c:pt idx="1111">
                  <c:v>181.76261848793058</c:v>
                </c:pt>
                <c:pt idx="1112">
                  <c:v>182.23572799573395</c:v>
                </c:pt>
                <c:pt idx="1113">
                  <c:v>181.93915881379291</c:v>
                </c:pt>
                <c:pt idx="1114">
                  <c:v>181.63828414563653</c:v>
                </c:pt>
                <c:pt idx="1115">
                  <c:v>181.52529494090794</c:v>
                </c:pt>
                <c:pt idx="1116">
                  <c:v>182.03120793518553</c:v>
                </c:pt>
                <c:pt idx="1117">
                  <c:v>181.74319406832461</c:v>
                </c:pt>
                <c:pt idx="1118">
                  <c:v>182.78424092068838</c:v>
                </c:pt>
                <c:pt idx="1119">
                  <c:v>182.78698591411916</c:v>
                </c:pt>
                <c:pt idx="1120">
                  <c:v>182.78698591411916</c:v>
                </c:pt>
                <c:pt idx="1121">
                  <c:v>181.19666950937696</c:v>
                </c:pt>
                <c:pt idx="1122">
                  <c:v>181.47662995953814</c:v>
                </c:pt>
                <c:pt idx="1123">
                  <c:v>180.73815553696454</c:v>
                </c:pt>
                <c:pt idx="1124">
                  <c:v>180.01823972781693</c:v>
                </c:pt>
                <c:pt idx="1125">
                  <c:v>180.65379328877287</c:v>
                </c:pt>
                <c:pt idx="1126">
                  <c:v>180.86668563070077</c:v>
                </c:pt>
                <c:pt idx="1127">
                  <c:v>181.24542070954627</c:v>
                </c:pt>
                <c:pt idx="1128">
                  <c:v>178.90436181270255</c:v>
                </c:pt>
                <c:pt idx="1129">
                  <c:v>177.84609382404096</c:v>
                </c:pt>
                <c:pt idx="1130">
                  <c:v>179.07753339250104</c:v>
                </c:pt>
                <c:pt idx="1131">
                  <c:v>177.71441871383286</c:v>
                </c:pt>
                <c:pt idx="1132">
                  <c:v>180.50500255664008</c:v>
                </c:pt>
                <c:pt idx="1133">
                  <c:v>179.72915958223854</c:v>
                </c:pt>
                <c:pt idx="1134">
                  <c:v>179.98569447863758</c:v>
                </c:pt>
                <c:pt idx="1135">
                  <c:v>180.70322311217328</c:v>
                </c:pt>
                <c:pt idx="1136">
                  <c:v>181.31031346960827</c:v>
                </c:pt>
                <c:pt idx="1137">
                  <c:v>180.88186552580618</c:v>
                </c:pt>
                <c:pt idx="1138">
                  <c:v>182.46206360213208</c:v>
                </c:pt>
                <c:pt idx="1139">
                  <c:v>182.91202694236674</c:v>
                </c:pt>
                <c:pt idx="1140">
                  <c:v>182.92645959315584</c:v>
                </c:pt>
                <c:pt idx="1141">
                  <c:v>183.58793097602737</c:v>
                </c:pt>
                <c:pt idx="1142">
                  <c:v>184.61295030956813</c:v>
                </c:pt>
                <c:pt idx="1143">
                  <c:v>184.1620693772752</c:v>
                </c:pt>
                <c:pt idx="1144">
                  <c:v>184.51021920688774</c:v>
                </c:pt>
                <c:pt idx="1145">
                  <c:v>185.1908936962142</c:v>
                </c:pt>
                <c:pt idx="1146">
                  <c:v>185.3786072739851</c:v>
                </c:pt>
                <c:pt idx="1147">
                  <c:v>184.64319795618687</c:v>
                </c:pt>
                <c:pt idx="1148">
                  <c:v>184.53972052735008</c:v>
                </c:pt>
                <c:pt idx="1149">
                  <c:v>184.2385909635087</c:v>
                </c:pt>
                <c:pt idx="1150">
                  <c:v>184.41255349039972</c:v>
                </c:pt>
                <c:pt idx="1151">
                  <c:v>184.28143519420487</c:v>
                </c:pt>
                <c:pt idx="1152">
                  <c:v>183.90491156494926</c:v>
                </c:pt>
                <c:pt idx="1153">
                  <c:v>184.28283794575438</c:v>
                </c:pt>
                <c:pt idx="1154">
                  <c:v>182.46610603834952</c:v>
                </c:pt>
                <c:pt idx="1155">
                  <c:v>181.89385897604794</c:v>
                </c:pt>
                <c:pt idx="1156">
                  <c:v>181.5787948211017</c:v>
                </c:pt>
                <c:pt idx="1157">
                  <c:v>181.06400074583519</c:v>
                </c:pt>
                <c:pt idx="1158">
                  <c:v>180.07815989006912</c:v>
                </c:pt>
                <c:pt idx="1159">
                  <c:v>178.90947305637303</c:v>
                </c:pt>
                <c:pt idx="1160">
                  <c:v>180.81273615235122</c:v>
                </c:pt>
                <c:pt idx="1161">
                  <c:v>181.7487509230252</c:v>
                </c:pt>
                <c:pt idx="1162">
                  <c:v>181.80262939097557</c:v>
                </c:pt>
                <c:pt idx="1163">
                  <c:v>182.67602197455628</c:v>
                </c:pt>
                <c:pt idx="1164">
                  <c:v>182.90945819303727</c:v>
                </c:pt>
                <c:pt idx="1165">
                  <c:v>184.43993758477197</c:v>
                </c:pt>
                <c:pt idx="1166">
                  <c:v>186.13844760177275</c:v>
                </c:pt>
                <c:pt idx="1167">
                  <c:v>186.84438457810703</c:v>
                </c:pt>
                <c:pt idx="1168">
                  <c:v>187.44794597927537</c:v>
                </c:pt>
                <c:pt idx="1169">
                  <c:v>187.3380801853767</c:v>
                </c:pt>
                <c:pt idx="1170">
                  <c:v>187.75241354643012</c:v>
                </c:pt>
                <c:pt idx="1171">
                  <c:v>187.98387255736918</c:v>
                </c:pt>
                <c:pt idx="1172">
                  <c:v>188.4635048607872</c:v>
                </c:pt>
                <c:pt idx="1173">
                  <c:v>188.89598084459476</c:v>
                </c:pt>
                <c:pt idx="1174">
                  <c:v>189.10196550241642</c:v>
                </c:pt>
                <c:pt idx="1175">
                  <c:v>189.79081659021088</c:v>
                </c:pt>
                <c:pt idx="1176">
                  <c:v>189.79081659021088</c:v>
                </c:pt>
                <c:pt idx="1177">
                  <c:v>190.06826962310609</c:v>
                </c:pt>
                <c:pt idx="1178">
                  <c:v>190.23176628623472</c:v>
                </c:pt>
                <c:pt idx="1179">
                  <c:v>190.52503084138911</c:v>
                </c:pt>
                <c:pt idx="1180">
                  <c:v>190.71917303215872</c:v>
                </c:pt>
                <c:pt idx="1181">
                  <c:v>190.40297810087102</c:v>
                </c:pt>
                <c:pt idx="1182">
                  <c:v>190.40636500446536</c:v>
                </c:pt>
                <c:pt idx="1183">
                  <c:v>189.66251753555525</c:v>
                </c:pt>
                <c:pt idx="1184">
                  <c:v>188.89842751330627</c:v>
                </c:pt>
                <c:pt idx="1185">
                  <c:v>190.40762423148544</c:v>
                </c:pt>
                <c:pt idx="1186">
                  <c:v>190.91543871448548</c:v>
                </c:pt>
                <c:pt idx="1187">
                  <c:v>191.49597324819533</c:v>
                </c:pt>
                <c:pt idx="1188">
                  <c:v>190.52927604009741</c:v>
                </c:pt>
                <c:pt idx="1189">
                  <c:v>190.69921324634797</c:v>
                </c:pt>
                <c:pt idx="1190">
                  <c:v>190.08823463016344</c:v>
                </c:pt>
                <c:pt idx="1191">
                  <c:v>189.89429873222895</c:v>
                </c:pt>
                <c:pt idx="1192">
                  <c:v>190.69670337786815</c:v>
                </c:pt>
                <c:pt idx="1193">
                  <c:v>189.13346468553786</c:v>
                </c:pt>
                <c:pt idx="1194">
                  <c:v>189.96209780369381</c:v>
                </c:pt>
                <c:pt idx="1195">
                  <c:v>190.23211467955397</c:v>
                </c:pt>
                <c:pt idx="1196">
                  <c:v>189.96364646209079</c:v>
                </c:pt>
                <c:pt idx="1197">
                  <c:v>189.2294761049412</c:v>
                </c:pt>
                <c:pt idx="1198">
                  <c:v>187.38690950161154</c:v>
                </c:pt>
                <c:pt idx="1199">
                  <c:v>186.48829270428834</c:v>
                </c:pt>
                <c:pt idx="1200">
                  <c:v>185.87913147346976</c:v>
                </c:pt>
                <c:pt idx="1201">
                  <c:v>186.3896267650326</c:v>
                </c:pt>
                <c:pt idx="1202">
                  <c:v>186.48110298795061</c:v>
                </c:pt>
                <c:pt idx="1203">
                  <c:v>185.30985982867762</c:v>
                </c:pt>
                <c:pt idx="1204">
                  <c:v>184.80945371510524</c:v>
                </c:pt>
                <c:pt idx="1205">
                  <c:v>183.44544724953172</c:v>
                </c:pt>
                <c:pt idx="1206">
                  <c:v>183.1277883540447</c:v>
                </c:pt>
                <c:pt idx="1207">
                  <c:v>184.75950291547602</c:v>
                </c:pt>
                <c:pt idx="1208">
                  <c:v>184.02452429792859</c:v>
                </c:pt>
                <c:pt idx="1209">
                  <c:v>185.31228077524693</c:v>
                </c:pt>
                <c:pt idx="1210">
                  <c:v>188.67295758044958</c:v>
                </c:pt>
                <c:pt idx="1211">
                  <c:v>189.41895433755482</c:v>
                </c:pt>
                <c:pt idx="1212">
                  <c:v>190.5966805009551</c:v>
                </c:pt>
                <c:pt idx="1213">
                  <c:v>190.5966805009551</c:v>
                </c:pt>
                <c:pt idx="1214">
                  <c:v>190.5966805009551</c:v>
                </c:pt>
                <c:pt idx="1215">
                  <c:v>190.5966805009551</c:v>
                </c:pt>
                <c:pt idx="1216">
                  <c:v>193.10742283880953</c:v>
                </c:pt>
                <c:pt idx="1217">
                  <c:v>192.84532841304082</c:v>
                </c:pt>
                <c:pt idx="1218">
                  <c:v>193.77049385106807</c:v>
                </c:pt>
                <c:pt idx="1219">
                  <c:v>193.77049385106807</c:v>
                </c:pt>
                <c:pt idx="1220">
                  <c:v>192.4569094226425</c:v>
                </c:pt>
                <c:pt idx="1221">
                  <c:v>193.97856420398099</c:v>
                </c:pt>
                <c:pt idx="1222">
                  <c:v>193.28773007099903</c:v>
                </c:pt>
                <c:pt idx="1223">
                  <c:v>193.51542756511694</c:v>
                </c:pt>
                <c:pt idx="1224">
                  <c:v>193.55992951343842</c:v>
                </c:pt>
                <c:pt idx="1225">
                  <c:v>193.00156141329626</c:v>
                </c:pt>
                <c:pt idx="1226">
                  <c:v>193.81298760885593</c:v>
                </c:pt>
                <c:pt idx="1227">
                  <c:v>193.57050506201608</c:v>
                </c:pt>
                <c:pt idx="1228">
                  <c:v>194.2062370013472</c:v>
                </c:pt>
                <c:pt idx="1229">
                  <c:v>195.09340281785984</c:v>
                </c:pt>
                <c:pt idx="1230">
                  <c:v>194.33683667161444</c:v>
                </c:pt>
                <c:pt idx="1231">
                  <c:v>195.13668542091929</c:v>
                </c:pt>
                <c:pt idx="1232">
                  <c:v>195.55585917573336</c:v>
                </c:pt>
                <c:pt idx="1233">
                  <c:v>196.8490898842098</c:v>
                </c:pt>
                <c:pt idx="1234">
                  <c:v>197.73750670385496</c:v>
                </c:pt>
                <c:pt idx="1235">
                  <c:v>196.05819024367298</c:v>
                </c:pt>
                <c:pt idx="1236">
                  <c:v>192.14341085681471</c:v>
                </c:pt>
                <c:pt idx="1237">
                  <c:v>190.3023705256137</c:v>
                </c:pt>
                <c:pt idx="1238">
                  <c:v>190.70912403497425</c:v>
                </c:pt>
                <c:pt idx="1239">
                  <c:v>189.74227022105057</c:v>
                </c:pt>
                <c:pt idx="1240">
                  <c:v>189.981725471218</c:v>
                </c:pt>
                <c:pt idx="1241">
                  <c:v>189.63503056872599</c:v>
                </c:pt>
                <c:pt idx="1242">
                  <c:v>188.36801979724675</c:v>
                </c:pt>
                <c:pt idx="1243">
                  <c:v>187.25931097793995</c:v>
                </c:pt>
                <c:pt idx="1244">
                  <c:v>187.3452745096771</c:v>
                </c:pt>
                <c:pt idx="1245">
                  <c:v>189.2420088251026</c:v>
                </c:pt>
                <c:pt idx="1246">
                  <c:v>190.59099812058511</c:v>
                </c:pt>
                <c:pt idx="1247">
                  <c:v>190.64980497236567</c:v>
                </c:pt>
                <c:pt idx="1248">
                  <c:v>192.73736367121006</c:v>
                </c:pt>
                <c:pt idx="1249">
                  <c:v>193.9256060965337</c:v>
                </c:pt>
                <c:pt idx="1250">
                  <c:v>194.12042760846606</c:v>
                </c:pt>
                <c:pt idx="1251">
                  <c:v>195.28947576947232</c:v>
                </c:pt>
                <c:pt idx="1252">
                  <c:v>195.98710100821219</c:v>
                </c:pt>
                <c:pt idx="1253">
                  <c:v>196.21505236110158</c:v>
                </c:pt>
                <c:pt idx="1254">
                  <c:v>196.65614561643969</c:v>
                </c:pt>
                <c:pt idx="1255">
                  <c:v>197.02386021536918</c:v>
                </c:pt>
                <c:pt idx="1256">
                  <c:v>197.52579059598389</c:v>
                </c:pt>
                <c:pt idx="1257">
                  <c:v>199.04249479300222</c:v>
                </c:pt>
                <c:pt idx="1258">
                  <c:v>199.42620859236209</c:v>
                </c:pt>
                <c:pt idx="1259">
                  <c:v>199.02164764896736</c:v>
                </c:pt>
                <c:pt idx="1260">
                  <c:v>198.42014141118904</c:v>
                </c:pt>
                <c:pt idx="1261">
                  <c:v>198.31455403186692</c:v>
                </c:pt>
                <c:pt idx="1262">
                  <c:v>194.74284973190603</c:v>
                </c:pt>
                <c:pt idx="1263">
                  <c:v>198.55928690140209</c:v>
                </c:pt>
                <c:pt idx="1264">
                  <c:v>198.37253236609723</c:v>
                </c:pt>
                <c:pt idx="1265">
                  <c:v>197.85944336474412</c:v>
                </c:pt>
                <c:pt idx="1266">
                  <c:v>196.14239259356881</c:v>
                </c:pt>
                <c:pt idx="1267">
                  <c:v>195.360078901956</c:v>
                </c:pt>
                <c:pt idx="1268">
                  <c:v>195.57639249921766</c:v>
                </c:pt>
                <c:pt idx="1269">
                  <c:v>193.58382565910532</c:v>
                </c:pt>
                <c:pt idx="1270">
                  <c:v>192.17774092280254</c:v>
                </c:pt>
                <c:pt idx="1271">
                  <c:v>191.35830000851706</c:v>
                </c:pt>
                <c:pt idx="1272">
                  <c:v>192.66953616209304</c:v>
                </c:pt>
                <c:pt idx="1273">
                  <c:v>193.49278626563571</c:v>
                </c:pt>
                <c:pt idx="1274">
                  <c:v>193.74310832710856</c:v>
                </c:pt>
                <c:pt idx="1275">
                  <c:v>193.83363158969621</c:v>
                </c:pt>
                <c:pt idx="1276">
                  <c:v>194.26656246006894</c:v>
                </c:pt>
                <c:pt idx="1277">
                  <c:v>192.46805652751726</c:v>
                </c:pt>
                <c:pt idx="1278">
                  <c:v>194.5740360571281</c:v>
                </c:pt>
                <c:pt idx="1279">
                  <c:v>195.90331881994334</c:v>
                </c:pt>
                <c:pt idx="1280">
                  <c:v>195.95648240801447</c:v>
                </c:pt>
                <c:pt idx="1281">
                  <c:v>197.53337071076186</c:v>
                </c:pt>
                <c:pt idx="1282">
                  <c:v>197.14015054058115</c:v>
                </c:pt>
                <c:pt idx="1283">
                  <c:v>197.258438191876</c:v>
                </c:pt>
                <c:pt idx="1284">
                  <c:v>197.11528049320574</c:v>
                </c:pt>
                <c:pt idx="1285">
                  <c:v>197.0606967297592</c:v>
                </c:pt>
                <c:pt idx="1286">
                  <c:v>198.25791791403202</c:v>
                </c:pt>
                <c:pt idx="1287">
                  <c:v>196.29481468499276</c:v>
                </c:pt>
                <c:pt idx="1288">
                  <c:v>195.31486215411701</c:v>
                </c:pt>
                <c:pt idx="1289">
                  <c:v>196.17063630307069</c:v>
                </c:pt>
                <c:pt idx="1290">
                  <c:v>195.5033750107867</c:v>
                </c:pt>
                <c:pt idx="1291">
                  <c:v>192.96289258674409</c:v>
                </c:pt>
                <c:pt idx="1292">
                  <c:v>194.36472129253067</c:v>
                </c:pt>
                <c:pt idx="1293">
                  <c:v>193.3130743543401</c:v>
                </c:pt>
                <c:pt idx="1294">
                  <c:v>195.48299536347497</c:v>
                </c:pt>
                <c:pt idx="1295">
                  <c:v>196.28020480858166</c:v>
                </c:pt>
                <c:pt idx="1296">
                  <c:v>196.28020480858166</c:v>
                </c:pt>
                <c:pt idx="1297">
                  <c:v>196.28020480858166</c:v>
                </c:pt>
                <c:pt idx="1298">
                  <c:v>198.80125758184175</c:v>
                </c:pt>
                <c:pt idx="1299">
                  <c:v>197.97688115951482</c:v>
                </c:pt>
                <c:pt idx="1300">
                  <c:v>198.36636881222171</c:v>
                </c:pt>
                <c:pt idx="1301">
                  <c:v>197.56442936987725</c:v>
                </c:pt>
                <c:pt idx="1302">
                  <c:v>197.67607774999283</c:v>
                </c:pt>
                <c:pt idx="1303">
                  <c:v>199.53498238322504</c:v>
                </c:pt>
                <c:pt idx="1304">
                  <c:v>199.66407446835731</c:v>
                </c:pt>
                <c:pt idx="1305">
                  <c:v>199.66407446835731</c:v>
                </c:pt>
                <c:pt idx="1306">
                  <c:v>199.45134801945224</c:v>
                </c:pt>
                <c:pt idx="1307">
                  <c:v>199.3538115665192</c:v>
                </c:pt>
                <c:pt idx="1308">
                  <c:v>198.91155222903342</c:v>
                </c:pt>
                <c:pt idx="1309">
                  <c:v>199.20619440874009</c:v>
                </c:pt>
                <c:pt idx="1310">
                  <c:v>200.49195998936412</c:v>
                </c:pt>
                <c:pt idx="1311">
                  <c:v>200.61361950174046</c:v>
                </c:pt>
                <c:pt idx="1312">
                  <c:v>201.69212164982687</c:v>
                </c:pt>
                <c:pt idx="1313">
                  <c:v>202.26883803946637</c:v>
                </c:pt>
                <c:pt idx="1314">
                  <c:v>202.34995728067088</c:v>
                </c:pt>
                <c:pt idx="1315">
                  <c:v>201.27211318247919</c:v>
                </c:pt>
                <c:pt idx="1316">
                  <c:v>201.804952045145</c:v>
                </c:pt>
                <c:pt idx="1317">
                  <c:v>202.3912172893227</c:v>
                </c:pt>
                <c:pt idx="1318">
                  <c:v>202.17750223774812</c:v>
                </c:pt>
                <c:pt idx="1319">
                  <c:v>203.15814513662187</c:v>
                </c:pt>
                <c:pt idx="1320">
                  <c:v>203.37818417941298</c:v>
                </c:pt>
                <c:pt idx="1321">
                  <c:v>203.53119471744878</c:v>
                </c:pt>
                <c:pt idx="1322">
                  <c:v>204.37093420697531</c:v>
                </c:pt>
                <c:pt idx="1323">
                  <c:v>204.83145689201768</c:v>
                </c:pt>
                <c:pt idx="1324">
                  <c:v>204.76635429770536</c:v>
                </c:pt>
                <c:pt idx="1325">
                  <c:v>204.76635429770536</c:v>
                </c:pt>
                <c:pt idx="1326">
                  <c:v>205.12110850721049</c:v>
                </c:pt>
                <c:pt idx="1327">
                  <c:v>205.75582948287371</c:v>
                </c:pt>
                <c:pt idx="1328">
                  <c:v>204.8079155687366</c:v>
                </c:pt>
                <c:pt idx="1329">
                  <c:v>204.98317421706071</c:v>
                </c:pt>
                <c:pt idx="1330">
                  <c:v>205.47799059122119</c:v>
                </c:pt>
                <c:pt idx="1331">
                  <c:v>206.17268451974158</c:v>
                </c:pt>
                <c:pt idx="1332">
                  <c:v>206.17268451974158</c:v>
                </c:pt>
                <c:pt idx="1333">
                  <c:v>207.6403757433045</c:v>
                </c:pt>
                <c:pt idx="1334">
                  <c:v>206.96062514809327</c:v>
                </c:pt>
                <c:pt idx="1335">
                  <c:v>207.18512651776672</c:v>
                </c:pt>
                <c:pt idx="1336">
                  <c:v>207.13385797152753</c:v>
                </c:pt>
                <c:pt idx="1337">
                  <c:v>206.42951527447511</c:v>
                </c:pt>
                <c:pt idx="1338">
                  <c:v>207.33605187713457</c:v>
                </c:pt>
                <c:pt idx="1339">
                  <c:v>207.03569788019101</c:v>
                </c:pt>
                <c:pt idx="1340">
                  <c:v>208.34317808452124</c:v>
                </c:pt>
                <c:pt idx="1341">
                  <c:v>209.46255691774866</c:v>
                </c:pt>
                <c:pt idx="1342">
                  <c:v>209.46255691774866</c:v>
                </c:pt>
                <c:pt idx="1343">
                  <c:v>208.00243319913082</c:v>
                </c:pt>
                <c:pt idx="1344">
                  <c:v>206.11110398911489</c:v>
                </c:pt>
                <c:pt idx="1345">
                  <c:v>206.48407242190638</c:v>
                </c:pt>
                <c:pt idx="1346">
                  <c:v>206.59432019726731</c:v>
                </c:pt>
                <c:pt idx="1347">
                  <c:v>206.8467252331555</c:v>
                </c:pt>
                <c:pt idx="1348">
                  <c:v>208.08385526872053</c:v>
                </c:pt>
                <c:pt idx="1349">
                  <c:v>208.42397351028654</c:v>
                </c:pt>
                <c:pt idx="1350">
                  <c:v>210.44734361889687</c:v>
                </c:pt>
                <c:pt idx="1351">
                  <c:v>210.47097399834794</c:v>
                </c:pt>
                <c:pt idx="1352">
                  <c:v>208.895930512815</c:v>
                </c:pt>
                <c:pt idx="1353">
                  <c:v>206.78692078867041</c:v>
                </c:pt>
                <c:pt idx="1354">
                  <c:v>206.50673521068393</c:v>
                </c:pt>
                <c:pt idx="1355">
                  <c:v>204.74733259565755</c:v>
                </c:pt>
                <c:pt idx="1356">
                  <c:v>205.24681302378568</c:v>
                </c:pt>
                <c:pt idx="1357">
                  <c:v>206.61273056181562</c:v>
                </c:pt>
                <c:pt idx="1358">
                  <c:v>205.43290654739067</c:v>
                </c:pt>
                <c:pt idx="1359">
                  <c:v>207.25994438433622</c:v>
                </c:pt>
                <c:pt idx="1360">
                  <c:v>205.88432571708387</c:v>
                </c:pt>
                <c:pt idx="1361">
                  <c:v>205.60135891301644</c:v>
                </c:pt>
                <c:pt idx="1362">
                  <c:v>204.6930465159904</c:v>
                </c:pt>
                <c:pt idx="1363">
                  <c:v>206.77825289062764</c:v>
                </c:pt>
                <c:pt idx="1364">
                  <c:v>207.1613097191352</c:v>
                </c:pt>
                <c:pt idx="1365">
                  <c:v>207.90495195886663</c:v>
                </c:pt>
                <c:pt idx="1366">
                  <c:v>205.98549078107524</c:v>
                </c:pt>
                <c:pt idx="1367">
                  <c:v>205.96091004082712</c:v>
                </c:pt>
                <c:pt idx="1368">
                  <c:v>206.59117969965638</c:v>
                </c:pt>
                <c:pt idx="1369">
                  <c:v>205.43873164534682</c:v>
                </c:pt>
                <c:pt idx="1370">
                  <c:v>203.67944358019648</c:v>
                </c:pt>
                <c:pt idx="1371">
                  <c:v>201.38935027654813</c:v>
                </c:pt>
                <c:pt idx="1372">
                  <c:v>200.70844751458884</c:v>
                </c:pt>
                <c:pt idx="1373">
                  <c:v>201.83848750116448</c:v>
                </c:pt>
                <c:pt idx="1374">
                  <c:v>200.52309514946543</c:v>
                </c:pt>
                <c:pt idx="1375">
                  <c:v>199.59293923581097</c:v>
                </c:pt>
                <c:pt idx="1376">
                  <c:v>197.94779930931972</c:v>
                </c:pt>
                <c:pt idx="1377">
                  <c:v>200.50433994637294</c:v>
                </c:pt>
                <c:pt idx="1378">
                  <c:v>199.96690310842712</c:v>
                </c:pt>
                <c:pt idx="1379">
                  <c:v>200.80811232975182</c:v>
                </c:pt>
                <c:pt idx="1380">
                  <c:v>201.70493718544327</c:v>
                </c:pt>
                <c:pt idx="1381">
                  <c:v>201.70493718544327</c:v>
                </c:pt>
                <c:pt idx="1382">
                  <c:v>203.17976419485976</c:v>
                </c:pt>
                <c:pt idx="1383">
                  <c:v>204.58317050047782</c:v>
                </c:pt>
                <c:pt idx="1384">
                  <c:v>204.1474360999365</c:v>
                </c:pt>
                <c:pt idx="1385">
                  <c:v>205.26508070407874</c:v>
                </c:pt>
                <c:pt idx="1386">
                  <c:v>204.78330642845722</c:v>
                </c:pt>
                <c:pt idx="1387">
                  <c:v>207.05412360792309</c:v>
                </c:pt>
                <c:pt idx="1388">
                  <c:v>208.20834956912822</c:v>
                </c:pt>
                <c:pt idx="1389">
                  <c:v>208.16343327144136</c:v>
                </c:pt>
                <c:pt idx="1390">
                  <c:v>207.17199285224112</c:v>
                </c:pt>
                <c:pt idx="1391">
                  <c:v>207.62816444906625</c:v>
                </c:pt>
                <c:pt idx="1392">
                  <c:v>208.43640237761124</c:v>
                </c:pt>
                <c:pt idx="1393">
                  <c:v>208.31973642903881</c:v>
                </c:pt>
                <c:pt idx="1394">
                  <c:v>209.27287341985053</c:v>
                </c:pt>
                <c:pt idx="1395">
                  <c:v>210.86536964113907</c:v>
                </c:pt>
                <c:pt idx="1396">
                  <c:v>210.29146217599916</c:v>
                </c:pt>
                <c:pt idx="1397">
                  <c:v>209.66306549891343</c:v>
                </c:pt>
                <c:pt idx="1398">
                  <c:v>209.28722174759278</c:v>
                </c:pt>
                <c:pt idx="1399">
                  <c:v>209.15662975641897</c:v>
                </c:pt>
                <c:pt idx="1400">
                  <c:v>208.9199973231608</c:v>
                </c:pt>
                <c:pt idx="1401">
                  <c:v>208.87936286118207</c:v>
                </c:pt>
                <c:pt idx="1402">
                  <c:v>209.07665172886607</c:v>
                </c:pt>
                <c:pt idx="1403">
                  <c:v>208.51542675449116</c:v>
                </c:pt>
                <c:pt idx="1404">
                  <c:v>209.0371565151525</c:v>
                </c:pt>
                <c:pt idx="1405">
                  <c:v>211.20001351177442</c:v>
                </c:pt>
                <c:pt idx="1406">
                  <c:v>211.3479582208833</c:v>
                </c:pt>
                <c:pt idx="1407">
                  <c:v>211.13618902669126</c:v>
                </c:pt>
                <c:pt idx="1408">
                  <c:v>208.24906385227374</c:v>
                </c:pt>
                <c:pt idx="1409">
                  <c:v>209.19083505701082</c:v>
                </c:pt>
                <c:pt idx="1410">
                  <c:v>207.23243103438298</c:v>
                </c:pt>
                <c:pt idx="1411">
                  <c:v>207.65301975965983</c:v>
                </c:pt>
                <c:pt idx="1412">
                  <c:v>207.55455761217848</c:v>
                </c:pt>
                <c:pt idx="1413">
                  <c:v>208.61219435170298</c:v>
                </c:pt>
                <c:pt idx="1414">
                  <c:v>207.32963578480513</c:v>
                </c:pt>
                <c:pt idx="1415">
                  <c:v>203.05633011293475</c:v>
                </c:pt>
                <c:pt idx="1416">
                  <c:v>204.34323018334285</c:v>
                </c:pt>
                <c:pt idx="1417">
                  <c:v>204.5810419304436</c:v>
                </c:pt>
                <c:pt idx="1418">
                  <c:v>201.61465535603554</c:v>
                </c:pt>
                <c:pt idx="1419">
                  <c:v>200.34248014326619</c:v>
                </c:pt>
                <c:pt idx="1420">
                  <c:v>199.8483086323744</c:v>
                </c:pt>
                <c:pt idx="1421">
                  <c:v>197.29103631770099</c:v>
                </c:pt>
                <c:pt idx="1422">
                  <c:v>196.68064919528811</c:v>
                </c:pt>
                <c:pt idx="1423">
                  <c:v>196.55505501102806</c:v>
                </c:pt>
                <c:pt idx="1424">
                  <c:v>191.65975453129687</c:v>
                </c:pt>
                <c:pt idx="1425">
                  <c:v>191.09458552000845</c:v>
                </c:pt>
                <c:pt idx="1426">
                  <c:v>196.1439368926213</c:v>
                </c:pt>
                <c:pt idx="1427">
                  <c:v>194.65438282733541</c:v>
                </c:pt>
                <c:pt idx="1428">
                  <c:v>198.02766535068309</c:v>
                </c:pt>
                <c:pt idx="1429">
                  <c:v>199.20027093189202</c:v>
                </c:pt>
                <c:pt idx="1430">
                  <c:v>200.33754883892772</c:v>
                </c:pt>
                <c:pt idx="1431">
                  <c:v>199.35758229610661</c:v>
                </c:pt>
                <c:pt idx="1432">
                  <c:v>198.85864010247377</c:v>
                </c:pt>
                <c:pt idx="1433">
                  <c:v>200.53638748614085</c:v>
                </c:pt>
                <c:pt idx="1434">
                  <c:v>201.60307422878597</c:v>
                </c:pt>
                <c:pt idx="1435">
                  <c:v>202.85648968776707</c:v>
                </c:pt>
                <c:pt idx="1436">
                  <c:v>206.02584206965719</c:v>
                </c:pt>
                <c:pt idx="1437">
                  <c:v>204.78521494044321</c:v>
                </c:pt>
                <c:pt idx="1438">
                  <c:v>203.37508398350462</c:v>
                </c:pt>
                <c:pt idx="1439">
                  <c:v>206.58022322073691</c:v>
                </c:pt>
                <c:pt idx="1440">
                  <c:v>207.48101450491922</c:v>
                </c:pt>
                <c:pt idx="1441">
                  <c:v>206.4033091446139</c:v>
                </c:pt>
                <c:pt idx="1442">
                  <c:v>208.11709898733278</c:v>
                </c:pt>
                <c:pt idx="1443">
                  <c:v>209.28076847007532</c:v>
                </c:pt>
                <c:pt idx="1444">
                  <c:v>206.97176974770542</c:v>
                </c:pt>
                <c:pt idx="1445">
                  <c:v>207.90272948638653</c:v>
                </c:pt>
                <c:pt idx="1446">
                  <c:v>207.67431952951236</c:v>
                </c:pt>
                <c:pt idx="1447">
                  <c:v>208.68588666146474</c:v>
                </c:pt>
                <c:pt idx="1448">
                  <c:v>209.92375035177645</c:v>
                </c:pt>
                <c:pt idx="1449">
                  <c:v>209.76829788153731</c:v>
                </c:pt>
                <c:pt idx="1450">
                  <c:v>209.70187038316291</c:v>
                </c:pt>
                <c:pt idx="1451">
                  <c:v>212.92967727622855</c:v>
                </c:pt>
                <c:pt idx="1452">
                  <c:v>213.63705692558815</c:v>
                </c:pt>
                <c:pt idx="1453">
                  <c:v>214.05881857493384</c:v>
                </c:pt>
                <c:pt idx="1454">
                  <c:v>214.30573064035841</c:v>
                </c:pt>
                <c:pt idx="1455">
                  <c:v>215.16507898272388</c:v>
                </c:pt>
                <c:pt idx="1456">
                  <c:v>215.48065006567879</c:v>
                </c:pt>
                <c:pt idx="1457">
                  <c:v>215.05417947958415</c:v>
                </c:pt>
                <c:pt idx="1458">
                  <c:v>215.75611332377892</c:v>
                </c:pt>
                <c:pt idx="1459">
                  <c:v>216.82786906270536</c:v>
                </c:pt>
                <c:pt idx="1460">
                  <c:v>215.19052392115631</c:v>
                </c:pt>
                <c:pt idx="1461">
                  <c:v>218.20734274704617</c:v>
                </c:pt>
                <c:pt idx="1462">
                  <c:v>217.11841520145438</c:v>
                </c:pt>
                <c:pt idx="1463">
                  <c:v>212.24385428179585</c:v>
                </c:pt>
                <c:pt idx="1464">
                  <c:v>211.99981647095302</c:v>
                </c:pt>
                <c:pt idx="1465">
                  <c:v>212.34755563229791</c:v>
                </c:pt>
                <c:pt idx="1466">
                  <c:v>207.1890454820778</c:v>
                </c:pt>
                <c:pt idx="1467">
                  <c:v>203.61548191357369</c:v>
                </c:pt>
                <c:pt idx="1468">
                  <c:v>207.12018736031138</c:v>
                </c:pt>
                <c:pt idx="1469">
                  <c:v>206.94925239074692</c:v>
                </c:pt>
                <c:pt idx="1470">
                  <c:v>212.882260660838</c:v>
                </c:pt>
                <c:pt idx="1471">
                  <c:v>213.91946554289487</c:v>
                </c:pt>
                <c:pt idx="1472">
                  <c:v>215.43304420737036</c:v>
                </c:pt>
                <c:pt idx="1473">
                  <c:v>216.45716069679969</c:v>
                </c:pt>
                <c:pt idx="1474">
                  <c:v>216.45716069679969</c:v>
                </c:pt>
                <c:pt idx="1475">
                  <c:v>216.45716069679969</c:v>
                </c:pt>
                <c:pt idx="1476">
                  <c:v>216.45716069679969</c:v>
                </c:pt>
                <c:pt idx="1477">
                  <c:v>216.93030369322938</c:v>
                </c:pt>
                <c:pt idx="1478">
                  <c:v>215.15504832139229</c:v>
                </c:pt>
                <c:pt idx="1479">
                  <c:v>216.13008419335978</c:v>
                </c:pt>
                <c:pt idx="1480">
                  <c:v>216.13008419335978</c:v>
                </c:pt>
                <c:pt idx="1481">
                  <c:v>214.95911202569715</c:v>
                </c:pt>
                <c:pt idx="1482">
                  <c:v>211.68478062168336</c:v>
                </c:pt>
                <c:pt idx="1483">
                  <c:v>210.15235165614854</c:v>
                </c:pt>
                <c:pt idx="1484">
                  <c:v>211.43558059813103</c:v>
                </c:pt>
                <c:pt idx="1485">
                  <c:v>217.11507173963525</c:v>
                </c:pt>
                <c:pt idx="1486">
                  <c:v>215.42394993645235</c:v>
                </c:pt>
                <c:pt idx="1487">
                  <c:v>217.07743967673898</c:v>
                </c:pt>
                <c:pt idx="1488">
                  <c:v>219.67799010560881</c:v>
                </c:pt>
                <c:pt idx="1489">
                  <c:v>217.42808311975952</c:v>
                </c:pt>
                <c:pt idx="1490">
                  <c:v>224.50233868017028</c:v>
                </c:pt>
                <c:pt idx="1491">
                  <c:v>227.88952619441653</c:v>
                </c:pt>
                <c:pt idx="1492">
                  <c:v>228.35309024563938</c:v>
                </c:pt>
                <c:pt idx="1493">
                  <c:v>229.4880558088816</c:v>
                </c:pt>
                <c:pt idx="1494">
                  <c:v>230.3576498353967</c:v>
                </c:pt>
                <c:pt idx="1495">
                  <c:v>233.96453024931824</c:v>
                </c:pt>
                <c:pt idx="1496">
                  <c:v>239.03268240823257</c:v>
                </c:pt>
                <c:pt idx="1497">
                  <c:v>240.16082139857809</c:v>
                </c:pt>
                <c:pt idx="1498">
                  <c:v>237.72423675765464</c:v>
                </c:pt>
                <c:pt idx="1499">
                  <c:v>238.41874130582053</c:v>
                </c:pt>
                <c:pt idx="1500">
                  <c:v>238.29240860213906</c:v>
                </c:pt>
                <c:pt idx="1501">
                  <c:v>236.9432150659876</c:v>
                </c:pt>
                <c:pt idx="1502">
                  <c:v>236.44373672957849</c:v>
                </c:pt>
                <c:pt idx="1503">
                  <c:v>237.17229149600237</c:v>
                </c:pt>
                <c:pt idx="1504">
                  <c:v>238.50054144141257</c:v>
                </c:pt>
                <c:pt idx="1505">
                  <c:v>239.97746280433344</c:v>
                </c:pt>
                <c:pt idx="1506">
                  <c:v>240.0322757389238</c:v>
                </c:pt>
                <c:pt idx="1507">
                  <c:v>237.95114712552117</c:v>
                </c:pt>
                <c:pt idx="1508">
                  <c:v>240.2194126812395</c:v>
                </c:pt>
                <c:pt idx="1509">
                  <c:v>240.28076365725863</c:v>
                </c:pt>
                <c:pt idx="1510">
                  <c:v>241.31711334231917</c:v>
                </c:pt>
                <c:pt idx="1511">
                  <c:v>241.51413742660105</c:v>
                </c:pt>
                <c:pt idx="1512">
                  <c:v>240.81848708985382</c:v>
                </c:pt>
                <c:pt idx="1513">
                  <c:v>241.03244122636016</c:v>
                </c:pt>
                <c:pt idx="1514">
                  <c:v>242.76563482473091</c:v>
                </c:pt>
                <c:pt idx="1515">
                  <c:v>244.3788715594149</c:v>
                </c:pt>
                <c:pt idx="1516">
                  <c:v>244.67945332477291</c:v>
                </c:pt>
                <c:pt idx="1517">
                  <c:v>247.18229924645607</c:v>
                </c:pt>
                <c:pt idx="1518">
                  <c:v>248.22033902012296</c:v>
                </c:pt>
                <c:pt idx="1519">
                  <c:v>247.83982659523707</c:v>
                </c:pt>
                <c:pt idx="1520">
                  <c:v>250.37765754532705</c:v>
                </c:pt>
                <c:pt idx="1521">
                  <c:v>251.67894018362321</c:v>
                </c:pt>
                <c:pt idx="1522">
                  <c:v>251.26096378275952</c:v>
                </c:pt>
                <c:pt idx="1523">
                  <c:v>249.45198160780606</c:v>
                </c:pt>
                <c:pt idx="1524">
                  <c:v>251.64580046670216</c:v>
                </c:pt>
                <c:pt idx="1525">
                  <c:v>253.96889200037634</c:v>
                </c:pt>
                <c:pt idx="1526">
                  <c:v>254.37680549231493</c:v>
                </c:pt>
                <c:pt idx="1527">
                  <c:v>253.73278983262196</c:v>
                </c:pt>
                <c:pt idx="1528">
                  <c:v>252.34616193050107</c:v>
                </c:pt>
                <c:pt idx="1529">
                  <c:v>256.59617456534937</c:v>
                </c:pt>
                <c:pt idx="1530">
                  <c:v>257.00769143513639</c:v>
                </c:pt>
                <c:pt idx="1531">
                  <c:v>258.42220790739447</c:v>
                </c:pt>
                <c:pt idx="1532">
                  <c:v>260.8966045340743</c:v>
                </c:pt>
                <c:pt idx="1533">
                  <c:v>258.83232925089095</c:v>
                </c:pt>
                <c:pt idx="1534">
                  <c:v>260.09674449642699</c:v>
                </c:pt>
                <c:pt idx="1535">
                  <c:v>261.23358515280972</c:v>
                </c:pt>
                <c:pt idx="1536">
                  <c:v>262.33541230884157</c:v>
                </c:pt>
                <c:pt idx="1537">
                  <c:v>260.63805521856926</c:v>
                </c:pt>
                <c:pt idx="1538">
                  <c:v>261.30784872488761</c:v>
                </c:pt>
                <c:pt idx="1539">
                  <c:v>257.77246825210727</c:v>
                </c:pt>
                <c:pt idx="1540">
                  <c:v>255.83204320421225</c:v>
                </c:pt>
                <c:pt idx="1541">
                  <c:v>256.83301053136887</c:v>
                </c:pt>
                <c:pt idx="1542">
                  <c:v>259.41768992480195</c:v>
                </c:pt>
                <c:pt idx="1543">
                  <c:v>258.04816096245634</c:v>
                </c:pt>
                <c:pt idx="1544">
                  <c:v>258.70196724984726</c:v>
                </c:pt>
                <c:pt idx="1545">
                  <c:v>258.39113361104722</c:v>
                </c:pt>
                <c:pt idx="1546">
                  <c:v>258.39113361104722</c:v>
                </c:pt>
                <c:pt idx="1547">
                  <c:v>258.39113361104722</c:v>
                </c:pt>
                <c:pt idx="1548">
                  <c:v>262.65644094629016</c:v>
                </c:pt>
                <c:pt idx="1549">
                  <c:v>262.98069232709747</c:v>
                </c:pt>
                <c:pt idx="1550">
                  <c:v>265.75897049146818</c:v>
                </c:pt>
                <c:pt idx="1551">
                  <c:v>268.68220666917296</c:v>
                </c:pt>
                <c:pt idx="1552">
                  <c:v>268.95008365590064</c:v>
                </c:pt>
                <c:pt idx="1553">
                  <c:v>267.99281254137225</c:v>
                </c:pt>
                <c:pt idx="1554">
                  <c:v>269.19312156284263</c:v>
                </c:pt>
                <c:pt idx="1555">
                  <c:v>267.76829773101366</c:v>
                </c:pt>
                <c:pt idx="1556">
                  <c:v>263.47950978896517</c:v>
                </c:pt>
                <c:pt idx="1557">
                  <c:v>265.58234346126898</c:v>
                </c:pt>
                <c:pt idx="1558">
                  <c:v>268.15603005912772</c:v>
                </c:pt>
                <c:pt idx="1559">
                  <c:v>268.107532973579</c:v>
                </c:pt>
                <c:pt idx="1560">
                  <c:v>266.47911240511581</c:v>
                </c:pt>
                <c:pt idx="1561">
                  <c:v>266.83399607837526</c:v>
                </c:pt>
                <c:pt idx="1562">
                  <c:v>269.29550361258691</c:v>
                </c:pt>
                <c:pt idx="1563">
                  <c:v>264.87982566471135</c:v>
                </c:pt>
                <c:pt idx="1564">
                  <c:v>258.78966434782279</c:v>
                </c:pt>
                <c:pt idx="1565">
                  <c:v>258.17615945302418</c:v>
                </c:pt>
                <c:pt idx="1566">
                  <c:v>258.17615945302418</c:v>
                </c:pt>
                <c:pt idx="1567">
                  <c:v>258.6997344354516</c:v>
                </c:pt>
                <c:pt idx="1568">
                  <c:v>254.72492412827447</c:v>
                </c:pt>
                <c:pt idx="1569">
                  <c:v>253.55043252110653</c:v>
                </c:pt>
                <c:pt idx="1570">
                  <c:v>254.19313599483692</c:v>
                </c:pt>
                <c:pt idx="1571">
                  <c:v>261.71484398182605</c:v>
                </c:pt>
                <c:pt idx="1572">
                  <c:v>263.1827538566049</c:v>
                </c:pt>
                <c:pt idx="1573">
                  <c:v>259.94081058701624</c:v>
                </c:pt>
                <c:pt idx="1574">
                  <c:v>259.21695056694671</c:v>
                </c:pt>
                <c:pt idx="1575">
                  <c:v>259.21695056694671</c:v>
                </c:pt>
                <c:pt idx="1576">
                  <c:v>260.53937455968861</c:v>
                </c:pt>
                <c:pt idx="1577">
                  <c:v>262.33124879752381</c:v>
                </c:pt>
                <c:pt idx="1578">
                  <c:v>267.03218009679432</c:v>
                </c:pt>
                <c:pt idx="1579">
                  <c:v>267.61145795203657</c:v>
                </c:pt>
                <c:pt idx="1580">
                  <c:v>268.74238439368628</c:v>
                </c:pt>
                <c:pt idx="1581">
                  <c:v>268.25250757771175</c:v>
                </c:pt>
                <c:pt idx="1582">
                  <c:v>268.25250757771175</c:v>
                </c:pt>
                <c:pt idx="1583">
                  <c:v>266.62713056302181</c:v>
                </c:pt>
                <c:pt idx="1584">
                  <c:v>269.7821038477033</c:v>
                </c:pt>
                <c:pt idx="1585">
                  <c:v>268.59088509983928</c:v>
                </c:pt>
                <c:pt idx="1586">
                  <c:v>264.05355881609512</c:v>
                </c:pt>
                <c:pt idx="1587">
                  <c:v>264.72145445687579</c:v>
                </c:pt>
                <c:pt idx="1588">
                  <c:v>261.22259712932549</c:v>
                </c:pt>
                <c:pt idx="1589">
                  <c:v>260.95874320006584</c:v>
                </c:pt>
                <c:pt idx="1590">
                  <c:v>259.03246686164067</c:v>
                </c:pt>
                <c:pt idx="1591">
                  <c:v>256.66259628749003</c:v>
                </c:pt>
                <c:pt idx="1592">
                  <c:v>254.64792723972985</c:v>
                </c:pt>
                <c:pt idx="1593">
                  <c:v>253.84332336069809</c:v>
                </c:pt>
                <c:pt idx="1594">
                  <c:v>257.85896172931132</c:v>
                </c:pt>
                <c:pt idx="1595">
                  <c:v>259.45308197868053</c:v>
                </c:pt>
                <c:pt idx="1596">
                  <c:v>257.39594542116595</c:v>
                </c:pt>
                <c:pt idx="1597">
                  <c:v>253.7336300732442</c:v>
                </c:pt>
                <c:pt idx="1598">
                  <c:v>255.7212477725765</c:v>
                </c:pt>
                <c:pt idx="1599">
                  <c:v>254.58944066671231</c:v>
                </c:pt>
                <c:pt idx="1600">
                  <c:v>255.10335630572101</c:v>
                </c:pt>
                <c:pt idx="1601">
                  <c:v>256.00794464871996</c:v>
                </c:pt>
                <c:pt idx="1602">
                  <c:v>260.62067821547726</c:v>
                </c:pt>
                <c:pt idx="1603">
                  <c:v>260.62067821547726</c:v>
                </c:pt>
                <c:pt idx="1604">
                  <c:v>262.32787770495685</c:v>
                </c:pt>
                <c:pt idx="1605">
                  <c:v>261.83458283220887</c:v>
                </c:pt>
                <c:pt idx="1606">
                  <c:v>262.11391978273014</c:v>
                </c:pt>
                <c:pt idx="1607">
                  <c:v>256.66029581355599</c:v>
                </c:pt>
                <c:pt idx="1608">
                  <c:v>253.16889292744668</c:v>
                </c:pt>
                <c:pt idx="1609">
                  <c:v>256.97534023808703</c:v>
                </c:pt>
                <c:pt idx="1610">
                  <c:v>255.63711096197412</c:v>
                </c:pt>
                <c:pt idx="1611">
                  <c:v>254.35666689627942</c:v>
                </c:pt>
                <c:pt idx="1612">
                  <c:v>252.51035510946514</c:v>
                </c:pt>
                <c:pt idx="1613">
                  <c:v>249.62343967322425</c:v>
                </c:pt>
                <c:pt idx="1614">
                  <c:v>249.43600418164101</c:v>
                </c:pt>
                <c:pt idx="1615">
                  <c:v>254.66636421771545</c:v>
                </c:pt>
                <c:pt idx="1616">
                  <c:v>259.74519553448897</c:v>
                </c:pt>
                <c:pt idx="1617">
                  <c:v>264.87839836062273</c:v>
                </c:pt>
                <c:pt idx="1618">
                  <c:v>266.26482238941247</c:v>
                </c:pt>
                <c:pt idx="1619">
                  <c:v>267.66521536045758</c:v>
                </c:pt>
                <c:pt idx="1620">
                  <c:v>271.06512991494321</c:v>
                </c:pt>
                <c:pt idx="1621">
                  <c:v>271.53275382181852</c:v>
                </c:pt>
                <c:pt idx="1622">
                  <c:v>272.1920376055956</c:v>
                </c:pt>
                <c:pt idx="1623">
                  <c:v>269.46749253612603</c:v>
                </c:pt>
                <c:pt idx="1624">
                  <c:v>268.2207423258385</c:v>
                </c:pt>
                <c:pt idx="1625">
                  <c:v>266.55758157573007</c:v>
                </c:pt>
                <c:pt idx="1626">
                  <c:v>265.1102112317709</c:v>
                </c:pt>
                <c:pt idx="1627">
                  <c:v>259.52607503468295</c:v>
                </c:pt>
                <c:pt idx="1628">
                  <c:v>261.68713598540478</c:v>
                </c:pt>
                <c:pt idx="1629">
                  <c:v>264.22804649070002</c:v>
                </c:pt>
                <c:pt idx="1630">
                  <c:v>265.80559003645953</c:v>
                </c:pt>
                <c:pt idx="1631">
                  <c:v>266.27498545135563</c:v>
                </c:pt>
                <c:pt idx="1632">
                  <c:v>269.0876559808184</c:v>
                </c:pt>
                <c:pt idx="1633">
                  <c:v>269.25354359253436</c:v>
                </c:pt>
                <c:pt idx="1634">
                  <c:v>271.76268484901362</c:v>
                </c:pt>
                <c:pt idx="1635">
                  <c:v>269.51168256822353</c:v>
                </c:pt>
                <c:pt idx="1636">
                  <c:v>266.46417342606406</c:v>
                </c:pt>
                <c:pt idx="1637">
                  <c:v>268.43871536895176</c:v>
                </c:pt>
                <c:pt idx="1638">
                  <c:v>264.30646484822768</c:v>
                </c:pt>
                <c:pt idx="1639">
                  <c:v>257.50644108210537</c:v>
                </c:pt>
                <c:pt idx="1640">
                  <c:v>260.45394728176035</c:v>
                </c:pt>
                <c:pt idx="1641">
                  <c:v>260.52458536655348</c:v>
                </c:pt>
                <c:pt idx="1642">
                  <c:v>260.90277477849548</c:v>
                </c:pt>
                <c:pt idx="1643">
                  <c:v>261.94880178018684</c:v>
                </c:pt>
                <c:pt idx="1644">
                  <c:v>257.67261191502888</c:v>
                </c:pt>
                <c:pt idx="1645">
                  <c:v>253.00985065981379</c:v>
                </c:pt>
                <c:pt idx="1646">
                  <c:v>245.56808107856872</c:v>
                </c:pt>
                <c:pt idx="1647">
                  <c:v>234.36147584499949</c:v>
                </c:pt>
                <c:pt idx="1648">
                  <c:v>242.70584864757097</c:v>
                </c:pt>
                <c:pt idx="1649">
                  <c:v>238.97348472230325</c:v>
                </c:pt>
                <c:pt idx="1650">
                  <c:v>245.8192097549329</c:v>
                </c:pt>
                <c:pt idx="1651">
                  <c:v>246.71870634509943</c:v>
                </c:pt>
                <c:pt idx="1652">
                  <c:v>246.45832057202517</c:v>
                </c:pt>
                <c:pt idx="1653">
                  <c:v>240.73621784434602</c:v>
                </c:pt>
                <c:pt idx="1654">
                  <c:v>241.21325155886404</c:v>
                </c:pt>
                <c:pt idx="1655">
                  <c:v>246.56975397759857</c:v>
                </c:pt>
                <c:pt idx="1656">
                  <c:v>241.09617148611551</c:v>
                </c:pt>
                <c:pt idx="1657">
                  <c:v>242.32687024738379</c:v>
                </c:pt>
                <c:pt idx="1658">
                  <c:v>244.49940015292526</c:v>
                </c:pt>
                <c:pt idx="1659">
                  <c:v>247.70085797245628</c:v>
                </c:pt>
                <c:pt idx="1660">
                  <c:v>245.35084007375053</c:v>
                </c:pt>
                <c:pt idx="1661">
                  <c:v>242.61858401503028</c:v>
                </c:pt>
                <c:pt idx="1662">
                  <c:v>241.72306632506113</c:v>
                </c:pt>
                <c:pt idx="1663">
                  <c:v>243.06868034931352</c:v>
                </c:pt>
                <c:pt idx="1664">
                  <c:v>246.85348784191925</c:v>
                </c:pt>
                <c:pt idx="1665">
                  <c:v>246.79483754579564</c:v>
                </c:pt>
                <c:pt idx="1666">
                  <c:v>243.5335799689899</c:v>
                </c:pt>
                <c:pt idx="1667">
                  <c:v>246.17073998354547</c:v>
                </c:pt>
                <c:pt idx="1668">
                  <c:v>239.43780578718386</c:v>
                </c:pt>
                <c:pt idx="1669">
                  <c:v>240.19902781392818</c:v>
                </c:pt>
                <c:pt idx="1670">
                  <c:v>235.68861202561658</c:v>
                </c:pt>
                <c:pt idx="1671">
                  <c:v>242.26379248636567</c:v>
                </c:pt>
                <c:pt idx="1672">
                  <c:v>238.26134014257136</c:v>
                </c:pt>
                <c:pt idx="1673">
                  <c:v>235.52660889016877</c:v>
                </c:pt>
                <c:pt idx="1674">
                  <c:v>241.16157086273921</c:v>
                </c:pt>
                <c:pt idx="1675">
                  <c:v>239.85062743152912</c:v>
                </c:pt>
                <c:pt idx="1676">
                  <c:v>240.12227093169031</c:v>
                </c:pt>
                <c:pt idx="1677">
                  <c:v>246.20057651386804</c:v>
                </c:pt>
                <c:pt idx="1678">
                  <c:v>246.9386056796474</c:v>
                </c:pt>
                <c:pt idx="1679">
                  <c:v>245.8475286162292</c:v>
                </c:pt>
                <c:pt idx="1680">
                  <c:v>246.5444669803725</c:v>
                </c:pt>
                <c:pt idx="1681">
                  <c:v>246.59920635173313</c:v>
                </c:pt>
                <c:pt idx="1682">
                  <c:v>245.97716779328516</c:v>
                </c:pt>
                <c:pt idx="1683">
                  <c:v>244.65192556234271</c:v>
                </c:pt>
                <c:pt idx="1684">
                  <c:v>242.81524967150639</c:v>
                </c:pt>
                <c:pt idx="1685">
                  <c:v>246.64786516119452</c:v>
                </c:pt>
                <c:pt idx="1686">
                  <c:v>247.98374905538219</c:v>
                </c:pt>
                <c:pt idx="1687">
                  <c:v>249.42225632429148</c:v>
                </c:pt>
                <c:pt idx="1688">
                  <c:v>248.62487048573604</c:v>
                </c:pt>
                <c:pt idx="1689">
                  <c:v>248.95981542018851</c:v>
                </c:pt>
                <c:pt idx="1690">
                  <c:v>252.76491477590463</c:v>
                </c:pt>
                <c:pt idx="1691">
                  <c:v>257.98473841550282</c:v>
                </c:pt>
                <c:pt idx="1692">
                  <c:v>256.99968113185997</c:v>
                </c:pt>
                <c:pt idx="1693">
                  <c:v>254.93314301315806</c:v>
                </c:pt>
                <c:pt idx="1694">
                  <c:v>257.90682768125248</c:v>
                </c:pt>
                <c:pt idx="1695">
                  <c:v>258.78845545313987</c:v>
                </c:pt>
                <c:pt idx="1696">
                  <c:v>258.58637123898006</c:v>
                </c:pt>
                <c:pt idx="1697">
                  <c:v>258.9713085008803</c:v>
                </c:pt>
                <c:pt idx="1698">
                  <c:v>259.90679705484996</c:v>
                </c:pt>
                <c:pt idx="1699">
                  <c:v>261.18964756258833</c:v>
                </c:pt>
                <c:pt idx="1700">
                  <c:v>260.92404148986429</c:v>
                </c:pt>
                <c:pt idx="1701">
                  <c:v>260.97876662585838</c:v>
                </c:pt>
                <c:pt idx="1702">
                  <c:v>258.28911516000846</c:v>
                </c:pt>
                <c:pt idx="1703">
                  <c:v>259.0808083550022</c:v>
                </c:pt>
                <c:pt idx="1704">
                  <c:v>262.09275630040804</c:v>
                </c:pt>
                <c:pt idx="1705">
                  <c:v>259.1526386454679</c:v>
                </c:pt>
                <c:pt idx="1706">
                  <c:v>256.90330617169985</c:v>
                </c:pt>
                <c:pt idx="1707">
                  <c:v>258.3632045488672</c:v>
                </c:pt>
                <c:pt idx="1708">
                  <c:v>265.08240636549061</c:v>
                </c:pt>
                <c:pt idx="1709">
                  <c:v>264.01922467371088</c:v>
                </c:pt>
                <c:pt idx="1710">
                  <c:v>266.1536646217159</c:v>
                </c:pt>
                <c:pt idx="1711">
                  <c:v>267.10723404854963</c:v>
                </c:pt>
                <c:pt idx="1712">
                  <c:v>266.51342728841126</c:v>
                </c:pt>
                <c:pt idx="1713">
                  <c:v>262.95962228448889</c:v>
                </c:pt>
                <c:pt idx="1714">
                  <c:v>267.25880344955294</c:v>
                </c:pt>
                <c:pt idx="1715">
                  <c:v>269.4435025220771</c:v>
                </c:pt>
                <c:pt idx="1716">
                  <c:v>269.19604375019554</c:v>
                </c:pt>
                <c:pt idx="1717">
                  <c:v>270.33906586024807</c:v>
                </c:pt>
                <c:pt idx="1718">
                  <c:v>269.37089628703575</c:v>
                </c:pt>
                <c:pt idx="1719">
                  <c:v>270.1764467074654</c:v>
                </c:pt>
                <c:pt idx="1720">
                  <c:v>261.66330277534706</c:v>
                </c:pt>
                <c:pt idx="1721">
                  <c:v>261.08191296367818</c:v>
                </c:pt>
                <c:pt idx="1722">
                  <c:v>263.59841910483811</c:v>
                </c:pt>
                <c:pt idx="1723">
                  <c:v>259.49898787302055</c:v>
                </c:pt>
                <c:pt idx="1724">
                  <c:v>257.31621375863057</c:v>
                </c:pt>
                <c:pt idx="1725">
                  <c:v>256.58507149126177</c:v>
                </c:pt>
                <c:pt idx="1726">
                  <c:v>252.49060609431555</c:v>
                </c:pt>
                <c:pt idx="1727">
                  <c:v>248.6921660817477</c:v>
                </c:pt>
                <c:pt idx="1728">
                  <c:v>255.25248457083828</c:v>
                </c:pt>
                <c:pt idx="1729">
                  <c:v>255.7637345631986</c:v>
                </c:pt>
                <c:pt idx="1730">
                  <c:v>258.74417835421963</c:v>
                </c:pt>
                <c:pt idx="1731">
                  <c:v>255.93195452810528</c:v>
                </c:pt>
                <c:pt idx="1732">
                  <c:v>253.18106220780501</c:v>
                </c:pt>
                <c:pt idx="1733">
                  <c:v>252.3781794250462</c:v>
                </c:pt>
                <c:pt idx="1734">
                  <c:v>258.59224849701229</c:v>
                </c:pt>
                <c:pt idx="1735">
                  <c:v>258.59224849701229</c:v>
                </c:pt>
                <c:pt idx="1736">
                  <c:v>258.59224849701229</c:v>
                </c:pt>
                <c:pt idx="1737">
                  <c:v>257.46761167325269</c:v>
                </c:pt>
                <c:pt idx="1738">
                  <c:v>261.7300072512819</c:v>
                </c:pt>
                <c:pt idx="1739">
                  <c:v>260.80865586480661</c:v>
                </c:pt>
                <c:pt idx="1740">
                  <c:v>259.29607913489315</c:v>
                </c:pt>
                <c:pt idx="1741">
                  <c:v>259.29607913489315</c:v>
                </c:pt>
                <c:pt idx="1742">
                  <c:v>252.64302041839443</c:v>
                </c:pt>
                <c:pt idx="1743">
                  <c:v>254.30014526345772</c:v>
                </c:pt>
                <c:pt idx="1744">
                  <c:v>251.90423224353103</c:v>
                </c:pt>
                <c:pt idx="1745">
                  <c:v>246.83758950766853</c:v>
                </c:pt>
                <c:pt idx="1746">
                  <c:v>243.92909822344362</c:v>
                </c:pt>
                <c:pt idx="1747">
                  <c:v>243.11908428211675</c:v>
                </c:pt>
                <c:pt idx="1748">
                  <c:v>245.98494212916054</c:v>
                </c:pt>
                <c:pt idx="1749">
                  <c:v>246.83857968941271</c:v>
                </c:pt>
                <c:pt idx="1750">
                  <c:v>242.30654839702231</c:v>
                </c:pt>
                <c:pt idx="1751">
                  <c:v>236.67961774613829</c:v>
                </c:pt>
                <c:pt idx="1752">
                  <c:v>236.23856591631602</c:v>
                </c:pt>
                <c:pt idx="1753">
                  <c:v>239.38490639311274</c:v>
                </c:pt>
                <c:pt idx="1754">
                  <c:v>232.80110154569985</c:v>
                </c:pt>
                <c:pt idx="1755">
                  <c:v>236.42442361855541</c:v>
                </c:pt>
                <c:pt idx="1756">
                  <c:v>243.4650575177622</c:v>
                </c:pt>
                <c:pt idx="1757">
                  <c:v>243.43378407874701</c:v>
                </c:pt>
                <c:pt idx="1758">
                  <c:v>244.23409831829468</c:v>
                </c:pt>
                <c:pt idx="1759">
                  <c:v>245.81706649457863</c:v>
                </c:pt>
                <c:pt idx="1760">
                  <c:v>241.87623875049405</c:v>
                </c:pt>
                <c:pt idx="1761">
                  <c:v>247.64211066296517</c:v>
                </c:pt>
                <c:pt idx="1762">
                  <c:v>247.81387338743346</c:v>
                </c:pt>
                <c:pt idx="1763">
                  <c:v>244.38748824984137</c:v>
                </c:pt>
                <c:pt idx="1764">
                  <c:v>240.75976312925187</c:v>
                </c:pt>
                <c:pt idx="1765">
                  <c:v>238.22084554187529</c:v>
                </c:pt>
                <c:pt idx="1766">
                  <c:v>235.41131527440524</c:v>
                </c:pt>
                <c:pt idx="1767">
                  <c:v>227.97359573568423</c:v>
                </c:pt>
                <c:pt idx="1768">
                  <c:v>226.65339024016563</c:v>
                </c:pt>
                <c:pt idx="1769">
                  <c:v>229.49771335755634</c:v>
                </c:pt>
                <c:pt idx="1770">
                  <c:v>222.46238405492832</c:v>
                </c:pt>
                <c:pt idx="1771">
                  <c:v>227.07849807782443</c:v>
                </c:pt>
                <c:pt idx="1772">
                  <c:v>233.79579952673967</c:v>
                </c:pt>
                <c:pt idx="1773">
                  <c:v>233.02235030626514</c:v>
                </c:pt>
                <c:pt idx="1774">
                  <c:v>237.79245616764686</c:v>
                </c:pt>
                <c:pt idx="1775">
                  <c:v>239.43886523337611</c:v>
                </c:pt>
                <c:pt idx="1776">
                  <c:v>238.32371619234235</c:v>
                </c:pt>
                <c:pt idx="1777">
                  <c:v>241.24257134112273</c:v>
                </c:pt>
                <c:pt idx="1778">
                  <c:v>239.34189072702324</c:v>
                </c:pt>
                <c:pt idx="1779">
                  <c:v>235.13297890968255</c:v>
                </c:pt>
                <c:pt idx="1780">
                  <c:v>239.39391016201057</c:v>
                </c:pt>
                <c:pt idx="1781">
                  <c:v>241.74404214503193</c:v>
                </c:pt>
                <c:pt idx="1782">
                  <c:v>243.14036269412856</c:v>
                </c:pt>
                <c:pt idx="1783">
                  <c:v>246.69297647098909</c:v>
                </c:pt>
                <c:pt idx="1784">
                  <c:v>246.19816556372541</c:v>
                </c:pt>
                <c:pt idx="1785">
                  <c:v>244.19270516460486</c:v>
                </c:pt>
                <c:pt idx="1786">
                  <c:v>245.2043986479739</c:v>
                </c:pt>
                <c:pt idx="1787">
                  <c:v>244.52668081586643</c:v>
                </c:pt>
                <c:pt idx="1788">
                  <c:v>243.02713386751998</c:v>
                </c:pt>
                <c:pt idx="1789">
                  <c:v>244.72902770357132</c:v>
                </c:pt>
                <c:pt idx="1790">
                  <c:v>241.02988642607818</c:v>
                </c:pt>
                <c:pt idx="1791">
                  <c:v>246.15785579852098</c:v>
                </c:pt>
                <c:pt idx="1792">
                  <c:v>248.01068385471066</c:v>
                </c:pt>
                <c:pt idx="1793">
                  <c:v>246.48083772940632</c:v>
                </c:pt>
                <c:pt idx="1794">
                  <c:v>246.64808490964379</c:v>
                </c:pt>
                <c:pt idx="1795">
                  <c:v>245.76482862261676</c:v>
                </c:pt>
                <c:pt idx="1796">
                  <c:v>246.35200445559002</c:v>
                </c:pt>
                <c:pt idx="1797">
                  <c:v>246.12018925122575</c:v>
                </c:pt>
                <c:pt idx="1798">
                  <c:v>246.04156862453954</c:v>
                </c:pt>
                <c:pt idx="1799">
                  <c:v>247.10711263426708</c:v>
                </c:pt>
                <c:pt idx="1800">
                  <c:v>244.498816941238</c:v>
                </c:pt>
                <c:pt idx="1801">
                  <c:v>244.498816941238</c:v>
                </c:pt>
                <c:pt idx="1802">
                  <c:v>244.498816941238</c:v>
                </c:pt>
                <c:pt idx="1803">
                  <c:v>246.68898926598152</c:v>
                </c:pt>
                <c:pt idx="1804">
                  <c:v>249.5721724992575</c:v>
                </c:pt>
                <c:pt idx="1805">
                  <c:v>247.26615431509794</c:v>
                </c:pt>
                <c:pt idx="1806">
                  <c:v>245.05522988267666</c:v>
                </c:pt>
                <c:pt idx="1807">
                  <c:v>246.67509882413543</c:v>
                </c:pt>
                <c:pt idx="1808">
                  <c:v>243.121743360366</c:v>
                </c:pt>
                <c:pt idx="1809">
                  <c:v>244.8146079581125</c:v>
                </c:pt>
                <c:pt idx="1810">
                  <c:v>243.71569031531592</c:v>
                </c:pt>
                <c:pt idx="1811">
                  <c:v>244.76742881982614</c:v>
                </c:pt>
                <c:pt idx="1812">
                  <c:v>245.22696089227372</c:v>
                </c:pt>
                <c:pt idx="1813">
                  <c:v>246.25950349648602</c:v>
                </c:pt>
                <c:pt idx="1814">
                  <c:v>250.12667122993918</c:v>
                </c:pt>
                <c:pt idx="1815">
                  <c:v>250.71904388414757</c:v>
                </c:pt>
                <c:pt idx="1816">
                  <c:v>249.77365532543564</c:v>
                </c:pt>
                <c:pt idx="1817">
                  <c:v>250.87268603211723</c:v>
                </c:pt>
                <c:pt idx="1818">
                  <c:v>254.4786362313566</c:v>
                </c:pt>
                <c:pt idx="1819">
                  <c:v>254.20654314760057</c:v>
                </c:pt>
                <c:pt idx="1820">
                  <c:v>252.18667795612606</c:v>
                </c:pt>
                <c:pt idx="1821">
                  <c:v>251.06157425204128</c:v>
                </c:pt>
                <c:pt idx="1822">
                  <c:v>250.9377936169729</c:v>
                </c:pt>
                <c:pt idx="1823">
                  <c:v>250.35555349790837</c:v>
                </c:pt>
                <c:pt idx="1824">
                  <c:v>250.8448108788794</c:v>
                </c:pt>
                <c:pt idx="1825">
                  <c:v>251.02618763728651</c:v>
                </c:pt>
                <c:pt idx="1826">
                  <c:v>246.66493467244791</c:v>
                </c:pt>
                <c:pt idx="1827">
                  <c:v>246.76462060024656</c:v>
                </c:pt>
                <c:pt idx="1828">
                  <c:v>244.82203267372466</c:v>
                </c:pt>
                <c:pt idx="1829">
                  <c:v>242.98400197138096</c:v>
                </c:pt>
                <c:pt idx="1830">
                  <c:v>242.98400197138096</c:v>
                </c:pt>
                <c:pt idx="1831">
                  <c:v>243.12704203698448</c:v>
                </c:pt>
                <c:pt idx="1832">
                  <c:v>245.69212919451218</c:v>
                </c:pt>
                <c:pt idx="1833">
                  <c:v>247.2306331621688</c:v>
                </c:pt>
                <c:pt idx="1834">
                  <c:v>246.10696616128834</c:v>
                </c:pt>
                <c:pt idx="1835">
                  <c:v>245.30602135191529</c:v>
                </c:pt>
                <c:pt idx="1836">
                  <c:v>246.11471102746899</c:v>
                </c:pt>
                <c:pt idx="1837">
                  <c:v>246.11471102746899</c:v>
                </c:pt>
                <c:pt idx="1838">
                  <c:v>245.98164889091788</c:v>
                </c:pt>
                <c:pt idx="1839">
                  <c:v>247.45644002852302</c:v>
                </c:pt>
                <c:pt idx="1840">
                  <c:v>245.17208651314823</c:v>
                </c:pt>
                <c:pt idx="1841">
                  <c:v>247.93014610689812</c:v>
                </c:pt>
                <c:pt idx="1842">
                  <c:v>247.26181776528625</c:v>
                </c:pt>
                <c:pt idx="1843">
                  <c:v>252.28319457866473</c:v>
                </c:pt>
                <c:pt idx="1844">
                  <c:v>254.16705572605505</c:v>
                </c:pt>
                <c:pt idx="1845">
                  <c:v>254.7457410517151</c:v>
                </c:pt>
                <c:pt idx="1846">
                  <c:v>255.53890236423635</c:v>
                </c:pt>
                <c:pt idx="1847">
                  <c:v>256.07652055526444</c:v>
                </c:pt>
                <c:pt idx="1848">
                  <c:v>254.64575551242157</c:v>
                </c:pt>
                <c:pt idx="1849">
                  <c:v>252.97824229286445</c:v>
                </c:pt>
                <c:pt idx="1850">
                  <c:v>253.51976864655668</c:v>
                </c:pt>
                <c:pt idx="1851">
                  <c:v>251.60799214018863</c:v>
                </c:pt>
                <c:pt idx="1852">
                  <c:v>251.87590099214808</c:v>
                </c:pt>
                <c:pt idx="1853">
                  <c:v>254.32575292757753</c:v>
                </c:pt>
                <c:pt idx="1854">
                  <c:v>252.89080687372731</c:v>
                </c:pt>
                <c:pt idx="1855">
                  <c:v>251.22116865287006</c:v>
                </c:pt>
                <c:pt idx="1856">
                  <c:v>245.49742429813594</c:v>
                </c:pt>
                <c:pt idx="1857">
                  <c:v>241.27414016126099</c:v>
                </c:pt>
                <c:pt idx="1858">
                  <c:v>237.40921910893826</c:v>
                </c:pt>
                <c:pt idx="1859">
                  <c:v>239.26576555604191</c:v>
                </c:pt>
                <c:pt idx="1860">
                  <c:v>237.62826176495088</c:v>
                </c:pt>
                <c:pt idx="1861">
                  <c:v>239.35810801258839</c:v>
                </c:pt>
                <c:pt idx="1862">
                  <c:v>247.62834509315473</c:v>
                </c:pt>
                <c:pt idx="1863">
                  <c:v>249.12860540694544</c:v>
                </c:pt>
                <c:pt idx="1864">
                  <c:v>249.97145421607991</c:v>
                </c:pt>
                <c:pt idx="1865">
                  <c:v>249.97145421607991</c:v>
                </c:pt>
                <c:pt idx="1866">
                  <c:v>238.4999610452389</c:v>
                </c:pt>
                <c:pt idx="1867">
                  <c:v>230.18644229708011</c:v>
                </c:pt>
                <c:pt idx="1868">
                  <c:v>235.69945713694133</c:v>
                </c:pt>
                <c:pt idx="1869">
                  <c:v>242.36043366904801</c:v>
                </c:pt>
                <c:pt idx="1870">
                  <c:v>244.94495811121575</c:v>
                </c:pt>
                <c:pt idx="1871">
                  <c:v>246.73672048622396</c:v>
                </c:pt>
                <c:pt idx="1872">
                  <c:v>245.2233427442545</c:v>
                </c:pt>
                <c:pt idx="1873">
                  <c:v>242.39416983833416</c:v>
                </c:pt>
                <c:pt idx="1874">
                  <c:v>239.21044639821156</c:v>
                </c:pt>
                <c:pt idx="1875">
                  <c:v>241.80055698467925</c:v>
                </c:pt>
                <c:pt idx="1876">
                  <c:v>244.68333129995275</c:v>
                </c:pt>
                <c:pt idx="1877">
                  <c:v>248.23640734645087</c:v>
                </c:pt>
                <c:pt idx="1878">
                  <c:v>249.46764953094007</c:v>
                </c:pt>
                <c:pt idx="1879">
                  <c:v>249.72085108041625</c:v>
                </c:pt>
                <c:pt idx="1880">
                  <c:v>250.89636950892626</c:v>
                </c:pt>
                <c:pt idx="1881">
                  <c:v>250.24489095696447</c:v>
                </c:pt>
                <c:pt idx="1882">
                  <c:v>250.57652191450046</c:v>
                </c:pt>
                <c:pt idx="1883">
                  <c:v>249.52772654782331</c:v>
                </c:pt>
                <c:pt idx="1884">
                  <c:v>252.32160996397099</c:v>
                </c:pt>
                <c:pt idx="1885">
                  <c:v>251.82241417477277</c:v>
                </c:pt>
                <c:pt idx="1886">
                  <c:v>252.06302422457946</c:v>
                </c:pt>
                <c:pt idx="1887">
                  <c:v>253.30089305359303</c:v>
                </c:pt>
                <c:pt idx="1888">
                  <c:v>253.69819384553284</c:v>
                </c:pt>
                <c:pt idx="1889">
                  <c:v>254.84182325009735</c:v>
                </c:pt>
                <c:pt idx="1890">
                  <c:v>253.94934700505246</c:v>
                </c:pt>
                <c:pt idx="1891">
                  <c:v>254.89150585924389</c:v>
                </c:pt>
                <c:pt idx="1892">
                  <c:v>254.19621569588463</c:v>
                </c:pt>
                <c:pt idx="1893">
                  <c:v>251.78656531830734</c:v>
                </c:pt>
                <c:pt idx="1894">
                  <c:v>251.19899371097878</c:v>
                </c:pt>
                <c:pt idx="1895">
                  <c:v>252.38615624881834</c:v>
                </c:pt>
                <c:pt idx="1896">
                  <c:v>254.27437316096623</c:v>
                </c:pt>
                <c:pt idx="1897">
                  <c:v>253.72941181572003</c:v>
                </c:pt>
                <c:pt idx="1898">
                  <c:v>256.15361981664864</c:v>
                </c:pt>
                <c:pt idx="1899">
                  <c:v>255.67396624669851</c:v>
                </c:pt>
                <c:pt idx="1900">
                  <c:v>258.11102813792263</c:v>
                </c:pt>
                <c:pt idx="1901">
                  <c:v>257.62150899565643</c:v>
                </c:pt>
                <c:pt idx="1902">
                  <c:v>257.62150899565643</c:v>
                </c:pt>
                <c:pt idx="1903">
                  <c:v>255.96995918002813</c:v>
                </c:pt>
                <c:pt idx="1904">
                  <c:v>254.14640580914653</c:v>
                </c:pt>
                <c:pt idx="1905">
                  <c:v>255.87313148106273</c:v>
                </c:pt>
                <c:pt idx="1906">
                  <c:v>254.49390912731485</c:v>
                </c:pt>
                <c:pt idx="1907">
                  <c:v>254.66708398831835</c:v>
                </c:pt>
                <c:pt idx="1908">
                  <c:v>256.4980086426113</c:v>
                </c:pt>
                <c:pt idx="1909">
                  <c:v>257.27353066347513</c:v>
                </c:pt>
                <c:pt idx="1910">
                  <c:v>255.48190818254338</c:v>
                </c:pt>
                <c:pt idx="1911">
                  <c:v>256.65791917795093</c:v>
                </c:pt>
                <c:pt idx="1912">
                  <c:v>256.32028077831887</c:v>
                </c:pt>
                <c:pt idx="1913">
                  <c:v>257.21426524101861</c:v>
                </c:pt>
                <c:pt idx="1914">
                  <c:v>255.86856144359459</c:v>
                </c:pt>
                <c:pt idx="1915">
                  <c:v>256.09542950357417</c:v>
                </c:pt>
                <c:pt idx="1916">
                  <c:v>260.99793915597326</c:v>
                </c:pt>
                <c:pt idx="1917">
                  <c:v>260.96407250869316</c:v>
                </c:pt>
                <c:pt idx="1918">
                  <c:v>260.47709704141704</c:v>
                </c:pt>
                <c:pt idx="1919">
                  <c:v>261.28082710870166</c:v>
                </c:pt>
                <c:pt idx="1920">
                  <c:v>259.60956400945355</c:v>
                </c:pt>
                <c:pt idx="1921">
                  <c:v>256.28524843758174</c:v>
                </c:pt>
                <c:pt idx="1922">
                  <c:v>254.38744133268449</c:v>
                </c:pt>
                <c:pt idx="1923">
                  <c:v>253.21158905844774</c:v>
                </c:pt>
                <c:pt idx="1924">
                  <c:v>253.33745768571069</c:v>
                </c:pt>
                <c:pt idx="1925">
                  <c:v>254.85359389416294</c:v>
                </c:pt>
                <c:pt idx="1926">
                  <c:v>253.59393496655284</c:v>
                </c:pt>
                <c:pt idx="1927">
                  <c:v>256.03069882288378</c:v>
                </c:pt>
                <c:pt idx="1928">
                  <c:v>255.91837743038437</c:v>
                </c:pt>
                <c:pt idx="1929">
                  <c:v>256.3550955899783</c:v>
                </c:pt>
                <c:pt idx="1930">
                  <c:v>260.40205685174283</c:v>
                </c:pt>
                <c:pt idx="1931">
                  <c:v>258.67675760104123</c:v>
                </c:pt>
                <c:pt idx="1932">
                  <c:v>255.0693044168936</c:v>
                </c:pt>
                <c:pt idx="1933">
                  <c:v>256.0208823729759</c:v>
                </c:pt>
                <c:pt idx="1934">
                  <c:v>258.00396308553786</c:v>
                </c:pt>
                <c:pt idx="1935">
                  <c:v>256.89276061048622</c:v>
                </c:pt>
                <c:pt idx="1936">
                  <c:v>257.40378285004601</c:v>
                </c:pt>
              </c:numCache>
            </c:numRef>
          </c:val>
          <c:smooth val="0"/>
          <c:extLst xmlns:c16r2="http://schemas.microsoft.com/office/drawing/2015/06/chart">
            <c:ext xmlns:c16="http://schemas.microsoft.com/office/drawing/2014/chart" uri="{C3380CC4-5D6E-409C-BE32-E72D297353CC}">
              <c16:uniqueId val="{00000000-E39B-4E7F-AF15-2004DEAF3005}"/>
            </c:ext>
          </c:extLst>
        </c:ser>
        <c:ser>
          <c:idx val="1"/>
          <c:order val="1"/>
          <c:tx>
            <c:strRef>
              <c:f>'Amundi Fds Europe MinVar BRUT'!$E$4</c:f>
              <c:strCache>
                <c:ptCount val="1"/>
                <c:pt idx="0">
                  <c:v>MSCI Europe </c:v>
                </c:pt>
              </c:strCache>
            </c:strRef>
          </c:tx>
          <c:spPr>
            <a:ln w="28575">
              <a:solidFill>
                <a:srgbClr val="009EE0"/>
              </a:solidFill>
              <a:prstDash val="solid"/>
            </a:ln>
          </c:spPr>
          <c:marker>
            <c:symbol val="none"/>
          </c:marker>
          <c:cat>
            <c:numRef>
              <c:f>[0]!DATE_EUROPEMINVARBR</c:f>
              <c:numCache>
                <c:formatCode>m/d/yyyy</c:formatCode>
                <c:ptCount val="1937"/>
                <c:pt idx="0">
                  <c:v>39933</c:v>
                </c:pt>
                <c:pt idx="1">
                  <c:v>39934</c:v>
                </c:pt>
                <c:pt idx="2">
                  <c:v>39937</c:v>
                </c:pt>
                <c:pt idx="3">
                  <c:v>39938</c:v>
                </c:pt>
                <c:pt idx="4">
                  <c:v>39939</c:v>
                </c:pt>
                <c:pt idx="5">
                  <c:v>39940</c:v>
                </c:pt>
                <c:pt idx="6">
                  <c:v>39941</c:v>
                </c:pt>
                <c:pt idx="7">
                  <c:v>39944</c:v>
                </c:pt>
                <c:pt idx="8">
                  <c:v>39945</c:v>
                </c:pt>
                <c:pt idx="9">
                  <c:v>39946</c:v>
                </c:pt>
                <c:pt idx="10">
                  <c:v>39947</c:v>
                </c:pt>
                <c:pt idx="11">
                  <c:v>39948</c:v>
                </c:pt>
                <c:pt idx="12">
                  <c:v>39951</c:v>
                </c:pt>
                <c:pt idx="13">
                  <c:v>39952</c:v>
                </c:pt>
                <c:pt idx="14">
                  <c:v>39953</c:v>
                </c:pt>
                <c:pt idx="15">
                  <c:v>39954</c:v>
                </c:pt>
                <c:pt idx="16">
                  <c:v>39955</c:v>
                </c:pt>
                <c:pt idx="17">
                  <c:v>39958</c:v>
                </c:pt>
                <c:pt idx="18">
                  <c:v>39959</c:v>
                </c:pt>
                <c:pt idx="19">
                  <c:v>39960</c:v>
                </c:pt>
                <c:pt idx="20">
                  <c:v>39961</c:v>
                </c:pt>
                <c:pt idx="21">
                  <c:v>39962</c:v>
                </c:pt>
                <c:pt idx="22">
                  <c:v>39965</c:v>
                </c:pt>
                <c:pt idx="23">
                  <c:v>39966</c:v>
                </c:pt>
                <c:pt idx="24">
                  <c:v>39967</c:v>
                </c:pt>
                <c:pt idx="25">
                  <c:v>39968</c:v>
                </c:pt>
                <c:pt idx="26">
                  <c:v>39969</c:v>
                </c:pt>
                <c:pt idx="27">
                  <c:v>39972</c:v>
                </c:pt>
                <c:pt idx="28">
                  <c:v>39973</c:v>
                </c:pt>
                <c:pt idx="29">
                  <c:v>39974</c:v>
                </c:pt>
                <c:pt idx="30">
                  <c:v>39975</c:v>
                </c:pt>
                <c:pt idx="31">
                  <c:v>39976</c:v>
                </c:pt>
                <c:pt idx="32">
                  <c:v>39979</c:v>
                </c:pt>
                <c:pt idx="33">
                  <c:v>39980</c:v>
                </c:pt>
                <c:pt idx="34">
                  <c:v>39981</c:v>
                </c:pt>
                <c:pt idx="35">
                  <c:v>39982</c:v>
                </c:pt>
                <c:pt idx="36">
                  <c:v>39983</c:v>
                </c:pt>
                <c:pt idx="37">
                  <c:v>39986</c:v>
                </c:pt>
                <c:pt idx="38">
                  <c:v>39987</c:v>
                </c:pt>
                <c:pt idx="39">
                  <c:v>39988</c:v>
                </c:pt>
                <c:pt idx="40">
                  <c:v>39989</c:v>
                </c:pt>
                <c:pt idx="41">
                  <c:v>39990</c:v>
                </c:pt>
                <c:pt idx="42">
                  <c:v>39993</c:v>
                </c:pt>
                <c:pt idx="43">
                  <c:v>39994</c:v>
                </c:pt>
                <c:pt idx="44">
                  <c:v>39995</c:v>
                </c:pt>
                <c:pt idx="45">
                  <c:v>39996</c:v>
                </c:pt>
                <c:pt idx="46">
                  <c:v>39997</c:v>
                </c:pt>
                <c:pt idx="47">
                  <c:v>40000</c:v>
                </c:pt>
                <c:pt idx="48">
                  <c:v>40001</c:v>
                </c:pt>
                <c:pt idx="49">
                  <c:v>40002</c:v>
                </c:pt>
                <c:pt idx="50">
                  <c:v>40003</c:v>
                </c:pt>
                <c:pt idx="51">
                  <c:v>40004</c:v>
                </c:pt>
                <c:pt idx="52">
                  <c:v>40007</c:v>
                </c:pt>
                <c:pt idx="53">
                  <c:v>40008</c:v>
                </c:pt>
                <c:pt idx="54">
                  <c:v>40009</c:v>
                </c:pt>
                <c:pt idx="55">
                  <c:v>40010</c:v>
                </c:pt>
                <c:pt idx="56">
                  <c:v>40011</c:v>
                </c:pt>
                <c:pt idx="57">
                  <c:v>40014</c:v>
                </c:pt>
                <c:pt idx="58">
                  <c:v>40015</c:v>
                </c:pt>
                <c:pt idx="59">
                  <c:v>40016</c:v>
                </c:pt>
                <c:pt idx="60">
                  <c:v>40017</c:v>
                </c:pt>
                <c:pt idx="61">
                  <c:v>40018</c:v>
                </c:pt>
                <c:pt idx="62">
                  <c:v>40021</c:v>
                </c:pt>
                <c:pt idx="63">
                  <c:v>40022</c:v>
                </c:pt>
                <c:pt idx="64">
                  <c:v>40023</c:v>
                </c:pt>
                <c:pt idx="65">
                  <c:v>40024</c:v>
                </c:pt>
                <c:pt idx="66">
                  <c:v>40025</c:v>
                </c:pt>
                <c:pt idx="67">
                  <c:v>40028</c:v>
                </c:pt>
                <c:pt idx="68">
                  <c:v>40029</c:v>
                </c:pt>
                <c:pt idx="69">
                  <c:v>40030</c:v>
                </c:pt>
                <c:pt idx="70">
                  <c:v>40031</c:v>
                </c:pt>
                <c:pt idx="71">
                  <c:v>40032</c:v>
                </c:pt>
                <c:pt idx="72">
                  <c:v>40035</c:v>
                </c:pt>
                <c:pt idx="73">
                  <c:v>40036</c:v>
                </c:pt>
                <c:pt idx="74">
                  <c:v>40037</c:v>
                </c:pt>
                <c:pt idx="75">
                  <c:v>40038</c:v>
                </c:pt>
                <c:pt idx="76">
                  <c:v>40039</c:v>
                </c:pt>
                <c:pt idx="77">
                  <c:v>40042</c:v>
                </c:pt>
                <c:pt idx="78">
                  <c:v>40043</c:v>
                </c:pt>
                <c:pt idx="79">
                  <c:v>40044</c:v>
                </c:pt>
                <c:pt idx="80">
                  <c:v>40045</c:v>
                </c:pt>
                <c:pt idx="81">
                  <c:v>40046</c:v>
                </c:pt>
                <c:pt idx="82">
                  <c:v>40049</c:v>
                </c:pt>
                <c:pt idx="83">
                  <c:v>40050</c:v>
                </c:pt>
                <c:pt idx="84">
                  <c:v>40051</c:v>
                </c:pt>
                <c:pt idx="85">
                  <c:v>40052</c:v>
                </c:pt>
                <c:pt idx="86">
                  <c:v>40053</c:v>
                </c:pt>
                <c:pt idx="87">
                  <c:v>40056</c:v>
                </c:pt>
                <c:pt idx="88">
                  <c:v>40057</c:v>
                </c:pt>
                <c:pt idx="89">
                  <c:v>40058</c:v>
                </c:pt>
                <c:pt idx="90">
                  <c:v>40059</c:v>
                </c:pt>
                <c:pt idx="91">
                  <c:v>40060</c:v>
                </c:pt>
                <c:pt idx="92">
                  <c:v>40063</c:v>
                </c:pt>
                <c:pt idx="93">
                  <c:v>40064</c:v>
                </c:pt>
                <c:pt idx="94">
                  <c:v>40065</c:v>
                </c:pt>
                <c:pt idx="95">
                  <c:v>40066</c:v>
                </c:pt>
                <c:pt idx="96">
                  <c:v>40067</c:v>
                </c:pt>
                <c:pt idx="97">
                  <c:v>40070</c:v>
                </c:pt>
                <c:pt idx="98">
                  <c:v>40071</c:v>
                </c:pt>
                <c:pt idx="99">
                  <c:v>40072</c:v>
                </c:pt>
                <c:pt idx="100">
                  <c:v>40073</c:v>
                </c:pt>
                <c:pt idx="101">
                  <c:v>40074</c:v>
                </c:pt>
                <c:pt idx="102">
                  <c:v>40077</c:v>
                </c:pt>
                <c:pt idx="103">
                  <c:v>40078</c:v>
                </c:pt>
                <c:pt idx="104">
                  <c:v>40079</c:v>
                </c:pt>
                <c:pt idx="105">
                  <c:v>40080</c:v>
                </c:pt>
                <c:pt idx="106">
                  <c:v>40081</c:v>
                </c:pt>
                <c:pt idx="107">
                  <c:v>40084</c:v>
                </c:pt>
                <c:pt idx="108">
                  <c:v>40085</c:v>
                </c:pt>
                <c:pt idx="109">
                  <c:v>40086</c:v>
                </c:pt>
                <c:pt idx="110">
                  <c:v>40087</c:v>
                </c:pt>
                <c:pt idx="111">
                  <c:v>40088</c:v>
                </c:pt>
                <c:pt idx="112">
                  <c:v>40091</c:v>
                </c:pt>
                <c:pt idx="113">
                  <c:v>40092</c:v>
                </c:pt>
                <c:pt idx="114">
                  <c:v>40093</c:v>
                </c:pt>
                <c:pt idx="115">
                  <c:v>40094</c:v>
                </c:pt>
                <c:pt idx="116">
                  <c:v>40095</c:v>
                </c:pt>
                <c:pt idx="117">
                  <c:v>40098</c:v>
                </c:pt>
                <c:pt idx="118">
                  <c:v>40099</c:v>
                </c:pt>
                <c:pt idx="119">
                  <c:v>40100</c:v>
                </c:pt>
                <c:pt idx="120">
                  <c:v>40101</c:v>
                </c:pt>
                <c:pt idx="121">
                  <c:v>40102</c:v>
                </c:pt>
                <c:pt idx="122">
                  <c:v>40105</c:v>
                </c:pt>
                <c:pt idx="123">
                  <c:v>40106</c:v>
                </c:pt>
                <c:pt idx="124">
                  <c:v>40107</c:v>
                </c:pt>
                <c:pt idx="125">
                  <c:v>40108</c:v>
                </c:pt>
                <c:pt idx="126">
                  <c:v>40109</c:v>
                </c:pt>
                <c:pt idx="127">
                  <c:v>40112</c:v>
                </c:pt>
                <c:pt idx="128">
                  <c:v>40113</c:v>
                </c:pt>
                <c:pt idx="129">
                  <c:v>40114</c:v>
                </c:pt>
                <c:pt idx="130">
                  <c:v>40115</c:v>
                </c:pt>
                <c:pt idx="131">
                  <c:v>40116</c:v>
                </c:pt>
                <c:pt idx="132">
                  <c:v>40119</c:v>
                </c:pt>
                <c:pt idx="133">
                  <c:v>40120</c:v>
                </c:pt>
                <c:pt idx="134">
                  <c:v>40121</c:v>
                </c:pt>
                <c:pt idx="135">
                  <c:v>40122</c:v>
                </c:pt>
                <c:pt idx="136">
                  <c:v>40123</c:v>
                </c:pt>
                <c:pt idx="137">
                  <c:v>40126</c:v>
                </c:pt>
                <c:pt idx="138">
                  <c:v>40127</c:v>
                </c:pt>
                <c:pt idx="139">
                  <c:v>40128</c:v>
                </c:pt>
                <c:pt idx="140">
                  <c:v>40129</c:v>
                </c:pt>
                <c:pt idx="141">
                  <c:v>40130</c:v>
                </c:pt>
                <c:pt idx="142">
                  <c:v>40133</c:v>
                </c:pt>
                <c:pt idx="143">
                  <c:v>40134</c:v>
                </c:pt>
                <c:pt idx="144">
                  <c:v>40135</c:v>
                </c:pt>
                <c:pt idx="145">
                  <c:v>40136</c:v>
                </c:pt>
                <c:pt idx="146">
                  <c:v>40137</c:v>
                </c:pt>
                <c:pt idx="147">
                  <c:v>40140</c:v>
                </c:pt>
                <c:pt idx="148">
                  <c:v>40141</c:v>
                </c:pt>
                <c:pt idx="149">
                  <c:v>40142</c:v>
                </c:pt>
                <c:pt idx="150">
                  <c:v>40143</c:v>
                </c:pt>
                <c:pt idx="151">
                  <c:v>40144</c:v>
                </c:pt>
                <c:pt idx="152">
                  <c:v>40147</c:v>
                </c:pt>
                <c:pt idx="153">
                  <c:v>40148</c:v>
                </c:pt>
                <c:pt idx="154">
                  <c:v>40149</c:v>
                </c:pt>
                <c:pt idx="155">
                  <c:v>40150</c:v>
                </c:pt>
                <c:pt idx="156">
                  <c:v>40151</c:v>
                </c:pt>
                <c:pt idx="157">
                  <c:v>40154</c:v>
                </c:pt>
                <c:pt idx="158">
                  <c:v>40155</c:v>
                </c:pt>
                <c:pt idx="159">
                  <c:v>40156</c:v>
                </c:pt>
                <c:pt idx="160">
                  <c:v>40157</c:v>
                </c:pt>
                <c:pt idx="161">
                  <c:v>40158</c:v>
                </c:pt>
                <c:pt idx="162">
                  <c:v>40161</c:v>
                </c:pt>
                <c:pt idx="163">
                  <c:v>40162</c:v>
                </c:pt>
                <c:pt idx="164">
                  <c:v>40163</c:v>
                </c:pt>
                <c:pt idx="165">
                  <c:v>40164</c:v>
                </c:pt>
                <c:pt idx="166">
                  <c:v>40165</c:v>
                </c:pt>
                <c:pt idx="167">
                  <c:v>40168</c:v>
                </c:pt>
                <c:pt idx="168">
                  <c:v>40169</c:v>
                </c:pt>
                <c:pt idx="169">
                  <c:v>40170</c:v>
                </c:pt>
                <c:pt idx="170">
                  <c:v>40171</c:v>
                </c:pt>
                <c:pt idx="171">
                  <c:v>40172</c:v>
                </c:pt>
                <c:pt idx="172">
                  <c:v>40175</c:v>
                </c:pt>
                <c:pt idx="173">
                  <c:v>40176</c:v>
                </c:pt>
                <c:pt idx="174">
                  <c:v>40177</c:v>
                </c:pt>
                <c:pt idx="175">
                  <c:v>40178</c:v>
                </c:pt>
                <c:pt idx="176">
                  <c:v>40179</c:v>
                </c:pt>
                <c:pt idx="177">
                  <c:v>40182</c:v>
                </c:pt>
                <c:pt idx="178">
                  <c:v>40183</c:v>
                </c:pt>
                <c:pt idx="179">
                  <c:v>40184</c:v>
                </c:pt>
                <c:pt idx="180">
                  <c:v>40185</c:v>
                </c:pt>
                <c:pt idx="181">
                  <c:v>40186</c:v>
                </c:pt>
                <c:pt idx="182">
                  <c:v>40189</c:v>
                </c:pt>
                <c:pt idx="183">
                  <c:v>40190</c:v>
                </c:pt>
                <c:pt idx="184">
                  <c:v>40191</c:v>
                </c:pt>
                <c:pt idx="185">
                  <c:v>40192</c:v>
                </c:pt>
                <c:pt idx="186">
                  <c:v>40193</c:v>
                </c:pt>
                <c:pt idx="187">
                  <c:v>40196</c:v>
                </c:pt>
                <c:pt idx="188">
                  <c:v>40197</c:v>
                </c:pt>
                <c:pt idx="189">
                  <c:v>40198</c:v>
                </c:pt>
                <c:pt idx="190">
                  <c:v>40199</c:v>
                </c:pt>
                <c:pt idx="191">
                  <c:v>40200</c:v>
                </c:pt>
                <c:pt idx="192">
                  <c:v>40203</c:v>
                </c:pt>
                <c:pt idx="193">
                  <c:v>40204</c:v>
                </c:pt>
                <c:pt idx="194">
                  <c:v>40205</c:v>
                </c:pt>
                <c:pt idx="195">
                  <c:v>40206</c:v>
                </c:pt>
                <c:pt idx="196">
                  <c:v>40207</c:v>
                </c:pt>
                <c:pt idx="197">
                  <c:v>40210</c:v>
                </c:pt>
                <c:pt idx="198">
                  <c:v>40211</c:v>
                </c:pt>
                <c:pt idx="199">
                  <c:v>40212</c:v>
                </c:pt>
                <c:pt idx="200">
                  <c:v>40213</c:v>
                </c:pt>
                <c:pt idx="201">
                  <c:v>40214</c:v>
                </c:pt>
                <c:pt idx="202">
                  <c:v>40217</c:v>
                </c:pt>
                <c:pt idx="203">
                  <c:v>40218</c:v>
                </c:pt>
                <c:pt idx="204">
                  <c:v>40219</c:v>
                </c:pt>
                <c:pt idx="205">
                  <c:v>40220</c:v>
                </c:pt>
                <c:pt idx="206">
                  <c:v>40221</c:v>
                </c:pt>
                <c:pt idx="207">
                  <c:v>40224</c:v>
                </c:pt>
                <c:pt idx="208">
                  <c:v>40225</c:v>
                </c:pt>
                <c:pt idx="209">
                  <c:v>40226</c:v>
                </c:pt>
                <c:pt idx="210">
                  <c:v>40227</c:v>
                </c:pt>
                <c:pt idx="211">
                  <c:v>40228</c:v>
                </c:pt>
                <c:pt idx="212">
                  <c:v>40231</c:v>
                </c:pt>
                <c:pt idx="213">
                  <c:v>40232</c:v>
                </c:pt>
                <c:pt idx="214">
                  <c:v>40233</c:v>
                </c:pt>
                <c:pt idx="215">
                  <c:v>40234</c:v>
                </c:pt>
                <c:pt idx="216">
                  <c:v>40235</c:v>
                </c:pt>
                <c:pt idx="217">
                  <c:v>40238</c:v>
                </c:pt>
                <c:pt idx="218">
                  <c:v>40239</c:v>
                </c:pt>
                <c:pt idx="219">
                  <c:v>40240</c:v>
                </c:pt>
                <c:pt idx="220">
                  <c:v>40241</c:v>
                </c:pt>
                <c:pt idx="221">
                  <c:v>40242</c:v>
                </c:pt>
                <c:pt idx="222">
                  <c:v>40245</c:v>
                </c:pt>
                <c:pt idx="223">
                  <c:v>40246</c:v>
                </c:pt>
                <c:pt idx="224">
                  <c:v>40247</c:v>
                </c:pt>
                <c:pt idx="225">
                  <c:v>40248</c:v>
                </c:pt>
                <c:pt idx="226">
                  <c:v>40249</c:v>
                </c:pt>
                <c:pt idx="227">
                  <c:v>40252</c:v>
                </c:pt>
                <c:pt idx="228">
                  <c:v>40253</c:v>
                </c:pt>
                <c:pt idx="229">
                  <c:v>40254</c:v>
                </c:pt>
                <c:pt idx="230">
                  <c:v>40255</c:v>
                </c:pt>
                <c:pt idx="231">
                  <c:v>40256</c:v>
                </c:pt>
                <c:pt idx="232">
                  <c:v>40259</c:v>
                </c:pt>
                <c:pt idx="233">
                  <c:v>40260</c:v>
                </c:pt>
                <c:pt idx="234">
                  <c:v>40261</c:v>
                </c:pt>
                <c:pt idx="235">
                  <c:v>40262</c:v>
                </c:pt>
                <c:pt idx="236">
                  <c:v>40263</c:v>
                </c:pt>
                <c:pt idx="237">
                  <c:v>40266</c:v>
                </c:pt>
                <c:pt idx="238">
                  <c:v>40267</c:v>
                </c:pt>
                <c:pt idx="239">
                  <c:v>40268</c:v>
                </c:pt>
                <c:pt idx="240">
                  <c:v>40269</c:v>
                </c:pt>
                <c:pt idx="241">
                  <c:v>40270</c:v>
                </c:pt>
                <c:pt idx="242">
                  <c:v>40273</c:v>
                </c:pt>
                <c:pt idx="243">
                  <c:v>40274</c:v>
                </c:pt>
                <c:pt idx="244">
                  <c:v>40275</c:v>
                </c:pt>
                <c:pt idx="245">
                  <c:v>40276</c:v>
                </c:pt>
                <c:pt idx="246">
                  <c:v>40277</c:v>
                </c:pt>
                <c:pt idx="247">
                  <c:v>40280</c:v>
                </c:pt>
                <c:pt idx="248">
                  <c:v>40281</c:v>
                </c:pt>
                <c:pt idx="249">
                  <c:v>40282</c:v>
                </c:pt>
                <c:pt idx="250">
                  <c:v>40283</c:v>
                </c:pt>
                <c:pt idx="251">
                  <c:v>40284</c:v>
                </c:pt>
                <c:pt idx="252">
                  <c:v>40287</c:v>
                </c:pt>
                <c:pt idx="253">
                  <c:v>40288</c:v>
                </c:pt>
                <c:pt idx="254">
                  <c:v>40289</c:v>
                </c:pt>
                <c:pt idx="255">
                  <c:v>40290</c:v>
                </c:pt>
                <c:pt idx="256">
                  <c:v>40291</c:v>
                </c:pt>
                <c:pt idx="257">
                  <c:v>40294</c:v>
                </c:pt>
                <c:pt idx="258">
                  <c:v>40295</c:v>
                </c:pt>
                <c:pt idx="259">
                  <c:v>40296</c:v>
                </c:pt>
                <c:pt idx="260">
                  <c:v>40297</c:v>
                </c:pt>
                <c:pt idx="261">
                  <c:v>40298</c:v>
                </c:pt>
                <c:pt idx="262">
                  <c:v>40301</c:v>
                </c:pt>
                <c:pt idx="263">
                  <c:v>40302</c:v>
                </c:pt>
                <c:pt idx="264">
                  <c:v>40303</c:v>
                </c:pt>
                <c:pt idx="265">
                  <c:v>40304</c:v>
                </c:pt>
                <c:pt idx="266">
                  <c:v>40305</c:v>
                </c:pt>
                <c:pt idx="267">
                  <c:v>40308</c:v>
                </c:pt>
                <c:pt idx="268">
                  <c:v>40309</c:v>
                </c:pt>
                <c:pt idx="269">
                  <c:v>40310</c:v>
                </c:pt>
                <c:pt idx="270">
                  <c:v>40311</c:v>
                </c:pt>
                <c:pt idx="271">
                  <c:v>40312</c:v>
                </c:pt>
                <c:pt idx="272">
                  <c:v>40315</c:v>
                </c:pt>
                <c:pt idx="273">
                  <c:v>40316</c:v>
                </c:pt>
                <c:pt idx="274">
                  <c:v>40317</c:v>
                </c:pt>
                <c:pt idx="275">
                  <c:v>40318</c:v>
                </c:pt>
                <c:pt idx="276">
                  <c:v>40319</c:v>
                </c:pt>
                <c:pt idx="277">
                  <c:v>40322</c:v>
                </c:pt>
                <c:pt idx="278">
                  <c:v>40323</c:v>
                </c:pt>
                <c:pt idx="279">
                  <c:v>40324</c:v>
                </c:pt>
                <c:pt idx="280">
                  <c:v>40325</c:v>
                </c:pt>
                <c:pt idx="281">
                  <c:v>40326</c:v>
                </c:pt>
                <c:pt idx="282">
                  <c:v>40329</c:v>
                </c:pt>
                <c:pt idx="283">
                  <c:v>40330</c:v>
                </c:pt>
                <c:pt idx="284">
                  <c:v>40331</c:v>
                </c:pt>
                <c:pt idx="285">
                  <c:v>40332</c:v>
                </c:pt>
                <c:pt idx="286">
                  <c:v>40333</c:v>
                </c:pt>
                <c:pt idx="287">
                  <c:v>40336</c:v>
                </c:pt>
                <c:pt idx="288">
                  <c:v>40337</c:v>
                </c:pt>
                <c:pt idx="289">
                  <c:v>40338</c:v>
                </c:pt>
                <c:pt idx="290">
                  <c:v>40339</c:v>
                </c:pt>
                <c:pt idx="291">
                  <c:v>40340</c:v>
                </c:pt>
                <c:pt idx="292">
                  <c:v>40343</c:v>
                </c:pt>
                <c:pt idx="293">
                  <c:v>40344</c:v>
                </c:pt>
                <c:pt idx="294">
                  <c:v>40345</c:v>
                </c:pt>
                <c:pt idx="295">
                  <c:v>40346</c:v>
                </c:pt>
                <c:pt idx="296">
                  <c:v>40347</c:v>
                </c:pt>
                <c:pt idx="297">
                  <c:v>40350</c:v>
                </c:pt>
                <c:pt idx="298">
                  <c:v>40351</c:v>
                </c:pt>
                <c:pt idx="299">
                  <c:v>40352</c:v>
                </c:pt>
                <c:pt idx="300">
                  <c:v>40353</c:v>
                </c:pt>
                <c:pt idx="301">
                  <c:v>40354</c:v>
                </c:pt>
                <c:pt idx="302">
                  <c:v>40357</c:v>
                </c:pt>
                <c:pt idx="303">
                  <c:v>40358</c:v>
                </c:pt>
                <c:pt idx="304">
                  <c:v>40359</c:v>
                </c:pt>
                <c:pt idx="305">
                  <c:v>40360</c:v>
                </c:pt>
                <c:pt idx="306">
                  <c:v>40361</c:v>
                </c:pt>
                <c:pt idx="307">
                  <c:v>40364</c:v>
                </c:pt>
                <c:pt idx="308">
                  <c:v>40365</c:v>
                </c:pt>
                <c:pt idx="309">
                  <c:v>40366</c:v>
                </c:pt>
                <c:pt idx="310">
                  <c:v>40367</c:v>
                </c:pt>
                <c:pt idx="311">
                  <c:v>40368</c:v>
                </c:pt>
                <c:pt idx="312">
                  <c:v>40371</c:v>
                </c:pt>
                <c:pt idx="313">
                  <c:v>40372</c:v>
                </c:pt>
                <c:pt idx="314">
                  <c:v>40373</c:v>
                </c:pt>
                <c:pt idx="315">
                  <c:v>40374</c:v>
                </c:pt>
                <c:pt idx="316">
                  <c:v>40375</c:v>
                </c:pt>
                <c:pt idx="317">
                  <c:v>40378</c:v>
                </c:pt>
                <c:pt idx="318">
                  <c:v>40379</c:v>
                </c:pt>
                <c:pt idx="319">
                  <c:v>40380</c:v>
                </c:pt>
                <c:pt idx="320">
                  <c:v>40381</c:v>
                </c:pt>
                <c:pt idx="321">
                  <c:v>40382</c:v>
                </c:pt>
                <c:pt idx="322">
                  <c:v>40385</c:v>
                </c:pt>
                <c:pt idx="323">
                  <c:v>40386</c:v>
                </c:pt>
                <c:pt idx="324">
                  <c:v>40387</c:v>
                </c:pt>
                <c:pt idx="325">
                  <c:v>40388</c:v>
                </c:pt>
                <c:pt idx="326">
                  <c:v>40389</c:v>
                </c:pt>
                <c:pt idx="327">
                  <c:v>40392</c:v>
                </c:pt>
                <c:pt idx="328">
                  <c:v>40393</c:v>
                </c:pt>
                <c:pt idx="329">
                  <c:v>40394</c:v>
                </c:pt>
                <c:pt idx="330">
                  <c:v>40395</c:v>
                </c:pt>
                <c:pt idx="331">
                  <c:v>40396</c:v>
                </c:pt>
                <c:pt idx="332">
                  <c:v>40399</c:v>
                </c:pt>
                <c:pt idx="333">
                  <c:v>40400</c:v>
                </c:pt>
                <c:pt idx="334">
                  <c:v>40401</c:v>
                </c:pt>
                <c:pt idx="335">
                  <c:v>40402</c:v>
                </c:pt>
                <c:pt idx="336">
                  <c:v>40403</c:v>
                </c:pt>
                <c:pt idx="337">
                  <c:v>40406</c:v>
                </c:pt>
                <c:pt idx="338">
                  <c:v>40407</c:v>
                </c:pt>
                <c:pt idx="339">
                  <c:v>40408</c:v>
                </c:pt>
                <c:pt idx="340">
                  <c:v>40409</c:v>
                </c:pt>
                <c:pt idx="341">
                  <c:v>40410</c:v>
                </c:pt>
                <c:pt idx="342">
                  <c:v>40413</c:v>
                </c:pt>
                <c:pt idx="343">
                  <c:v>40414</c:v>
                </c:pt>
                <c:pt idx="344">
                  <c:v>40415</c:v>
                </c:pt>
                <c:pt idx="345">
                  <c:v>40416</c:v>
                </c:pt>
                <c:pt idx="346">
                  <c:v>40417</c:v>
                </c:pt>
                <c:pt idx="347">
                  <c:v>40420</c:v>
                </c:pt>
                <c:pt idx="348">
                  <c:v>40421</c:v>
                </c:pt>
                <c:pt idx="349">
                  <c:v>40422</c:v>
                </c:pt>
                <c:pt idx="350">
                  <c:v>40423</c:v>
                </c:pt>
                <c:pt idx="351">
                  <c:v>40424</c:v>
                </c:pt>
                <c:pt idx="352">
                  <c:v>40427</c:v>
                </c:pt>
                <c:pt idx="353">
                  <c:v>40428</c:v>
                </c:pt>
                <c:pt idx="354">
                  <c:v>40429</c:v>
                </c:pt>
                <c:pt idx="355">
                  <c:v>40430</c:v>
                </c:pt>
                <c:pt idx="356">
                  <c:v>40431</c:v>
                </c:pt>
                <c:pt idx="357">
                  <c:v>40434</c:v>
                </c:pt>
                <c:pt idx="358">
                  <c:v>40435</c:v>
                </c:pt>
                <c:pt idx="359">
                  <c:v>40436</c:v>
                </c:pt>
                <c:pt idx="360">
                  <c:v>40437</c:v>
                </c:pt>
                <c:pt idx="361">
                  <c:v>40438</c:v>
                </c:pt>
                <c:pt idx="362">
                  <c:v>40441</c:v>
                </c:pt>
                <c:pt idx="363">
                  <c:v>40442</c:v>
                </c:pt>
                <c:pt idx="364">
                  <c:v>40443</c:v>
                </c:pt>
                <c:pt idx="365">
                  <c:v>40444</c:v>
                </c:pt>
                <c:pt idx="366">
                  <c:v>40445</c:v>
                </c:pt>
                <c:pt idx="367">
                  <c:v>40448</c:v>
                </c:pt>
                <c:pt idx="368">
                  <c:v>40449</c:v>
                </c:pt>
                <c:pt idx="369">
                  <c:v>40450</c:v>
                </c:pt>
                <c:pt idx="370">
                  <c:v>40451</c:v>
                </c:pt>
                <c:pt idx="371">
                  <c:v>40452</c:v>
                </c:pt>
                <c:pt idx="372">
                  <c:v>40455</c:v>
                </c:pt>
                <c:pt idx="373">
                  <c:v>40456</c:v>
                </c:pt>
                <c:pt idx="374">
                  <c:v>40457</c:v>
                </c:pt>
                <c:pt idx="375">
                  <c:v>40458</c:v>
                </c:pt>
                <c:pt idx="376">
                  <c:v>40459</c:v>
                </c:pt>
                <c:pt idx="377">
                  <c:v>40462</c:v>
                </c:pt>
                <c:pt idx="378">
                  <c:v>40463</c:v>
                </c:pt>
                <c:pt idx="379">
                  <c:v>40464</c:v>
                </c:pt>
                <c:pt idx="380">
                  <c:v>40465</c:v>
                </c:pt>
                <c:pt idx="381">
                  <c:v>40466</c:v>
                </c:pt>
                <c:pt idx="382">
                  <c:v>40469</c:v>
                </c:pt>
                <c:pt idx="383">
                  <c:v>40470</c:v>
                </c:pt>
                <c:pt idx="384">
                  <c:v>40471</c:v>
                </c:pt>
                <c:pt idx="385">
                  <c:v>40472</c:v>
                </c:pt>
                <c:pt idx="386">
                  <c:v>40473</c:v>
                </c:pt>
                <c:pt idx="387">
                  <c:v>40476</c:v>
                </c:pt>
                <c:pt idx="388">
                  <c:v>40477</c:v>
                </c:pt>
                <c:pt idx="389">
                  <c:v>40478</c:v>
                </c:pt>
                <c:pt idx="390">
                  <c:v>40479</c:v>
                </c:pt>
                <c:pt idx="391">
                  <c:v>40480</c:v>
                </c:pt>
                <c:pt idx="392">
                  <c:v>40483</c:v>
                </c:pt>
                <c:pt idx="393">
                  <c:v>40484</c:v>
                </c:pt>
                <c:pt idx="394">
                  <c:v>40485</c:v>
                </c:pt>
                <c:pt idx="395">
                  <c:v>40486</c:v>
                </c:pt>
                <c:pt idx="396">
                  <c:v>40487</c:v>
                </c:pt>
                <c:pt idx="397">
                  <c:v>40490</c:v>
                </c:pt>
                <c:pt idx="398">
                  <c:v>40491</c:v>
                </c:pt>
                <c:pt idx="399">
                  <c:v>40492</c:v>
                </c:pt>
                <c:pt idx="400">
                  <c:v>40493</c:v>
                </c:pt>
                <c:pt idx="401">
                  <c:v>40494</c:v>
                </c:pt>
                <c:pt idx="402">
                  <c:v>40497</c:v>
                </c:pt>
                <c:pt idx="403">
                  <c:v>40498</c:v>
                </c:pt>
                <c:pt idx="404">
                  <c:v>40499</c:v>
                </c:pt>
                <c:pt idx="405">
                  <c:v>40500</c:v>
                </c:pt>
                <c:pt idx="406">
                  <c:v>40501</c:v>
                </c:pt>
                <c:pt idx="407">
                  <c:v>40504</c:v>
                </c:pt>
                <c:pt idx="408">
                  <c:v>40505</c:v>
                </c:pt>
                <c:pt idx="409">
                  <c:v>40506</c:v>
                </c:pt>
                <c:pt idx="410">
                  <c:v>40507</c:v>
                </c:pt>
                <c:pt idx="411">
                  <c:v>40508</c:v>
                </c:pt>
                <c:pt idx="412">
                  <c:v>40511</c:v>
                </c:pt>
                <c:pt idx="413">
                  <c:v>40512</c:v>
                </c:pt>
                <c:pt idx="414">
                  <c:v>40513</c:v>
                </c:pt>
                <c:pt idx="415">
                  <c:v>40514</c:v>
                </c:pt>
                <c:pt idx="416">
                  <c:v>40515</c:v>
                </c:pt>
                <c:pt idx="417">
                  <c:v>40518</c:v>
                </c:pt>
                <c:pt idx="418">
                  <c:v>40519</c:v>
                </c:pt>
                <c:pt idx="419">
                  <c:v>40520</c:v>
                </c:pt>
                <c:pt idx="420">
                  <c:v>40521</c:v>
                </c:pt>
                <c:pt idx="421">
                  <c:v>40522</c:v>
                </c:pt>
                <c:pt idx="422">
                  <c:v>40525</c:v>
                </c:pt>
                <c:pt idx="423">
                  <c:v>40526</c:v>
                </c:pt>
                <c:pt idx="424">
                  <c:v>40527</c:v>
                </c:pt>
                <c:pt idx="425">
                  <c:v>40528</c:v>
                </c:pt>
                <c:pt idx="426">
                  <c:v>40529</c:v>
                </c:pt>
                <c:pt idx="427">
                  <c:v>40532</c:v>
                </c:pt>
                <c:pt idx="428">
                  <c:v>40533</c:v>
                </c:pt>
                <c:pt idx="429">
                  <c:v>40534</c:v>
                </c:pt>
                <c:pt idx="430">
                  <c:v>40535</c:v>
                </c:pt>
                <c:pt idx="431">
                  <c:v>40536</c:v>
                </c:pt>
                <c:pt idx="432">
                  <c:v>40539</c:v>
                </c:pt>
                <c:pt idx="433">
                  <c:v>40540</c:v>
                </c:pt>
                <c:pt idx="434">
                  <c:v>40541</c:v>
                </c:pt>
                <c:pt idx="435">
                  <c:v>40542</c:v>
                </c:pt>
                <c:pt idx="436">
                  <c:v>40543</c:v>
                </c:pt>
                <c:pt idx="437">
                  <c:v>40546</c:v>
                </c:pt>
                <c:pt idx="438">
                  <c:v>40547</c:v>
                </c:pt>
                <c:pt idx="439">
                  <c:v>40548</c:v>
                </c:pt>
                <c:pt idx="440">
                  <c:v>40549</c:v>
                </c:pt>
                <c:pt idx="441">
                  <c:v>40550</c:v>
                </c:pt>
                <c:pt idx="442">
                  <c:v>40553</c:v>
                </c:pt>
                <c:pt idx="443">
                  <c:v>40554</c:v>
                </c:pt>
                <c:pt idx="444">
                  <c:v>40555</c:v>
                </c:pt>
                <c:pt idx="445">
                  <c:v>40556</c:v>
                </c:pt>
                <c:pt idx="446">
                  <c:v>40557</c:v>
                </c:pt>
                <c:pt idx="447">
                  <c:v>40560</c:v>
                </c:pt>
                <c:pt idx="448">
                  <c:v>40561</c:v>
                </c:pt>
                <c:pt idx="449">
                  <c:v>40562</c:v>
                </c:pt>
                <c:pt idx="450">
                  <c:v>40563</c:v>
                </c:pt>
                <c:pt idx="451">
                  <c:v>40564</c:v>
                </c:pt>
                <c:pt idx="452">
                  <c:v>40567</c:v>
                </c:pt>
                <c:pt idx="453">
                  <c:v>40568</c:v>
                </c:pt>
                <c:pt idx="454">
                  <c:v>40569</c:v>
                </c:pt>
                <c:pt idx="455">
                  <c:v>40570</c:v>
                </c:pt>
                <c:pt idx="456">
                  <c:v>40571</c:v>
                </c:pt>
                <c:pt idx="457">
                  <c:v>40574</c:v>
                </c:pt>
                <c:pt idx="458">
                  <c:v>40575</c:v>
                </c:pt>
                <c:pt idx="459">
                  <c:v>40576</c:v>
                </c:pt>
                <c:pt idx="460">
                  <c:v>40577</c:v>
                </c:pt>
                <c:pt idx="461">
                  <c:v>40578</c:v>
                </c:pt>
                <c:pt idx="462">
                  <c:v>40581</c:v>
                </c:pt>
                <c:pt idx="463">
                  <c:v>40582</c:v>
                </c:pt>
                <c:pt idx="464">
                  <c:v>40583</c:v>
                </c:pt>
                <c:pt idx="465">
                  <c:v>40584</c:v>
                </c:pt>
                <c:pt idx="466">
                  <c:v>40585</c:v>
                </c:pt>
                <c:pt idx="467">
                  <c:v>40588</c:v>
                </c:pt>
                <c:pt idx="468">
                  <c:v>40589</c:v>
                </c:pt>
                <c:pt idx="469">
                  <c:v>40590</c:v>
                </c:pt>
                <c:pt idx="470">
                  <c:v>40591</c:v>
                </c:pt>
                <c:pt idx="471">
                  <c:v>40592</c:v>
                </c:pt>
                <c:pt idx="472">
                  <c:v>40595</c:v>
                </c:pt>
                <c:pt idx="473">
                  <c:v>40596</c:v>
                </c:pt>
                <c:pt idx="474">
                  <c:v>40597</c:v>
                </c:pt>
                <c:pt idx="475">
                  <c:v>40598</c:v>
                </c:pt>
                <c:pt idx="476">
                  <c:v>40599</c:v>
                </c:pt>
                <c:pt idx="477">
                  <c:v>40602</c:v>
                </c:pt>
                <c:pt idx="478">
                  <c:v>40603</c:v>
                </c:pt>
                <c:pt idx="479">
                  <c:v>40604</c:v>
                </c:pt>
                <c:pt idx="480">
                  <c:v>40605</c:v>
                </c:pt>
                <c:pt idx="481">
                  <c:v>40606</c:v>
                </c:pt>
                <c:pt idx="482">
                  <c:v>40609</c:v>
                </c:pt>
                <c:pt idx="483">
                  <c:v>40610</c:v>
                </c:pt>
                <c:pt idx="484">
                  <c:v>40611</c:v>
                </c:pt>
                <c:pt idx="485">
                  <c:v>40612</c:v>
                </c:pt>
                <c:pt idx="486">
                  <c:v>40613</c:v>
                </c:pt>
                <c:pt idx="487">
                  <c:v>40616</c:v>
                </c:pt>
                <c:pt idx="488">
                  <c:v>40617</c:v>
                </c:pt>
                <c:pt idx="489">
                  <c:v>40618</c:v>
                </c:pt>
                <c:pt idx="490">
                  <c:v>40619</c:v>
                </c:pt>
                <c:pt idx="491">
                  <c:v>40620</c:v>
                </c:pt>
                <c:pt idx="492">
                  <c:v>40623</c:v>
                </c:pt>
                <c:pt idx="493">
                  <c:v>40624</c:v>
                </c:pt>
                <c:pt idx="494">
                  <c:v>40625</c:v>
                </c:pt>
                <c:pt idx="495">
                  <c:v>40626</c:v>
                </c:pt>
                <c:pt idx="496">
                  <c:v>40627</c:v>
                </c:pt>
                <c:pt idx="497">
                  <c:v>40630</c:v>
                </c:pt>
                <c:pt idx="498">
                  <c:v>40631</c:v>
                </c:pt>
                <c:pt idx="499">
                  <c:v>40632</c:v>
                </c:pt>
                <c:pt idx="500">
                  <c:v>40633</c:v>
                </c:pt>
                <c:pt idx="501">
                  <c:v>40634</c:v>
                </c:pt>
                <c:pt idx="502">
                  <c:v>40637</c:v>
                </c:pt>
                <c:pt idx="503">
                  <c:v>40638</c:v>
                </c:pt>
                <c:pt idx="504">
                  <c:v>40639</c:v>
                </c:pt>
                <c:pt idx="505">
                  <c:v>40640</c:v>
                </c:pt>
                <c:pt idx="506">
                  <c:v>40641</c:v>
                </c:pt>
                <c:pt idx="507">
                  <c:v>40644</c:v>
                </c:pt>
                <c:pt idx="508">
                  <c:v>40645</c:v>
                </c:pt>
                <c:pt idx="509">
                  <c:v>40646</c:v>
                </c:pt>
                <c:pt idx="510">
                  <c:v>40647</c:v>
                </c:pt>
                <c:pt idx="511">
                  <c:v>40648</c:v>
                </c:pt>
                <c:pt idx="512">
                  <c:v>40651</c:v>
                </c:pt>
                <c:pt idx="513">
                  <c:v>40652</c:v>
                </c:pt>
                <c:pt idx="514">
                  <c:v>40653</c:v>
                </c:pt>
                <c:pt idx="515">
                  <c:v>40654</c:v>
                </c:pt>
                <c:pt idx="516">
                  <c:v>40655</c:v>
                </c:pt>
                <c:pt idx="517">
                  <c:v>40658</c:v>
                </c:pt>
                <c:pt idx="518">
                  <c:v>40659</c:v>
                </c:pt>
                <c:pt idx="519">
                  <c:v>40660</c:v>
                </c:pt>
                <c:pt idx="520">
                  <c:v>40661</c:v>
                </c:pt>
                <c:pt idx="521">
                  <c:v>40662</c:v>
                </c:pt>
                <c:pt idx="522">
                  <c:v>40665</c:v>
                </c:pt>
                <c:pt idx="523">
                  <c:v>40666</c:v>
                </c:pt>
                <c:pt idx="524">
                  <c:v>40667</c:v>
                </c:pt>
                <c:pt idx="525">
                  <c:v>40668</c:v>
                </c:pt>
                <c:pt idx="526">
                  <c:v>40669</c:v>
                </c:pt>
                <c:pt idx="527">
                  <c:v>40672</c:v>
                </c:pt>
                <c:pt idx="528">
                  <c:v>40673</c:v>
                </c:pt>
                <c:pt idx="529">
                  <c:v>40674</c:v>
                </c:pt>
                <c:pt idx="530">
                  <c:v>40675</c:v>
                </c:pt>
                <c:pt idx="531">
                  <c:v>40676</c:v>
                </c:pt>
                <c:pt idx="532">
                  <c:v>40679</c:v>
                </c:pt>
                <c:pt idx="533">
                  <c:v>40680</c:v>
                </c:pt>
                <c:pt idx="534">
                  <c:v>40681</c:v>
                </c:pt>
                <c:pt idx="535">
                  <c:v>40682</c:v>
                </c:pt>
                <c:pt idx="536">
                  <c:v>40683</c:v>
                </c:pt>
                <c:pt idx="537">
                  <c:v>40686</c:v>
                </c:pt>
                <c:pt idx="538">
                  <c:v>40687</c:v>
                </c:pt>
                <c:pt idx="539">
                  <c:v>40688</c:v>
                </c:pt>
                <c:pt idx="540">
                  <c:v>40689</c:v>
                </c:pt>
                <c:pt idx="541">
                  <c:v>40690</c:v>
                </c:pt>
                <c:pt idx="542">
                  <c:v>40693</c:v>
                </c:pt>
                <c:pt idx="543">
                  <c:v>40694</c:v>
                </c:pt>
                <c:pt idx="544">
                  <c:v>40695</c:v>
                </c:pt>
                <c:pt idx="545">
                  <c:v>40696</c:v>
                </c:pt>
                <c:pt idx="546">
                  <c:v>40697</c:v>
                </c:pt>
                <c:pt idx="547">
                  <c:v>40700</c:v>
                </c:pt>
                <c:pt idx="548">
                  <c:v>40701</c:v>
                </c:pt>
                <c:pt idx="549">
                  <c:v>40702</c:v>
                </c:pt>
                <c:pt idx="550">
                  <c:v>40703</c:v>
                </c:pt>
                <c:pt idx="551">
                  <c:v>40704</c:v>
                </c:pt>
                <c:pt idx="552">
                  <c:v>40707</c:v>
                </c:pt>
                <c:pt idx="553">
                  <c:v>40708</c:v>
                </c:pt>
                <c:pt idx="554">
                  <c:v>40709</c:v>
                </c:pt>
                <c:pt idx="555">
                  <c:v>40710</c:v>
                </c:pt>
                <c:pt idx="556">
                  <c:v>40711</c:v>
                </c:pt>
                <c:pt idx="557">
                  <c:v>40714</c:v>
                </c:pt>
                <c:pt idx="558">
                  <c:v>40715</c:v>
                </c:pt>
                <c:pt idx="559">
                  <c:v>40716</c:v>
                </c:pt>
                <c:pt idx="560">
                  <c:v>40717</c:v>
                </c:pt>
                <c:pt idx="561">
                  <c:v>40718</c:v>
                </c:pt>
                <c:pt idx="562">
                  <c:v>40721</c:v>
                </c:pt>
                <c:pt idx="563">
                  <c:v>40722</c:v>
                </c:pt>
                <c:pt idx="564">
                  <c:v>40723</c:v>
                </c:pt>
                <c:pt idx="565">
                  <c:v>40724</c:v>
                </c:pt>
                <c:pt idx="566">
                  <c:v>40725</c:v>
                </c:pt>
                <c:pt idx="567">
                  <c:v>40728</c:v>
                </c:pt>
                <c:pt idx="568">
                  <c:v>40729</c:v>
                </c:pt>
                <c:pt idx="569">
                  <c:v>40730</c:v>
                </c:pt>
                <c:pt idx="570">
                  <c:v>40731</c:v>
                </c:pt>
                <c:pt idx="571">
                  <c:v>40732</c:v>
                </c:pt>
                <c:pt idx="572">
                  <c:v>40735</c:v>
                </c:pt>
                <c:pt idx="573">
                  <c:v>40736</c:v>
                </c:pt>
                <c:pt idx="574">
                  <c:v>40737</c:v>
                </c:pt>
                <c:pt idx="575">
                  <c:v>40738</c:v>
                </c:pt>
                <c:pt idx="576">
                  <c:v>40739</c:v>
                </c:pt>
                <c:pt idx="577">
                  <c:v>40742</c:v>
                </c:pt>
                <c:pt idx="578">
                  <c:v>40743</c:v>
                </c:pt>
                <c:pt idx="579">
                  <c:v>40744</c:v>
                </c:pt>
                <c:pt idx="580">
                  <c:v>40745</c:v>
                </c:pt>
                <c:pt idx="581">
                  <c:v>40746</c:v>
                </c:pt>
                <c:pt idx="582">
                  <c:v>40749</c:v>
                </c:pt>
                <c:pt idx="583">
                  <c:v>40750</c:v>
                </c:pt>
                <c:pt idx="584">
                  <c:v>40751</c:v>
                </c:pt>
                <c:pt idx="585">
                  <c:v>40752</c:v>
                </c:pt>
                <c:pt idx="586">
                  <c:v>40753</c:v>
                </c:pt>
                <c:pt idx="587">
                  <c:v>40756</c:v>
                </c:pt>
                <c:pt idx="588">
                  <c:v>40757</c:v>
                </c:pt>
                <c:pt idx="589">
                  <c:v>40758</c:v>
                </c:pt>
                <c:pt idx="590">
                  <c:v>40759</c:v>
                </c:pt>
                <c:pt idx="591">
                  <c:v>40760</c:v>
                </c:pt>
                <c:pt idx="592">
                  <c:v>40763</c:v>
                </c:pt>
                <c:pt idx="593">
                  <c:v>40764</c:v>
                </c:pt>
                <c:pt idx="594">
                  <c:v>40765</c:v>
                </c:pt>
                <c:pt idx="595">
                  <c:v>40766</c:v>
                </c:pt>
                <c:pt idx="596">
                  <c:v>40767</c:v>
                </c:pt>
                <c:pt idx="597">
                  <c:v>40770</c:v>
                </c:pt>
                <c:pt idx="598">
                  <c:v>40771</c:v>
                </c:pt>
                <c:pt idx="599">
                  <c:v>40772</c:v>
                </c:pt>
                <c:pt idx="600">
                  <c:v>40773</c:v>
                </c:pt>
                <c:pt idx="601">
                  <c:v>40774</c:v>
                </c:pt>
                <c:pt idx="602">
                  <c:v>40777</c:v>
                </c:pt>
                <c:pt idx="603">
                  <c:v>40778</c:v>
                </c:pt>
                <c:pt idx="604">
                  <c:v>40779</c:v>
                </c:pt>
                <c:pt idx="605">
                  <c:v>40780</c:v>
                </c:pt>
                <c:pt idx="606">
                  <c:v>40781</c:v>
                </c:pt>
                <c:pt idx="607">
                  <c:v>40784</c:v>
                </c:pt>
                <c:pt idx="608">
                  <c:v>40785</c:v>
                </c:pt>
                <c:pt idx="609">
                  <c:v>40786</c:v>
                </c:pt>
                <c:pt idx="610">
                  <c:v>40787</c:v>
                </c:pt>
                <c:pt idx="611">
                  <c:v>40788</c:v>
                </c:pt>
                <c:pt idx="612">
                  <c:v>40791</c:v>
                </c:pt>
                <c:pt idx="613">
                  <c:v>40792</c:v>
                </c:pt>
                <c:pt idx="614">
                  <c:v>40793</c:v>
                </c:pt>
                <c:pt idx="615">
                  <c:v>40794</c:v>
                </c:pt>
                <c:pt idx="616">
                  <c:v>40795</c:v>
                </c:pt>
                <c:pt idx="617">
                  <c:v>40798</c:v>
                </c:pt>
                <c:pt idx="618">
                  <c:v>40799</c:v>
                </c:pt>
                <c:pt idx="619">
                  <c:v>40800</c:v>
                </c:pt>
                <c:pt idx="620">
                  <c:v>40801</c:v>
                </c:pt>
                <c:pt idx="621">
                  <c:v>40802</c:v>
                </c:pt>
                <c:pt idx="622">
                  <c:v>40805</c:v>
                </c:pt>
                <c:pt idx="623">
                  <c:v>40806</c:v>
                </c:pt>
                <c:pt idx="624">
                  <c:v>40807</c:v>
                </c:pt>
                <c:pt idx="625">
                  <c:v>40808</c:v>
                </c:pt>
                <c:pt idx="626">
                  <c:v>40809</c:v>
                </c:pt>
                <c:pt idx="627">
                  <c:v>40812</c:v>
                </c:pt>
                <c:pt idx="628">
                  <c:v>40813</c:v>
                </c:pt>
                <c:pt idx="629">
                  <c:v>40814</c:v>
                </c:pt>
                <c:pt idx="630">
                  <c:v>40815</c:v>
                </c:pt>
                <c:pt idx="631">
                  <c:v>40816</c:v>
                </c:pt>
                <c:pt idx="632">
                  <c:v>40819</c:v>
                </c:pt>
                <c:pt idx="633">
                  <c:v>40820</c:v>
                </c:pt>
                <c:pt idx="634">
                  <c:v>40821</c:v>
                </c:pt>
                <c:pt idx="635">
                  <c:v>40822</c:v>
                </c:pt>
                <c:pt idx="636">
                  <c:v>40823</c:v>
                </c:pt>
                <c:pt idx="637">
                  <c:v>40826</c:v>
                </c:pt>
                <c:pt idx="638">
                  <c:v>40827</c:v>
                </c:pt>
                <c:pt idx="639">
                  <c:v>40828</c:v>
                </c:pt>
                <c:pt idx="640">
                  <c:v>40829</c:v>
                </c:pt>
                <c:pt idx="641">
                  <c:v>40830</c:v>
                </c:pt>
                <c:pt idx="642">
                  <c:v>40833</c:v>
                </c:pt>
                <c:pt idx="643">
                  <c:v>40834</c:v>
                </c:pt>
                <c:pt idx="644">
                  <c:v>40835</c:v>
                </c:pt>
                <c:pt idx="645">
                  <c:v>40836</c:v>
                </c:pt>
                <c:pt idx="646">
                  <c:v>40837</c:v>
                </c:pt>
                <c:pt idx="647">
                  <c:v>40840</c:v>
                </c:pt>
                <c:pt idx="648">
                  <c:v>40841</c:v>
                </c:pt>
                <c:pt idx="649">
                  <c:v>40842</c:v>
                </c:pt>
                <c:pt idx="650">
                  <c:v>40843</c:v>
                </c:pt>
                <c:pt idx="651">
                  <c:v>40844</c:v>
                </c:pt>
                <c:pt idx="652">
                  <c:v>40847</c:v>
                </c:pt>
                <c:pt idx="653">
                  <c:v>40848</c:v>
                </c:pt>
                <c:pt idx="654">
                  <c:v>40849</c:v>
                </c:pt>
                <c:pt idx="655">
                  <c:v>40850</c:v>
                </c:pt>
                <c:pt idx="656">
                  <c:v>40851</c:v>
                </c:pt>
                <c:pt idx="657">
                  <c:v>40854</c:v>
                </c:pt>
                <c:pt idx="658">
                  <c:v>40855</c:v>
                </c:pt>
                <c:pt idx="659">
                  <c:v>40856</c:v>
                </c:pt>
                <c:pt idx="660">
                  <c:v>40857</c:v>
                </c:pt>
                <c:pt idx="661">
                  <c:v>40858</c:v>
                </c:pt>
                <c:pt idx="662">
                  <c:v>40861</c:v>
                </c:pt>
                <c:pt idx="663">
                  <c:v>40862</c:v>
                </c:pt>
                <c:pt idx="664">
                  <c:v>40863</c:v>
                </c:pt>
                <c:pt idx="665">
                  <c:v>40864</c:v>
                </c:pt>
                <c:pt idx="666">
                  <c:v>40865</c:v>
                </c:pt>
                <c:pt idx="667">
                  <c:v>40868</c:v>
                </c:pt>
                <c:pt idx="668">
                  <c:v>40869</c:v>
                </c:pt>
                <c:pt idx="669">
                  <c:v>40870</c:v>
                </c:pt>
                <c:pt idx="670">
                  <c:v>40871</c:v>
                </c:pt>
                <c:pt idx="671">
                  <c:v>40872</c:v>
                </c:pt>
                <c:pt idx="672">
                  <c:v>40875</c:v>
                </c:pt>
                <c:pt idx="673">
                  <c:v>40876</c:v>
                </c:pt>
                <c:pt idx="674">
                  <c:v>40877</c:v>
                </c:pt>
                <c:pt idx="675">
                  <c:v>40878</c:v>
                </c:pt>
                <c:pt idx="676">
                  <c:v>40879</c:v>
                </c:pt>
                <c:pt idx="677">
                  <c:v>40882</c:v>
                </c:pt>
                <c:pt idx="678">
                  <c:v>40883</c:v>
                </c:pt>
                <c:pt idx="679">
                  <c:v>40884</c:v>
                </c:pt>
                <c:pt idx="680">
                  <c:v>40885</c:v>
                </c:pt>
                <c:pt idx="681">
                  <c:v>40886</c:v>
                </c:pt>
                <c:pt idx="682">
                  <c:v>40889</c:v>
                </c:pt>
                <c:pt idx="683">
                  <c:v>40890</c:v>
                </c:pt>
                <c:pt idx="684">
                  <c:v>40891</c:v>
                </c:pt>
                <c:pt idx="685">
                  <c:v>40892</c:v>
                </c:pt>
                <c:pt idx="686">
                  <c:v>40893</c:v>
                </c:pt>
                <c:pt idx="687">
                  <c:v>40896</c:v>
                </c:pt>
                <c:pt idx="688">
                  <c:v>40897</c:v>
                </c:pt>
                <c:pt idx="689">
                  <c:v>40898</c:v>
                </c:pt>
                <c:pt idx="690">
                  <c:v>40899</c:v>
                </c:pt>
                <c:pt idx="691">
                  <c:v>40900</c:v>
                </c:pt>
                <c:pt idx="692">
                  <c:v>40903</c:v>
                </c:pt>
                <c:pt idx="693">
                  <c:v>40904</c:v>
                </c:pt>
                <c:pt idx="694">
                  <c:v>40905</c:v>
                </c:pt>
                <c:pt idx="695">
                  <c:v>40906</c:v>
                </c:pt>
                <c:pt idx="696">
                  <c:v>40907</c:v>
                </c:pt>
                <c:pt idx="697">
                  <c:v>40910</c:v>
                </c:pt>
                <c:pt idx="698">
                  <c:v>40911</c:v>
                </c:pt>
                <c:pt idx="699">
                  <c:v>40912</c:v>
                </c:pt>
                <c:pt idx="700">
                  <c:v>40913</c:v>
                </c:pt>
                <c:pt idx="701">
                  <c:v>40914</c:v>
                </c:pt>
                <c:pt idx="702">
                  <c:v>40917</c:v>
                </c:pt>
                <c:pt idx="703">
                  <c:v>40918</c:v>
                </c:pt>
                <c:pt idx="704">
                  <c:v>40919</c:v>
                </c:pt>
                <c:pt idx="705">
                  <c:v>40920</c:v>
                </c:pt>
                <c:pt idx="706">
                  <c:v>40921</c:v>
                </c:pt>
                <c:pt idx="707">
                  <c:v>40924</c:v>
                </c:pt>
                <c:pt idx="708">
                  <c:v>40925</c:v>
                </c:pt>
                <c:pt idx="709">
                  <c:v>40926</c:v>
                </c:pt>
                <c:pt idx="710">
                  <c:v>40927</c:v>
                </c:pt>
                <c:pt idx="711">
                  <c:v>40928</c:v>
                </c:pt>
                <c:pt idx="712">
                  <c:v>40931</c:v>
                </c:pt>
                <c:pt idx="713">
                  <c:v>40932</c:v>
                </c:pt>
                <c:pt idx="714">
                  <c:v>40933</c:v>
                </c:pt>
                <c:pt idx="715">
                  <c:v>40934</c:v>
                </c:pt>
                <c:pt idx="716">
                  <c:v>40935</c:v>
                </c:pt>
                <c:pt idx="717">
                  <c:v>40938</c:v>
                </c:pt>
                <c:pt idx="718">
                  <c:v>40939</c:v>
                </c:pt>
                <c:pt idx="719">
                  <c:v>40940</c:v>
                </c:pt>
                <c:pt idx="720">
                  <c:v>40941</c:v>
                </c:pt>
                <c:pt idx="721">
                  <c:v>40942</c:v>
                </c:pt>
                <c:pt idx="722">
                  <c:v>40945</c:v>
                </c:pt>
                <c:pt idx="723">
                  <c:v>40946</c:v>
                </c:pt>
                <c:pt idx="724">
                  <c:v>40947</c:v>
                </c:pt>
                <c:pt idx="725">
                  <c:v>40948</c:v>
                </c:pt>
                <c:pt idx="726">
                  <c:v>40949</c:v>
                </c:pt>
                <c:pt idx="727">
                  <c:v>40952</c:v>
                </c:pt>
                <c:pt idx="728">
                  <c:v>40953</c:v>
                </c:pt>
                <c:pt idx="729">
                  <c:v>40954</c:v>
                </c:pt>
                <c:pt idx="730">
                  <c:v>40955</c:v>
                </c:pt>
                <c:pt idx="731">
                  <c:v>40956</c:v>
                </c:pt>
                <c:pt idx="732">
                  <c:v>40959</c:v>
                </c:pt>
                <c:pt idx="733">
                  <c:v>40960</c:v>
                </c:pt>
                <c:pt idx="734">
                  <c:v>40961</c:v>
                </c:pt>
                <c:pt idx="735">
                  <c:v>40962</c:v>
                </c:pt>
                <c:pt idx="736">
                  <c:v>40963</c:v>
                </c:pt>
                <c:pt idx="737">
                  <c:v>40966</c:v>
                </c:pt>
                <c:pt idx="738">
                  <c:v>40967</c:v>
                </c:pt>
                <c:pt idx="739">
                  <c:v>40968</c:v>
                </c:pt>
                <c:pt idx="740">
                  <c:v>40969</c:v>
                </c:pt>
                <c:pt idx="741">
                  <c:v>40970</c:v>
                </c:pt>
                <c:pt idx="742">
                  <c:v>40973</c:v>
                </c:pt>
                <c:pt idx="743">
                  <c:v>40974</c:v>
                </c:pt>
                <c:pt idx="744">
                  <c:v>40975</c:v>
                </c:pt>
                <c:pt idx="745">
                  <c:v>40976</c:v>
                </c:pt>
                <c:pt idx="746">
                  <c:v>40977</c:v>
                </c:pt>
                <c:pt idx="747">
                  <c:v>40980</c:v>
                </c:pt>
                <c:pt idx="748">
                  <c:v>40981</c:v>
                </c:pt>
                <c:pt idx="749">
                  <c:v>40982</c:v>
                </c:pt>
                <c:pt idx="750">
                  <c:v>40983</c:v>
                </c:pt>
                <c:pt idx="751">
                  <c:v>40984</c:v>
                </c:pt>
                <c:pt idx="752">
                  <c:v>40987</c:v>
                </c:pt>
                <c:pt idx="753">
                  <c:v>40988</c:v>
                </c:pt>
                <c:pt idx="754">
                  <c:v>40989</c:v>
                </c:pt>
                <c:pt idx="755">
                  <c:v>40990</c:v>
                </c:pt>
                <c:pt idx="756">
                  <c:v>40991</c:v>
                </c:pt>
                <c:pt idx="757">
                  <c:v>40994</c:v>
                </c:pt>
                <c:pt idx="758">
                  <c:v>40995</c:v>
                </c:pt>
                <c:pt idx="759">
                  <c:v>40996</c:v>
                </c:pt>
                <c:pt idx="760">
                  <c:v>40997</c:v>
                </c:pt>
                <c:pt idx="761">
                  <c:v>40998</c:v>
                </c:pt>
                <c:pt idx="762">
                  <c:v>41001</c:v>
                </c:pt>
                <c:pt idx="763">
                  <c:v>41002</c:v>
                </c:pt>
                <c:pt idx="764">
                  <c:v>41003</c:v>
                </c:pt>
                <c:pt idx="765">
                  <c:v>41004</c:v>
                </c:pt>
                <c:pt idx="766">
                  <c:v>41005</c:v>
                </c:pt>
                <c:pt idx="767">
                  <c:v>41008</c:v>
                </c:pt>
                <c:pt idx="768">
                  <c:v>41009</c:v>
                </c:pt>
                <c:pt idx="769">
                  <c:v>41010</c:v>
                </c:pt>
                <c:pt idx="770">
                  <c:v>41011</c:v>
                </c:pt>
                <c:pt idx="771">
                  <c:v>41012</c:v>
                </c:pt>
                <c:pt idx="772">
                  <c:v>41015</c:v>
                </c:pt>
                <c:pt idx="773">
                  <c:v>41016</c:v>
                </c:pt>
                <c:pt idx="774">
                  <c:v>41017</c:v>
                </c:pt>
                <c:pt idx="775">
                  <c:v>41018</c:v>
                </c:pt>
                <c:pt idx="776">
                  <c:v>41019</c:v>
                </c:pt>
                <c:pt idx="777">
                  <c:v>41022</c:v>
                </c:pt>
                <c:pt idx="778">
                  <c:v>41023</c:v>
                </c:pt>
                <c:pt idx="779">
                  <c:v>41024</c:v>
                </c:pt>
                <c:pt idx="780">
                  <c:v>41025</c:v>
                </c:pt>
                <c:pt idx="781">
                  <c:v>41026</c:v>
                </c:pt>
                <c:pt idx="782">
                  <c:v>41029</c:v>
                </c:pt>
                <c:pt idx="783">
                  <c:v>41030</c:v>
                </c:pt>
                <c:pt idx="784">
                  <c:v>41031</c:v>
                </c:pt>
                <c:pt idx="785">
                  <c:v>41032</c:v>
                </c:pt>
                <c:pt idx="786">
                  <c:v>41033</c:v>
                </c:pt>
                <c:pt idx="787">
                  <c:v>41036</c:v>
                </c:pt>
                <c:pt idx="788">
                  <c:v>41037</c:v>
                </c:pt>
                <c:pt idx="789">
                  <c:v>41038</c:v>
                </c:pt>
                <c:pt idx="790">
                  <c:v>41039</c:v>
                </c:pt>
                <c:pt idx="791">
                  <c:v>41040</c:v>
                </c:pt>
                <c:pt idx="792">
                  <c:v>41043</c:v>
                </c:pt>
                <c:pt idx="793">
                  <c:v>41044</c:v>
                </c:pt>
                <c:pt idx="794">
                  <c:v>41045</c:v>
                </c:pt>
                <c:pt idx="795">
                  <c:v>41046</c:v>
                </c:pt>
                <c:pt idx="796">
                  <c:v>41047</c:v>
                </c:pt>
                <c:pt idx="797">
                  <c:v>41050</c:v>
                </c:pt>
                <c:pt idx="798">
                  <c:v>41051</c:v>
                </c:pt>
                <c:pt idx="799">
                  <c:v>41052</c:v>
                </c:pt>
                <c:pt idx="800">
                  <c:v>41053</c:v>
                </c:pt>
                <c:pt idx="801">
                  <c:v>41054</c:v>
                </c:pt>
                <c:pt idx="802">
                  <c:v>41057</c:v>
                </c:pt>
                <c:pt idx="803">
                  <c:v>41058</c:v>
                </c:pt>
                <c:pt idx="804">
                  <c:v>41059</c:v>
                </c:pt>
                <c:pt idx="805">
                  <c:v>41060</c:v>
                </c:pt>
                <c:pt idx="806">
                  <c:v>41061</c:v>
                </c:pt>
                <c:pt idx="807">
                  <c:v>41064</c:v>
                </c:pt>
                <c:pt idx="808">
                  <c:v>41065</c:v>
                </c:pt>
                <c:pt idx="809">
                  <c:v>41066</c:v>
                </c:pt>
                <c:pt idx="810">
                  <c:v>41067</c:v>
                </c:pt>
                <c:pt idx="811">
                  <c:v>41068</c:v>
                </c:pt>
                <c:pt idx="812">
                  <c:v>41071</c:v>
                </c:pt>
                <c:pt idx="813">
                  <c:v>41072</c:v>
                </c:pt>
                <c:pt idx="814">
                  <c:v>41073</c:v>
                </c:pt>
                <c:pt idx="815">
                  <c:v>41074</c:v>
                </c:pt>
                <c:pt idx="816">
                  <c:v>41075</c:v>
                </c:pt>
                <c:pt idx="817">
                  <c:v>41078</c:v>
                </c:pt>
                <c:pt idx="818">
                  <c:v>41079</c:v>
                </c:pt>
                <c:pt idx="819">
                  <c:v>41080</c:v>
                </c:pt>
                <c:pt idx="820">
                  <c:v>41081</c:v>
                </c:pt>
                <c:pt idx="821">
                  <c:v>41082</c:v>
                </c:pt>
                <c:pt idx="822">
                  <c:v>41085</c:v>
                </c:pt>
                <c:pt idx="823">
                  <c:v>41086</c:v>
                </c:pt>
                <c:pt idx="824">
                  <c:v>41087</c:v>
                </c:pt>
                <c:pt idx="825">
                  <c:v>41088</c:v>
                </c:pt>
                <c:pt idx="826">
                  <c:v>41089</c:v>
                </c:pt>
                <c:pt idx="827">
                  <c:v>41092</c:v>
                </c:pt>
                <c:pt idx="828">
                  <c:v>41093</c:v>
                </c:pt>
                <c:pt idx="829">
                  <c:v>41094</c:v>
                </c:pt>
                <c:pt idx="830">
                  <c:v>41095</c:v>
                </c:pt>
                <c:pt idx="831">
                  <c:v>41096</c:v>
                </c:pt>
                <c:pt idx="832">
                  <c:v>41099</c:v>
                </c:pt>
                <c:pt idx="833">
                  <c:v>41100</c:v>
                </c:pt>
                <c:pt idx="834">
                  <c:v>41101</c:v>
                </c:pt>
                <c:pt idx="835">
                  <c:v>41102</c:v>
                </c:pt>
                <c:pt idx="836">
                  <c:v>41103</c:v>
                </c:pt>
                <c:pt idx="837">
                  <c:v>41106</c:v>
                </c:pt>
                <c:pt idx="838">
                  <c:v>41107</c:v>
                </c:pt>
                <c:pt idx="839">
                  <c:v>41108</c:v>
                </c:pt>
                <c:pt idx="840">
                  <c:v>41109</c:v>
                </c:pt>
                <c:pt idx="841">
                  <c:v>41110</c:v>
                </c:pt>
                <c:pt idx="842">
                  <c:v>41113</c:v>
                </c:pt>
                <c:pt idx="843">
                  <c:v>41114</c:v>
                </c:pt>
                <c:pt idx="844">
                  <c:v>41115</c:v>
                </c:pt>
                <c:pt idx="845">
                  <c:v>41116</c:v>
                </c:pt>
                <c:pt idx="846">
                  <c:v>41117</c:v>
                </c:pt>
                <c:pt idx="847">
                  <c:v>41120</c:v>
                </c:pt>
                <c:pt idx="848">
                  <c:v>41121</c:v>
                </c:pt>
                <c:pt idx="849">
                  <c:v>41122</c:v>
                </c:pt>
                <c:pt idx="850">
                  <c:v>41123</c:v>
                </c:pt>
                <c:pt idx="851">
                  <c:v>41124</c:v>
                </c:pt>
                <c:pt idx="852">
                  <c:v>41127</c:v>
                </c:pt>
                <c:pt idx="853">
                  <c:v>41128</c:v>
                </c:pt>
                <c:pt idx="854">
                  <c:v>41129</c:v>
                </c:pt>
                <c:pt idx="855">
                  <c:v>41130</c:v>
                </c:pt>
                <c:pt idx="856">
                  <c:v>41131</c:v>
                </c:pt>
                <c:pt idx="857">
                  <c:v>41134</c:v>
                </c:pt>
                <c:pt idx="858">
                  <c:v>41135</c:v>
                </c:pt>
                <c:pt idx="859">
                  <c:v>41136</c:v>
                </c:pt>
                <c:pt idx="860">
                  <c:v>41137</c:v>
                </c:pt>
                <c:pt idx="861">
                  <c:v>41138</c:v>
                </c:pt>
                <c:pt idx="862">
                  <c:v>41141</c:v>
                </c:pt>
                <c:pt idx="863">
                  <c:v>41142</c:v>
                </c:pt>
                <c:pt idx="864">
                  <c:v>41143</c:v>
                </c:pt>
                <c:pt idx="865">
                  <c:v>41144</c:v>
                </c:pt>
                <c:pt idx="866">
                  <c:v>41145</c:v>
                </c:pt>
                <c:pt idx="867">
                  <c:v>41148</c:v>
                </c:pt>
                <c:pt idx="868">
                  <c:v>41149</c:v>
                </c:pt>
                <c:pt idx="869">
                  <c:v>41150</c:v>
                </c:pt>
                <c:pt idx="870">
                  <c:v>41151</c:v>
                </c:pt>
                <c:pt idx="871">
                  <c:v>41152</c:v>
                </c:pt>
                <c:pt idx="872">
                  <c:v>41155</c:v>
                </c:pt>
                <c:pt idx="873">
                  <c:v>41156</c:v>
                </c:pt>
                <c:pt idx="874">
                  <c:v>41157</c:v>
                </c:pt>
                <c:pt idx="875">
                  <c:v>41158</c:v>
                </c:pt>
                <c:pt idx="876">
                  <c:v>41159</c:v>
                </c:pt>
                <c:pt idx="877">
                  <c:v>41162</c:v>
                </c:pt>
                <c:pt idx="878">
                  <c:v>41163</c:v>
                </c:pt>
                <c:pt idx="879">
                  <c:v>41164</c:v>
                </c:pt>
                <c:pt idx="880">
                  <c:v>41165</c:v>
                </c:pt>
                <c:pt idx="881">
                  <c:v>41166</c:v>
                </c:pt>
                <c:pt idx="882">
                  <c:v>41169</c:v>
                </c:pt>
                <c:pt idx="883">
                  <c:v>41170</c:v>
                </c:pt>
                <c:pt idx="884">
                  <c:v>41171</c:v>
                </c:pt>
                <c:pt idx="885">
                  <c:v>41172</c:v>
                </c:pt>
                <c:pt idx="886">
                  <c:v>41173</c:v>
                </c:pt>
                <c:pt idx="887">
                  <c:v>41176</c:v>
                </c:pt>
                <c:pt idx="888">
                  <c:v>41177</c:v>
                </c:pt>
                <c:pt idx="889">
                  <c:v>41178</c:v>
                </c:pt>
                <c:pt idx="890">
                  <c:v>41179</c:v>
                </c:pt>
                <c:pt idx="891">
                  <c:v>41180</c:v>
                </c:pt>
                <c:pt idx="892">
                  <c:v>41183</c:v>
                </c:pt>
                <c:pt idx="893">
                  <c:v>41184</c:v>
                </c:pt>
                <c:pt idx="894">
                  <c:v>41185</c:v>
                </c:pt>
                <c:pt idx="895">
                  <c:v>41186</c:v>
                </c:pt>
                <c:pt idx="896">
                  <c:v>41187</c:v>
                </c:pt>
                <c:pt idx="897">
                  <c:v>41190</c:v>
                </c:pt>
                <c:pt idx="898">
                  <c:v>41191</c:v>
                </c:pt>
                <c:pt idx="899">
                  <c:v>41192</c:v>
                </c:pt>
                <c:pt idx="900">
                  <c:v>41193</c:v>
                </c:pt>
                <c:pt idx="901">
                  <c:v>41194</c:v>
                </c:pt>
                <c:pt idx="902">
                  <c:v>41197</c:v>
                </c:pt>
                <c:pt idx="903">
                  <c:v>41198</c:v>
                </c:pt>
                <c:pt idx="904">
                  <c:v>41199</c:v>
                </c:pt>
                <c:pt idx="905">
                  <c:v>41200</c:v>
                </c:pt>
                <c:pt idx="906">
                  <c:v>41201</c:v>
                </c:pt>
                <c:pt idx="907">
                  <c:v>41204</c:v>
                </c:pt>
                <c:pt idx="908">
                  <c:v>41205</c:v>
                </c:pt>
                <c:pt idx="909">
                  <c:v>41206</c:v>
                </c:pt>
                <c:pt idx="910">
                  <c:v>41207</c:v>
                </c:pt>
                <c:pt idx="911">
                  <c:v>41208</c:v>
                </c:pt>
                <c:pt idx="912">
                  <c:v>41211</c:v>
                </c:pt>
                <c:pt idx="913">
                  <c:v>41212</c:v>
                </c:pt>
                <c:pt idx="914">
                  <c:v>41213</c:v>
                </c:pt>
                <c:pt idx="915">
                  <c:v>41214</c:v>
                </c:pt>
                <c:pt idx="916">
                  <c:v>41215</c:v>
                </c:pt>
                <c:pt idx="917">
                  <c:v>41218</c:v>
                </c:pt>
                <c:pt idx="918">
                  <c:v>41219</c:v>
                </c:pt>
                <c:pt idx="919">
                  <c:v>41220</c:v>
                </c:pt>
                <c:pt idx="920">
                  <c:v>41221</c:v>
                </c:pt>
                <c:pt idx="921">
                  <c:v>41222</c:v>
                </c:pt>
                <c:pt idx="922">
                  <c:v>41225</c:v>
                </c:pt>
                <c:pt idx="923">
                  <c:v>41226</c:v>
                </c:pt>
                <c:pt idx="924">
                  <c:v>41227</c:v>
                </c:pt>
                <c:pt idx="925">
                  <c:v>41228</c:v>
                </c:pt>
                <c:pt idx="926">
                  <c:v>41229</c:v>
                </c:pt>
                <c:pt idx="927">
                  <c:v>41232</c:v>
                </c:pt>
                <c:pt idx="928">
                  <c:v>41233</c:v>
                </c:pt>
                <c:pt idx="929">
                  <c:v>41234</c:v>
                </c:pt>
                <c:pt idx="930">
                  <c:v>41235</c:v>
                </c:pt>
                <c:pt idx="931">
                  <c:v>41236</c:v>
                </c:pt>
                <c:pt idx="932">
                  <c:v>41239</c:v>
                </c:pt>
                <c:pt idx="933">
                  <c:v>41240</c:v>
                </c:pt>
                <c:pt idx="934">
                  <c:v>41241</c:v>
                </c:pt>
                <c:pt idx="935">
                  <c:v>41242</c:v>
                </c:pt>
                <c:pt idx="936">
                  <c:v>41243</c:v>
                </c:pt>
                <c:pt idx="937">
                  <c:v>41246</c:v>
                </c:pt>
                <c:pt idx="938">
                  <c:v>41247</c:v>
                </c:pt>
                <c:pt idx="939">
                  <c:v>41248</c:v>
                </c:pt>
                <c:pt idx="940">
                  <c:v>41249</c:v>
                </c:pt>
                <c:pt idx="941">
                  <c:v>41250</c:v>
                </c:pt>
                <c:pt idx="942">
                  <c:v>41253</c:v>
                </c:pt>
                <c:pt idx="943">
                  <c:v>41254</c:v>
                </c:pt>
                <c:pt idx="944">
                  <c:v>41255</c:v>
                </c:pt>
                <c:pt idx="945">
                  <c:v>41256</c:v>
                </c:pt>
                <c:pt idx="946">
                  <c:v>41257</c:v>
                </c:pt>
                <c:pt idx="947">
                  <c:v>41260</c:v>
                </c:pt>
                <c:pt idx="948">
                  <c:v>41261</c:v>
                </c:pt>
                <c:pt idx="949">
                  <c:v>41262</c:v>
                </c:pt>
                <c:pt idx="950">
                  <c:v>41263</c:v>
                </c:pt>
                <c:pt idx="951">
                  <c:v>41264</c:v>
                </c:pt>
                <c:pt idx="952">
                  <c:v>41267</c:v>
                </c:pt>
                <c:pt idx="953">
                  <c:v>41268</c:v>
                </c:pt>
                <c:pt idx="954">
                  <c:v>41269</c:v>
                </c:pt>
                <c:pt idx="955">
                  <c:v>41270</c:v>
                </c:pt>
                <c:pt idx="956">
                  <c:v>41271</c:v>
                </c:pt>
                <c:pt idx="957">
                  <c:v>41274</c:v>
                </c:pt>
                <c:pt idx="958">
                  <c:v>41275</c:v>
                </c:pt>
                <c:pt idx="959">
                  <c:v>41276</c:v>
                </c:pt>
                <c:pt idx="960">
                  <c:v>41277</c:v>
                </c:pt>
                <c:pt idx="961">
                  <c:v>41278</c:v>
                </c:pt>
                <c:pt idx="962">
                  <c:v>41281</c:v>
                </c:pt>
                <c:pt idx="963">
                  <c:v>41282</c:v>
                </c:pt>
                <c:pt idx="964">
                  <c:v>41283</c:v>
                </c:pt>
                <c:pt idx="965">
                  <c:v>41284</c:v>
                </c:pt>
                <c:pt idx="966">
                  <c:v>41285</c:v>
                </c:pt>
                <c:pt idx="967">
                  <c:v>41288</c:v>
                </c:pt>
                <c:pt idx="968">
                  <c:v>41289</c:v>
                </c:pt>
                <c:pt idx="969">
                  <c:v>41290</c:v>
                </c:pt>
                <c:pt idx="970">
                  <c:v>41291</c:v>
                </c:pt>
                <c:pt idx="971">
                  <c:v>41292</c:v>
                </c:pt>
                <c:pt idx="972">
                  <c:v>41295</c:v>
                </c:pt>
                <c:pt idx="973">
                  <c:v>41296</c:v>
                </c:pt>
                <c:pt idx="974">
                  <c:v>41297</c:v>
                </c:pt>
                <c:pt idx="975">
                  <c:v>41298</c:v>
                </c:pt>
                <c:pt idx="976">
                  <c:v>41299</c:v>
                </c:pt>
                <c:pt idx="977">
                  <c:v>41302</c:v>
                </c:pt>
                <c:pt idx="978">
                  <c:v>41303</c:v>
                </c:pt>
                <c:pt idx="979">
                  <c:v>41304</c:v>
                </c:pt>
                <c:pt idx="980">
                  <c:v>41305</c:v>
                </c:pt>
                <c:pt idx="981">
                  <c:v>41306</c:v>
                </c:pt>
                <c:pt idx="982">
                  <c:v>41309</c:v>
                </c:pt>
                <c:pt idx="983">
                  <c:v>41310</c:v>
                </c:pt>
                <c:pt idx="984">
                  <c:v>41311</c:v>
                </c:pt>
                <c:pt idx="985">
                  <c:v>41312</c:v>
                </c:pt>
                <c:pt idx="986">
                  <c:v>41313</c:v>
                </c:pt>
                <c:pt idx="987">
                  <c:v>41316</c:v>
                </c:pt>
                <c:pt idx="988">
                  <c:v>41317</c:v>
                </c:pt>
                <c:pt idx="989">
                  <c:v>41318</c:v>
                </c:pt>
                <c:pt idx="990">
                  <c:v>41319</c:v>
                </c:pt>
                <c:pt idx="991">
                  <c:v>41320</c:v>
                </c:pt>
                <c:pt idx="992">
                  <c:v>41323</c:v>
                </c:pt>
                <c:pt idx="993">
                  <c:v>41324</c:v>
                </c:pt>
                <c:pt idx="994">
                  <c:v>41325</c:v>
                </c:pt>
                <c:pt idx="995">
                  <c:v>41326</c:v>
                </c:pt>
                <c:pt idx="996">
                  <c:v>41327</c:v>
                </c:pt>
                <c:pt idx="997">
                  <c:v>41330</c:v>
                </c:pt>
                <c:pt idx="998">
                  <c:v>41331</c:v>
                </c:pt>
                <c:pt idx="999">
                  <c:v>41332</c:v>
                </c:pt>
                <c:pt idx="1000">
                  <c:v>41333</c:v>
                </c:pt>
                <c:pt idx="1001">
                  <c:v>41334</c:v>
                </c:pt>
                <c:pt idx="1002">
                  <c:v>41337</c:v>
                </c:pt>
                <c:pt idx="1003">
                  <c:v>41338</c:v>
                </c:pt>
                <c:pt idx="1004">
                  <c:v>41339</c:v>
                </c:pt>
                <c:pt idx="1005">
                  <c:v>41340</c:v>
                </c:pt>
                <c:pt idx="1006">
                  <c:v>41341</c:v>
                </c:pt>
                <c:pt idx="1007">
                  <c:v>41344</c:v>
                </c:pt>
                <c:pt idx="1008">
                  <c:v>41345</c:v>
                </c:pt>
                <c:pt idx="1009">
                  <c:v>41346</c:v>
                </c:pt>
                <c:pt idx="1010">
                  <c:v>41347</c:v>
                </c:pt>
                <c:pt idx="1011">
                  <c:v>41348</c:v>
                </c:pt>
                <c:pt idx="1012">
                  <c:v>41351</c:v>
                </c:pt>
                <c:pt idx="1013">
                  <c:v>41352</c:v>
                </c:pt>
                <c:pt idx="1014">
                  <c:v>41353</c:v>
                </c:pt>
                <c:pt idx="1015">
                  <c:v>41354</c:v>
                </c:pt>
                <c:pt idx="1016">
                  <c:v>41355</c:v>
                </c:pt>
                <c:pt idx="1017">
                  <c:v>41358</c:v>
                </c:pt>
                <c:pt idx="1018">
                  <c:v>41359</c:v>
                </c:pt>
                <c:pt idx="1019">
                  <c:v>41360</c:v>
                </c:pt>
                <c:pt idx="1020">
                  <c:v>41361</c:v>
                </c:pt>
                <c:pt idx="1021">
                  <c:v>41362</c:v>
                </c:pt>
                <c:pt idx="1022">
                  <c:v>41365</c:v>
                </c:pt>
                <c:pt idx="1023">
                  <c:v>41366</c:v>
                </c:pt>
                <c:pt idx="1024">
                  <c:v>41367</c:v>
                </c:pt>
                <c:pt idx="1025">
                  <c:v>41368</c:v>
                </c:pt>
                <c:pt idx="1026">
                  <c:v>41369</c:v>
                </c:pt>
                <c:pt idx="1027">
                  <c:v>41372</c:v>
                </c:pt>
                <c:pt idx="1028">
                  <c:v>41373</c:v>
                </c:pt>
                <c:pt idx="1029">
                  <c:v>41374</c:v>
                </c:pt>
                <c:pt idx="1030">
                  <c:v>41375</c:v>
                </c:pt>
                <c:pt idx="1031">
                  <c:v>41376</c:v>
                </c:pt>
                <c:pt idx="1032">
                  <c:v>41379</c:v>
                </c:pt>
                <c:pt idx="1033">
                  <c:v>41380</c:v>
                </c:pt>
                <c:pt idx="1034">
                  <c:v>41381</c:v>
                </c:pt>
                <c:pt idx="1035">
                  <c:v>41382</c:v>
                </c:pt>
                <c:pt idx="1036">
                  <c:v>41383</c:v>
                </c:pt>
                <c:pt idx="1037">
                  <c:v>41386</c:v>
                </c:pt>
                <c:pt idx="1038">
                  <c:v>41387</c:v>
                </c:pt>
                <c:pt idx="1039">
                  <c:v>41388</c:v>
                </c:pt>
                <c:pt idx="1040">
                  <c:v>41389</c:v>
                </c:pt>
                <c:pt idx="1041">
                  <c:v>41390</c:v>
                </c:pt>
                <c:pt idx="1042">
                  <c:v>41393</c:v>
                </c:pt>
                <c:pt idx="1043">
                  <c:v>41394</c:v>
                </c:pt>
                <c:pt idx="1044">
                  <c:v>41395</c:v>
                </c:pt>
                <c:pt idx="1045">
                  <c:v>41396</c:v>
                </c:pt>
                <c:pt idx="1046">
                  <c:v>41397</c:v>
                </c:pt>
                <c:pt idx="1047">
                  <c:v>41400</c:v>
                </c:pt>
                <c:pt idx="1048">
                  <c:v>41401</c:v>
                </c:pt>
                <c:pt idx="1049">
                  <c:v>41402</c:v>
                </c:pt>
                <c:pt idx="1050">
                  <c:v>41403</c:v>
                </c:pt>
                <c:pt idx="1051">
                  <c:v>41404</c:v>
                </c:pt>
                <c:pt idx="1052">
                  <c:v>41407</c:v>
                </c:pt>
                <c:pt idx="1053">
                  <c:v>41408</c:v>
                </c:pt>
                <c:pt idx="1054">
                  <c:v>41409</c:v>
                </c:pt>
                <c:pt idx="1055">
                  <c:v>41410</c:v>
                </c:pt>
                <c:pt idx="1056">
                  <c:v>41411</c:v>
                </c:pt>
                <c:pt idx="1057">
                  <c:v>41414</c:v>
                </c:pt>
                <c:pt idx="1058">
                  <c:v>41415</c:v>
                </c:pt>
                <c:pt idx="1059">
                  <c:v>41416</c:v>
                </c:pt>
                <c:pt idx="1060">
                  <c:v>41417</c:v>
                </c:pt>
                <c:pt idx="1061">
                  <c:v>41418</c:v>
                </c:pt>
                <c:pt idx="1062">
                  <c:v>41421</c:v>
                </c:pt>
                <c:pt idx="1063">
                  <c:v>41422</c:v>
                </c:pt>
                <c:pt idx="1064">
                  <c:v>41423</c:v>
                </c:pt>
                <c:pt idx="1065">
                  <c:v>41424</c:v>
                </c:pt>
                <c:pt idx="1066">
                  <c:v>41425</c:v>
                </c:pt>
                <c:pt idx="1067">
                  <c:v>41428</c:v>
                </c:pt>
                <c:pt idx="1068">
                  <c:v>41429</c:v>
                </c:pt>
                <c:pt idx="1069">
                  <c:v>41430</c:v>
                </c:pt>
                <c:pt idx="1070">
                  <c:v>41431</c:v>
                </c:pt>
                <c:pt idx="1071">
                  <c:v>41432</c:v>
                </c:pt>
                <c:pt idx="1072">
                  <c:v>41435</c:v>
                </c:pt>
                <c:pt idx="1073">
                  <c:v>41436</c:v>
                </c:pt>
                <c:pt idx="1074">
                  <c:v>41437</c:v>
                </c:pt>
                <c:pt idx="1075">
                  <c:v>41438</c:v>
                </c:pt>
                <c:pt idx="1076">
                  <c:v>41439</c:v>
                </c:pt>
                <c:pt idx="1077">
                  <c:v>41442</c:v>
                </c:pt>
                <c:pt idx="1078">
                  <c:v>41443</c:v>
                </c:pt>
                <c:pt idx="1079">
                  <c:v>41444</c:v>
                </c:pt>
                <c:pt idx="1080">
                  <c:v>41445</c:v>
                </c:pt>
                <c:pt idx="1081">
                  <c:v>41446</c:v>
                </c:pt>
                <c:pt idx="1082">
                  <c:v>41449</c:v>
                </c:pt>
                <c:pt idx="1083">
                  <c:v>41450</c:v>
                </c:pt>
                <c:pt idx="1084">
                  <c:v>41451</c:v>
                </c:pt>
                <c:pt idx="1085">
                  <c:v>41452</c:v>
                </c:pt>
                <c:pt idx="1086">
                  <c:v>41453</c:v>
                </c:pt>
                <c:pt idx="1087">
                  <c:v>41456</c:v>
                </c:pt>
                <c:pt idx="1088">
                  <c:v>41457</c:v>
                </c:pt>
                <c:pt idx="1089">
                  <c:v>41458</c:v>
                </c:pt>
                <c:pt idx="1090">
                  <c:v>41459</c:v>
                </c:pt>
                <c:pt idx="1091">
                  <c:v>41460</c:v>
                </c:pt>
                <c:pt idx="1092">
                  <c:v>41463</c:v>
                </c:pt>
                <c:pt idx="1093">
                  <c:v>41464</c:v>
                </c:pt>
                <c:pt idx="1094">
                  <c:v>41465</c:v>
                </c:pt>
                <c:pt idx="1095">
                  <c:v>41466</c:v>
                </c:pt>
                <c:pt idx="1096">
                  <c:v>41467</c:v>
                </c:pt>
                <c:pt idx="1097">
                  <c:v>41470</c:v>
                </c:pt>
                <c:pt idx="1098">
                  <c:v>41471</c:v>
                </c:pt>
                <c:pt idx="1099">
                  <c:v>41472</c:v>
                </c:pt>
                <c:pt idx="1100">
                  <c:v>41473</c:v>
                </c:pt>
                <c:pt idx="1101">
                  <c:v>41474</c:v>
                </c:pt>
                <c:pt idx="1102">
                  <c:v>41477</c:v>
                </c:pt>
                <c:pt idx="1103">
                  <c:v>41478</c:v>
                </c:pt>
                <c:pt idx="1104">
                  <c:v>41479</c:v>
                </c:pt>
                <c:pt idx="1105">
                  <c:v>41480</c:v>
                </c:pt>
                <c:pt idx="1106">
                  <c:v>41481</c:v>
                </c:pt>
                <c:pt idx="1107">
                  <c:v>41484</c:v>
                </c:pt>
                <c:pt idx="1108">
                  <c:v>41485</c:v>
                </c:pt>
                <c:pt idx="1109">
                  <c:v>41486</c:v>
                </c:pt>
                <c:pt idx="1110">
                  <c:v>41487</c:v>
                </c:pt>
                <c:pt idx="1111">
                  <c:v>41488</c:v>
                </c:pt>
                <c:pt idx="1112">
                  <c:v>41491</c:v>
                </c:pt>
                <c:pt idx="1113">
                  <c:v>41492</c:v>
                </c:pt>
                <c:pt idx="1114">
                  <c:v>41493</c:v>
                </c:pt>
                <c:pt idx="1115">
                  <c:v>41494</c:v>
                </c:pt>
                <c:pt idx="1116">
                  <c:v>41495</c:v>
                </c:pt>
                <c:pt idx="1117">
                  <c:v>41498</c:v>
                </c:pt>
                <c:pt idx="1118">
                  <c:v>41499</c:v>
                </c:pt>
                <c:pt idx="1119">
                  <c:v>41500</c:v>
                </c:pt>
                <c:pt idx="1120">
                  <c:v>41501</c:v>
                </c:pt>
                <c:pt idx="1121">
                  <c:v>41502</c:v>
                </c:pt>
                <c:pt idx="1122">
                  <c:v>41505</c:v>
                </c:pt>
                <c:pt idx="1123">
                  <c:v>41506</c:v>
                </c:pt>
                <c:pt idx="1124">
                  <c:v>41507</c:v>
                </c:pt>
                <c:pt idx="1125">
                  <c:v>41508</c:v>
                </c:pt>
                <c:pt idx="1126">
                  <c:v>41509</c:v>
                </c:pt>
                <c:pt idx="1127">
                  <c:v>41512</c:v>
                </c:pt>
                <c:pt idx="1128">
                  <c:v>41513</c:v>
                </c:pt>
                <c:pt idx="1129">
                  <c:v>41514</c:v>
                </c:pt>
                <c:pt idx="1130">
                  <c:v>41515</c:v>
                </c:pt>
                <c:pt idx="1131">
                  <c:v>41516</c:v>
                </c:pt>
                <c:pt idx="1132">
                  <c:v>41519</c:v>
                </c:pt>
                <c:pt idx="1133">
                  <c:v>41520</c:v>
                </c:pt>
                <c:pt idx="1134">
                  <c:v>41521</c:v>
                </c:pt>
                <c:pt idx="1135">
                  <c:v>41522</c:v>
                </c:pt>
                <c:pt idx="1136">
                  <c:v>41523</c:v>
                </c:pt>
                <c:pt idx="1137">
                  <c:v>41526</c:v>
                </c:pt>
                <c:pt idx="1138">
                  <c:v>41527</c:v>
                </c:pt>
                <c:pt idx="1139">
                  <c:v>41528</c:v>
                </c:pt>
                <c:pt idx="1140">
                  <c:v>41529</c:v>
                </c:pt>
                <c:pt idx="1141">
                  <c:v>41530</c:v>
                </c:pt>
                <c:pt idx="1142">
                  <c:v>41533</c:v>
                </c:pt>
                <c:pt idx="1143">
                  <c:v>41534</c:v>
                </c:pt>
                <c:pt idx="1144">
                  <c:v>41535</c:v>
                </c:pt>
                <c:pt idx="1145">
                  <c:v>41536</c:v>
                </c:pt>
                <c:pt idx="1146">
                  <c:v>41537</c:v>
                </c:pt>
                <c:pt idx="1147">
                  <c:v>41540</c:v>
                </c:pt>
                <c:pt idx="1148">
                  <c:v>41541</c:v>
                </c:pt>
                <c:pt idx="1149">
                  <c:v>41542</c:v>
                </c:pt>
                <c:pt idx="1150">
                  <c:v>41543</c:v>
                </c:pt>
                <c:pt idx="1151">
                  <c:v>41544</c:v>
                </c:pt>
                <c:pt idx="1152">
                  <c:v>41547</c:v>
                </c:pt>
                <c:pt idx="1153">
                  <c:v>41548</c:v>
                </c:pt>
                <c:pt idx="1154">
                  <c:v>41549</c:v>
                </c:pt>
                <c:pt idx="1155">
                  <c:v>41550</c:v>
                </c:pt>
                <c:pt idx="1156">
                  <c:v>41551</c:v>
                </c:pt>
                <c:pt idx="1157">
                  <c:v>41554</c:v>
                </c:pt>
                <c:pt idx="1158">
                  <c:v>41555</c:v>
                </c:pt>
                <c:pt idx="1159">
                  <c:v>41556</c:v>
                </c:pt>
                <c:pt idx="1160">
                  <c:v>41557</c:v>
                </c:pt>
                <c:pt idx="1161">
                  <c:v>41558</c:v>
                </c:pt>
                <c:pt idx="1162">
                  <c:v>41561</c:v>
                </c:pt>
                <c:pt idx="1163">
                  <c:v>41562</c:v>
                </c:pt>
                <c:pt idx="1164">
                  <c:v>41563</c:v>
                </c:pt>
                <c:pt idx="1165">
                  <c:v>41564</c:v>
                </c:pt>
                <c:pt idx="1166">
                  <c:v>41565</c:v>
                </c:pt>
                <c:pt idx="1167">
                  <c:v>41568</c:v>
                </c:pt>
                <c:pt idx="1168">
                  <c:v>41569</c:v>
                </c:pt>
                <c:pt idx="1169">
                  <c:v>41570</c:v>
                </c:pt>
                <c:pt idx="1170">
                  <c:v>41571</c:v>
                </c:pt>
                <c:pt idx="1171">
                  <c:v>41572</c:v>
                </c:pt>
                <c:pt idx="1172">
                  <c:v>41575</c:v>
                </c:pt>
                <c:pt idx="1173">
                  <c:v>41576</c:v>
                </c:pt>
                <c:pt idx="1174">
                  <c:v>41577</c:v>
                </c:pt>
                <c:pt idx="1175">
                  <c:v>41578</c:v>
                </c:pt>
                <c:pt idx="1176">
                  <c:v>41579</c:v>
                </c:pt>
                <c:pt idx="1177">
                  <c:v>41582</c:v>
                </c:pt>
                <c:pt idx="1178">
                  <c:v>41583</c:v>
                </c:pt>
                <c:pt idx="1179">
                  <c:v>41584</c:v>
                </c:pt>
                <c:pt idx="1180">
                  <c:v>41585</c:v>
                </c:pt>
                <c:pt idx="1181">
                  <c:v>41586</c:v>
                </c:pt>
                <c:pt idx="1182">
                  <c:v>41589</c:v>
                </c:pt>
                <c:pt idx="1183">
                  <c:v>41590</c:v>
                </c:pt>
                <c:pt idx="1184">
                  <c:v>41591</c:v>
                </c:pt>
                <c:pt idx="1185">
                  <c:v>41592</c:v>
                </c:pt>
                <c:pt idx="1186">
                  <c:v>41593</c:v>
                </c:pt>
                <c:pt idx="1187">
                  <c:v>41596</c:v>
                </c:pt>
                <c:pt idx="1188">
                  <c:v>41597</c:v>
                </c:pt>
                <c:pt idx="1189">
                  <c:v>41598</c:v>
                </c:pt>
                <c:pt idx="1190">
                  <c:v>41599</c:v>
                </c:pt>
                <c:pt idx="1191">
                  <c:v>41600</c:v>
                </c:pt>
                <c:pt idx="1192">
                  <c:v>41603</c:v>
                </c:pt>
                <c:pt idx="1193">
                  <c:v>41604</c:v>
                </c:pt>
                <c:pt idx="1194">
                  <c:v>41605</c:v>
                </c:pt>
                <c:pt idx="1195">
                  <c:v>41606</c:v>
                </c:pt>
                <c:pt idx="1196">
                  <c:v>41607</c:v>
                </c:pt>
                <c:pt idx="1197">
                  <c:v>41610</c:v>
                </c:pt>
                <c:pt idx="1198">
                  <c:v>41611</c:v>
                </c:pt>
                <c:pt idx="1199">
                  <c:v>41612</c:v>
                </c:pt>
                <c:pt idx="1200">
                  <c:v>41613</c:v>
                </c:pt>
                <c:pt idx="1201">
                  <c:v>41614</c:v>
                </c:pt>
                <c:pt idx="1202">
                  <c:v>41617</c:v>
                </c:pt>
                <c:pt idx="1203">
                  <c:v>41618</c:v>
                </c:pt>
                <c:pt idx="1204">
                  <c:v>41619</c:v>
                </c:pt>
                <c:pt idx="1205">
                  <c:v>41620</c:v>
                </c:pt>
                <c:pt idx="1206">
                  <c:v>41621</c:v>
                </c:pt>
                <c:pt idx="1207">
                  <c:v>41624</c:v>
                </c:pt>
                <c:pt idx="1208">
                  <c:v>41625</c:v>
                </c:pt>
                <c:pt idx="1209">
                  <c:v>41626</c:v>
                </c:pt>
                <c:pt idx="1210">
                  <c:v>41627</c:v>
                </c:pt>
                <c:pt idx="1211">
                  <c:v>41628</c:v>
                </c:pt>
                <c:pt idx="1212">
                  <c:v>41631</c:v>
                </c:pt>
                <c:pt idx="1213">
                  <c:v>41632</c:v>
                </c:pt>
                <c:pt idx="1214">
                  <c:v>41633</c:v>
                </c:pt>
                <c:pt idx="1215">
                  <c:v>41634</c:v>
                </c:pt>
                <c:pt idx="1216">
                  <c:v>41635</c:v>
                </c:pt>
                <c:pt idx="1217">
                  <c:v>41638</c:v>
                </c:pt>
                <c:pt idx="1218">
                  <c:v>41639</c:v>
                </c:pt>
                <c:pt idx="1219">
                  <c:v>41640</c:v>
                </c:pt>
                <c:pt idx="1220">
                  <c:v>41641</c:v>
                </c:pt>
                <c:pt idx="1221">
                  <c:v>41642</c:v>
                </c:pt>
                <c:pt idx="1222">
                  <c:v>41645</c:v>
                </c:pt>
                <c:pt idx="1223">
                  <c:v>41646</c:v>
                </c:pt>
                <c:pt idx="1224">
                  <c:v>41647</c:v>
                </c:pt>
                <c:pt idx="1225">
                  <c:v>41648</c:v>
                </c:pt>
                <c:pt idx="1226">
                  <c:v>41649</c:v>
                </c:pt>
                <c:pt idx="1227">
                  <c:v>41652</c:v>
                </c:pt>
                <c:pt idx="1228">
                  <c:v>41653</c:v>
                </c:pt>
                <c:pt idx="1229">
                  <c:v>41654</c:v>
                </c:pt>
                <c:pt idx="1230">
                  <c:v>41655</c:v>
                </c:pt>
                <c:pt idx="1231">
                  <c:v>41656</c:v>
                </c:pt>
                <c:pt idx="1232">
                  <c:v>41659</c:v>
                </c:pt>
                <c:pt idx="1233">
                  <c:v>41660</c:v>
                </c:pt>
                <c:pt idx="1234">
                  <c:v>41661</c:v>
                </c:pt>
                <c:pt idx="1235">
                  <c:v>41662</c:v>
                </c:pt>
                <c:pt idx="1236">
                  <c:v>41663</c:v>
                </c:pt>
                <c:pt idx="1237">
                  <c:v>41666</c:v>
                </c:pt>
                <c:pt idx="1238">
                  <c:v>41667</c:v>
                </c:pt>
                <c:pt idx="1239">
                  <c:v>41668</c:v>
                </c:pt>
                <c:pt idx="1240">
                  <c:v>41669</c:v>
                </c:pt>
                <c:pt idx="1241">
                  <c:v>41670</c:v>
                </c:pt>
                <c:pt idx="1242">
                  <c:v>41673</c:v>
                </c:pt>
                <c:pt idx="1243">
                  <c:v>41674</c:v>
                </c:pt>
                <c:pt idx="1244">
                  <c:v>41675</c:v>
                </c:pt>
                <c:pt idx="1245">
                  <c:v>41676</c:v>
                </c:pt>
                <c:pt idx="1246">
                  <c:v>41677</c:v>
                </c:pt>
                <c:pt idx="1247">
                  <c:v>41680</c:v>
                </c:pt>
                <c:pt idx="1248">
                  <c:v>41681</c:v>
                </c:pt>
                <c:pt idx="1249">
                  <c:v>41682</c:v>
                </c:pt>
                <c:pt idx="1250">
                  <c:v>41683</c:v>
                </c:pt>
                <c:pt idx="1251">
                  <c:v>41684</c:v>
                </c:pt>
                <c:pt idx="1252">
                  <c:v>41687</c:v>
                </c:pt>
                <c:pt idx="1253">
                  <c:v>41688</c:v>
                </c:pt>
                <c:pt idx="1254">
                  <c:v>41689</c:v>
                </c:pt>
                <c:pt idx="1255">
                  <c:v>41690</c:v>
                </c:pt>
                <c:pt idx="1256">
                  <c:v>41691</c:v>
                </c:pt>
                <c:pt idx="1257">
                  <c:v>41694</c:v>
                </c:pt>
                <c:pt idx="1258">
                  <c:v>41695</c:v>
                </c:pt>
                <c:pt idx="1259">
                  <c:v>41696</c:v>
                </c:pt>
                <c:pt idx="1260">
                  <c:v>41697</c:v>
                </c:pt>
                <c:pt idx="1261">
                  <c:v>41698</c:v>
                </c:pt>
                <c:pt idx="1262">
                  <c:v>41701</c:v>
                </c:pt>
                <c:pt idx="1263">
                  <c:v>41702</c:v>
                </c:pt>
                <c:pt idx="1264">
                  <c:v>41703</c:v>
                </c:pt>
                <c:pt idx="1265">
                  <c:v>41704</c:v>
                </c:pt>
                <c:pt idx="1266">
                  <c:v>41705</c:v>
                </c:pt>
                <c:pt idx="1267">
                  <c:v>41708</c:v>
                </c:pt>
                <c:pt idx="1268">
                  <c:v>41709</c:v>
                </c:pt>
                <c:pt idx="1269">
                  <c:v>41710</c:v>
                </c:pt>
                <c:pt idx="1270">
                  <c:v>41711</c:v>
                </c:pt>
                <c:pt idx="1271">
                  <c:v>41712</c:v>
                </c:pt>
                <c:pt idx="1272">
                  <c:v>41715</c:v>
                </c:pt>
                <c:pt idx="1273">
                  <c:v>41716</c:v>
                </c:pt>
                <c:pt idx="1274">
                  <c:v>41717</c:v>
                </c:pt>
                <c:pt idx="1275">
                  <c:v>41718</c:v>
                </c:pt>
                <c:pt idx="1276">
                  <c:v>41719</c:v>
                </c:pt>
                <c:pt idx="1277">
                  <c:v>41722</c:v>
                </c:pt>
                <c:pt idx="1278">
                  <c:v>41723</c:v>
                </c:pt>
                <c:pt idx="1279">
                  <c:v>41724</c:v>
                </c:pt>
                <c:pt idx="1280">
                  <c:v>41725</c:v>
                </c:pt>
                <c:pt idx="1281">
                  <c:v>41726</c:v>
                </c:pt>
                <c:pt idx="1282">
                  <c:v>41729</c:v>
                </c:pt>
                <c:pt idx="1283">
                  <c:v>41730</c:v>
                </c:pt>
                <c:pt idx="1284">
                  <c:v>41731</c:v>
                </c:pt>
                <c:pt idx="1285">
                  <c:v>41732</c:v>
                </c:pt>
                <c:pt idx="1286">
                  <c:v>41733</c:v>
                </c:pt>
                <c:pt idx="1287">
                  <c:v>41736</c:v>
                </c:pt>
                <c:pt idx="1288">
                  <c:v>41737</c:v>
                </c:pt>
                <c:pt idx="1289">
                  <c:v>41738</c:v>
                </c:pt>
                <c:pt idx="1290">
                  <c:v>41739</c:v>
                </c:pt>
                <c:pt idx="1291">
                  <c:v>41740</c:v>
                </c:pt>
                <c:pt idx="1292">
                  <c:v>41743</c:v>
                </c:pt>
                <c:pt idx="1293">
                  <c:v>41744</c:v>
                </c:pt>
                <c:pt idx="1294">
                  <c:v>41745</c:v>
                </c:pt>
                <c:pt idx="1295">
                  <c:v>41746</c:v>
                </c:pt>
                <c:pt idx="1296">
                  <c:v>41747</c:v>
                </c:pt>
                <c:pt idx="1297">
                  <c:v>41750</c:v>
                </c:pt>
                <c:pt idx="1298">
                  <c:v>41751</c:v>
                </c:pt>
                <c:pt idx="1299">
                  <c:v>41752</c:v>
                </c:pt>
                <c:pt idx="1300">
                  <c:v>41753</c:v>
                </c:pt>
                <c:pt idx="1301">
                  <c:v>41754</c:v>
                </c:pt>
                <c:pt idx="1302">
                  <c:v>41757</c:v>
                </c:pt>
                <c:pt idx="1303">
                  <c:v>41758</c:v>
                </c:pt>
                <c:pt idx="1304">
                  <c:v>41759</c:v>
                </c:pt>
                <c:pt idx="1305">
                  <c:v>41760</c:v>
                </c:pt>
                <c:pt idx="1306">
                  <c:v>41761</c:v>
                </c:pt>
                <c:pt idx="1307">
                  <c:v>41764</c:v>
                </c:pt>
                <c:pt idx="1308">
                  <c:v>41765</c:v>
                </c:pt>
                <c:pt idx="1309">
                  <c:v>41766</c:v>
                </c:pt>
                <c:pt idx="1310">
                  <c:v>41767</c:v>
                </c:pt>
                <c:pt idx="1311">
                  <c:v>41768</c:v>
                </c:pt>
                <c:pt idx="1312">
                  <c:v>41771</c:v>
                </c:pt>
                <c:pt idx="1313">
                  <c:v>41772</c:v>
                </c:pt>
                <c:pt idx="1314">
                  <c:v>41773</c:v>
                </c:pt>
                <c:pt idx="1315">
                  <c:v>41774</c:v>
                </c:pt>
                <c:pt idx="1316">
                  <c:v>41775</c:v>
                </c:pt>
                <c:pt idx="1317">
                  <c:v>41778</c:v>
                </c:pt>
                <c:pt idx="1318">
                  <c:v>41779</c:v>
                </c:pt>
                <c:pt idx="1319">
                  <c:v>41780</c:v>
                </c:pt>
                <c:pt idx="1320">
                  <c:v>41781</c:v>
                </c:pt>
                <c:pt idx="1321">
                  <c:v>41782</c:v>
                </c:pt>
                <c:pt idx="1322">
                  <c:v>41785</c:v>
                </c:pt>
                <c:pt idx="1323">
                  <c:v>41786</c:v>
                </c:pt>
                <c:pt idx="1324">
                  <c:v>41787</c:v>
                </c:pt>
                <c:pt idx="1325">
                  <c:v>41788</c:v>
                </c:pt>
                <c:pt idx="1326">
                  <c:v>41789</c:v>
                </c:pt>
                <c:pt idx="1327">
                  <c:v>41792</c:v>
                </c:pt>
                <c:pt idx="1328">
                  <c:v>41793</c:v>
                </c:pt>
                <c:pt idx="1329">
                  <c:v>41794</c:v>
                </c:pt>
                <c:pt idx="1330">
                  <c:v>41795</c:v>
                </c:pt>
                <c:pt idx="1331">
                  <c:v>41796</c:v>
                </c:pt>
                <c:pt idx="1332">
                  <c:v>41799</c:v>
                </c:pt>
                <c:pt idx="1333">
                  <c:v>41800</c:v>
                </c:pt>
                <c:pt idx="1334">
                  <c:v>41801</c:v>
                </c:pt>
                <c:pt idx="1335">
                  <c:v>41802</c:v>
                </c:pt>
                <c:pt idx="1336">
                  <c:v>41803</c:v>
                </c:pt>
                <c:pt idx="1337">
                  <c:v>41806</c:v>
                </c:pt>
                <c:pt idx="1338">
                  <c:v>41807</c:v>
                </c:pt>
                <c:pt idx="1339">
                  <c:v>41808</c:v>
                </c:pt>
                <c:pt idx="1340">
                  <c:v>41809</c:v>
                </c:pt>
                <c:pt idx="1341">
                  <c:v>41810</c:v>
                </c:pt>
                <c:pt idx="1342">
                  <c:v>41813</c:v>
                </c:pt>
                <c:pt idx="1343">
                  <c:v>41814</c:v>
                </c:pt>
                <c:pt idx="1344">
                  <c:v>41815</c:v>
                </c:pt>
                <c:pt idx="1345">
                  <c:v>41816</c:v>
                </c:pt>
                <c:pt idx="1346">
                  <c:v>41817</c:v>
                </c:pt>
                <c:pt idx="1347">
                  <c:v>41820</c:v>
                </c:pt>
                <c:pt idx="1348">
                  <c:v>41821</c:v>
                </c:pt>
                <c:pt idx="1349">
                  <c:v>41822</c:v>
                </c:pt>
                <c:pt idx="1350">
                  <c:v>41823</c:v>
                </c:pt>
                <c:pt idx="1351">
                  <c:v>41824</c:v>
                </c:pt>
                <c:pt idx="1352">
                  <c:v>41827</c:v>
                </c:pt>
                <c:pt idx="1353">
                  <c:v>41828</c:v>
                </c:pt>
                <c:pt idx="1354">
                  <c:v>41829</c:v>
                </c:pt>
                <c:pt idx="1355">
                  <c:v>41830</c:v>
                </c:pt>
                <c:pt idx="1356">
                  <c:v>41831</c:v>
                </c:pt>
                <c:pt idx="1357">
                  <c:v>41834</c:v>
                </c:pt>
                <c:pt idx="1358">
                  <c:v>41835</c:v>
                </c:pt>
                <c:pt idx="1359">
                  <c:v>41836</c:v>
                </c:pt>
                <c:pt idx="1360">
                  <c:v>41837</c:v>
                </c:pt>
                <c:pt idx="1361">
                  <c:v>41838</c:v>
                </c:pt>
                <c:pt idx="1362">
                  <c:v>41841</c:v>
                </c:pt>
                <c:pt idx="1363">
                  <c:v>41842</c:v>
                </c:pt>
                <c:pt idx="1364">
                  <c:v>41843</c:v>
                </c:pt>
                <c:pt idx="1365">
                  <c:v>41844</c:v>
                </c:pt>
                <c:pt idx="1366">
                  <c:v>41845</c:v>
                </c:pt>
                <c:pt idx="1367">
                  <c:v>41848</c:v>
                </c:pt>
                <c:pt idx="1368">
                  <c:v>41849</c:v>
                </c:pt>
                <c:pt idx="1369">
                  <c:v>41850</c:v>
                </c:pt>
                <c:pt idx="1370">
                  <c:v>41851</c:v>
                </c:pt>
                <c:pt idx="1371">
                  <c:v>41852</c:v>
                </c:pt>
                <c:pt idx="1372">
                  <c:v>41855</c:v>
                </c:pt>
                <c:pt idx="1373">
                  <c:v>41856</c:v>
                </c:pt>
                <c:pt idx="1374">
                  <c:v>41857</c:v>
                </c:pt>
                <c:pt idx="1375">
                  <c:v>41858</c:v>
                </c:pt>
                <c:pt idx="1376">
                  <c:v>41859</c:v>
                </c:pt>
                <c:pt idx="1377">
                  <c:v>41862</c:v>
                </c:pt>
                <c:pt idx="1378">
                  <c:v>41863</c:v>
                </c:pt>
                <c:pt idx="1379">
                  <c:v>41864</c:v>
                </c:pt>
                <c:pt idx="1380">
                  <c:v>41865</c:v>
                </c:pt>
                <c:pt idx="1381">
                  <c:v>41866</c:v>
                </c:pt>
                <c:pt idx="1382">
                  <c:v>41869</c:v>
                </c:pt>
                <c:pt idx="1383">
                  <c:v>41870</c:v>
                </c:pt>
                <c:pt idx="1384">
                  <c:v>41871</c:v>
                </c:pt>
                <c:pt idx="1385">
                  <c:v>41872</c:v>
                </c:pt>
                <c:pt idx="1386">
                  <c:v>41873</c:v>
                </c:pt>
                <c:pt idx="1387">
                  <c:v>41876</c:v>
                </c:pt>
                <c:pt idx="1388">
                  <c:v>41877</c:v>
                </c:pt>
                <c:pt idx="1389">
                  <c:v>41878</c:v>
                </c:pt>
                <c:pt idx="1390">
                  <c:v>41879</c:v>
                </c:pt>
                <c:pt idx="1391">
                  <c:v>41880</c:v>
                </c:pt>
                <c:pt idx="1392">
                  <c:v>41883</c:v>
                </c:pt>
                <c:pt idx="1393">
                  <c:v>41884</c:v>
                </c:pt>
                <c:pt idx="1394">
                  <c:v>41885</c:v>
                </c:pt>
                <c:pt idx="1395">
                  <c:v>41886</c:v>
                </c:pt>
                <c:pt idx="1396">
                  <c:v>41887</c:v>
                </c:pt>
                <c:pt idx="1397">
                  <c:v>41890</c:v>
                </c:pt>
                <c:pt idx="1398">
                  <c:v>41891</c:v>
                </c:pt>
                <c:pt idx="1399">
                  <c:v>41892</c:v>
                </c:pt>
                <c:pt idx="1400">
                  <c:v>41893</c:v>
                </c:pt>
                <c:pt idx="1401">
                  <c:v>41894</c:v>
                </c:pt>
                <c:pt idx="1402">
                  <c:v>41897</c:v>
                </c:pt>
                <c:pt idx="1403">
                  <c:v>41898</c:v>
                </c:pt>
                <c:pt idx="1404">
                  <c:v>41899</c:v>
                </c:pt>
                <c:pt idx="1405">
                  <c:v>41900</c:v>
                </c:pt>
                <c:pt idx="1406">
                  <c:v>41901</c:v>
                </c:pt>
                <c:pt idx="1407">
                  <c:v>41904</c:v>
                </c:pt>
                <c:pt idx="1408">
                  <c:v>41905</c:v>
                </c:pt>
                <c:pt idx="1409">
                  <c:v>41906</c:v>
                </c:pt>
                <c:pt idx="1410">
                  <c:v>41907</c:v>
                </c:pt>
                <c:pt idx="1411">
                  <c:v>41908</c:v>
                </c:pt>
                <c:pt idx="1412">
                  <c:v>41911</c:v>
                </c:pt>
                <c:pt idx="1413">
                  <c:v>41912</c:v>
                </c:pt>
                <c:pt idx="1414">
                  <c:v>41913</c:v>
                </c:pt>
                <c:pt idx="1415">
                  <c:v>41914</c:v>
                </c:pt>
                <c:pt idx="1416">
                  <c:v>41915</c:v>
                </c:pt>
                <c:pt idx="1417">
                  <c:v>41918</c:v>
                </c:pt>
                <c:pt idx="1418">
                  <c:v>41919</c:v>
                </c:pt>
                <c:pt idx="1419">
                  <c:v>41920</c:v>
                </c:pt>
                <c:pt idx="1420">
                  <c:v>41921</c:v>
                </c:pt>
                <c:pt idx="1421">
                  <c:v>41922</c:v>
                </c:pt>
                <c:pt idx="1422">
                  <c:v>41925</c:v>
                </c:pt>
                <c:pt idx="1423">
                  <c:v>41926</c:v>
                </c:pt>
                <c:pt idx="1424">
                  <c:v>41927</c:v>
                </c:pt>
                <c:pt idx="1425">
                  <c:v>41928</c:v>
                </c:pt>
                <c:pt idx="1426">
                  <c:v>41929</c:v>
                </c:pt>
                <c:pt idx="1427">
                  <c:v>41932</c:v>
                </c:pt>
                <c:pt idx="1428">
                  <c:v>41933</c:v>
                </c:pt>
                <c:pt idx="1429">
                  <c:v>41934</c:v>
                </c:pt>
                <c:pt idx="1430">
                  <c:v>41935</c:v>
                </c:pt>
                <c:pt idx="1431">
                  <c:v>41936</c:v>
                </c:pt>
                <c:pt idx="1432">
                  <c:v>41939</c:v>
                </c:pt>
                <c:pt idx="1433">
                  <c:v>41940</c:v>
                </c:pt>
                <c:pt idx="1434">
                  <c:v>41941</c:v>
                </c:pt>
                <c:pt idx="1435">
                  <c:v>41942</c:v>
                </c:pt>
                <c:pt idx="1436">
                  <c:v>41943</c:v>
                </c:pt>
                <c:pt idx="1437">
                  <c:v>41946</c:v>
                </c:pt>
                <c:pt idx="1438">
                  <c:v>41947</c:v>
                </c:pt>
                <c:pt idx="1439">
                  <c:v>41948</c:v>
                </c:pt>
                <c:pt idx="1440">
                  <c:v>41949</c:v>
                </c:pt>
                <c:pt idx="1441">
                  <c:v>41950</c:v>
                </c:pt>
                <c:pt idx="1442">
                  <c:v>41953</c:v>
                </c:pt>
                <c:pt idx="1443">
                  <c:v>41954</c:v>
                </c:pt>
                <c:pt idx="1444">
                  <c:v>41955</c:v>
                </c:pt>
                <c:pt idx="1445">
                  <c:v>41956</c:v>
                </c:pt>
                <c:pt idx="1446">
                  <c:v>41957</c:v>
                </c:pt>
                <c:pt idx="1447">
                  <c:v>41960</c:v>
                </c:pt>
                <c:pt idx="1448">
                  <c:v>41961</c:v>
                </c:pt>
                <c:pt idx="1449">
                  <c:v>41962</c:v>
                </c:pt>
                <c:pt idx="1450">
                  <c:v>41963</c:v>
                </c:pt>
                <c:pt idx="1451">
                  <c:v>41964</c:v>
                </c:pt>
                <c:pt idx="1452">
                  <c:v>41967</c:v>
                </c:pt>
                <c:pt idx="1453">
                  <c:v>41968</c:v>
                </c:pt>
                <c:pt idx="1454">
                  <c:v>41969</c:v>
                </c:pt>
                <c:pt idx="1455">
                  <c:v>41970</c:v>
                </c:pt>
                <c:pt idx="1456">
                  <c:v>41971</c:v>
                </c:pt>
                <c:pt idx="1457">
                  <c:v>41974</c:v>
                </c:pt>
                <c:pt idx="1458">
                  <c:v>41975</c:v>
                </c:pt>
                <c:pt idx="1459">
                  <c:v>41976</c:v>
                </c:pt>
                <c:pt idx="1460">
                  <c:v>41977</c:v>
                </c:pt>
                <c:pt idx="1461">
                  <c:v>41978</c:v>
                </c:pt>
                <c:pt idx="1462">
                  <c:v>41981</c:v>
                </c:pt>
                <c:pt idx="1463">
                  <c:v>41982</c:v>
                </c:pt>
                <c:pt idx="1464">
                  <c:v>41983</c:v>
                </c:pt>
                <c:pt idx="1465">
                  <c:v>41984</c:v>
                </c:pt>
                <c:pt idx="1466">
                  <c:v>41985</c:v>
                </c:pt>
                <c:pt idx="1467">
                  <c:v>41988</c:v>
                </c:pt>
                <c:pt idx="1468">
                  <c:v>41989</c:v>
                </c:pt>
                <c:pt idx="1469">
                  <c:v>41990</c:v>
                </c:pt>
                <c:pt idx="1470">
                  <c:v>41991</c:v>
                </c:pt>
                <c:pt idx="1471">
                  <c:v>41992</c:v>
                </c:pt>
                <c:pt idx="1472">
                  <c:v>41995</c:v>
                </c:pt>
                <c:pt idx="1473">
                  <c:v>41996</c:v>
                </c:pt>
                <c:pt idx="1474">
                  <c:v>41997</c:v>
                </c:pt>
                <c:pt idx="1475">
                  <c:v>41998</c:v>
                </c:pt>
                <c:pt idx="1476">
                  <c:v>41999</c:v>
                </c:pt>
                <c:pt idx="1477">
                  <c:v>42002</c:v>
                </c:pt>
                <c:pt idx="1478">
                  <c:v>42003</c:v>
                </c:pt>
                <c:pt idx="1479">
                  <c:v>42004</c:v>
                </c:pt>
                <c:pt idx="1480">
                  <c:v>42005</c:v>
                </c:pt>
                <c:pt idx="1481">
                  <c:v>42006</c:v>
                </c:pt>
                <c:pt idx="1482">
                  <c:v>42009</c:v>
                </c:pt>
                <c:pt idx="1483">
                  <c:v>42010</c:v>
                </c:pt>
                <c:pt idx="1484">
                  <c:v>42011</c:v>
                </c:pt>
                <c:pt idx="1485">
                  <c:v>42012</c:v>
                </c:pt>
                <c:pt idx="1486">
                  <c:v>42013</c:v>
                </c:pt>
                <c:pt idx="1487">
                  <c:v>42016</c:v>
                </c:pt>
                <c:pt idx="1488">
                  <c:v>42017</c:v>
                </c:pt>
                <c:pt idx="1489">
                  <c:v>42018</c:v>
                </c:pt>
                <c:pt idx="1490">
                  <c:v>42019</c:v>
                </c:pt>
                <c:pt idx="1491">
                  <c:v>42020</c:v>
                </c:pt>
                <c:pt idx="1492">
                  <c:v>42023</c:v>
                </c:pt>
                <c:pt idx="1493">
                  <c:v>42024</c:v>
                </c:pt>
                <c:pt idx="1494">
                  <c:v>42025</c:v>
                </c:pt>
                <c:pt idx="1495">
                  <c:v>42026</c:v>
                </c:pt>
                <c:pt idx="1496">
                  <c:v>42027</c:v>
                </c:pt>
                <c:pt idx="1497">
                  <c:v>42030</c:v>
                </c:pt>
                <c:pt idx="1498">
                  <c:v>42031</c:v>
                </c:pt>
                <c:pt idx="1499">
                  <c:v>42032</c:v>
                </c:pt>
                <c:pt idx="1500">
                  <c:v>42033</c:v>
                </c:pt>
                <c:pt idx="1501">
                  <c:v>42034</c:v>
                </c:pt>
                <c:pt idx="1502">
                  <c:v>42037</c:v>
                </c:pt>
                <c:pt idx="1503">
                  <c:v>42038</c:v>
                </c:pt>
                <c:pt idx="1504">
                  <c:v>42039</c:v>
                </c:pt>
                <c:pt idx="1505">
                  <c:v>42040</c:v>
                </c:pt>
                <c:pt idx="1506">
                  <c:v>42041</c:v>
                </c:pt>
                <c:pt idx="1507">
                  <c:v>42044</c:v>
                </c:pt>
                <c:pt idx="1508">
                  <c:v>42045</c:v>
                </c:pt>
                <c:pt idx="1509">
                  <c:v>42046</c:v>
                </c:pt>
                <c:pt idx="1510">
                  <c:v>42047</c:v>
                </c:pt>
                <c:pt idx="1511">
                  <c:v>42048</c:v>
                </c:pt>
                <c:pt idx="1512">
                  <c:v>42051</c:v>
                </c:pt>
                <c:pt idx="1513">
                  <c:v>42052</c:v>
                </c:pt>
                <c:pt idx="1514">
                  <c:v>42053</c:v>
                </c:pt>
                <c:pt idx="1515">
                  <c:v>42054</c:v>
                </c:pt>
                <c:pt idx="1516">
                  <c:v>42055</c:v>
                </c:pt>
                <c:pt idx="1517">
                  <c:v>42058</c:v>
                </c:pt>
                <c:pt idx="1518">
                  <c:v>42059</c:v>
                </c:pt>
                <c:pt idx="1519">
                  <c:v>42060</c:v>
                </c:pt>
                <c:pt idx="1520">
                  <c:v>42061</c:v>
                </c:pt>
                <c:pt idx="1521">
                  <c:v>42062</c:v>
                </c:pt>
                <c:pt idx="1522">
                  <c:v>42065</c:v>
                </c:pt>
                <c:pt idx="1523">
                  <c:v>42066</c:v>
                </c:pt>
                <c:pt idx="1524">
                  <c:v>42067</c:v>
                </c:pt>
                <c:pt idx="1525">
                  <c:v>42068</c:v>
                </c:pt>
                <c:pt idx="1526">
                  <c:v>42069</c:v>
                </c:pt>
                <c:pt idx="1527">
                  <c:v>42072</c:v>
                </c:pt>
                <c:pt idx="1528">
                  <c:v>42073</c:v>
                </c:pt>
                <c:pt idx="1529">
                  <c:v>42074</c:v>
                </c:pt>
                <c:pt idx="1530">
                  <c:v>42075</c:v>
                </c:pt>
                <c:pt idx="1531">
                  <c:v>42076</c:v>
                </c:pt>
                <c:pt idx="1532">
                  <c:v>42079</c:v>
                </c:pt>
                <c:pt idx="1533">
                  <c:v>42080</c:v>
                </c:pt>
                <c:pt idx="1534">
                  <c:v>42081</c:v>
                </c:pt>
                <c:pt idx="1535">
                  <c:v>42082</c:v>
                </c:pt>
                <c:pt idx="1536">
                  <c:v>42083</c:v>
                </c:pt>
                <c:pt idx="1537">
                  <c:v>42086</c:v>
                </c:pt>
                <c:pt idx="1538">
                  <c:v>42087</c:v>
                </c:pt>
                <c:pt idx="1539">
                  <c:v>42088</c:v>
                </c:pt>
                <c:pt idx="1540">
                  <c:v>42089</c:v>
                </c:pt>
                <c:pt idx="1541">
                  <c:v>42090</c:v>
                </c:pt>
                <c:pt idx="1542">
                  <c:v>42093</c:v>
                </c:pt>
                <c:pt idx="1543">
                  <c:v>42094</c:v>
                </c:pt>
                <c:pt idx="1544">
                  <c:v>42095</c:v>
                </c:pt>
                <c:pt idx="1545">
                  <c:v>42096</c:v>
                </c:pt>
                <c:pt idx="1546">
                  <c:v>42097</c:v>
                </c:pt>
                <c:pt idx="1547">
                  <c:v>42100</c:v>
                </c:pt>
                <c:pt idx="1548">
                  <c:v>42101</c:v>
                </c:pt>
                <c:pt idx="1549">
                  <c:v>42102</c:v>
                </c:pt>
                <c:pt idx="1550">
                  <c:v>42103</c:v>
                </c:pt>
                <c:pt idx="1551">
                  <c:v>42104</c:v>
                </c:pt>
                <c:pt idx="1552">
                  <c:v>42107</c:v>
                </c:pt>
                <c:pt idx="1553">
                  <c:v>42108</c:v>
                </c:pt>
                <c:pt idx="1554">
                  <c:v>42109</c:v>
                </c:pt>
                <c:pt idx="1555">
                  <c:v>42110</c:v>
                </c:pt>
                <c:pt idx="1556">
                  <c:v>42111</c:v>
                </c:pt>
                <c:pt idx="1557">
                  <c:v>42114</c:v>
                </c:pt>
                <c:pt idx="1558">
                  <c:v>42115</c:v>
                </c:pt>
                <c:pt idx="1559">
                  <c:v>42116</c:v>
                </c:pt>
                <c:pt idx="1560">
                  <c:v>42117</c:v>
                </c:pt>
                <c:pt idx="1561">
                  <c:v>42118</c:v>
                </c:pt>
                <c:pt idx="1562">
                  <c:v>42121</c:v>
                </c:pt>
                <c:pt idx="1563">
                  <c:v>42122</c:v>
                </c:pt>
                <c:pt idx="1564">
                  <c:v>42123</c:v>
                </c:pt>
                <c:pt idx="1565">
                  <c:v>42124</c:v>
                </c:pt>
                <c:pt idx="1566">
                  <c:v>42125</c:v>
                </c:pt>
                <c:pt idx="1567">
                  <c:v>42128</c:v>
                </c:pt>
                <c:pt idx="1568">
                  <c:v>42129</c:v>
                </c:pt>
                <c:pt idx="1569">
                  <c:v>42130</c:v>
                </c:pt>
                <c:pt idx="1570">
                  <c:v>42131</c:v>
                </c:pt>
                <c:pt idx="1571">
                  <c:v>42132</c:v>
                </c:pt>
                <c:pt idx="1572">
                  <c:v>42135</c:v>
                </c:pt>
                <c:pt idx="1573">
                  <c:v>42136</c:v>
                </c:pt>
                <c:pt idx="1574">
                  <c:v>42137</c:v>
                </c:pt>
                <c:pt idx="1575">
                  <c:v>42138</c:v>
                </c:pt>
                <c:pt idx="1576">
                  <c:v>42139</c:v>
                </c:pt>
                <c:pt idx="1577">
                  <c:v>42142</c:v>
                </c:pt>
                <c:pt idx="1578">
                  <c:v>42143</c:v>
                </c:pt>
                <c:pt idx="1579">
                  <c:v>42144</c:v>
                </c:pt>
                <c:pt idx="1580">
                  <c:v>42145</c:v>
                </c:pt>
                <c:pt idx="1581">
                  <c:v>42146</c:v>
                </c:pt>
                <c:pt idx="1582">
                  <c:v>42149</c:v>
                </c:pt>
                <c:pt idx="1583">
                  <c:v>42150</c:v>
                </c:pt>
                <c:pt idx="1584">
                  <c:v>42151</c:v>
                </c:pt>
                <c:pt idx="1585">
                  <c:v>42152</c:v>
                </c:pt>
                <c:pt idx="1586">
                  <c:v>42153</c:v>
                </c:pt>
                <c:pt idx="1587">
                  <c:v>42156</c:v>
                </c:pt>
                <c:pt idx="1588">
                  <c:v>42157</c:v>
                </c:pt>
                <c:pt idx="1589">
                  <c:v>42158</c:v>
                </c:pt>
                <c:pt idx="1590">
                  <c:v>42159</c:v>
                </c:pt>
                <c:pt idx="1591">
                  <c:v>42160</c:v>
                </c:pt>
                <c:pt idx="1592">
                  <c:v>42163</c:v>
                </c:pt>
                <c:pt idx="1593">
                  <c:v>42164</c:v>
                </c:pt>
                <c:pt idx="1594">
                  <c:v>42165</c:v>
                </c:pt>
                <c:pt idx="1595">
                  <c:v>42166</c:v>
                </c:pt>
                <c:pt idx="1596">
                  <c:v>42167</c:v>
                </c:pt>
                <c:pt idx="1597">
                  <c:v>42170</c:v>
                </c:pt>
                <c:pt idx="1598">
                  <c:v>42171</c:v>
                </c:pt>
                <c:pt idx="1599">
                  <c:v>42172</c:v>
                </c:pt>
                <c:pt idx="1600">
                  <c:v>42173</c:v>
                </c:pt>
                <c:pt idx="1601">
                  <c:v>42174</c:v>
                </c:pt>
                <c:pt idx="1602">
                  <c:v>42177</c:v>
                </c:pt>
                <c:pt idx="1603">
                  <c:v>42178</c:v>
                </c:pt>
                <c:pt idx="1604">
                  <c:v>42179</c:v>
                </c:pt>
                <c:pt idx="1605">
                  <c:v>42180</c:v>
                </c:pt>
                <c:pt idx="1606">
                  <c:v>42181</c:v>
                </c:pt>
                <c:pt idx="1607">
                  <c:v>42184</c:v>
                </c:pt>
                <c:pt idx="1608">
                  <c:v>42185</c:v>
                </c:pt>
                <c:pt idx="1609">
                  <c:v>42186</c:v>
                </c:pt>
                <c:pt idx="1610">
                  <c:v>42187</c:v>
                </c:pt>
                <c:pt idx="1611">
                  <c:v>42188</c:v>
                </c:pt>
                <c:pt idx="1612">
                  <c:v>42191</c:v>
                </c:pt>
                <c:pt idx="1613">
                  <c:v>42192</c:v>
                </c:pt>
                <c:pt idx="1614">
                  <c:v>42193</c:v>
                </c:pt>
                <c:pt idx="1615">
                  <c:v>42194</c:v>
                </c:pt>
                <c:pt idx="1616">
                  <c:v>42195</c:v>
                </c:pt>
                <c:pt idx="1617">
                  <c:v>42198</c:v>
                </c:pt>
                <c:pt idx="1618">
                  <c:v>42199</c:v>
                </c:pt>
                <c:pt idx="1619">
                  <c:v>42200</c:v>
                </c:pt>
                <c:pt idx="1620">
                  <c:v>42201</c:v>
                </c:pt>
                <c:pt idx="1621">
                  <c:v>42202</c:v>
                </c:pt>
                <c:pt idx="1622">
                  <c:v>42205</c:v>
                </c:pt>
                <c:pt idx="1623">
                  <c:v>42206</c:v>
                </c:pt>
                <c:pt idx="1624">
                  <c:v>42207</c:v>
                </c:pt>
                <c:pt idx="1625">
                  <c:v>42208</c:v>
                </c:pt>
                <c:pt idx="1626">
                  <c:v>42209</c:v>
                </c:pt>
                <c:pt idx="1627">
                  <c:v>42212</c:v>
                </c:pt>
                <c:pt idx="1628">
                  <c:v>42213</c:v>
                </c:pt>
                <c:pt idx="1629">
                  <c:v>42214</c:v>
                </c:pt>
                <c:pt idx="1630">
                  <c:v>42215</c:v>
                </c:pt>
                <c:pt idx="1631">
                  <c:v>42216</c:v>
                </c:pt>
                <c:pt idx="1632">
                  <c:v>42219</c:v>
                </c:pt>
                <c:pt idx="1633">
                  <c:v>42220</c:v>
                </c:pt>
                <c:pt idx="1634">
                  <c:v>42221</c:v>
                </c:pt>
                <c:pt idx="1635">
                  <c:v>42222</c:v>
                </c:pt>
                <c:pt idx="1636">
                  <c:v>42223</c:v>
                </c:pt>
                <c:pt idx="1637">
                  <c:v>42226</c:v>
                </c:pt>
                <c:pt idx="1638">
                  <c:v>42227</c:v>
                </c:pt>
                <c:pt idx="1639">
                  <c:v>42228</c:v>
                </c:pt>
                <c:pt idx="1640">
                  <c:v>42229</c:v>
                </c:pt>
                <c:pt idx="1641">
                  <c:v>42230</c:v>
                </c:pt>
                <c:pt idx="1642">
                  <c:v>42233</c:v>
                </c:pt>
                <c:pt idx="1643">
                  <c:v>42234</c:v>
                </c:pt>
                <c:pt idx="1644">
                  <c:v>42235</c:v>
                </c:pt>
                <c:pt idx="1645">
                  <c:v>42236</c:v>
                </c:pt>
                <c:pt idx="1646">
                  <c:v>42237</c:v>
                </c:pt>
                <c:pt idx="1647">
                  <c:v>42240</c:v>
                </c:pt>
                <c:pt idx="1648">
                  <c:v>42241</c:v>
                </c:pt>
                <c:pt idx="1649">
                  <c:v>42242</c:v>
                </c:pt>
                <c:pt idx="1650">
                  <c:v>42243</c:v>
                </c:pt>
                <c:pt idx="1651">
                  <c:v>42244</c:v>
                </c:pt>
                <c:pt idx="1652">
                  <c:v>42247</c:v>
                </c:pt>
                <c:pt idx="1653">
                  <c:v>42248</c:v>
                </c:pt>
                <c:pt idx="1654">
                  <c:v>42249</c:v>
                </c:pt>
                <c:pt idx="1655">
                  <c:v>42250</c:v>
                </c:pt>
                <c:pt idx="1656">
                  <c:v>42251</c:v>
                </c:pt>
                <c:pt idx="1657">
                  <c:v>42254</c:v>
                </c:pt>
                <c:pt idx="1658">
                  <c:v>42255</c:v>
                </c:pt>
                <c:pt idx="1659">
                  <c:v>42256</c:v>
                </c:pt>
                <c:pt idx="1660">
                  <c:v>42257</c:v>
                </c:pt>
                <c:pt idx="1661">
                  <c:v>42258</c:v>
                </c:pt>
                <c:pt idx="1662">
                  <c:v>42261</c:v>
                </c:pt>
                <c:pt idx="1663">
                  <c:v>42262</c:v>
                </c:pt>
                <c:pt idx="1664">
                  <c:v>42263</c:v>
                </c:pt>
                <c:pt idx="1665">
                  <c:v>42264</c:v>
                </c:pt>
                <c:pt idx="1666">
                  <c:v>42265</c:v>
                </c:pt>
                <c:pt idx="1667">
                  <c:v>42268</c:v>
                </c:pt>
                <c:pt idx="1668">
                  <c:v>42269</c:v>
                </c:pt>
                <c:pt idx="1669">
                  <c:v>42270</c:v>
                </c:pt>
                <c:pt idx="1670">
                  <c:v>42271</c:v>
                </c:pt>
                <c:pt idx="1671">
                  <c:v>42272</c:v>
                </c:pt>
                <c:pt idx="1672">
                  <c:v>42275</c:v>
                </c:pt>
                <c:pt idx="1673">
                  <c:v>42276</c:v>
                </c:pt>
                <c:pt idx="1674">
                  <c:v>42277</c:v>
                </c:pt>
                <c:pt idx="1675">
                  <c:v>42278</c:v>
                </c:pt>
                <c:pt idx="1676">
                  <c:v>42279</c:v>
                </c:pt>
                <c:pt idx="1677">
                  <c:v>42282</c:v>
                </c:pt>
                <c:pt idx="1678">
                  <c:v>42283</c:v>
                </c:pt>
                <c:pt idx="1679">
                  <c:v>42284</c:v>
                </c:pt>
                <c:pt idx="1680">
                  <c:v>42285</c:v>
                </c:pt>
                <c:pt idx="1681">
                  <c:v>42286</c:v>
                </c:pt>
                <c:pt idx="1682">
                  <c:v>42289</c:v>
                </c:pt>
                <c:pt idx="1683">
                  <c:v>42290</c:v>
                </c:pt>
                <c:pt idx="1684">
                  <c:v>42291</c:v>
                </c:pt>
                <c:pt idx="1685">
                  <c:v>42292</c:v>
                </c:pt>
                <c:pt idx="1686">
                  <c:v>42293</c:v>
                </c:pt>
                <c:pt idx="1687">
                  <c:v>42296</c:v>
                </c:pt>
                <c:pt idx="1688">
                  <c:v>42297</c:v>
                </c:pt>
                <c:pt idx="1689">
                  <c:v>42298</c:v>
                </c:pt>
                <c:pt idx="1690">
                  <c:v>42299</c:v>
                </c:pt>
                <c:pt idx="1691">
                  <c:v>42300</c:v>
                </c:pt>
                <c:pt idx="1692">
                  <c:v>42303</c:v>
                </c:pt>
                <c:pt idx="1693">
                  <c:v>42304</c:v>
                </c:pt>
                <c:pt idx="1694">
                  <c:v>42305</c:v>
                </c:pt>
                <c:pt idx="1695">
                  <c:v>42306</c:v>
                </c:pt>
                <c:pt idx="1696">
                  <c:v>42307</c:v>
                </c:pt>
                <c:pt idx="1697">
                  <c:v>42310</c:v>
                </c:pt>
                <c:pt idx="1698">
                  <c:v>42311</c:v>
                </c:pt>
                <c:pt idx="1699">
                  <c:v>42312</c:v>
                </c:pt>
                <c:pt idx="1700">
                  <c:v>42313</c:v>
                </c:pt>
                <c:pt idx="1701">
                  <c:v>42314</c:v>
                </c:pt>
                <c:pt idx="1702">
                  <c:v>42317</c:v>
                </c:pt>
                <c:pt idx="1703">
                  <c:v>42318</c:v>
                </c:pt>
                <c:pt idx="1704">
                  <c:v>42319</c:v>
                </c:pt>
                <c:pt idx="1705">
                  <c:v>42320</c:v>
                </c:pt>
                <c:pt idx="1706">
                  <c:v>42321</c:v>
                </c:pt>
                <c:pt idx="1707">
                  <c:v>42324</c:v>
                </c:pt>
                <c:pt idx="1708">
                  <c:v>42325</c:v>
                </c:pt>
                <c:pt idx="1709">
                  <c:v>42326</c:v>
                </c:pt>
                <c:pt idx="1710">
                  <c:v>42327</c:v>
                </c:pt>
                <c:pt idx="1711">
                  <c:v>42328</c:v>
                </c:pt>
                <c:pt idx="1712">
                  <c:v>42331</c:v>
                </c:pt>
                <c:pt idx="1713">
                  <c:v>42332</c:v>
                </c:pt>
                <c:pt idx="1714">
                  <c:v>42333</c:v>
                </c:pt>
                <c:pt idx="1715">
                  <c:v>42334</c:v>
                </c:pt>
                <c:pt idx="1716">
                  <c:v>42335</c:v>
                </c:pt>
                <c:pt idx="1717">
                  <c:v>42338</c:v>
                </c:pt>
                <c:pt idx="1718">
                  <c:v>42339</c:v>
                </c:pt>
                <c:pt idx="1719">
                  <c:v>42340</c:v>
                </c:pt>
                <c:pt idx="1720">
                  <c:v>42341</c:v>
                </c:pt>
                <c:pt idx="1721">
                  <c:v>42342</c:v>
                </c:pt>
                <c:pt idx="1722">
                  <c:v>42345</c:v>
                </c:pt>
                <c:pt idx="1723">
                  <c:v>42346</c:v>
                </c:pt>
                <c:pt idx="1724">
                  <c:v>42347</c:v>
                </c:pt>
                <c:pt idx="1725">
                  <c:v>42348</c:v>
                </c:pt>
                <c:pt idx="1726">
                  <c:v>42349</c:v>
                </c:pt>
                <c:pt idx="1727">
                  <c:v>42352</c:v>
                </c:pt>
                <c:pt idx="1728">
                  <c:v>42353</c:v>
                </c:pt>
                <c:pt idx="1729">
                  <c:v>42354</c:v>
                </c:pt>
                <c:pt idx="1730">
                  <c:v>42355</c:v>
                </c:pt>
                <c:pt idx="1731">
                  <c:v>42356</c:v>
                </c:pt>
                <c:pt idx="1732">
                  <c:v>42359</c:v>
                </c:pt>
                <c:pt idx="1733">
                  <c:v>42360</c:v>
                </c:pt>
                <c:pt idx="1734">
                  <c:v>42361</c:v>
                </c:pt>
                <c:pt idx="1735">
                  <c:v>42362</c:v>
                </c:pt>
                <c:pt idx="1736">
                  <c:v>42363</c:v>
                </c:pt>
                <c:pt idx="1737">
                  <c:v>42366</c:v>
                </c:pt>
                <c:pt idx="1738">
                  <c:v>42367</c:v>
                </c:pt>
                <c:pt idx="1739">
                  <c:v>42368</c:v>
                </c:pt>
                <c:pt idx="1740">
                  <c:v>42369</c:v>
                </c:pt>
                <c:pt idx="1741">
                  <c:v>42370</c:v>
                </c:pt>
                <c:pt idx="1742">
                  <c:v>42373</c:v>
                </c:pt>
                <c:pt idx="1743">
                  <c:v>42374</c:v>
                </c:pt>
                <c:pt idx="1744">
                  <c:v>42375</c:v>
                </c:pt>
                <c:pt idx="1745">
                  <c:v>42376</c:v>
                </c:pt>
                <c:pt idx="1746">
                  <c:v>42377</c:v>
                </c:pt>
                <c:pt idx="1747">
                  <c:v>42380</c:v>
                </c:pt>
                <c:pt idx="1748">
                  <c:v>42381</c:v>
                </c:pt>
                <c:pt idx="1749">
                  <c:v>42382</c:v>
                </c:pt>
                <c:pt idx="1750">
                  <c:v>42383</c:v>
                </c:pt>
                <c:pt idx="1751">
                  <c:v>42384</c:v>
                </c:pt>
                <c:pt idx="1752">
                  <c:v>42387</c:v>
                </c:pt>
                <c:pt idx="1753">
                  <c:v>42388</c:v>
                </c:pt>
                <c:pt idx="1754">
                  <c:v>42389</c:v>
                </c:pt>
                <c:pt idx="1755">
                  <c:v>42390</c:v>
                </c:pt>
                <c:pt idx="1756">
                  <c:v>42391</c:v>
                </c:pt>
                <c:pt idx="1757">
                  <c:v>42394</c:v>
                </c:pt>
                <c:pt idx="1758">
                  <c:v>42395</c:v>
                </c:pt>
                <c:pt idx="1759">
                  <c:v>42396</c:v>
                </c:pt>
                <c:pt idx="1760">
                  <c:v>42397</c:v>
                </c:pt>
                <c:pt idx="1761">
                  <c:v>42398</c:v>
                </c:pt>
                <c:pt idx="1762">
                  <c:v>42401</c:v>
                </c:pt>
                <c:pt idx="1763">
                  <c:v>42402</c:v>
                </c:pt>
                <c:pt idx="1764">
                  <c:v>42403</c:v>
                </c:pt>
                <c:pt idx="1765">
                  <c:v>42404</c:v>
                </c:pt>
                <c:pt idx="1766">
                  <c:v>42405</c:v>
                </c:pt>
                <c:pt idx="1767">
                  <c:v>42408</c:v>
                </c:pt>
                <c:pt idx="1768">
                  <c:v>42409</c:v>
                </c:pt>
                <c:pt idx="1769">
                  <c:v>42410</c:v>
                </c:pt>
                <c:pt idx="1770">
                  <c:v>42411</c:v>
                </c:pt>
                <c:pt idx="1771">
                  <c:v>42412</c:v>
                </c:pt>
                <c:pt idx="1772">
                  <c:v>42415</c:v>
                </c:pt>
                <c:pt idx="1773">
                  <c:v>42416</c:v>
                </c:pt>
                <c:pt idx="1774">
                  <c:v>42417</c:v>
                </c:pt>
                <c:pt idx="1775">
                  <c:v>42418</c:v>
                </c:pt>
                <c:pt idx="1776">
                  <c:v>42419</c:v>
                </c:pt>
                <c:pt idx="1777">
                  <c:v>42422</c:v>
                </c:pt>
                <c:pt idx="1778">
                  <c:v>42423</c:v>
                </c:pt>
                <c:pt idx="1779">
                  <c:v>42424</c:v>
                </c:pt>
                <c:pt idx="1780">
                  <c:v>42425</c:v>
                </c:pt>
                <c:pt idx="1781">
                  <c:v>42426</c:v>
                </c:pt>
                <c:pt idx="1782">
                  <c:v>42429</c:v>
                </c:pt>
                <c:pt idx="1783">
                  <c:v>42430</c:v>
                </c:pt>
                <c:pt idx="1784">
                  <c:v>42431</c:v>
                </c:pt>
                <c:pt idx="1785">
                  <c:v>42432</c:v>
                </c:pt>
                <c:pt idx="1786">
                  <c:v>42433</c:v>
                </c:pt>
                <c:pt idx="1787">
                  <c:v>42436</c:v>
                </c:pt>
                <c:pt idx="1788">
                  <c:v>42437</c:v>
                </c:pt>
                <c:pt idx="1789">
                  <c:v>42438</c:v>
                </c:pt>
                <c:pt idx="1790">
                  <c:v>42439</c:v>
                </c:pt>
                <c:pt idx="1791">
                  <c:v>42440</c:v>
                </c:pt>
                <c:pt idx="1792">
                  <c:v>42443</c:v>
                </c:pt>
                <c:pt idx="1793">
                  <c:v>42444</c:v>
                </c:pt>
                <c:pt idx="1794">
                  <c:v>42445</c:v>
                </c:pt>
                <c:pt idx="1795">
                  <c:v>42446</c:v>
                </c:pt>
                <c:pt idx="1796">
                  <c:v>42447</c:v>
                </c:pt>
                <c:pt idx="1797">
                  <c:v>42450</c:v>
                </c:pt>
                <c:pt idx="1798">
                  <c:v>42451</c:v>
                </c:pt>
                <c:pt idx="1799">
                  <c:v>42452</c:v>
                </c:pt>
                <c:pt idx="1800">
                  <c:v>42453</c:v>
                </c:pt>
                <c:pt idx="1801">
                  <c:v>42454</c:v>
                </c:pt>
                <c:pt idx="1802">
                  <c:v>42457</c:v>
                </c:pt>
                <c:pt idx="1803">
                  <c:v>42458</c:v>
                </c:pt>
                <c:pt idx="1804">
                  <c:v>42459</c:v>
                </c:pt>
                <c:pt idx="1805">
                  <c:v>42460</c:v>
                </c:pt>
                <c:pt idx="1806">
                  <c:v>42461</c:v>
                </c:pt>
                <c:pt idx="1807">
                  <c:v>42464</c:v>
                </c:pt>
                <c:pt idx="1808">
                  <c:v>42465</c:v>
                </c:pt>
                <c:pt idx="1809">
                  <c:v>42466</c:v>
                </c:pt>
                <c:pt idx="1810">
                  <c:v>42467</c:v>
                </c:pt>
                <c:pt idx="1811">
                  <c:v>42468</c:v>
                </c:pt>
                <c:pt idx="1812">
                  <c:v>42471</c:v>
                </c:pt>
                <c:pt idx="1813">
                  <c:v>42472</c:v>
                </c:pt>
                <c:pt idx="1814">
                  <c:v>42473</c:v>
                </c:pt>
                <c:pt idx="1815">
                  <c:v>42474</c:v>
                </c:pt>
                <c:pt idx="1816">
                  <c:v>42475</c:v>
                </c:pt>
                <c:pt idx="1817">
                  <c:v>42478</c:v>
                </c:pt>
                <c:pt idx="1818">
                  <c:v>42479</c:v>
                </c:pt>
                <c:pt idx="1819">
                  <c:v>42480</c:v>
                </c:pt>
                <c:pt idx="1820">
                  <c:v>42481</c:v>
                </c:pt>
                <c:pt idx="1821">
                  <c:v>42482</c:v>
                </c:pt>
                <c:pt idx="1822">
                  <c:v>42485</c:v>
                </c:pt>
                <c:pt idx="1823">
                  <c:v>42486</c:v>
                </c:pt>
                <c:pt idx="1824">
                  <c:v>42487</c:v>
                </c:pt>
                <c:pt idx="1825">
                  <c:v>42488</c:v>
                </c:pt>
                <c:pt idx="1826">
                  <c:v>42489</c:v>
                </c:pt>
                <c:pt idx="1827">
                  <c:v>42492</c:v>
                </c:pt>
                <c:pt idx="1828">
                  <c:v>42493</c:v>
                </c:pt>
                <c:pt idx="1829">
                  <c:v>42494</c:v>
                </c:pt>
                <c:pt idx="1830">
                  <c:v>42495</c:v>
                </c:pt>
                <c:pt idx="1831">
                  <c:v>42496</c:v>
                </c:pt>
                <c:pt idx="1832">
                  <c:v>42499</c:v>
                </c:pt>
                <c:pt idx="1833">
                  <c:v>42500</c:v>
                </c:pt>
                <c:pt idx="1834">
                  <c:v>42501</c:v>
                </c:pt>
                <c:pt idx="1835">
                  <c:v>42502</c:v>
                </c:pt>
                <c:pt idx="1836">
                  <c:v>42503</c:v>
                </c:pt>
                <c:pt idx="1837">
                  <c:v>42506</c:v>
                </c:pt>
                <c:pt idx="1838">
                  <c:v>42507</c:v>
                </c:pt>
                <c:pt idx="1839">
                  <c:v>42508</c:v>
                </c:pt>
                <c:pt idx="1840">
                  <c:v>42509</c:v>
                </c:pt>
                <c:pt idx="1841">
                  <c:v>42510</c:v>
                </c:pt>
                <c:pt idx="1842">
                  <c:v>42513</c:v>
                </c:pt>
                <c:pt idx="1843">
                  <c:v>42514</c:v>
                </c:pt>
                <c:pt idx="1844">
                  <c:v>42515</c:v>
                </c:pt>
                <c:pt idx="1845">
                  <c:v>42516</c:v>
                </c:pt>
                <c:pt idx="1846">
                  <c:v>42517</c:v>
                </c:pt>
                <c:pt idx="1847">
                  <c:v>42520</c:v>
                </c:pt>
                <c:pt idx="1848">
                  <c:v>42521</c:v>
                </c:pt>
                <c:pt idx="1849">
                  <c:v>42522</c:v>
                </c:pt>
                <c:pt idx="1850">
                  <c:v>42523</c:v>
                </c:pt>
                <c:pt idx="1851">
                  <c:v>42524</c:v>
                </c:pt>
                <c:pt idx="1852">
                  <c:v>42527</c:v>
                </c:pt>
                <c:pt idx="1853">
                  <c:v>42528</c:v>
                </c:pt>
                <c:pt idx="1854">
                  <c:v>42529</c:v>
                </c:pt>
                <c:pt idx="1855">
                  <c:v>42530</c:v>
                </c:pt>
                <c:pt idx="1856">
                  <c:v>42531</c:v>
                </c:pt>
                <c:pt idx="1857">
                  <c:v>42534</c:v>
                </c:pt>
                <c:pt idx="1858">
                  <c:v>42535</c:v>
                </c:pt>
                <c:pt idx="1859">
                  <c:v>42536</c:v>
                </c:pt>
                <c:pt idx="1860">
                  <c:v>42537</c:v>
                </c:pt>
                <c:pt idx="1861">
                  <c:v>42538</c:v>
                </c:pt>
                <c:pt idx="1862">
                  <c:v>42541</c:v>
                </c:pt>
                <c:pt idx="1863">
                  <c:v>42542</c:v>
                </c:pt>
                <c:pt idx="1864">
                  <c:v>42543</c:v>
                </c:pt>
                <c:pt idx="1865">
                  <c:v>42544</c:v>
                </c:pt>
                <c:pt idx="1866">
                  <c:v>42545</c:v>
                </c:pt>
                <c:pt idx="1867">
                  <c:v>42548</c:v>
                </c:pt>
                <c:pt idx="1868">
                  <c:v>42549</c:v>
                </c:pt>
                <c:pt idx="1869">
                  <c:v>42550</c:v>
                </c:pt>
                <c:pt idx="1870">
                  <c:v>42551</c:v>
                </c:pt>
                <c:pt idx="1871">
                  <c:v>42552</c:v>
                </c:pt>
                <c:pt idx="1872">
                  <c:v>42555</c:v>
                </c:pt>
                <c:pt idx="1873">
                  <c:v>42556</c:v>
                </c:pt>
                <c:pt idx="1874">
                  <c:v>42557</c:v>
                </c:pt>
                <c:pt idx="1875">
                  <c:v>42558</c:v>
                </c:pt>
                <c:pt idx="1876">
                  <c:v>42559</c:v>
                </c:pt>
                <c:pt idx="1877">
                  <c:v>42562</c:v>
                </c:pt>
                <c:pt idx="1878">
                  <c:v>42563</c:v>
                </c:pt>
                <c:pt idx="1879">
                  <c:v>42564</c:v>
                </c:pt>
                <c:pt idx="1880">
                  <c:v>42565</c:v>
                </c:pt>
                <c:pt idx="1881">
                  <c:v>42566</c:v>
                </c:pt>
                <c:pt idx="1882">
                  <c:v>42569</c:v>
                </c:pt>
                <c:pt idx="1883">
                  <c:v>42570</c:v>
                </c:pt>
                <c:pt idx="1884">
                  <c:v>42571</c:v>
                </c:pt>
                <c:pt idx="1885">
                  <c:v>42572</c:v>
                </c:pt>
                <c:pt idx="1886">
                  <c:v>42573</c:v>
                </c:pt>
                <c:pt idx="1887">
                  <c:v>42576</c:v>
                </c:pt>
                <c:pt idx="1888">
                  <c:v>42577</c:v>
                </c:pt>
                <c:pt idx="1889">
                  <c:v>42578</c:v>
                </c:pt>
                <c:pt idx="1890">
                  <c:v>42579</c:v>
                </c:pt>
                <c:pt idx="1891">
                  <c:v>42580</c:v>
                </c:pt>
                <c:pt idx="1892">
                  <c:v>42583</c:v>
                </c:pt>
                <c:pt idx="1893">
                  <c:v>42584</c:v>
                </c:pt>
                <c:pt idx="1894">
                  <c:v>42585</c:v>
                </c:pt>
                <c:pt idx="1895">
                  <c:v>42586</c:v>
                </c:pt>
                <c:pt idx="1896">
                  <c:v>42587</c:v>
                </c:pt>
                <c:pt idx="1897">
                  <c:v>42590</c:v>
                </c:pt>
                <c:pt idx="1898">
                  <c:v>42591</c:v>
                </c:pt>
                <c:pt idx="1899">
                  <c:v>42592</c:v>
                </c:pt>
                <c:pt idx="1900">
                  <c:v>42593</c:v>
                </c:pt>
                <c:pt idx="1901">
                  <c:v>42594</c:v>
                </c:pt>
                <c:pt idx="1902">
                  <c:v>42597</c:v>
                </c:pt>
                <c:pt idx="1903">
                  <c:v>42598</c:v>
                </c:pt>
                <c:pt idx="1904">
                  <c:v>42599</c:v>
                </c:pt>
                <c:pt idx="1905">
                  <c:v>42600</c:v>
                </c:pt>
                <c:pt idx="1906">
                  <c:v>42601</c:v>
                </c:pt>
                <c:pt idx="1907">
                  <c:v>42604</c:v>
                </c:pt>
                <c:pt idx="1908">
                  <c:v>42605</c:v>
                </c:pt>
                <c:pt idx="1909">
                  <c:v>42606</c:v>
                </c:pt>
                <c:pt idx="1910">
                  <c:v>42607</c:v>
                </c:pt>
                <c:pt idx="1911">
                  <c:v>42608</c:v>
                </c:pt>
                <c:pt idx="1912">
                  <c:v>42611</c:v>
                </c:pt>
                <c:pt idx="1913">
                  <c:v>42612</c:v>
                </c:pt>
                <c:pt idx="1914">
                  <c:v>42613</c:v>
                </c:pt>
                <c:pt idx="1915">
                  <c:v>42614</c:v>
                </c:pt>
                <c:pt idx="1916">
                  <c:v>42615</c:v>
                </c:pt>
                <c:pt idx="1917">
                  <c:v>42618</c:v>
                </c:pt>
                <c:pt idx="1918">
                  <c:v>42619</c:v>
                </c:pt>
                <c:pt idx="1919">
                  <c:v>42620</c:v>
                </c:pt>
                <c:pt idx="1920">
                  <c:v>42621</c:v>
                </c:pt>
                <c:pt idx="1921">
                  <c:v>42622</c:v>
                </c:pt>
                <c:pt idx="1922">
                  <c:v>42625</c:v>
                </c:pt>
                <c:pt idx="1923">
                  <c:v>42626</c:v>
                </c:pt>
                <c:pt idx="1924">
                  <c:v>42627</c:v>
                </c:pt>
                <c:pt idx="1925">
                  <c:v>42628</c:v>
                </c:pt>
                <c:pt idx="1926">
                  <c:v>42629</c:v>
                </c:pt>
                <c:pt idx="1927">
                  <c:v>42632</c:v>
                </c:pt>
                <c:pt idx="1928">
                  <c:v>42633</c:v>
                </c:pt>
                <c:pt idx="1929">
                  <c:v>42634</c:v>
                </c:pt>
                <c:pt idx="1930">
                  <c:v>42635</c:v>
                </c:pt>
                <c:pt idx="1931">
                  <c:v>42636</c:v>
                </c:pt>
                <c:pt idx="1932">
                  <c:v>42639</c:v>
                </c:pt>
                <c:pt idx="1933">
                  <c:v>42640</c:v>
                </c:pt>
                <c:pt idx="1934">
                  <c:v>42641</c:v>
                </c:pt>
                <c:pt idx="1935">
                  <c:v>42642</c:v>
                </c:pt>
                <c:pt idx="1936">
                  <c:v>42643</c:v>
                </c:pt>
              </c:numCache>
            </c:numRef>
          </c:cat>
          <c:val>
            <c:numRef>
              <c:f>[0]!MSCI_EUROPE</c:f>
              <c:numCache>
                <c:formatCode>#,##0.00_);[Red]\(#,##0.00\)</c:formatCode>
                <c:ptCount val="1937"/>
                <c:pt idx="0">
                  <c:v>100</c:v>
                </c:pt>
                <c:pt idx="1">
                  <c:v>100</c:v>
                </c:pt>
                <c:pt idx="2">
                  <c:v>101.87380686241141</c:v>
                </c:pt>
                <c:pt idx="3">
                  <c:v>102.55799320119448</c:v>
                </c:pt>
                <c:pt idx="4">
                  <c:v>104.09258449268559</c:v>
                </c:pt>
                <c:pt idx="5">
                  <c:v>103.31064506805177</c:v>
                </c:pt>
                <c:pt idx="6">
                  <c:v>104.97905534623672</c:v>
                </c:pt>
                <c:pt idx="7">
                  <c:v>103.52397103473281</c:v>
                </c:pt>
                <c:pt idx="8">
                  <c:v>103.42195484003565</c:v>
                </c:pt>
                <c:pt idx="9">
                  <c:v>100.87436362442736</c:v>
                </c:pt>
                <c:pt idx="10">
                  <c:v>101.32395108338343</c:v>
                </c:pt>
                <c:pt idx="11">
                  <c:v>101.89363031854784</c:v>
                </c:pt>
                <c:pt idx="12">
                  <c:v>104.51586857005944</c:v>
                </c:pt>
                <c:pt idx="13">
                  <c:v>105.99844993362252</c:v>
                </c:pt>
                <c:pt idx="14">
                  <c:v>106.58991365499313</c:v>
                </c:pt>
                <c:pt idx="15">
                  <c:v>106.58991365499313</c:v>
                </c:pt>
                <c:pt idx="16">
                  <c:v>104.21894303889721</c:v>
                </c:pt>
                <c:pt idx="17">
                  <c:v>104.4068182457641</c:v>
                </c:pt>
                <c:pt idx="18">
                  <c:v>105.25253377874269</c:v>
                </c:pt>
                <c:pt idx="19">
                  <c:v>106.0096192788008</c:v>
                </c:pt>
                <c:pt idx="20">
                  <c:v>104.81697194789086</c:v>
                </c:pt>
                <c:pt idx="21">
                  <c:v>104.97538907262877</c:v>
                </c:pt>
                <c:pt idx="22">
                  <c:v>104.97538907262877</c:v>
                </c:pt>
                <c:pt idx="23">
                  <c:v>108.04619163697396</c:v>
                </c:pt>
                <c:pt idx="24">
                  <c:v>105.93096492058169</c:v>
                </c:pt>
                <c:pt idx="25">
                  <c:v>105.70843063879218</c:v>
                </c:pt>
                <c:pt idx="26">
                  <c:v>106.36439519701031</c:v>
                </c:pt>
                <c:pt idx="27">
                  <c:v>105.63617094384368</c:v>
                </c:pt>
                <c:pt idx="28">
                  <c:v>106.13704360222403</c:v>
                </c:pt>
                <c:pt idx="29">
                  <c:v>107.40945369965277</c:v>
                </c:pt>
                <c:pt idx="30">
                  <c:v>108.39687497069048</c:v>
                </c:pt>
                <c:pt idx="31">
                  <c:v>108.12531493716521</c:v>
                </c:pt>
                <c:pt idx="32">
                  <c:v>105.40016523809825</c:v>
                </c:pt>
                <c:pt idx="33">
                  <c:v>105.28983598114978</c:v>
                </c:pt>
                <c:pt idx="34">
                  <c:v>103.25368993386166</c:v>
                </c:pt>
                <c:pt idx="35">
                  <c:v>103.77634707844821</c:v>
                </c:pt>
                <c:pt idx="36">
                  <c:v>105.1501765353367</c:v>
                </c:pt>
                <c:pt idx="37">
                  <c:v>102.25625035703449</c:v>
                </c:pt>
                <c:pt idx="38">
                  <c:v>102.25625035703449</c:v>
                </c:pt>
                <c:pt idx="39">
                  <c:v>104.13265771584248</c:v>
                </c:pt>
                <c:pt idx="40">
                  <c:v>103.27185077754804</c:v>
                </c:pt>
                <c:pt idx="41">
                  <c:v>103.14331804582409</c:v>
                </c:pt>
                <c:pt idx="42">
                  <c:v>104.96856809847412</c:v>
                </c:pt>
                <c:pt idx="43">
                  <c:v>103.85845455483276</c:v>
                </c:pt>
                <c:pt idx="44">
                  <c:v>105.73916765357625</c:v>
                </c:pt>
                <c:pt idx="45">
                  <c:v>103.02373784267904</c:v>
                </c:pt>
                <c:pt idx="46">
                  <c:v>103.00830538865434</c:v>
                </c:pt>
                <c:pt idx="47">
                  <c:v>101.81446438726749</c:v>
                </c:pt>
                <c:pt idx="48">
                  <c:v>101.04893793169273</c:v>
                </c:pt>
                <c:pt idx="49">
                  <c:v>99.961717282557899</c:v>
                </c:pt>
                <c:pt idx="50">
                  <c:v>100.67924113251978</c:v>
                </c:pt>
                <c:pt idx="51">
                  <c:v>99.62220329401876</c:v>
                </c:pt>
                <c:pt idx="52">
                  <c:v>101.41309268936416</c:v>
                </c:pt>
                <c:pt idx="53">
                  <c:v>102.74488789302596</c:v>
                </c:pt>
                <c:pt idx="54">
                  <c:v>105.56442282195545</c:v>
                </c:pt>
                <c:pt idx="55">
                  <c:v>105.97790174898232</c:v>
                </c:pt>
                <c:pt idx="56">
                  <c:v>106.38907859723159</c:v>
                </c:pt>
                <c:pt idx="57">
                  <c:v>107.6443083660094</c:v>
                </c:pt>
                <c:pt idx="58">
                  <c:v>108.53866597092679</c:v>
                </c:pt>
                <c:pt idx="59">
                  <c:v>108.86172435931785</c:v>
                </c:pt>
                <c:pt idx="60">
                  <c:v>110.96531278855868</c:v>
                </c:pt>
                <c:pt idx="61">
                  <c:v>110.92528219648989</c:v>
                </c:pt>
                <c:pt idx="62">
                  <c:v>111.43429739276714</c:v>
                </c:pt>
                <c:pt idx="63">
                  <c:v>110.42671161688618</c:v>
                </c:pt>
                <c:pt idx="64">
                  <c:v>111.38156273633533</c:v>
                </c:pt>
                <c:pt idx="65">
                  <c:v>113.82189413336464</c:v>
                </c:pt>
                <c:pt idx="66">
                  <c:v>113.53835476398113</c:v>
                </c:pt>
                <c:pt idx="67">
                  <c:v>115.32131477687287</c:v>
                </c:pt>
                <c:pt idx="68">
                  <c:v>114.97574717377084</c:v>
                </c:pt>
                <c:pt idx="69">
                  <c:v>114.49687215703823</c:v>
                </c:pt>
                <c:pt idx="70">
                  <c:v>114.98082027329821</c:v>
                </c:pt>
                <c:pt idx="71">
                  <c:v>116.42128212145843</c:v>
                </c:pt>
                <c:pt idx="72">
                  <c:v>115.8171569668139</c:v>
                </c:pt>
                <c:pt idx="73">
                  <c:v>114.21525118663538</c:v>
                </c:pt>
                <c:pt idx="74">
                  <c:v>115.46954307146689</c:v>
                </c:pt>
                <c:pt idx="75">
                  <c:v>116.32647058071186</c:v>
                </c:pt>
                <c:pt idx="76">
                  <c:v>115.40077912577193</c:v>
                </c:pt>
                <c:pt idx="77">
                  <c:v>113.15002817914865</c:v>
                </c:pt>
                <c:pt idx="78">
                  <c:v>114.676519563832</c:v>
                </c:pt>
                <c:pt idx="79">
                  <c:v>114.4078584443228</c:v>
                </c:pt>
                <c:pt idx="80">
                  <c:v>115.99271178911567</c:v>
                </c:pt>
                <c:pt idx="81">
                  <c:v>118.67071150433948</c:v>
                </c:pt>
                <c:pt idx="82">
                  <c:v>119.60902176146422</c:v>
                </c:pt>
                <c:pt idx="83">
                  <c:v>120.12021114325377</c:v>
                </c:pt>
                <c:pt idx="84">
                  <c:v>119.44676783876493</c:v>
                </c:pt>
                <c:pt idx="85">
                  <c:v>118.83432962187011</c:v>
                </c:pt>
                <c:pt idx="86">
                  <c:v>119.97607543315272</c:v>
                </c:pt>
                <c:pt idx="87">
                  <c:v>119.24844801522354</c:v>
                </c:pt>
                <c:pt idx="88">
                  <c:v>117.07059622987632</c:v>
                </c:pt>
                <c:pt idx="89">
                  <c:v>116.60561894798367</c:v>
                </c:pt>
                <c:pt idx="90">
                  <c:v>116.58507076334249</c:v>
                </c:pt>
                <c:pt idx="91">
                  <c:v>118.14310915349084</c:v>
                </c:pt>
                <c:pt idx="92">
                  <c:v>119.81620885140727</c:v>
                </c:pt>
                <c:pt idx="93">
                  <c:v>120.17473630540194</c:v>
                </c:pt>
                <c:pt idx="94">
                  <c:v>121.30271227510991</c:v>
                </c:pt>
                <c:pt idx="95">
                  <c:v>121.45626945576198</c:v>
                </c:pt>
                <c:pt idx="96">
                  <c:v>122.06576612755262</c:v>
                </c:pt>
                <c:pt idx="97">
                  <c:v>121.70284767144624</c:v>
                </c:pt>
                <c:pt idx="98">
                  <c:v>121.88876184824431</c:v>
                </c:pt>
                <c:pt idx="99">
                  <c:v>123.62555239232829</c:v>
                </c:pt>
                <c:pt idx="100">
                  <c:v>124.24753997303944</c:v>
                </c:pt>
                <c:pt idx="101">
                  <c:v>123.70881090810062</c:v>
                </c:pt>
                <c:pt idx="102">
                  <c:v>122.75370400212084</c:v>
                </c:pt>
                <c:pt idx="103">
                  <c:v>123.39888289495664</c:v>
                </c:pt>
                <c:pt idx="104">
                  <c:v>123.65569257187288</c:v>
                </c:pt>
                <c:pt idx="105">
                  <c:v>121.27811413706486</c:v>
                </c:pt>
                <c:pt idx="106">
                  <c:v>120.76483583194022</c:v>
                </c:pt>
                <c:pt idx="107">
                  <c:v>122.9239299383626</c:v>
                </c:pt>
                <c:pt idx="108">
                  <c:v>123.09496586528637</c:v>
                </c:pt>
                <c:pt idx="109">
                  <c:v>122.50414161024332</c:v>
                </c:pt>
                <c:pt idx="110">
                  <c:v>120.54741728076617</c:v>
                </c:pt>
                <c:pt idx="111">
                  <c:v>118.29585634346292</c:v>
                </c:pt>
                <c:pt idx="112">
                  <c:v>119.28634705286912</c:v>
                </c:pt>
                <c:pt idx="113">
                  <c:v>121.84455340950532</c:v>
                </c:pt>
                <c:pt idx="114">
                  <c:v>121.38584289761695</c:v>
                </c:pt>
                <c:pt idx="115">
                  <c:v>122.9445207540919</c:v>
                </c:pt>
                <c:pt idx="116">
                  <c:v>122.58092020056984</c:v>
                </c:pt>
                <c:pt idx="117">
                  <c:v>123.40642859761508</c:v>
                </c:pt>
                <c:pt idx="118">
                  <c:v>122.21663754963213</c:v>
                </c:pt>
                <c:pt idx="119">
                  <c:v>124.78742007736602</c:v>
                </c:pt>
                <c:pt idx="120">
                  <c:v>124.92580059052503</c:v>
                </c:pt>
                <c:pt idx="121">
                  <c:v>124.10280742769892</c:v>
                </c:pt>
                <c:pt idx="122">
                  <c:v>126.05514075506335</c:v>
                </c:pt>
                <c:pt idx="123">
                  <c:v>125.4808147312566</c:v>
                </c:pt>
                <c:pt idx="124">
                  <c:v>126.05198605451764</c:v>
                </c:pt>
                <c:pt idx="125">
                  <c:v>124.57068362360768</c:v>
                </c:pt>
                <c:pt idx="126">
                  <c:v>123.89297721027144</c:v>
                </c:pt>
                <c:pt idx="127">
                  <c:v>122.39419603309078</c:v>
                </c:pt>
                <c:pt idx="128">
                  <c:v>122.69163313731426</c:v>
                </c:pt>
                <c:pt idx="129">
                  <c:v>120.30633847549434</c:v>
                </c:pt>
                <c:pt idx="130">
                  <c:v>122.42714986447427</c:v>
                </c:pt>
                <c:pt idx="131">
                  <c:v>119.95608145266191</c:v>
                </c:pt>
                <c:pt idx="132">
                  <c:v>120.34837272872103</c:v>
                </c:pt>
                <c:pt idx="133">
                  <c:v>118.98677839422245</c:v>
                </c:pt>
                <c:pt idx="134">
                  <c:v>121.08853368665879</c:v>
                </c:pt>
                <c:pt idx="135">
                  <c:v>121.80294546716371</c:v>
                </c:pt>
                <c:pt idx="136">
                  <c:v>122.02722762358049</c:v>
                </c:pt>
                <c:pt idx="137">
                  <c:v>124.42318005751642</c:v>
                </c:pt>
                <c:pt idx="138">
                  <c:v>124.20435468042395</c:v>
                </c:pt>
                <c:pt idx="139">
                  <c:v>124.72245029854436</c:v>
                </c:pt>
                <c:pt idx="140">
                  <c:v>124.90307822037252</c:v>
                </c:pt>
                <c:pt idx="141">
                  <c:v>125.51393908699451</c:v>
                </c:pt>
                <c:pt idx="142">
                  <c:v>127.31723412908391</c:v>
                </c:pt>
                <c:pt idx="143">
                  <c:v>126.86496091155426</c:v>
                </c:pt>
                <c:pt idx="144">
                  <c:v>126.58939355571322</c:v>
                </c:pt>
                <c:pt idx="145">
                  <c:v>124.52673097139933</c:v>
                </c:pt>
                <c:pt idx="146">
                  <c:v>123.55124640513277</c:v>
                </c:pt>
                <c:pt idx="147">
                  <c:v>126.06856954793014</c:v>
                </c:pt>
                <c:pt idx="148">
                  <c:v>125.2285665808065</c:v>
                </c:pt>
                <c:pt idx="149">
                  <c:v>125.79317271644351</c:v>
                </c:pt>
                <c:pt idx="150">
                  <c:v>121.64691568337962</c:v>
                </c:pt>
                <c:pt idx="151">
                  <c:v>123.03941755701568</c:v>
                </c:pt>
                <c:pt idx="152">
                  <c:v>121.31371109593378</c:v>
                </c:pt>
                <c:pt idx="153">
                  <c:v>124.57217571170331</c:v>
                </c:pt>
                <c:pt idx="154">
                  <c:v>125.16056999470442</c:v>
                </c:pt>
                <c:pt idx="155">
                  <c:v>124.90785290228119</c:v>
                </c:pt>
                <c:pt idx="156">
                  <c:v>126.29234013128567</c:v>
                </c:pt>
                <c:pt idx="157">
                  <c:v>125.68800182119864</c:v>
                </c:pt>
                <c:pt idx="158">
                  <c:v>123.71533346463556</c:v>
                </c:pt>
                <c:pt idx="159">
                  <c:v>122.45656531551612</c:v>
                </c:pt>
                <c:pt idx="160">
                  <c:v>123.72462704192127</c:v>
                </c:pt>
                <c:pt idx="161">
                  <c:v>124.34435517494389</c:v>
                </c:pt>
                <c:pt idx="162">
                  <c:v>125.35415776742624</c:v>
                </c:pt>
                <c:pt idx="163">
                  <c:v>125.42790955047138</c:v>
                </c:pt>
                <c:pt idx="164">
                  <c:v>127.03812839290021</c:v>
                </c:pt>
                <c:pt idx="165">
                  <c:v>125.38399952935212</c:v>
                </c:pt>
                <c:pt idx="166">
                  <c:v>124.87566643048957</c:v>
                </c:pt>
                <c:pt idx="167">
                  <c:v>126.63782247220949</c:v>
                </c:pt>
                <c:pt idx="168">
                  <c:v>127.47978646940292</c:v>
                </c:pt>
                <c:pt idx="169">
                  <c:v>127.8754882325394</c:v>
                </c:pt>
                <c:pt idx="170">
                  <c:v>127.8754882325394</c:v>
                </c:pt>
                <c:pt idx="171">
                  <c:v>127.8754882325394</c:v>
                </c:pt>
                <c:pt idx="172">
                  <c:v>128.54343212661678</c:v>
                </c:pt>
                <c:pt idx="173">
                  <c:v>128.96893302059001</c:v>
                </c:pt>
                <c:pt idx="174">
                  <c:v>128.46111149478975</c:v>
                </c:pt>
                <c:pt idx="175">
                  <c:v>128.85826271493372</c:v>
                </c:pt>
                <c:pt idx="176">
                  <c:v>128.85826271493372</c:v>
                </c:pt>
                <c:pt idx="177">
                  <c:v>130.73518164680397</c:v>
                </c:pt>
                <c:pt idx="178">
                  <c:v>130.70482831181582</c:v>
                </c:pt>
                <c:pt idx="179">
                  <c:v>130.83621732646671</c:v>
                </c:pt>
                <c:pt idx="180">
                  <c:v>130.8390309783056</c:v>
                </c:pt>
                <c:pt idx="181">
                  <c:v>131.36462966799633</c:v>
                </c:pt>
                <c:pt idx="182">
                  <c:v>131.23157804089536</c:v>
                </c:pt>
                <c:pt idx="183">
                  <c:v>130.00580635424751</c:v>
                </c:pt>
                <c:pt idx="184">
                  <c:v>130.26014342803271</c:v>
                </c:pt>
                <c:pt idx="185">
                  <c:v>131.22006764701024</c:v>
                </c:pt>
                <c:pt idx="186">
                  <c:v>129.97519723272976</c:v>
                </c:pt>
                <c:pt idx="187">
                  <c:v>130.88937829378355</c:v>
                </c:pt>
                <c:pt idx="188">
                  <c:v>131.95485708780092</c:v>
                </c:pt>
                <c:pt idx="189">
                  <c:v>129.92527622813682</c:v>
                </c:pt>
                <c:pt idx="190">
                  <c:v>128.0969141060292</c:v>
                </c:pt>
                <c:pt idx="191">
                  <c:v>126.67512467461661</c:v>
                </c:pt>
                <c:pt idx="192">
                  <c:v>125.7982458159709</c:v>
                </c:pt>
                <c:pt idx="193">
                  <c:v>126.41690817178193</c:v>
                </c:pt>
                <c:pt idx="194">
                  <c:v>125.33744638074742</c:v>
                </c:pt>
                <c:pt idx="195">
                  <c:v>123.92414053593954</c:v>
                </c:pt>
                <c:pt idx="196">
                  <c:v>125.15187325265717</c:v>
                </c:pt>
                <c:pt idx="197">
                  <c:v>125.90516458584202</c:v>
                </c:pt>
                <c:pt idx="198">
                  <c:v>127.07184958387656</c:v>
                </c:pt>
                <c:pt idx="199">
                  <c:v>126.40974614891944</c:v>
                </c:pt>
                <c:pt idx="200">
                  <c:v>123.01481941897062</c:v>
                </c:pt>
                <c:pt idx="201">
                  <c:v>120.39637533433327</c:v>
                </c:pt>
                <c:pt idx="202">
                  <c:v>121.19762664204126</c:v>
                </c:pt>
                <c:pt idx="203">
                  <c:v>121.35693901963735</c:v>
                </c:pt>
                <c:pt idx="204">
                  <c:v>122.29405560628521</c:v>
                </c:pt>
                <c:pt idx="205">
                  <c:v>122.72697430965256</c:v>
                </c:pt>
                <c:pt idx="206">
                  <c:v>122.37249680906179</c:v>
                </c:pt>
                <c:pt idx="207">
                  <c:v>122.85742544035618</c:v>
                </c:pt>
                <c:pt idx="208">
                  <c:v>124.11175995627579</c:v>
                </c:pt>
                <c:pt idx="209">
                  <c:v>125.79999369059718</c:v>
                </c:pt>
                <c:pt idx="210">
                  <c:v>126.56556277726101</c:v>
                </c:pt>
                <c:pt idx="211">
                  <c:v>127.15715439189592</c:v>
                </c:pt>
                <c:pt idx="212">
                  <c:v>126.81602042199471</c:v>
                </c:pt>
                <c:pt idx="213">
                  <c:v>125.30768988099774</c:v>
                </c:pt>
                <c:pt idx="214">
                  <c:v>125.65824532144995</c:v>
                </c:pt>
                <c:pt idx="215">
                  <c:v>123.65015053037234</c:v>
                </c:pt>
                <c:pt idx="216">
                  <c:v>124.92371166718992</c:v>
                </c:pt>
                <c:pt idx="217">
                  <c:v>126.3745328698464</c:v>
                </c:pt>
                <c:pt idx="218">
                  <c:v>127.4309312420216</c:v>
                </c:pt>
                <c:pt idx="219">
                  <c:v>128.47479607418714</c:v>
                </c:pt>
                <c:pt idx="220">
                  <c:v>128.70150820264587</c:v>
                </c:pt>
                <c:pt idx="221">
                  <c:v>130.77768484200377</c:v>
                </c:pt>
                <c:pt idx="222">
                  <c:v>130.68338487431745</c:v>
                </c:pt>
                <c:pt idx="223">
                  <c:v>130.61589986127663</c:v>
                </c:pt>
                <c:pt idx="224">
                  <c:v>131.43923407281056</c:v>
                </c:pt>
                <c:pt idx="225">
                  <c:v>131.12632188347428</c:v>
                </c:pt>
                <c:pt idx="226">
                  <c:v>131.48489196855706</c:v>
                </c:pt>
                <c:pt idx="227">
                  <c:v>130.61538828821537</c:v>
                </c:pt>
                <c:pt idx="228">
                  <c:v>131.81745708967631</c:v>
                </c:pt>
                <c:pt idx="229">
                  <c:v>133.03905092965499</c:v>
                </c:pt>
                <c:pt idx="230">
                  <c:v>132.974379568453</c:v>
                </c:pt>
                <c:pt idx="231">
                  <c:v>132.46608910067857</c:v>
                </c:pt>
                <c:pt idx="232">
                  <c:v>132.40525453743896</c:v>
                </c:pt>
                <c:pt idx="233">
                  <c:v>133.26525148505243</c:v>
                </c:pt>
                <c:pt idx="234">
                  <c:v>133.44485626075812</c:v>
                </c:pt>
                <c:pt idx="235">
                  <c:v>134.74578655637052</c:v>
                </c:pt>
                <c:pt idx="236">
                  <c:v>134.13935932294839</c:v>
                </c:pt>
                <c:pt idx="237">
                  <c:v>134.30472531510628</c:v>
                </c:pt>
                <c:pt idx="238">
                  <c:v>134.30775212238768</c:v>
                </c:pt>
                <c:pt idx="239">
                  <c:v>134.16046171173895</c:v>
                </c:pt>
                <c:pt idx="240">
                  <c:v>136.20287452903136</c:v>
                </c:pt>
                <c:pt idx="241">
                  <c:v>136.20287452903136</c:v>
                </c:pt>
                <c:pt idx="242">
                  <c:v>136.20287452903136</c:v>
                </c:pt>
                <c:pt idx="243">
                  <c:v>137.05677523099493</c:v>
                </c:pt>
                <c:pt idx="244">
                  <c:v>136.67914904936762</c:v>
                </c:pt>
                <c:pt idx="245">
                  <c:v>135.50005840458977</c:v>
                </c:pt>
                <c:pt idx="246">
                  <c:v>137.27807321121946</c:v>
                </c:pt>
                <c:pt idx="247">
                  <c:v>137.12609338084022</c:v>
                </c:pt>
                <c:pt idx="248">
                  <c:v>136.82669524654699</c:v>
                </c:pt>
                <c:pt idx="249">
                  <c:v>137.76965229231507</c:v>
                </c:pt>
                <c:pt idx="250">
                  <c:v>138.66912562784796</c:v>
                </c:pt>
                <c:pt idx="251">
                  <c:v>136.51911194326874</c:v>
                </c:pt>
                <c:pt idx="252">
                  <c:v>135.72506528951033</c:v>
                </c:pt>
                <c:pt idx="253">
                  <c:v>137.56898775890798</c:v>
                </c:pt>
                <c:pt idx="254">
                  <c:v>136.78530045964686</c:v>
                </c:pt>
                <c:pt idx="255">
                  <c:v>135.29073976022451</c:v>
                </c:pt>
                <c:pt idx="256">
                  <c:v>136.38542084984019</c:v>
                </c:pt>
                <c:pt idx="257">
                  <c:v>137.72898223391871</c:v>
                </c:pt>
                <c:pt idx="258">
                  <c:v>133.44523994055407</c:v>
                </c:pt>
                <c:pt idx="259">
                  <c:v>131.89385200020692</c:v>
                </c:pt>
                <c:pt idx="260">
                  <c:v>133.6764709643908</c:v>
                </c:pt>
                <c:pt idx="261">
                  <c:v>132.84282002944769</c:v>
                </c:pt>
                <c:pt idx="262">
                  <c:v>133.24427698952721</c:v>
                </c:pt>
                <c:pt idx="263">
                  <c:v>129.46677887168997</c:v>
                </c:pt>
                <c:pt idx="264">
                  <c:v>128.43595915259428</c:v>
                </c:pt>
                <c:pt idx="265">
                  <c:v>126.61433274246512</c:v>
                </c:pt>
                <c:pt idx="266">
                  <c:v>121.82741571194147</c:v>
                </c:pt>
                <c:pt idx="267">
                  <c:v>130.44490656544198</c:v>
                </c:pt>
                <c:pt idx="268">
                  <c:v>129.90063545900264</c:v>
                </c:pt>
                <c:pt idx="269">
                  <c:v>131.75078206731649</c:v>
                </c:pt>
                <c:pt idx="270">
                  <c:v>131.75078206731649</c:v>
                </c:pt>
                <c:pt idx="271">
                  <c:v>127.62758845311191</c:v>
                </c:pt>
                <c:pt idx="272">
                  <c:v>127.51504237956304</c:v>
                </c:pt>
                <c:pt idx="273">
                  <c:v>129.17126016644721</c:v>
                </c:pt>
                <c:pt idx="274">
                  <c:v>125.41064395964221</c:v>
                </c:pt>
                <c:pt idx="275">
                  <c:v>122.78640204697271</c:v>
                </c:pt>
                <c:pt idx="276">
                  <c:v>122.14156420284374</c:v>
                </c:pt>
                <c:pt idx="277">
                  <c:v>122.14156420284374</c:v>
                </c:pt>
                <c:pt idx="278">
                  <c:v>119.73060562576718</c:v>
                </c:pt>
                <c:pt idx="279">
                  <c:v>122.57299081811448</c:v>
                </c:pt>
                <c:pt idx="280">
                  <c:v>126.26906355698281</c:v>
                </c:pt>
                <c:pt idx="281">
                  <c:v>125.88794162610198</c:v>
                </c:pt>
                <c:pt idx="282">
                  <c:v>126.41597028783463</c:v>
                </c:pt>
                <c:pt idx="283">
                  <c:v>126.6078101859292</c:v>
                </c:pt>
                <c:pt idx="284">
                  <c:v>126.75301167324284</c:v>
                </c:pt>
                <c:pt idx="285">
                  <c:v>128.5683286822796</c:v>
                </c:pt>
                <c:pt idx="286">
                  <c:v>126.31740721130289</c:v>
                </c:pt>
                <c:pt idx="287">
                  <c:v>125.38493741329742</c:v>
                </c:pt>
                <c:pt idx="288">
                  <c:v>124.0218083596141</c:v>
                </c:pt>
                <c:pt idx="289">
                  <c:v>126.34341217526641</c:v>
                </c:pt>
                <c:pt idx="290">
                  <c:v>128.28427773983481</c:v>
                </c:pt>
                <c:pt idx="291">
                  <c:v>128.81379848966415</c:v>
                </c:pt>
                <c:pt idx="292">
                  <c:v>130.39796973704136</c:v>
                </c:pt>
                <c:pt idx="293">
                  <c:v>131.28751002896198</c:v>
                </c:pt>
                <c:pt idx="294">
                  <c:v>131.45799175173536</c:v>
                </c:pt>
                <c:pt idx="295">
                  <c:v>131.66893037746257</c:v>
                </c:pt>
                <c:pt idx="296">
                  <c:v>131.89240254319836</c:v>
                </c:pt>
                <c:pt idx="297">
                  <c:v>133.34403373653686</c:v>
                </c:pt>
                <c:pt idx="298">
                  <c:v>132.67813613470548</c:v>
                </c:pt>
                <c:pt idx="299">
                  <c:v>132.67813613470548</c:v>
                </c:pt>
                <c:pt idx="300">
                  <c:v>128.99549218870391</c:v>
                </c:pt>
                <c:pt idx="301">
                  <c:v>128.24497187626883</c:v>
                </c:pt>
                <c:pt idx="302">
                  <c:v>129.8237289754108</c:v>
                </c:pt>
                <c:pt idx="303">
                  <c:v>125.94570675097205</c:v>
                </c:pt>
                <c:pt idx="304">
                  <c:v>125.69712487412991</c:v>
                </c:pt>
                <c:pt idx="305">
                  <c:v>122.56651089266765</c:v>
                </c:pt>
                <c:pt idx="306">
                  <c:v>122.53658386856455</c:v>
                </c:pt>
                <c:pt idx="307">
                  <c:v>122.2072587101692</c:v>
                </c:pt>
                <c:pt idx="308">
                  <c:v>125.33940741081622</c:v>
                </c:pt>
                <c:pt idx="309">
                  <c:v>127.03143531201087</c:v>
                </c:pt>
                <c:pt idx="310">
                  <c:v>128.35218906375968</c:v>
                </c:pt>
                <c:pt idx="311">
                  <c:v>129.14175945322916</c:v>
                </c:pt>
                <c:pt idx="312">
                  <c:v>129.72060437241296</c:v>
                </c:pt>
                <c:pt idx="313">
                  <c:v>132.22744026744869</c:v>
                </c:pt>
                <c:pt idx="314">
                  <c:v>132.22223927465598</c:v>
                </c:pt>
                <c:pt idx="315">
                  <c:v>130.71041298440446</c:v>
                </c:pt>
                <c:pt idx="316">
                  <c:v>128.19684137739128</c:v>
                </c:pt>
                <c:pt idx="317">
                  <c:v>127.22890251378315</c:v>
                </c:pt>
                <c:pt idx="318">
                  <c:v>127.34191752930519</c:v>
                </c:pt>
                <c:pt idx="319">
                  <c:v>128.80224546468992</c:v>
                </c:pt>
                <c:pt idx="320">
                  <c:v>131.46958740779772</c:v>
                </c:pt>
                <c:pt idx="321">
                  <c:v>132.24487638263128</c:v>
                </c:pt>
                <c:pt idx="322">
                  <c:v>132.82423287487731</c:v>
                </c:pt>
                <c:pt idx="323">
                  <c:v>133.35494729518351</c:v>
                </c:pt>
                <c:pt idx="324">
                  <c:v>132.91738180317381</c:v>
                </c:pt>
                <c:pt idx="325">
                  <c:v>132.41446285254645</c:v>
                </c:pt>
                <c:pt idx="326">
                  <c:v>131.95033819242289</c:v>
                </c:pt>
                <c:pt idx="327">
                  <c:v>135.47430922715589</c:v>
                </c:pt>
                <c:pt idx="328">
                  <c:v>135.49426057655762</c:v>
                </c:pt>
                <c:pt idx="329">
                  <c:v>135.65732448993887</c:v>
                </c:pt>
                <c:pt idx="330">
                  <c:v>135.24329135876164</c:v>
                </c:pt>
                <c:pt idx="331">
                  <c:v>133.80419370543274</c:v>
                </c:pt>
                <c:pt idx="332">
                  <c:v>135.65323190544589</c:v>
                </c:pt>
                <c:pt idx="333">
                  <c:v>134.49485996966166</c:v>
                </c:pt>
                <c:pt idx="334">
                  <c:v>131.86268867453782</c:v>
                </c:pt>
                <c:pt idx="335">
                  <c:v>132.06629475304908</c:v>
                </c:pt>
                <c:pt idx="336">
                  <c:v>132.3857721300094</c:v>
                </c:pt>
                <c:pt idx="337">
                  <c:v>132.40120458403408</c:v>
                </c:pt>
                <c:pt idx="338">
                  <c:v>133.8646872199655</c:v>
                </c:pt>
                <c:pt idx="339">
                  <c:v>133.4611413365509</c:v>
                </c:pt>
                <c:pt idx="340">
                  <c:v>131.49269345774613</c:v>
                </c:pt>
                <c:pt idx="341">
                  <c:v>130.62178295148499</c:v>
                </c:pt>
                <c:pt idx="342">
                  <c:v>131.47568365344858</c:v>
                </c:pt>
                <c:pt idx="343">
                  <c:v>129.25635181902405</c:v>
                </c:pt>
                <c:pt idx="344">
                  <c:v>128.27549573561038</c:v>
                </c:pt>
                <c:pt idx="345">
                  <c:v>129.38731452278992</c:v>
                </c:pt>
                <c:pt idx="346">
                  <c:v>130.22301174997904</c:v>
                </c:pt>
                <c:pt idx="347">
                  <c:v>130.19764625234208</c:v>
                </c:pt>
                <c:pt idx="348">
                  <c:v>130.26939437422934</c:v>
                </c:pt>
                <c:pt idx="349">
                  <c:v>133.84742162913636</c:v>
                </c:pt>
                <c:pt idx="350">
                  <c:v>133.80913891169484</c:v>
                </c:pt>
                <c:pt idx="351">
                  <c:v>134.97271184027178</c:v>
                </c:pt>
                <c:pt idx="352">
                  <c:v>135.24610501060053</c:v>
                </c:pt>
                <c:pt idx="353">
                  <c:v>134.64764979072183</c:v>
                </c:pt>
                <c:pt idx="354">
                  <c:v>136.04667422089386</c:v>
                </c:pt>
                <c:pt idx="355">
                  <c:v>137.46726998182854</c:v>
                </c:pt>
                <c:pt idx="356">
                  <c:v>137.24955301303578</c:v>
                </c:pt>
                <c:pt idx="357">
                  <c:v>138.13781437230227</c:v>
                </c:pt>
                <c:pt idx="358">
                  <c:v>138.10000059683293</c:v>
                </c:pt>
                <c:pt idx="359">
                  <c:v>137.66072986128506</c:v>
                </c:pt>
                <c:pt idx="360">
                  <c:v>136.62381389653945</c:v>
                </c:pt>
                <c:pt idx="361">
                  <c:v>136.25599286525909</c:v>
                </c:pt>
                <c:pt idx="362">
                  <c:v>138.06184577265674</c:v>
                </c:pt>
                <c:pt idx="363">
                  <c:v>137.37906625979412</c:v>
                </c:pt>
                <c:pt idx="364">
                  <c:v>135.42703135004842</c:v>
                </c:pt>
                <c:pt idx="365">
                  <c:v>135.38145871647811</c:v>
                </c:pt>
                <c:pt idx="366">
                  <c:v>136.87222524902717</c:v>
                </c:pt>
                <c:pt idx="367">
                  <c:v>136.28442780126556</c:v>
                </c:pt>
                <c:pt idx="368">
                  <c:v>135.98971908670373</c:v>
                </c:pt>
                <c:pt idx="369">
                  <c:v>135.28630612702369</c:v>
                </c:pt>
                <c:pt idx="370">
                  <c:v>134.61115757899572</c:v>
                </c:pt>
                <c:pt idx="371">
                  <c:v>134.31141839599462</c:v>
                </c:pt>
                <c:pt idx="372">
                  <c:v>133.57858998527374</c:v>
                </c:pt>
                <c:pt idx="373">
                  <c:v>135.35993001680353</c:v>
                </c:pt>
                <c:pt idx="374">
                  <c:v>136.04901893075959</c:v>
                </c:pt>
                <c:pt idx="375">
                  <c:v>135.95066900966935</c:v>
                </c:pt>
                <c:pt idx="376">
                  <c:v>135.9159246725705</c:v>
                </c:pt>
                <c:pt idx="377">
                  <c:v>136.39522600018714</c:v>
                </c:pt>
                <c:pt idx="378">
                  <c:v>136.02488973468763</c:v>
                </c:pt>
                <c:pt idx="379">
                  <c:v>137.97551781851388</c:v>
                </c:pt>
                <c:pt idx="380">
                  <c:v>137.69057162321093</c:v>
                </c:pt>
                <c:pt idx="381">
                  <c:v>137.8084039517297</c:v>
                </c:pt>
                <c:pt idx="382">
                  <c:v>138.24507419088127</c:v>
                </c:pt>
                <c:pt idx="383">
                  <c:v>137.49894488055889</c:v>
                </c:pt>
                <c:pt idx="384">
                  <c:v>137.97389783715192</c:v>
                </c:pt>
                <c:pt idx="385">
                  <c:v>138.69368113480394</c:v>
                </c:pt>
                <c:pt idx="386">
                  <c:v>138.25142622306277</c:v>
                </c:pt>
                <c:pt idx="387">
                  <c:v>138.60807790916488</c:v>
                </c:pt>
                <c:pt idx="388">
                  <c:v>138.34581145292532</c:v>
                </c:pt>
                <c:pt idx="389">
                  <c:v>137.34768977868347</c:v>
                </c:pt>
                <c:pt idx="390">
                  <c:v>137.90530441581137</c:v>
                </c:pt>
                <c:pt idx="391">
                  <c:v>137.94520711461485</c:v>
                </c:pt>
                <c:pt idx="392">
                  <c:v>137.94520711461485</c:v>
                </c:pt>
                <c:pt idx="393">
                  <c:v>138.78576428588886</c:v>
                </c:pt>
                <c:pt idx="394">
                  <c:v>138.30859451269438</c:v>
                </c:pt>
                <c:pt idx="395">
                  <c:v>140.57264635891914</c:v>
                </c:pt>
                <c:pt idx="396">
                  <c:v>141.16577269273981</c:v>
                </c:pt>
                <c:pt idx="397">
                  <c:v>141.16978001505561</c:v>
                </c:pt>
                <c:pt idx="398">
                  <c:v>141.96540401908683</c:v>
                </c:pt>
                <c:pt idx="399">
                  <c:v>141.00160037105886</c:v>
                </c:pt>
                <c:pt idx="400">
                  <c:v>141.02150908937244</c:v>
                </c:pt>
                <c:pt idx="401">
                  <c:v>140.45771294441644</c:v>
                </c:pt>
                <c:pt idx="402">
                  <c:v>141.56113340716846</c:v>
                </c:pt>
                <c:pt idx="403">
                  <c:v>138.22921542597254</c:v>
                </c:pt>
                <c:pt idx="404">
                  <c:v>139.00800015005962</c:v>
                </c:pt>
                <c:pt idx="405">
                  <c:v>140.99055891914688</c:v>
                </c:pt>
                <c:pt idx="406">
                  <c:v>140.09875917953673</c:v>
                </c:pt>
                <c:pt idx="407">
                  <c:v>139.15844526125409</c:v>
                </c:pt>
                <c:pt idx="408">
                  <c:v>137.02070933015281</c:v>
                </c:pt>
                <c:pt idx="409">
                  <c:v>138.43431359257949</c:v>
                </c:pt>
                <c:pt idx="410">
                  <c:v>139.14987641247217</c:v>
                </c:pt>
                <c:pt idx="411">
                  <c:v>138.56058687661385</c:v>
                </c:pt>
                <c:pt idx="412">
                  <c:v>136.25437288389713</c:v>
                </c:pt>
                <c:pt idx="413">
                  <c:v>136.10917139658346</c:v>
                </c:pt>
                <c:pt idx="414">
                  <c:v>138.85802398083834</c:v>
                </c:pt>
                <c:pt idx="415">
                  <c:v>141.12680787788165</c:v>
                </c:pt>
                <c:pt idx="416">
                  <c:v>140.74905380298901</c:v>
                </c:pt>
                <c:pt idx="417">
                  <c:v>140.98280006104594</c:v>
                </c:pt>
                <c:pt idx="418">
                  <c:v>142.26215902589465</c:v>
                </c:pt>
                <c:pt idx="419">
                  <c:v>142.84509652957144</c:v>
                </c:pt>
                <c:pt idx="420">
                  <c:v>143.32499469242754</c:v>
                </c:pt>
                <c:pt idx="421">
                  <c:v>143.48537284723423</c:v>
                </c:pt>
                <c:pt idx="422">
                  <c:v>143.89181764466397</c:v>
                </c:pt>
                <c:pt idx="423">
                  <c:v>144.24940721471233</c:v>
                </c:pt>
                <c:pt idx="424">
                  <c:v>143.63598848278315</c:v>
                </c:pt>
                <c:pt idx="425">
                  <c:v>144.18200746384872</c:v>
                </c:pt>
                <c:pt idx="426">
                  <c:v>143.52843024658441</c:v>
                </c:pt>
                <c:pt idx="427">
                  <c:v>144.53733758620862</c:v>
                </c:pt>
                <c:pt idx="428">
                  <c:v>145.97745838566098</c:v>
                </c:pt>
                <c:pt idx="429">
                  <c:v>146.14853694367284</c:v>
                </c:pt>
                <c:pt idx="430">
                  <c:v>146.32272757114225</c:v>
                </c:pt>
                <c:pt idx="431">
                  <c:v>146.18626545696495</c:v>
                </c:pt>
                <c:pt idx="432">
                  <c:v>144.96667527814421</c:v>
                </c:pt>
                <c:pt idx="433">
                  <c:v>145.25997716678657</c:v>
                </c:pt>
                <c:pt idx="434">
                  <c:v>145.71429667656321</c:v>
                </c:pt>
                <c:pt idx="435">
                  <c:v>143.81022174134168</c:v>
                </c:pt>
                <c:pt idx="436">
                  <c:v>143.15395876550377</c:v>
                </c:pt>
                <c:pt idx="437">
                  <c:v>144.24319025861377</c:v>
                </c:pt>
                <c:pt idx="438">
                  <c:v>145.56245309795517</c:v>
                </c:pt>
                <c:pt idx="439">
                  <c:v>145.63570732312257</c:v>
                </c:pt>
                <c:pt idx="440">
                  <c:v>146.1668766159666</c:v>
                </c:pt>
                <c:pt idx="441">
                  <c:v>145.94968506217981</c:v>
                </c:pt>
                <c:pt idx="442">
                  <c:v>144.68133602596052</c:v>
                </c:pt>
                <c:pt idx="443">
                  <c:v>146.45575834668065</c:v>
                </c:pt>
                <c:pt idx="444">
                  <c:v>148.44372982362907</c:v>
                </c:pt>
                <c:pt idx="445">
                  <c:v>147.49860345498186</c:v>
                </c:pt>
                <c:pt idx="446">
                  <c:v>147.33966485403533</c:v>
                </c:pt>
                <c:pt idx="447">
                  <c:v>147.52665511717893</c:v>
                </c:pt>
                <c:pt idx="448">
                  <c:v>148.91948215210786</c:v>
                </c:pt>
                <c:pt idx="449">
                  <c:v>146.89650503485092</c:v>
                </c:pt>
                <c:pt idx="450">
                  <c:v>145.16894396628933</c:v>
                </c:pt>
                <c:pt idx="451">
                  <c:v>146.15829451513562</c:v>
                </c:pt>
                <c:pt idx="452">
                  <c:v>146.57497145241095</c:v>
                </c:pt>
                <c:pt idx="453">
                  <c:v>145.57544154489875</c:v>
                </c:pt>
                <c:pt idx="454">
                  <c:v>146.86264186425436</c:v>
                </c:pt>
                <c:pt idx="455">
                  <c:v>147.05585140186386</c:v>
                </c:pt>
                <c:pt idx="456">
                  <c:v>145.78996379764692</c:v>
                </c:pt>
                <c:pt idx="457">
                  <c:v>145.59571841060014</c:v>
                </c:pt>
                <c:pt idx="458">
                  <c:v>147.81388476651821</c:v>
                </c:pt>
                <c:pt idx="459">
                  <c:v>148.13005058723633</c:v>
                </c:pt>
                <c:pt idx="460">
                  <c:v>148.30748075045648</c:v>
                </c:pt>
                <c:pt idx="461">
                  <c:v>148.6863364792255</c:v>
                </c:pt>
                <c:pt idx="462">
                  <c:v>150.150799080696</c:v>
                </c:pt>
                <c:pt idx="463">
                  <c:v>150.05701433503464</c:v>
                </c:pt>
                <c:pt idx="464">
                  <c:v>149.49955374425446</c:v>
                </c:pt>
                <c:pt idx="465">
                  <c:v>149.24896659730976</c:v>
                </c:pt>
                <c:pt idx="466">
                  <c:v>149.87430994263377</c:v>
                </c:pt>
                <c:pt idx="467">
                  <c:v>150.41407689664589</c:v>
                </c:pt>
                <c:pt idx="468">
                  <c:v>150.63826314120521</c:v>
                </c:pt>
                <c:pt idx="469">
                  <c:v>151.32923597652385</c:v>
                </c:pt>
                <c:pt idx="470">
                  <c:v>151.59230933392232</c:v>
                </c:pt>
                <c:pt idx="471">
                  <c:v>151.56407133137321</c:v>
                </c:pt>
                <c:pt idx="472">
                  <c:v>149.56237640541778</c:v>
                </c:pt>
                <c:pt idx="473">
                  <c:v>148.669704782102</c:v>
                </c:pt>
                <c:pt idx="474">
                  <c:v>147.13084817150875</c:v>
                </c:pt>
                <c:pt idx="475">
                  <c:v>146.26292647761053</c:v>
                </c:pt>
                <c:pt idx="476">
                  <c:v>148.05828235284318</c:v>
                </c:pt>
                <c:pt idx="477">
                  <c:v>149.26490592342788</c:v>
                </c:pt>
                <c:pt idx="478">
                  <c:v>148.3048083373501</c:v>
                </c:pt>
                <c:pt idx="479">
                  <c:v>147.3377981679167</c:v>
                </c:pt>
                <c:pt idx="480">
                  <c:v>147.85624311322013</c:v>
                </c:pt>
                <c:pt idx="481">
                  <c:v>146.96012366049135</c:v>
                </c:pt>
                <c:pt idx="482">
                  <c:v>146.31924427885426</c:v>
                </c:pt>
                <c:pt idx="483">
                  <c:v>146.87809775417884</c:v>
                </c:pt>
                <c:pt idx="484">
                  <c:v>146.59179686505951</c:v>
                </c:pt>
                <c:pt idx="485">
                  <c:v>144.86130478339703</c:v>
                </c:pt>
                <c:pt idx="486">
                  <c:v>143.62476256608073</c:v>
                </c:pt>
                <c:pt idx="487">
                  <c:v>142.07550427585625</c:v>
                </c:pt>
                <c:pt idx="488">
                  <c:v>138.85413082792505</c:v>
                </c:pt>
                <c:pt idx="489">
                  <c:v>136.75679005485893</c:v>
                </c:pt>
                <c:pt idx="490">
                  <c:v>139.31436992770662</c:v>
                </c:pt>
                <c:pt idx="491">
                  <c:v>139.5828483490013</c:v>
                </c:pt>
                <c:pt idx="492">
                  <c:v>142.00911872405567</c:v>
                </c:pt>
                <c:pt idx="493">
                  <c:v>141.76694716103222</c:v>
                </c:pt>
                <c:pt idx="494">
                  <c:v>142.49155150978069</c:v>
                </c:pt>
                <c:pt idx="495">
                  <c:v>143.88862357489896</c:v>
                </c:pt>
                <c:pt idx="496">
                  <c:v>144.0374448027373</c:v>
                </c:pt>
                <c:pt idx="497">
                  <c:v>144.1563709588184</c:v>
                </c:pt>
                <c:pt idx="498">
                  <c:v>144.33985358117576</c:v>
                </c:pt>
                <c:pt idx="499">
                  <c:v>145.45299666395564</c:v>
                </c:pt>
                <c:pt idx="500">
                  <c:v>144.07056977394072</c:v>
                </c:pt>
                <c:pt idx="501">
                  <c:v>146.25611940612265</c:v>
                </c:pt>
                <c:pt idx="502">
                  <c:v>146.42354874954563</c:v>
                </c:pt>
                <c:pt idx="503">
                  <c:v>146.76455875695061</c:v>
                </c:pt>
                <c:pt idx="504">
                  <c:v>147.11293715897833</c:v>
                </c:pt>
                <c:pt idx="505">
                  <c:v>146.73620594896281</c:v>
                </c:pt>
                <c:pt idx="506">
                  <c:v>147.25003297021675</c:v>
                </c:pt>
                <c:pt idx="507">
                  <c:v>146.91796802446754</c:v>
                </c:pt>
                <c:pt idx="508">
                  <c:v>144.37865321508374</c:v>
                </c:pt>
                <c:pt idx="509">
                  <c:v>145.45960733416089</c:v>
                </c:pt>
                <c:pt idx="510">
                  <c:v>144.84500317855188</c:v>
                </c:pt>
                <c:pt idx="511">
                  <c:v>145.25476369567662</c:v>
                </c:pt>
                <c:pt idx="512">
                  <c:v>142.85035648797714</c:v>
                </c:pt>
                <c:pt idx="513">
                  <c:v>143.56187429571878</c:v>
                </c:pt>
                <c:pt idx="514">
                  <c:v>146.10674039352753</c:v>
                </c:pt>
                <c:pt idx="515">
                  <c:v>146.88111402939589</c:v>
                </c:pt>
                <c:pt idx="516">
                  <c:v>146.88111402939589</c:v>
                </c:pt>
                <c:pt idx="517">
                  <c:v>146.88111402939589</c:v>
                </c:pt>
                <c:pt idx="518">
                  <c:v>147.3218411499104</c:v>
                </c:pt>
                <c:pt idx="519">
                  <c:v>147.87204133053709</c:v>
                </c:pt>
                <c:pt idx="520">
                  <c:v>148.31276209902373</c:v>
                </c:pt>
                <c:pt idx="521">
                  <c:v>148.83707316311131</c:v>
                </c:pt>
                <c:pt idx="522">
                  <c:v>148.97123578706436</c:v>
                </c:pt>
                <c:pt idx="523">
                  <c:v>148.25312738834529</c:v>
                </c:pt>
                <c:pt idx="524">
                  <c:v>146.24126845090484</c:v>
                </c:pt>
                <c:pt idx="525">
                  <c:v>145.93616057231876</c:v>
                </c:pt>
                <c:pt idx="526">
                  <c:v>147.92582505645615</c:v>
                </c:pt>
                <c:pt idx="527">
                  <c:v>147.46140542727585</c:v>
                </c:pt>
                <c:pt idx="528">
                  <c:v>148.80019167100744</c:v>
                </c:pt>
                <c:pt idx="529">
                  <c:v>149.33847412633307</c:v>
                </c:pt>
                <c:pt idx="530">
                  <c:v>148.32928790060069</c:v>
                </c:pt>
                <c:pt idx="531">
                  <c:v>147.65800021190475</c:v>
                </c:pt>
                <c:pt idx="532">
                  <c:v>147.5564019607485</c:v>
                </c:pt>
                <c:pt idx="533">
                  <c:v>146.05289702675796</c:v>
                </c:pt>
                <c:pt idx="534">
                  <c:v>146.6210624039895</c:v>
                </c:pt>
                <c:pt idx="535">
                  <c:v>147.56657658736759</c:v>
                </c:pt>
                <c:pt idx="536">
                  <c:v>147.4553672069116</c:v>
                </c:pt>
                <c:pt idx="537">
                  <c:v>145.04904735681345</c:v>
                </c:pt>
                <c:pt idx="538">
                  <c:v>145.36563130294459</c:v>
                </c:pt>
                <c:pt idx="539">
                  <c:v>146.4569984415142</c:v>
                </c:pt>
                <c:pt idx="540">
                  <c:v>146.37291831506224</c:v>
                </c:pt>
                <c:pt idx="541">
                  <c:v>147.37870326449755</c:v>
                </c:pt>
                <c:pt idx="542">
                  <c:v>147.24884083532206</c:v>
                </c:pt>
                <c:pt idx="543">
                  <c:v>148.5206106728638</c:v>
                </c:pt>
                <c:pt idx="544">
                  <c:v>147.16487474694924</c:v>
                </c:pt>
                <c:pt idx="545">
                  <c:v>147.16487474694924</c:v>
                </c:pt>
                <c:pt idx="546">
                  <c:v>144.59762555340859</c:v>
                </c:pt>
                <c:pt idx="547">
                  <c:v>143.81669564456359</c:v>
                </c:pt>
                <c:pt idx="548">
                  <c:v>143.65781080138035</c:v>
                </c:pt>
                <c:pt idx="549">
                  <c:v>142.2000272929626</c:v>
                </c:pt>
                <c:pt idx="550">
                  <c:v>143.70051914906568</c:v>
                </c:pt>
                <c:pt idx="551">
                  <c:v>141.80471132918376</c:v>
                </c:pt>
                <c:pt idx="552">
                  <c:v>141.80471132918376</c:v>
                </c:pt>
                <c:pt idx="553">
                  <c:v>143.22215771460037</c:v>
                </c:pt>
                <c:pt idx="554">
                  <c:v>141.7027961587446</c:v>
                </c:pt>
                <c:pt idx="555">
                  <c:v>141.10863457575869</c:v>
                </c:pt>
                <c:pt idx="556">
                  <c:v>141.32654847018455</c:v>
                </c:pt>
                <c:pt idx="557">
                  <c:v>140.66072906724477</c:v>
                </c:pt>
                <c:pt idx="558">
                  <c:v>142.69255123369621</c:v>
                </c:pt>
                <c:pt idx="559">
                  <c:v>141.88147119147655</c:v>
                </c:pt>
                <c:pt idx="560">
                  <c:v>141.88147119147655</c:v>
                </c:pt>
                <c:pt idx="561">
                  <c:v>139.73360630578577</c:v>
                </c:pt>
                <c:pt idx="562">
                  <c:v>139.7682627124704</c:v>
                </c:pt>
                <c:pt idx="563">
                  <c:v>140.43174878973625</c:v>
                </c:pt>
                <c:pt idx="564">
                  <c:v>142.82446020942118</c:v>
                </c:pt>
                <c:pt idx="565">
                  <c:v>144.45444411606957</c:v>
                </c:pt>
                <c:pt idx="566">
                  <c:v>145.50938182227029</c:v>
                </c:pt>
                <c:pt idx="567">
                  <c:v>145.82768699735183</c:v>
                </c:pt>
                <c:pt idx="568">
                  <c:v>145.9140370997265</c:v>
                </c:pt>
                <c:pt idx="569">
                  <c:v>145.51404148212598</c:v>
                </c:pt>
                <c:pt idx="570">
                  <c:v>146.1332853036248</c:v>
                </c:pt>
                <c:pt idx="571">
                  <c:v>145.03004076873444</c:v>
                </c:pt>
                <c:pt idx="572">
                  <c:v>143.06838292839637</c:v>
                </c:pt>
                <c:pt idx="573">
                  <c:v>142.1083378637816</c:v>
                </c:pt>
                <c:pt idx="574">
                  <c:v>143.07816564770303</c:v>
                </c:pt>
                <c:pt idx="575">
                  <c:v>141.92781528627555</c:v>
                </c:pt>
                <c:pt idx="576">
                  <c:v>141.56708300059725</c:v>
                </c:pt>
                <c:pt idx="577">
                  <c:v>139.10328783078049</c:v>
                </c:pt>
                <c:pt idx="578">
                  <c:v>140.21585675847746</c:v>
                </c:pt>
                <c:pt idx="579">
                  <c:v>142.03836495111648</c:v>
                </c:pt>
                <c:pt idx="580">
                  <c:v>143.4986491973718</c:v>
                </c:pt>
                <c:pt idx="581">
                  <c:v>144.30131753509562</c:v>
                </c:pt>
                <c:pt idx="582">
                  <c:v>143.94518838048933</c:v>
                </c:pt>
                <c:pt idx="583">
                  <c:v>143.34110684882202</c:v>
                </c:pt>
                <c:pt idx="584">
                  <c:v>141.75084400375997</c:v>
                </c:pt>
                <c:pt idx="585">
                  <c:v>141.80531894964702</c:v>
                </c:pt>
                <c:pt idx="586">
                  <c:v>140.80404888499595</c:v>
                </c:pt>
                <c:pt idx="587">
                  <c:v>139.14124000189548</c:v>
                </c:pt>
                <c:pt idx="588">
                  <c:v>136.60956800325252</c:v>
                </c:pt>
                <c:pt idx="589">
                  <c:v>134.01730311828092</c:v>
                </c:pt>
                <c:pt idx="590">
                  <c:v>129.3694943985474</c:v>
                </c:pt>
                <c:pt idx="591">
                  <c:v>127.02413508501911</c:v>
                </c:pt>
                <c:pt idx="592">
                  <c:v>121.89359989420569</c:v>
                </c:pt>
                <c:pt idx="593">
                  <c:v>123.53541140409978</c:v>
                </c:pt>
                <c:pt idx="594">
                  <c:v>118.93539870772526</c:v>
                </c:pt>
                <c:pt idx="595">
                  <c:v>121.9384266644032</c:v>
                </c:pt>
                <c:pt idx="596">
                  <c:v>126.39884805532266</c:v>
                </c:pt>
                <c:pt idx="597">
                  <c:v>126.39884805532266</c:v>
                </c:pt>
                <c:pt idx="598">
                  <c:v>126.46147448572805</c:v>
                </c:pt>
                <c:pt idx="599">
                  <c:v>126.79243145029082</c:v>
                </c:pt>
                <c:pt idx="600">
                  <c:v>120.79823076510512</c:v>
                </c:pt>
                <c:pt idx="601">
                  <c:v>118.88631535432201</c:v>
                </c:pt>
                <c:pt idx="602">
                  <c:v>119.82109742474015</c:v>
                </c:pt>
                <c:pt idx="603">
                  <c:v>120.77133291248229</c:v>
                </c:pt>
                <c:pt idx="604">
                  <c:v>122.44665260415711</c:v>
                </c:pt>
                <c:pt idx="605">
                  <c:v>120.92164763416116</c:v>
                </c:pt>
                <c:pt idx="606">
                  <c:v>120.10543374683273</c:v>
                </c:pt>
                <c:pt idx="607">
                  <c:v>121.51929115140676</c:v>
                </c:pt>
                <c:pt idx="608">
                  <c:v>122.81585661885957</c:v>
                </c:pt>
                <c:pt idx="609">
                  <c:v>126.44988553114327</c:v>
                </c:pt>
                <c:pt idx="610">
                  <c:v>127.24936267842214</c:v>
                </c:pt>
                <c:pt idx="611">
                  <c:v>124.14634583564175</c:v>
                </c:pt>
                <c:pt idx="612">
                  <c:v>118.98451058130688</c:v>
                </c:pt>
                <c:pt idx="613">
                  <c:v>118.31906496747906</c:v>
                </c:pt>
                <c:pt idx="614">
                  <c:v>122.05254749030527</c:v>
                </c:pt>
                <c:pt idx="615">
                  <c:v>122.93270783610608</c:v>
                </c:pt>
                <c:pt idx="616">
                  <c:v>119.80225846197985</c:v>
                </c:pt>
                <c:pt idx="617">
                  <c:v>116.82906717250982</c:v>
                </c:pt>
                <c:pt idx="618">
                  <c:v>117.87533964731645</c:v>
                </c:pt>
                <c:pt idx="619">
                  <c:v>119.64851799377563</c:v>
                </c:pt>
                <c:pt idx="620">
                  <c:v>122.06401648109424</c:v>
                </c:pt>
                <c:pt idx="621">
                  <c:v>122.81717008174357</c:v>
                </c:pt>
                <c:pt idx="622">
                  <c:v>120.10926214369687</c:v>
                </c:pt>
                <c:pt idx="623">
                  <c:v>122.38385978473327</c:v>
                </c:pt>
                <c:pt idx="624">
                  <c:v>120.3338683041729</c:v>
                </c:pt>
                <c:pt idx="625">
                  <c:v>114.73357641681827</c:v>
                </c:pt>
                <c:pt idx="626">
                  <c:v>115.4640473106622</c:v>
                </c:pt>
                <c:pt idx="627">
                  <c:v>117.65854763180063</c:v>
                </c:pt>
                <c:pt idx="628">
                  <c:v>122.7886572367662</c:v>
                </c:pt>
                <c:pt idx="629">
                  <c:v>121.42442123217378</c:v>
                </c:pt>
                <c:pt idx="630">
                  <c:v>122.19327917655158</c:v>
                </c:pt>
                <c:pt idx="631">
                  <c:v>120.80329060269813</c:v>
                </c:pt>
                <c:pt idx="632">
                  <c:v>119.39917993681854</c:v>
                </c:pt>
                <c:pt idx="633">
                  <c:v>116.15728551774995</c:v>
                </c:pt>
                <c:pt idx="634">
                  <c:v>119.75877742637586</c:v>
                </c:pt>
                <c:pt idx="635">
                  <c:v>123.01434392402788</c:v>
                </c:pt>
                <c:pt idx="636">
                  <c:v>123.91533926133627</c:v>
                </c:pt>
                <c:pt idx="637">
                  <c:v>126.03284375727659</c:v>
                </c:pt>
                <c:pt idx="638">
                  <c:v>125.69074601843762</c:v>
                </c:pt>
                <c:pt idx="639">
                  <c:v>127.74908231536355</c:v>
                </c:pt>
                <c:pt idx="640">
                  <c:v>126.38285313830512</c:v>
                </c:pt>
                <c:pt idx="641">
                  <c:v>127.45588644951593</c:v>
                </c:pt>
                <c:pt idx="642">
                  <c:v>126.35333543667035</c:v>
                </c:pt>
                <c:pt idx="643">
                  <c:v>125.85233132596298</c:v>
                </c:pt>
                <c:pt idx="644">
                  <c:v>126.63196951376328</c:v>
                </c:pt>
                <c:pt idx="645">
                  <c:v>124.7392017572279</c:v>
                </c:pt>
                <c:pt idx="646">
                  <c:v>127.89239620739707</c:v>
                </c:pt>
                <c:pt idx="647">
                  <c:v>129.45999113863121</c:v>
                </c:pt>
                <c:pt idx="648">
                  <c:v>128.56249342381082</c:v>
                </c:pt>
                <c:pt idx="649">
                  <c:v>128.87509281551465</c:v>
                </c:pt>
                <c:pt idx="650">
                  <c:v>133.40764804477624</c:v>
                </c:pt>
                <c:pt idx="651">
                  <c:v>133.20165954924036</c:v>
                </c:pt>
                <c:pt idx="652">
                  <c:v>130.26199703235196</c:v>
                </c:pt>
                <c:pt idx="653">
                  <c:v>130.26199703235196</c:v>
                </c:pt>
                <c:pt idx="654">
                  <c:v>127.12112423675426</c:v>
                </c:pt>
                <c:pt idx="655">
                  <c:v>129.66711788340422</c:v>
                </c:pt>
                <c:pt idx="656">
                  <c:v>128.3694105857048</c:v>
                </c:pt>
                <c:pt idx="657">
                  <c:v>127.75815838225945</c:v>
                </c:pt>
                <c:pt idx="658">
                  <c:v>128.85955076822214</c:v>
                </c:pt>
                <c:pt idx="659">
                  <c:v>126.6568826775011</c:v>
                </c:pt>
                <c:pt idx="660">
                  <c:v>126.19153556703155</c:v>
                </c:pt>
                <c:pt idx="661">
                  <c:v>129.1658145453041</c:v>
                </c:pt>
                <c:pt idx="662">
                  <c:v>127.87263534801679</c:v>
                </c:pt>
                <c:pt idx="663">
                  <c:v>127.12069323676178</c:v>
                </c:pt>
                <c:pt idx="664">
                  <c:v>127.19795120033244</c:v>
                </c:pt>
                <c:pt idx="665">
                  <c:v>125.59307344821873</c:v>
                </c:pt>
                <c:pt idx="666">
                  <c:v>124.62714968865723</c:v>
                </c:pt>
                <c:pt idx="667">
                  <c:v>120.66207761181226</c:v>
                </c:pt>
                <c:pt idx="668">
                  <c:v>119.8832464299324</c:v>
                </c:pt>
                <c:pt idx="669">
                  <c:v>118.34065120348296</c:v>
                </c:pt>
                <c:pt idx="670">
                  <c:v>118.10028178315707</c:v>
                </c:pt>
                <c:pt idx="671">
                  <c:v>118.9538857511061</c:v>
                </c:pt>
                <c:pt idx="672">
                  <c:v>123.36548017180087</c:v>
                </c:pt>
                <c:pt idx="673">
                  <c:v>124.31267794090462</c:v>
                </c:pt>
                <c:pt idx="674">
                  <c:v>128.88060982856828</c:v>
                </c:pt>
                <c:pt idx="675">
                  <c:v>128.04010732249682</c:v>
                </c:pt>
                <c:pt idx="676">
                  <c:v>129.28796122199856</c:v>
                </c:pt>
                <c:pt idx="677">
                  <c:v>130.35222660359742</c:v>
                </c:pt>
                <c:pt idx="678">
                  <c:v>129.92190870841182</c:v>
                </c:pt>
                <c:pt idx="679">
                  <c:v>129.68365907479262</c:v>
                </c:pt>
                <c:pt idx="680">
                  <c:v>127.73525979177853</c:v>
                </c:pt>
                <c:pt idx="681">
                  <c:v>129.24722971908557</c:v>
                </c:pt>
                <c:pt idx="682">
                  <c:v>126.92301455749393</c:v>
                </c:pt>
                <c:pt idx="683">
                  <c:v>127.66158403071437</c:v>
                </c:pt>
                <c:pt idx="684">
                  <c:v>125.06370433704184</c:v>
                </c:pt>
                <c:pt idx="685">
                  <c:v>126.25585359780196</c:v>
                </c:pt>
                <c:pt idx="686">
                  <c:v>125.70968260632054</c:v>
                </c:pt>
                <c:pt idx="687">
                  <c:v>125.77517721164959</c:v>
                </c:pt>
                <c:pt idx="688">
                  <c:v>128.27263070983074</c:v>
                </c:pt>
                <c:pt idx="689">
                  <c:v>127.63060169646482</c:v>
                </c:pt>
                <c:pt idx="690">
                  <c:v>129.00098049540495</c:v>
                </c:pt>
                <c:pt idx="691">
                  <c:v>130.10923801635539</c:v>
                </c:pt>
                <c:pt idx="692">
                  <c:v>130.10923801635539</c:v>
                </c:pt>
                <c:pt idx="693">
                  <c:v>130.12450684119966</c:v>
                </c:pt>
                <c:pt idx="694">
                  <c:v>129.21307699834605</c:v>
                </c:pt>
                <c:pt idx="695">
                  <c:v>130.47376715191547</c:v>
                </c:pt>
                <c:pt idx="696">
                  <c:v>131.58321420726585</c:v>
                </c:pt>
                <c:pt idx="697">
                  <c:v>132.95806611255355</c:v>
                </c:pt>
                <c:pt idx="698">
                  <c:v>135.02143811789352</c:v>
                </c:pt>
                <c:pt idx="699">
                  <c:v>134.30893020383957</c:v>
                </c:pt>
                <c:pt idx="700">
                  <c:v>133.13138668445436</c:v>
                </c:pt>
                <c:pt idx="701">
                  <c:v>133.21139959485856</c:v>
                </c:pt>
                <c:pt idx="702">
                  <c:v>132.60028278765182</c:v>
                </c:pt>
                <c:pt idx="703">
                  <c:v>134.99052748908301</c:v>
                </c:pt>
                <c:pt idx="704">
                  <c:v>134.42204698307424</c:v>
                </c:pt>
                <c:pt idx="705">
                  <c:v>134.05019033607527</c:v>
                </c:pt>
                <c:pt idx="706">
                  <c:v>133.85421148496596</c:v>
                </c:pt>
                <c:pt idx="707">
                  <c:v>134.91418374854237</c:v>
                </c:pt>
                <c:pt idx="708">
                  <c:v>136.04306263677125</c:v>
                </c:pt>
                <c:pt idx="709">
                  <c:v>136.15282652595798</c:v>
                </c:pt>
                <c:pt idx="710">
                  <c:v>137.75649197868731</c:v>
                </c:pt>
                <c:pt idx="711">
                  <c:v>137.33475494803247</c:v>
                </c:pt>
                <c:pt idx="712">
                  <c:v>138.00801291631677</c:v>
                </c:pt>
                <c:pt idx="713">
                  <c:v>137.56983449357966</c:v>
                </c:pt>
                <c:pt idx="714">
                  <c:v>136.97758039463335</c:v>
                </c:pt>
                <c:pt idx="715">
                  <c:v>138.50532858792178</c:v>
                </c:pt>
                <c:pt idx="716">
                  <c:v>137.13591947501683</c:v>
                </c:pt>
                <c:pt idx="717">
                  <c:v>135.65284688219614</c:v>
                </c:pt>
                <c:pt idx="718">
                  <c:v>136.59976870046364</c:v>
                </c:pt>
                <c:pt idx="719">
                  <c:v>139.272511643309</c:v>
                </c:pt>
                <c:pt idx="720">
                  <c:v>139.52394105205721</c:v>
                </c:pt>
                <c:pt idx="721">
                  <c:v>141.89281446327675</c:v>
                </c:pt>
                <c:pt idx="722">
                  <c:v>141.72811210071447</c:v>
                </c:pt>
                <c:pt idx="723">
                  <c:v>141.37441474952522</c:v>
                </c:pt>
                <c:pt idx="724">
                  <c:v>141.10736029081562</c:v>
                </c:pt>
                <c:pt idx="725">
                  <c:v>141.4493614276781</c:v>
                </c:pt>
                <c:pt idx="726">
                  <c:v>140.18342211198814</c:v>
                </c:pt>
                <c:pt idx="727">
                  <c:v>141.22829628810678</c:v>
                </c:pt>
                <c:pt idx="728">
                  <c:v>140.93011199168723</c:v>
                </c:pt>
                <c:pt idx="729">
                  <c:v>141.94972816144261</c:v>
                </c:pt>
                <c:pt idx="730">
                  <c:v>142.06880190624506</c:v>
                </c:pt>
                <c:pt idx="731">
                  <c:v>142.87229536808965</c:v>
                </c:pt>
                <c:pt idx="732">
                  <c:v>144.0044850268805</c:v>
                </c:pt>
                <c:pt idx="733">
                  <c:v>143.300538963907</c:v>
                </c:pt>
                <c:pt idx="734">
                  <c:v>142.13104265347366</c:v>
                </c:pt>
                <c:pt idx="735">
                  <c:v>141.89627704303479</c:v>
                </c:pt>
                <c:pt idx="736">
                  <c:v>142.21857696136649</c:v>
                </c:pt>
                <c:pt idx="737">
                  <c:v>141.8574312823221</c:v>
                </c:pt>
                <c:pt idx="738">
                  <c:v>142.08432233959155</c:v>
                </c:pt>
                <c:pt idx="739">
                  <c:v>142.14219139975779</c:v>
                </c:pt>
                <c:pt idx="740">
                  <c:v>143.60336096518594</c:v>
                </c:pt>
                <c:pt idx="741">
                  <c:v>143.67397598684079</c:v>
                </c:pt>
                <c:pt idx="742">
                  <c:v>142.80889305243502</c:v>
                </c:pt>
                <c:pt idx="743">
                  <c:v>139.07084354967273</c:v>
                </c:pt>
                <c:pt idx="744">
                  <c:v>139.98349899280143</c:v>
                </c:pt>
                <c:pt idx="745">
                  <c:v>142.20232011913157</c:v>
                </c:pt>
                <c:pt idx="746">
                  <c:v>142.90746270799923</c:v>
                </c:pt>
                <c:pt idx="747">
                  <c:v>142.55101463045119</c:v>
                </c:pt>
                <c:pt idx="748">
                  <c:v>145.07077743000451</c:v>
                </c:pt>
                <c:pt idx="749">
                  <c:v>145.5420467617308</c:v>
                </c:pt>
                <c:pt idx="750">
                  <c:v>145.92958068173624</c:v>
                </c:pt>
                <c:pt idx="751">
                  <c:v>146.69146870398572</c:v>
                </c:pt>
                <c:pt idx="752">
                  <c:v>146.53971441675429</c:v>
                </c:pt>
                <c:pt idx="753">
                  <c:v>144.89385091009913</c:v>
                </c:pt>
                <c:pt idx="754">
                  <c:v>144.76668979788823</c:v>
                </c:pt>
                <c:pt idx="755">
                  <c:v>143.07576952647932</c:v>
                </c:pt>
                <c:pt idx="756">
                  <c:v>143.16415654078608</c:v>
                </c:pt>
                <c:pt idx="757">
                  <c:v>144.45321877158105</c:v>
                </c:pt>
                <c:pt idx="758">
                  <c:v>143.79727822098175</c:v>
                </c:pt>
                <c:pt idx="759">
                  <c:v>142.33125276494098</c:v>
                </c:pt>
                <c:pt idx="760">
                  <c:v>140.5509488503624</c:v>
                </c:pt>
                <c:pt idx="761">
                  <c:v>141.94888568648301</c:v>
                </c:pt>
                <c:pt idx="762">
                  <c:v>144.14014336148901</c:v>
                </c:pt>
                <c:pt idx="763">
                  <c:v>142.51988850164489</c:v>
                </c:pt>
                <c:pt idx="764">
                  <c:v>139.61327046852296</c:v>
                </c:pt>
                <c:pt idx="765">
                  <c:v>139.84607287612855</c:v>
                </c:pt>
                <c:pt idx="766">
                  <c:v>139.84607287612855</c:v>
                </c:pt>
                <c:pt idx="767">
                  <c:v>139.84607287612855</c:v>
                </c:pt>
                <c:pt idx="768">
                  <c:v>136.3651967629194</c:v>
                </c:pt>
                <c:pt idx="769">
                  <c:v>137.39261266833839</c:v>
                </c:pt>
                <c:pt idx="770">
                  <c:v>138.89840198754828</c:v>
                </c:pt>
                <c:pt idx="771">
                  <c:v>136.84930946809982</c:v>
                </c:pt>
                <c:pt idx="772">
                  <c:v>137.36579743470458</c:v>
                </c:pt>
                <c:pt idx="773">
                  <c:v>140.15355304517641</c:v>
                </c:pt>
                <c:pt idx="774">
                  <c:v>139.26563414531381</c:v>
                </c:pt>
                <c:pt idx="775">
                  <c:v>138.6113883497778</c:v>
                </c:pt>
                <c:pt idx="776">
                  <c:v>139.39738440561126</c:v>
                </c:pt>
                <c:pt idx="777">
                  <c:v>136.29847988253923</c:v>
                </c:pt>
                <c:pt idx="778">
                  <c:v>137.7034837117053</c:v>
                </c:pt>
                <c:pt idx="779">
                  <c:v>139.14904651589617</c:v>
                </c:pt>
                <c:pt idx="780">
                  <c:v>139.40650391355533</c:v>
                </c:pt>
                <c:pt idx="781">
                  <c:v>140.42215062027685</c:v>
                </c:pt>
                <c:pt idx="782">
                  <c:v>139.53943833673856</c:v>
                </c:pt>
                <c:pt idx="783">
                  <c:v>139.53943833673856</c:v>
                </c:pt>
                <c:pt idx="784">
                  <c:v>139.65858216699991</c:v>
                </c:pt>
                <c:pt idx="785">
                  <c:v>139.77025737702218</c:v>
                </c:pt>
                <c:pt idx="786">
                  <c:v>137.50847011300124</c:v>
                </c:pt>
                <c:pt idx="787">
                  <c:v>138.5044801872445</c:v>
                </c:pt>
                <c:pt idx="788">
                  <c:v>136.25339775230631</c:v>
                </c:pt>
                <c:pt idx="789">
                  <c:v>135.99545917789987</c:v>
                </c:pt>
                <c:pt idx="790">
                  <c:v>136.77717004508838</c:v>
                </c:pt>
                <c:pt idx="791">
                  <c:v>137.29707825881206</c:v>
                </c:pt>
                <c:pt idx="792">
                  <c:v>134.84397811293297</c:v>
                </c:pt>
                <c:pt idx="793">
                  <c:v>133.98941366725697</c:v>
                </c:pt>
                <c:pt idx="794">
                  <c:v>133.27881545405847</c:v>
                </c:pt>
                <c:pt idx="795">
                  <c:v>133.27881545405847</c:v>
                </c:pt>
                <c:pt idx="796">
                  <c:v>130.4120283853901</c:v>
                </c:pt>
                <c:pt idx="797">
                  <c:v>131.17777396414644</c:v>
                </c:pt>
                <c:pt idx="798">
                  <c:v>133.69917319947666</c:v>
                </c:pt>
                <c:pt idx="799">
                  <c:v>130.82464812491588</c:v>
                </c:pt>
                <c:pt idx="800">
                  <c:v>132.19954892802673</c:v>
                </c:pt>
                <c:pt idx="801">
                  <c:v>132.5989212795661</c:v>
                </c:pt>
                <c:pt idx="802">
                  <c:v>132.5989212795661</c:v>
                </c:pt>
                <c:pt idx="803">
                  <c:v>133.50023102092351</c:v>
                </c:pt>
                <c:pt idx="804">
                  <c:v>131.5510144579053</c:v>
                </c:pt>
                <c:pt idx="805">
                  <c:v>131.06356915506083</c:v>
                </c:pt>
                <c:pt idx="806">
                  <c:v>128.61004150493784</c:v>
                </c:pt>
                <c:pt idx="807">
                  <c:v>127.93457209317236</c:v>
                </c:pt>
                <c:pt idx="808">
                  <c:v>128.32813204105935</c:v>
                </c:pt>
                <c:pt idx="809">
                  <c:v>131.39116704807239</c:v>
                </c:pt>
                <c:pt idx="810">
                  <c:v>132.83907430464336</c:v>
                </c:pt>
                <c:pt idx="811">
                  <c:v>132.50334168111834</c:v>
                </c:pt>
                <c:pt idx="812">
                  <c:v>132.57106320500179</c:v>
                </c:pt>
                <c:pt idx="813">
                  <c:v>133.52962470881238</c:v>
                </c:pt>
                <c:pt idx="814">
                  <c:v>133.11521348435454</c:v>
                </c:pt>
                <c:pt idx="815">
                  <c:v>132.69004921508753</c:v>
                </c:pt>
                <c:pt idx="816">
                  <c:v>133.9149102668411</c:v>
                </c:pt>
                <c:pt idx="817">
                  <c:v>134.06769362517068</c:v>
                </c:pt>
                <c:pt idx="818">
                  <c:v>136.23073891889331</c:v>
                </c:pt>
                <c:pt idx="819">
                  <c:v>136.96252361666862</c:v>
                </c:pt>
                <c:pt idx="820">
                  <c:v>136.2263903804961</c:v>
                </c:pt>
                <c:pt idx="821">
                  <c:v>135.23570906055647</c:v>
                </c:pt>
                <c:pt idx="822">
                  <c:v>133.22320115052733</c:v>
                </c:pt>
                <c:pt idx="823">
                  <c:v>133.13184803775832</c:v>
                </c:pt>
                <c:pt idx="824">
                  <c:v>134.98210397578421</c:v>
                </c:pt>
                <c:pt idx="825">
                  <c:v>134.36891751599521</c:v>
                </c:pt>
                <c:pt idx="826">
                  <c:v>137.82942621513541</c:v>
                </c:pt>
                <c:pt idx="827">
                  <c:v>139.83711532357211</c:v>
                </c:pt>
                <c:pt idx="828">
                  <c:v>141.26617692430651</c:v>
                </c:pt>
                <c:pt idx="829">
                  <c:v>141.28631076280976</c:v>
                </c:pt>
                <c:pt idx="830">
                  <c:v>141.11379225162742</c:v>
                </c:pt>
                <c:pt idx="831">
                  <c:v>139.75941374121706</c:v>
                </c:pt>
                <c:pt idx="832">
                  <c:v>139.22542883754377</c:v>
                </c:pt>
                <c:pt idx="833">
                  <c:v>140.41330991944938</c:v>
                </c:pt>
                <c:pt idx="834">
                  <c:v>140.47574651375615</c:v>
                </c:pt>
                <c:pt idx="835">
                  <c:v>139.00219028139384</c:v>
                </c:pt>
                <c:pt idx="836">
                  <c:v>140.85809730714988</c:v>
                </c:pt>
                <c:pt idx="837">
                  <c:v>141.11078245633152</c:v>
                </c:pt>
                <c:pt idx="838">
                  <c:v>140.74824308275271</c:v>
                </c:pt>
                <c:pt idx="839">
                  <c:v>142.32954598791966</c:v>
                </c:pt>
                <c:pt idx="840">
                  <c:v>143.86277048160261</c:v>
                </c:pt>
                <c:pt idx="841">
                  <c:v>141.85439509840089</c:v>
                </c:pt>
                <c:pt idx="842">
                  <c:v>138.39625787973046</c:v>
                </c:pt>
                <c:pt idx="843">
                  <c:v>137.7293868538622</c:v>
                </c:pt>
                <c:pt idx="844">
                  <c:v>137.65750308930316</c:v>
                </c:pt>
                <c:pt idx="845">
                  <c:v>140.94752243033926</c:v>
                </c:pt>
                <c:pt idx="846">
                  <c:v>142.7347142022596</c:v>
                </c:pt>
                <c:pt idx="847">
                  <c:v>145.02041156386474</c:v>
                </c:pt>
                <c:pt idx="848">
                  <c:v>143.62796437165878</c:v>
                </c:pt>
                <c:pt idx="849">
                  <c:v>144.34008152943875</c:v>
                </c:pt>
                <c:pt idx="850">
                  <c:v>142.58551104277666</c:v>
                </c:pt>
                <c:pt idx="851">
                  <c:v>146.052843098469</c:v>
                </c:pt>
                <c:pt idx="852">
                  <c:v>146.66142126882789</c:v>
                </c:pt>
                <c:pt idx="853">
                  <c:v>147.75353833033176</c:v>
                </c:pt>
                <c:pt idx="854">
                  <c:v>148.22446605939371</c:v>
                </c:pt>
                <c:pt idx="855">
                  <c:v>148.8305641679778</c:v>
                </c:pt>
                <c:pt idx="856">
                  <c:v>148.60265235266544</c:v>
                </c:pt>
                <c:pt idx="857">
                  <c:v>147.97735901357254</c:v>
                </c:pt>
                <c:pt idx="858">
                  <c:v>148.96209261888205</c:v>
                </c:pt>
                <c:pt idx="859">
                  <c:v>148.96209261888205</c:v>
                </c:pt>
                <c:pt idx="860">
                  <c:v>149.41994877043837</c:v>
                </c:pt>
                <c:pt idx="861">
                  <c:v>150.26486316465923</c:v>
                </c:pt>
                <c:pt idx="862">
                  <c:v>149.55103522253827</c:v>
                </c:pt>
                <c:pt idx="863">
                  <c:v>150.08810559163464</c:v>
                </c:pt>
                <c:pt idx="864">
                  <c:v>148.27060343619394</c:v>
                </c:pt>
                <c:pt idx="865">
                  <c:v>147.39770230687785</c:v>
                </c:pt>
                <c:pt idx="866">
                  <c:v>147.60856506701231</c:v>
                </c:pt>
                <c:pt idx="867">
                  <c:v>148.282722550611</c:v>
                </c:pt>
                <c:pt idx="868">
                  <c:v>147.25343386283302</c:v>
                </c:pt>
                <c:pt idx="869">
                  <c:v>147.03973843944752</c:v>
                </c:pt>
                <c:pt idx="870">
                  <c:v>145.93005384384315</c:v>
                </c:pt>
                <c:pt idx="871">
                  <c:v>146.52148264814599</c:v>
                </c:pt>
                <c:pt idx="872">
                  <c:v>147.77566887967905</c:v>
                </c:pt>
                <c:pt idx="873">
                  <c:v>146.0536568400961</c:v>
                </c:pt>
                <c:pt idx="874">
                  <c:v>146.13054352978662</c:v>
                </c:pt>
                <c:pt idx="875">
                  <c:v>149.54250005850099</c:v>
                </c:pt>
                <c:pt idx="876">
                  <c:v>149.86774944918133</c:v>
                </c:pt>
                <c:pt idx="877">
                  <c:v>149.51384145793747</c:v>
                </c:pt>
                <c:pt idx="878">
                  <c:v>150.01635368493714</c:v>
                </c:pt>
                <c:pt idx="879">
                  <c:v>150.17031502464931</c:v>
                </c:pt>
                <c:pt idx="880">
                  <c:v>149.93219038529168</c:v>
                </c:pt>
                <c:pt idx="881">
                  <c:v>151.81236151693304</c:v>
                </c:pt>
                <c:pt idx="882">
                  <c:v>151.31453772575293</c:v>
                </c:pt>
                <c:pt idx="883">
                  <c:v>150.68022617010894</c:v>
                </c:pt>
                <c:pt idx="884">
                  <c:v>151.31389574465749</c:v>
                </c:pt>
                <c:pt idx="885">
                  <c:v>151.0627861114715</c:v>
                </c:pt>
                <c:pt idx="886">
                  <c:v>151.75550933538327</c:v>
                </c:pt>
                <c:pt idx="887">
                  <c:v>151.25153298734188</c:v>
                </c:pt>
                <c:pt idx="888">
                  <c:v>151.85841665842401</c:v>
                </c:pt>
                <c:pt idx="889">
                  <c:v>149.11726983898802</c:v>
                </c:pt>
                <c:pt idx="890">
                  <c:v>149.59863936350638</c:v>
                </c:pt>
                <c:pt idx="891">
                  <c:v>147.78995314024888</c:v>
                </c:pt>
                <c:pt idx="892">
                  <c:v>149.9251427893773</c:v>
                </c:pt>
                <c:pt idx="893">
                  <c:v>149.51055183237986</c:v>
                </c:pt>
                <c:pt idx="894">
                  <c:v>149.39295891999262</c:v>
                </c:pt>
                <c:pt idx="895">
                  <c:v>149.29195443420642</c:v>
                </c:pt>
                <c:pt idx="896">
                  <c:v>150.816015552588</c:v>
                </c:pt>
                <c:pt idx="897">
                  <c:v>149.36273379858849</c:v>
                </c:pt>
                <c:pt idx="898">
                  <c:v>148.7002119932132</c:v>
                </c:pt>
                <c:pt idx="899">
                  <c:v>147.93455564126032</c:v>
                </c:pt>
                <c:pt idx="900">
                  <c:v>149.08645692056092</c:v>
                </c:pt>
                <c:pt idx="901">
                  <c:v>148.29881500748729</c:v>
                </c:pt>
                <c:pt idx="902">
                  <c:v>149.0468495560043</c:v>
                </c:pt>
                <c:pt idx="903">
                  <c:v>151.01480809612855</c:v>
                </c:pt>
                <c:pt idx="904">
                  <c:v>151.76614147851134</c:v>
                </c:pt>
                <c:pt idx="905">
                  <c:v>152.01505258542707</c:v>
                </c:pt>
                <c:pt idx="906">
                  <c:v>150.84770952708172</c:v>
                </c:pt>
                <c:pt idx="907">
                  <c:v>150.23721428069422</c:v>
                </c:pt>
                <c:pt idx="908">
                  <c:v>147.73438364195837</c:v>
                </c:pt>
                <c:pt idx="909">
                  <c:v>148.43672890872085</c:v>
                </c:pt>
                <c:pt idx="910">
                  <c:v>148.77611019657144</c:v>
                </c:pt>
                <c:pt idx="911">
                  <c:v>148.97097991545593</c:v>
                </c:pt>
                <c:pt idx="912">
                  <c:v>148.41065741651809</c:v>
                </c:pt>
                <c:pt idx="913">
                  <c:v>149.70744452283938</c:v>
                </c:pt>
                <c:pt idx="914">
                  <c:v>148.85767278854948</c:v>
                </c:pt>
                <c:pt idx="915">
                  <c:v>148.85767278854948</c:v>
                </c:pt>
                <c:pt idx="916">
                  <c:v>151.40268204144868</c:v>
                </c:pt>
                <c:pt idx="917">
                  <c:v>150.52204401464721</c:v>
                </c:pt>
                <c:pt idx="918">
                  <c:v>151.38528251634671</c:v>
                </c:pt>
                <c:pt idx="919">
                  <c:v>149.37613474364431</c:v>
                </c:pt>
                <c:pt idx="920">
                  <c:v>149.12878619288193</c:v>
                </c:pt>
                <c:pt idx="921">
                  <c:v>148.98857801602304</c:v>
                </c:pt>
                <c:pt idx="922">
                  <c:v>148.61186940046923</c:v>
                </c:pt>
                <c:pt idx="923">
                  <c:v>149.26471983885938</c:v>
                </c:pt>
                <c:pt idx="924">
                  <c:v>147.93980245867166</c:v>
                </c:pt>
                <c:pt idx="925">
                  <c:v>146.50512306506278</c:v>
                </c:pt>
                <c:pt idx="926">
                  <c:v>144.9937960993669</c:v>
                </c:pt>
                <c:pt idx="927">
                  <c:v>148.20180620283458</c:v>
                </c:pt>
                <c:pt idx="928">
                  <c:v>148.67714113062854</c:v>
                </c:pt>
                <c:pt idx="929">
                  <c:v>149.10255896942522</c:v>
                </c:pt>
                <c:pt idx="930">
                  <c:v>149.93736835354434</c:v>
                </c:pt>
                <c:pt idx="931">
                  <c:v>150.83271349837446</c:v>
                </c:pt>
                <c:pt idx="932">
                  <c:v>150.10620464975997</c:v>
                </c:pt>
                <c:pt idx="933">
                  <c:v>150.55686595772892</c:v>
                </c:pt>
                <c:pt idx="934">
                  <c:v>150.74006444408695</c:v>
                </c:pt>
                <c:pt idx="935">
                  <c:v>152.46013233692034</c:v>
                </c:pt>
                <c:pt idx="936">
                  <c:v>152.16175799124699</c:v>
                </c:pt>
                <c:pt idx="937">
                  <c:v>152.33772079346431</c:v>
                </c:pt>
                <c:pt idx="938">
                  <c:v>152.40479939836902</c:v>
                </c:pt>
                <c:pt idx="939">
                  <c:v>152.78694351639541</c:v>
                </c:pt>
                <c:pt idx="940">
                  <c:v>153.8524414897615</c:v>
                </c:pt>
                <c:pt idx="941">
                  <c:v>154.0459861501142</c:v>
                </c:pt>
                <c:pt idx="942">
                  <c:v>154.29176361851179</c:v>
                </c:pt>
                <c:pt idx="943">
                  <c:v>154.79861666768733</c:v>
                </c:pt>
                <c:pt idx="944">
                  <c:v>154.89700352127551</c:v>
                </c:pt>
                <c:pt idx="945">
                  <c:v>154.33072456834205</c:v>
                </c:pt>
                <c:pt idx="946">
                  <c:v>154.1670499126844</c:v>
                </c:pt>
                <c:pt idx="947">
                  <c:v>154.0996307282615</c:v>
                </c:pt>
                <c:pt idx="948">
                  <c:v>154.79053556704386</c:v>
                </c:pt>
                <c:pt idx="949">
                  <c:v>155.41315858195208</c:v>
                </c:pt>
                <c:pt idx="950">
                  <c:v>155.47653075744833</c:v>
                </c:pt>
                <c:pt idx="951">
                  <c:v>155.0358798612645</c:v>
                </c:pt>
                <c:pt idx="952">
                  <c:v>155.0358798612645</c:v>
                </c:pt>
                <c:pt idx="953">
                  <c:v>155.0358798612645</c:v>
                </c:pt>
                <c:pt idx="954">
                  <c:v>155.0358798612645</c:v>
                </c:pt>
                <c:pt idx="955">
                  <c:v>154.84532760273652</c:v>
                </c:pt>
                <c:pt idx="956">
                  <c:v>153.84459579781796</c:v>
                </c:pt>
                <c:pt idx="957">
                  <c:v>154.32982722721121</c:v>
                </c:pt>
                <c:pt idx="958">
                  <c:v>154.32982722721121</c:v>
                </c:pt>
                <c:pt idx="959">
                  <c:v>157.40312834709314</c:v>
                </c:pt>
                <c:pt idx="960">
                  <c:v>158.27190564631695</c:v>
                </c:pt>
                <c:pt idx="961">
                  <c:v>158.85365468531748</c:v>
                </c:pt>
                <c:pt idx="962">
                  <c:v>158.1393528989918</c:v>
                </c:pt>
                <c:pt idx="963">
                  <c:v>157.91126147903415</c:v>
                </c:pt>
                <c:pt idx="964">
                  <c:v>159.00910397683228</c:v>
                </c:pt>
                <c:pt idx="965">
                  <c:v>158.57281671044009</c:v>
                </c:pt>
                <c:pt idx="966">
                  <c:v>158.38241455586532</c:v>
                </c:pt>
                <c:pt idx="967">
                  <c:v>157.82417049150874</c:v>
                </c:pt>
                <c:pt idx="968">
                  <c:v>157.85356315625245</c:v>
                </c:pt>
                <c:pt idx="969">
                  <c:v>157.92441026138425</c:v>
                </c:pt>
                <c:pt idx="970">
                  <c:v>158.60743815965762</c:v>
                </c:pt>
                <c:pt idx="971">
                  <c:v>158.41297377686851</c:v>
                </c:pt>
                <c:pt idx="972">
                  <c:v>158.84283070242893</c:v>
                </c:pt>
                <c:pt idx="973">
                  <c:v>158.79389127147567</c:v>
                </c:pt>
                <c:pt idx="974">
                  <c:v>159.13233599762208</c:v>
                </c:pt>
                <c:pt idx="975">
                  <c:v>159.53096528982815</c:v>
                </c:pt>
                <c:pt idx="976">
                  <c:v>160.00590157460206</c:v>
                </c:pt>
                <c:pt idx="977">
                  <c:v>159.82195917628931</c:v>
                </c:pt>
                <c:pt idx="978">
                  <c:v>160.42800766232205</c:v>
                </c:pt>
                <c:pt idx="979">
                  <c:v>159.51865812981524</c:v>
                </c:pt>
                <c:pt idx="980">
                  <c:v>158.66503109846485</c:v>
                </c:pt>
                <c:pt idx="981">
                  <c:v>159.10471077389431</c:v>
                </c:pt>
                <c:pt idx="982">
                  <c:v>156.72820520969947</c:v>
                </c:pt>
                <c:pt idx="983">
                  <c:v>157.64922759471281</c:v>
                </c:pt>
                <c:pt idx="984">
                  <c:v>157.02805139263592</c:v>
                </c:pt>
                <c:pt idx="985">
                  <c:v>156.6191586306881</c:v>
                </c:pt>
                <c:pt idx="986">
                  <c:v>158.50309642942236</c:v>
                </c:pt>
                <c:pt idx="987">
                  <c:v>157.57472364009345</c:v>
                </c:pt>
                <c:pt idx="988">
                  <c:v>158.33092536135811</c:v>
                </c:pt>
                <c:pt idx="989">
                  <c:v>159.0618123769552</c:v>
                </c:pt>
                <c:pt idx="990">
                  <c:v>158.83619816249112</c:v>
                </c:pt>
                <c:pt idx="991">
                  <c:v>158.51440265483373</c:v>
                </c:pt>
                <c:pt idx="992">
                  <c:v>158.2347063823097</c:v>
                </c:pt>
                <c:pt idx="993">
                  <c:v>160.00264754597691</c:v>
                </c:pt>
                <c:pt idx="994">
                  <c:v>159.54033751468043</c:v>
                </c:pt>
                <c:pt idx="995">
                  <c:v>157.21388793146812</c:v>
                </c:pt>
                <c:pt idx="996">
                  <c:v>159.24210061153696</c:v>
                </c:pt>
                <c:pt idx="997">
                  <c:v>159.16898596045252</c:v>
                </c:pt>
                <c:pt idx="998">
                  <c:v>157.16553045708204</c:v>
                </c:pt>
                <c:pt idx="999">
                  <c:v>158.63299014979364</c:v>
                </c:pt>
                <c:pt idx="1000">
                  <c:v>160.18334861972033</c:v>
                </c:pt>
                <c:pt idx="1001">
                  <c:v>159.63408751603075</c:v>
                </c:pt>
                <c:pt idx="1002">
                  <c:v>159.59767799236496</c:v>
                </c:pt>
                <c:pt idx="1003">
                  <c:v>162.45971459702557</c:v>
                </c:pt>
                <c:pt idx="1004">
                  <c:v>162.12908235322797</c:v>
                </c:pt>
                <c:pt idx="1005">
                  <c:v>162.11631810301722</c:v>
                </c:pt>
                <c:pt idx="1006">
                  <c:v>163.45000260282691</c:v>
                </c:pt>
                <c:pt idx="1007">
                  <c:v>163.29235239770219</c:v>
                </c:pt>
                <c:pt idx="1008">
                  <c:v>163.32590406316044</c:v>
                </c:pt>
                <c:pt idx="1009">
                  <c:v>163.41644309325397</c:v>
                </c:pt>
                <c:pt idx="1010">
                  <c:v>165.20293264639346</c:v>
                </c:pt>
                <c:pt idx="1011">
                  <c:v>164.57518320417992</c:v>
                </c:pt>
                <c:pt idx="1012">
                  <c:v>164.20999699612997</c:v>
                </c:pt>
                <c:pt idx="1013">
                  <c:v>163.52576413101389</c:v>
                </c:pt>
                <c:pt idx="1014">
                  <c:v>164.13373182462828</c:v>
                </c:pt>
                <c:pt idx="1015">
                  <c:v>163.05388440780595</c:v>
                </c:pt>
                <c:pt idx="1016">
                  <c:v>162.84630445226054</c:v>
                </c:pt>
                <c:pt idx="1017">
                  <c:v>162.39193842012597</c:v>
                </c:pt>
                <c:pt idx="1018">
                  <c:v>162.67553117131223</c:v>
                </c:pt>
                <c:pt idx="1019">
                  <c:v>162.05310639082182</c:v>
                </c:pt>
                <c:pt idx="1020">
                  <c:v>162.74694578108307</c:v>
                </c:pt>
                <c:pt idx="1021">
                  <c:v>162.74694578108307</c:v>
                </c:pt>
                <c:pt idx="1022">
                  <c:v>162.74694578108307</c:v>
                </c:pt>
                <c:pt idx="1023">
                  <c:v>164.832180655359</c:v>
                </c:pt>
                <c:pt idx="1024">
                  <c:v>163.31844853065593</c:v>
                </c:pt>
                <c:pt idx="1025">
                  <c:v>161.650036903445</c:v>
                </c:pt>
                <c:pt idx="1026">
                  <c:v>159.20084189033378</c:v>
                </c:pt>
                <c:pt idx="1027">
                  <c:v>159.54258191196888</c:v>
                </c:pt>
                <c:pt idx="1028">
                  <c:v>159.76596831262572</c:v>
                </c:pt>
                <c:pt idx="1029">
                  <c:v>162.57814938753651</c:v>
                </c:pt>
                <c:pt idx="1030">
                  <c:v>163.54224840994075</c:v>
                </c:pt>
                <c:pt idx="1031">
                  <c:v>162.18346982018483</c:v>
                </c:pt>
                <c:pt idx="1032">
                  <c:v>161.21869070451882</c:v>
                </c:pt>
                <c:pt idx="1033">
                  <c:v>159.98674620413189</c:v>
                </c:pt>
                <c:pt idx="1034">
                  <c:v>157.54615904101163</c:v>
                </c:pt>
                <c:pt idx="1035">
                  <c:v>157.53947739009558</c:v>
                </c:pt>
                <c:pt idx="1036">
                  <c:v>158.44025978527159</c:v>
                </c:pt>
                <c:pt idx="1037">
                  <c:v>158.72630471752063</c:v>
                </c:pt>
                <c:pt idx="1038">
                  <c:v>162.62654301305957</c:v>
                </c:pt>
                <c:pt idx="1039">
                  <c:v>163.91484683734132</c:v>
                </c:pt>
                <c:pt idx="1040">
                  <c:v>165.17059323768811</c:v>
                </c:pt>
                <c:pt idx="1041">
                  <c:v>164.68946798912941</c:v>
                </c:pt>
                <c:pt idx="1042">
                  <c:v>165.67658096165675</c:v>
                </c:pt>
                <c:pt idx="1043">
                  <c:v>165.39275292966292</c:v>
                </c:pt>
                <c:pt idx="1044">
                  <c:v>165.39275292966292</c:v>
                </c:pt>
                <c:pt idx="1045">
                  <c:v>166.14254029674416</c:v>
                </c:pt>
                <c:pt idx="1046">
                  <c:v>167.91337487291992</c:v>
                </c:pt>
                <c:pt idx="1047">
                  <c:v>167.9690842863408</c:v>
                </c:pt>
                <c:pt idx="1048">
                  <c:v>168.42014419469842</c:v>
                </c:pt>
                <c:pt idx="1049">
                  <c:v>169.63451233635743</c:v>
                </c:pt>
                <c:pt idx="1050">
                  <c:v>169.63451233635743</c:v>
                </c:pt>
                <c:pt idx="1051">
                  <c:v>170.45449506496132</c:v>
                </c:pt>
                <c:pt idx="1052">
                  <c:v>170.16063159675159</c:v>
                </c:pt>
                <c:pt idx="1053">
                  <c:v>170.90911696870336</c:v>
                </c:pt>
                <c:pt idx="1054">
                  <c:v>172.26140510783631</c:v>
                </c:pt>
                <c:pt idx="1055">
                  <c:v>172.180704601104</c:v>
                </c:pt>
                <c:pt idx="1056">
                  <c:v>172.69029746308721</c:v>
                </c:pt>
                <c:pt idx="1057">
                  <c:v>172.69029746308721</c:v>
                </c:pt>
                <c:pt idx="1058">
                  <c:v>173.53634452187697</c:v>
                </c:pt>
                <c:pt idx="1059">
                  <c:v>173.96770009963601</c:v>
                </c:pt>
                <c:pt idx="1060">
                  <c:v>170.28940953445317</c:v>
                </c:pt>
                <c:pt idx="1061">
                  <c:v>169.94740839759069</c:v>
                </c:pt>
                <c:pt idx="1062">
                  <c:v>170.49395027927343</c:v>
                </c:pt>
                <c:pt idx="1063">
                  <c:v>172.63548219346853</c:v>
                </c:pt>
                <c:pt idx="1064">
                  <c:v>169.45914726419741</c:v>
                </c:pt>
                <c:pt idx="1065">
                  <c:v>170.08803785455981</c:v>
                </c:pt>
                <c:pt idx="1066">
                  <c:v>168.55102277776115</c:v>
                </c:pt>
                <c:pt idx="1067">
                  <c:v>167.26936117066802</c:v>
                </c:pt>
                <c:pt idx="1068">
                  <c:v>167.81431717700949</c:v>
                </c:pt>
                <c:pt idx="1069">
                  <c:v>165.38041332741676</c:v>
                </c:pt>
                <c:pt idx="1070">
                  <c:v>163.47883347549316</c:v>
                </c:pt>
                <c:pt idx="1071">
                  <c:v>165.56353703889945</c:v>
                </c:pt>
                <c:pt idx="1072">
                  <c:v>165.48215064108192</c:v>
                </c:pt>
                <c:pt idx="1073">
                  <c:v>163.59246046322457</c:v>
                </c:pt>
                <c:pt idx="1074">
                  <c:v>163.09021919922776</c:v>
                </c:pt>
                <c:pt idx="1075">
                  <c:v>162.98560040974829</c:v>
                </c:pt>
                <c:pt idx="1076">
                  <c:v>163.24898360967359</c:v>
                </c:pt>
                <c:pt idx="1077">
                  <c:v>164.44601694017538</c:v>
                </c:pt>
                <c:pt idx="1078">
                  <c:v>164.30317872548167</c:v>
                </c:pt>
                <c:pt idx="1079">
                  <c:v>163.939557588817</c:v>
                </c:pt>
                <c:pt idx="1080">
                  <c:v>159.09632788799479</c:v>
                </c:pt>
                <c:pt idx="1081">
                  <c:v>157.28289465384472</c:v>
                </c:pt>
                <c:pt idx="1082">
                  <c:v>154.75618380189559</c:v>
                </c:pt>
                <c:pt idx="1083">
                  <c:v>156.99836376360469</c:v>
                </c:pt>
                <c:pt idx="1084">
                  <c:v>159.71331311606255</c:v>
                </c:pt>
                <c:pt idx="1085">
                  <c:v>160.73188900275082</c:v>
                </c:pt>
                <c:pt idx="1086">
                  <c:v>159.95017741083512</c:v>
                </c:pt>
                <c:pt idx="1087">
                  <c:v>161.75880471797126</c:v>
                </c:pt>
                <c:pt idx="1088">
                  <c:v>161.08722278971595</c:v>
                </c:pt>
                <c:pt idx="1089">
                  <c:v>160.15871562729356</c:v>
                </c:pt>
                <c:pt idx="1090">
                  <c:v>163.9152206264533</c:v>
                </c:pt>
                <c:pt idx="1091">
                  <c:v>161.72111447207368</c:v>
                </c:pt>
                <c:pt idx="1092">
                  <c:v>164.00051134704773</c:v>
                </c:pt>
                <c:pt idx="1093">
                  <c:v>165.24454550379204</c:v>
                </c:pt>
                <c:pt idx="1094">
                  <c:v>165.4702132628633</c:v>
                </c:pt>
                <c:pt idx="1095">
                  <c:v>166.41247341761621</c:v>
                </c:pt>
                <c:pt idx="1096">
                  <c:v>166.21092149361218</c:v>
                </c:pt>
                <c:pt idx="1097">
                  <c:v>166.91909208123701</c:v>
                </c:pt>
                <c:pt idx="1098">
                  <c:v>165.76683027108169</c:v>
                </c:pt>
                <c:pt idx="1099">
                  <c:v>166.75972124399675</c:v>
                </c:pt>
                <c:pt idx="1100">
                  <c:v>168.21787376684924</c:v>
                </c:pt>
                <c:pt idx="1101">
                  <c:v>168.26398403029802</c:v>
                </c:pt>
                <c:pt idx="1102">
                  <c:v>168.50716479834691</c:v>
                </c:pt>
                <c:pt idx="1103">
                  <c:v>168.03022459807968</c:v>
                </c:pt>
                <c:pt idx="1104">
                  <c:v>168.99343715027265</c:v>
                </c:pt>
                <c:pt idx="1105">
                  <c:v>168.17533624181226</c:v>
                </c:pt>
                <c:pt idx="1106">
                  <c:v>167.76903127032091</c:v>
                </c:pt>
                <c:pt idx="1107">
                  <c:v>167.84253927817412</c:v>
                </c:pt>
                <c:pt idx="1108">
                  <c:v>167.96604038619921</c:v>
                </c:pt>
                <c:pt idx="1109">
                  <c:v>168.10559856732229</c:v>
                </c:pt>
                <c:pt idx="1110">
                  <c:v>170.05553329313722</c:v>
                </c:pt>
                <c:pt idx="1111">
                  <c:v>170.48809221775798</c:v>
                </c:pt>
                <c:pt idx="1112">
                  <c:v>170.75420470061974</c:v>
                </c:pt>
                <c:pt idx="1113">
                  <c:v>170.08410816630379</c:v>
                </c:pt>
                <c:pt idx="1114">
                  <c:v>169.80041190690866</c:v>
                </c:pt>
                <c:pt idx="1115">
                  <c:v>170.51982835436715</c:v>
                </c:pt>
                <c:pt idx="1116">
                  <c:v>171.53829395451041</c:v>
                </c:pt>
                <c:pt idx="1117">
                  <c:v>171.65197649050884</c:v>
                </c:pt>
                <c:pt idx="1118">
                  <c:v>172.63079516447385</c:v>
                </c:pt>
                <c:pt idx="1119">
                  <c:v>173.20926058889526</c:v>
                </c:pt>
                <c:pt idx="1120">
                  <c:v>173.20926058889526</c:v>
                </c:pt>
                <c:pt idx="1121">
                  <c:v>171.99030449282048</c:v>
                </c:pt>
                <c:pt idx="1122">
                  <c:v>171.04366881421114</c:v>
                </c:pt>
                <c:pt idx="1123">
                  <c:v>169.65320042780493</c:v>
                </c:pt>
                <c:pt idx="1124">
                  <c:v>168.76906162381721</c:v>
                </c:pt>
                <c:pt idx="1125">
                  <c:v>170.42153533173595</c:v>
                </c:pt>
                <c:pt idx="1126">
                  <c:v>171.08699526959961</c:v>
                </c:pt>
                <c:pt idx="1127">
                  <c:v>170.99113119410518</c:v>
                </c:pt>
                <c:pt idx="1128">
                  <c:v>168.01136973393491</c:v>
                </c:pt>
                <c:pt idx="1129">
                  <c:v>167.48173477548278</c:v>
                </c:pt>
                <c:pt idx="1130">
                  <c:v>168.68191346804474</c:v>
                </c:pt>
                <c:pt idx="1131">
                  <c:v>167.12558707636686</c:v>
                </c:pt>
                <c:pt idx="1132">
                  <c:v>170.19750737629391</c:v>
                </c:pt>
                <c:pt idx="1133">
                  <c:v>169.50390326683927</c:v>
                </c:pt>
                <c:pt idx="1134">
                  <c:v>169.89060187390203</c:v>
                </c:pt>
                <c:pt idx="1135">
                  <c:v>171.14004429187213</c:v>
                </c:pt>
                <c:pt idx="1136">
                  <c:v>171.98196308693872</c:v>
                </c:pt>
                <c:pt idx="1137">
                  <c:v>171.77300648928176</c:v>
                </c:pt>
                <c:pt idx="1138">
                  <c:v>173.94588212120155</c:v>
                </c:pt>
                <c:pt idx="1139">
                  <c:v>174.60734258376715</c:v>
                </c:pt>
                <c:pt idx="1140">
                  <c:v>174.54943912033733</c:v>
                </c:pt>
                <c:pt idx="1141">
                  <c:v>174.96117106808882</c:v>
                </c:pt>
                <c:pt idx="1142">
                  <c:v>176.0655441749665</c:v>
                </c:pt>
                <c:pt idx="1143">
                  <c:v>175.23334611364888</c:v>
                </c:pt>
                <c:pt idx="1144">
                  <c:v>176.03259083640143</c:v>
                </c:pt>
                <c:pt idx="1145">
                  <c:v>177.0475007079244</c:v>
                </c:pt>
                <c:pt idx="1146">
                  <c:v>176.551621276649</c:v>
                </c:pt>
                <c:pt idx="1147">
                  <c:v>175.70947649434589</c:v>
                </c:pt>
                <c:pt idx="1148">
                  <c:v>176.00140822144286</c:v>
                </c:pt>
                <c:pt idx="1149">
                  <c:v>175.92226119044898</c:v>
                </c:pt>
                <c:pt idx="1150">
                  <c:v>175.95319373162351</c:v>
                </c:pt>
                <c:pt idx="1151">
                  <c:v>175.4792859637443</c:v>
                </c:pt>
                <c:pt idx="1152">
                  <c:v>174.49861062195987</c:v>
                </c:pt>
                <c:pt idx="1153">
                  <c:v>175.77467954587215</c:v>
                </c:pt>
                <c:pt idx="1154">
                  <c:v>174.58545869771913</c:v>
                </c:pt>
                <c:pt idx="1155">
                  <c:v>173.88609389608513</c:v>
                </c:pt>
                <c:pt idx="1156">
                  <c:v>174.06649002987319</c:v>
                </c:pt>
                <c:pt idx="1157">
                  <c:v>173.67228490356112</c:v>
                </c:pt>
                <c:pt idx="1158">
                  <c:v>172.3391960875185</c:v>
                </c:pt>
                <c:pt idx="1159">
                  <c:v>171.41150053517015</c:v>
                </c:pt>
                <c:pt idx="1160">
                  <c:v>174.27078820397568</c:v>
                </c:pt>
                <c:pt idx="1161">
                  <c:v>175.04521781442327</c:v>
                </c:pt>
                <c:pt idx="1162">
                  <c:v>175.36181595669694</c:v>
                </c:pt>
                <c:pt idx="1163">
                  <c:v>176.8247875369284</c:v>
                </c:pt>
                <c:pt idx="1164">
                  <c:v>177.28422223128433</c:v>
                </c:pt>
                <c:pt idx="1165">
                  <c:v>177.51483915772377</c:v>
                </c:pt>
                <c:pt idx="1166">
                  <c:v>178.90187489137429</c:v>
                </c:pt>
                <c:pt idx="1167">
                  <c:v>179.48799672584317</c:v>
                </c:pt>
                <c:pt idx="1168">
                  <c:v>180.37974137944371</c:v>
                </c:pt>
                <c:pt idx="1169">
                  <c:v>179.31144612660387</c:v>
                </c:pt>
                <c:pt idx="1170">
                  <c:v>180.1166441486539</c:v>
                </c:pt>
                <c:pt idx="1171">
                  <c:v>180.00450558166676</c:v>
                </c:pt>
                <c:pt idx="1172">
                  <c:v>179.73821941987634</c:v>
                </c:pt>
                <c:pt idx="1173">
                  <c:v>180.39740444974316</c:v>
                </c:pt>
                <c:pt idx="1174">
                  <c:v>180.42566513201479</c:v>
                </c:pt>
                <c:pt idx="1175">
                  <c:v>181.1913921236301</c:v>
                </c:pt>
                <c:pt idx="1176">
                  <c:v>181.1913921236301</c:v>
                </c:pt>
                <c:pt idx="1177">
                  <c:v>181.35176355442252</c:v>
                </c:pt>
                <c:pt idx="1178">
                  <c:v>181.01803467586518</c:v>
                </c:pt>
                <c:pt idx="1179">
                  <c:v>181.8212889348454</c:v>
                </c:pt>
                <c:pt idx="1180">
                  <c:v>181.83988136219966</c:v>
                </c:pt>
                <c:pt idx="1181">
                  <c:v>181.59202145190216</c:v>
                </c:pt>
                <c:pt idx="1182">
                  <c:v>182.0673021103598</c:v>
                </c:pt>
                <c:pt idx="1183">
                  <c:v>181.02092058530846</c:v>
                </c:pt>
                <c:pt idx="1184">
                  <c:v>180.0980205153646</c:v>
                </c:pt>
                <c:pt idx="1185">
                  <c:v>181.5824425408552</c:v>
                </c:pt>
                <c:pt idx="1186">
                  <c:v>181.97623846726603</c:v>
                </c:pt>
                <c:pt idx="1187">
                  <c:v>182.95634040009344</c:v>
                </c:pt>
                <c:pt idx="1188">
                  <c:v>181.74660124420188</c:v>
                </c:pt>
                <c:pt idx="1189">
                  <c:v>182.06970962930976</c:v>
                </c:pt>
                <c:pt idx="1190">
                  <c:v>181.76947013303803</c:v>
                </c:pt>
                <c:pt idx="1191">
                  <c:v>181.92738010434911</c:v>
                </c:pt>
                <c:pt idx="1192">
                  <c:v>182.67406045608334</c:v>
                </c:pt>
                <c:pt idx="1193">
                  <c:v>181.47606766090433</c:v>
                </c:pt>
                <c:pt idx="1194">
                  <c:v>182.44873670293256</c:v>
                </c:pt>
                <c:pt idx="1195">
                  <c:v>183.08186237006723</c:v>
                </c:pt>
                <c:pt idx="1196">
                  <c:v>183.05388025788125</c:v>
                </c:pt>
                <c:pt idx="1197">
                  <c:v>182.45597171724489</c:v>
                </c:pt>
                <c:pt idx="1198">
                  <c:v>179.7059171813759</c:v>
                </c:pt>
                <c:pt idx="1199">
                  <c:v>178.6552086761055</c:v>
                </c:pt>
                <c:pt idx="1200">
                  <c:v>177.0405012895491</c:v>
                </c:pt>
                <c:pt idx="1201">
                  <c:v>178.24779110191253</c:v>
                </c:pt>
                <c:pt idx="1202">
                  <c:v>178.58838810770948</c:v>
                </c:pt>
                <c:pt idx="1203">
                  <c:v>177.27287173500412</c:v>
                </c:pt>
                <c:pt idx="1204">
                  <c:v>176.37382629529813</c:v>
                </c:pt>
                <c:pt idx="1205">
                  <c:v>174.71886840594311</c:v>
                </c:pt>
                <c:pt idx="1206">
                  <c:v>174.42732732823353</c:v>
                </c:pt>
                <c:pt idx="1207">
                  <c:v>176.68218809629383</c:v>
                </c:pt>
                <c:pt idx="1208">
                  <c:v>175.35847825019746</c:v>
                </c:pt>
                <c:pt idx="1209">
                  <c:v>176.85812021877172</c:v>
                </c:pt>
                <c:pt idx="1210">
                  <c:v>179.91195943184698</c:v>
                </c:pt>
                <c:pt idx="1211">
                  <c:v>180.87925507678833</c:v>
                </c:pt>
                <c:pt idx="1212">
                  <c:v>182.18713763132087</c:v>
                </c:pt>
                <c:pt idx="1213">
                  <c:v>182.18713763132087</c:v>
                </c:pt>
                <c:pt idx="1214">
                  <c:v>182.18713763132087</c:v>
                </c:pt>
                <c:pt idx="1215">
                  <c:v>182.18713763132087</c:v>
                </c:pt>
                <c:pt idx="1216">
                  <c:v>184.61716969760016</c:v>
                </c:pt>
                <c:pt idx="1217">
                  <c:v>184.26445579005798</c:v>
                </c:pt>
                <c:pt idx="1218">
                  <c:v>184.92321849694284</c:v>
                </c:pt>
                <c:pt idx="1219">
                  <c:v>184.92321849694284</c:v>
                </c:pt>
                <c:pt idx="1220">
                  <c:v>183.45034583031716</c:v>
                </c:pt>
                <c:pt idx="1221">
                  <c:v>184.44356135854792</c:v>
                </c:pt>
                <c:pt idx="1222">
                  <c:v>184.03094656442209</c:v>
                </c:pt>
                <c:pt idx="1223">
                  <c:v>185.39408071102633</c:v>
                </c:pt>
                <c:pt idx="1224">
                  <c:v>185.58516409710884</c:v>
                </c:pt>
                <c:pt idx="1225">
                  <c:v>184.80311870814424</c:v>
                </c:pt>
                <c:pt idx="1226">
                  <c:v>185.64986797880664</c:v>
                </c:pt>
                <c:pt idx="1227">
                  <c:v>186.08388006935667</c:v>
                </c:pt>
                <c:pt idx="1228">
                  <c:v>186.38966751965413</c:v>
                </c:pt>
                <c:pt idx="1229">
                  <c:v>188.32364291301758</c:v>
                </c:pt>
                <c:pt idx="1230">
                  <c:v>188.12069599994098</c:v>
                </c:pt>
                <c:pt idx="1231">
                  <c:v>189.13407661877051</c:v>
                </c:pt>
                <c:pt idx="1232">
                  <c:v>188.96222196568638</c:v>
                </c:pt>
                <c:pt idx="1233">
                  <c:v>189.15400469294684</c:v>
                </c:pt>
                <c:pt idx="1234">
                  <c:v>189.34070396720546</c:v>
                </c:pt>
                <c:pt idx="1235">
                  <c:v>187.45404500954177</c:v>
                </c:pt>
                <c:pt idx="1236">
                  <c:v>183.01721824481984</c:v>
                </c:pt>
                <c:pt idx="1237">
                  <c:v>181.50562420801293</c:v>
                </c:pt>
                <c:pt idx="1238">
                  <c:v>182.62090912891406</c:v>
                </c:pt>
                <c:pt idx="1239">
                  <c:v>181.63987732851575</c:v>
                </c:pt>
                <c:pt idx="1240">
                  <c:v>182.1266297334133</c:v>
                </c:pt>
                <c:pt idx="1241">
                  <c:v>181.65240821177173</c:v>
                </c:pt>
                <c:pt idx="1242">
                  <c:v>179.20988799874709</c:v>
                </c:pt>
                <c:pt idx="1243">
                  <c:v>178.80112292940487</c:v>
                </c:pt>
                <c:pt idx="1244">
                  <c:v>179.07023505186578</c:v>
                </c:pt>
                <c:pt idx="1245">
                  <c:v>181.68587904402656</c:v>
                </c:pt>
                <c:pt idx="1246">
                  <c:v>182.99493807384937</c:v>
                </c:pt>
                <c:pt idx="1247">
                  <c:v>183.11536374287081</c:v>
                </c:pt>
                <c:pt idx="1248">
                  <c:v>185.52223815361319</c:v>
                </c:pt>
                <c:pt idx="1249">
                  <c:v>186.95548353293668</c:v>
                </c:pt>
                <c:pt idx="1250">
                  <c:v>186.69821404527391</c:v>
                </c:pt>
                <c:pt idx="1251">
                  <c:v>187.70171403673973</c:v>
                </c:pt>
                <c:pt idx="1252">
                  <c:v>188.38184966543366</c:v>
                </c:pt>
                <c:pt idx="1253">
                  <c:v>188.42841482105484</c:v>
                </c:pt>
                <c:pt idx="1254">
                  <c:v>188.75800259043248</c:v>
                </c:pt>
                <c:pt idx="1255">
                  <c:v>188.67934235671439</c:v>
                </c:pt>
                <c:pt idx="1256">
                  <c:v>189.40014455722439</c:v>
                </c:pt>
                <c:pt idx="1257">
                  <c:v>190.56590254557835</c:v>
                </c:pt>
                <c:pt idx="1258">
                  <c:v>190.60036715811606</c:v>
                </c:pt>
                <c:pt idx="1259">
                  <c:v>190.23839012623404</c:v>
                </c:pt>
                <c:pt idx="1260">
                  <c:v>189.99819506130936</c:v>
                </c:pt>
                <c:pt idx="1261">
                  <c:v>190.31735921515508</c:v>
                </c:pt>
                <c:pt idx="1262">
                  <c:v>186.05024096512554</c:v>
                </c:pt>
                <c:pt idx="1263">
                  <c:v>189.83987789197883</c:v>
                </c:pt>
                <c:pt idx="1264">
                  <c:v>189.8305332329501</c:v>
                </c:pt>
                <c:pt idx="1265">
                  <c:v>189.98728777327889</c:v>
                </c:pt>
                <c:pt idx="1266">
                  <c:v>187.59334981277956</c:v>
                </c:pt>
                <c:pt idx="1267">
                  <c:v>186.69990863370165</c:v>
                </c:pt>
                <c:pt idx="1268">
                  <c:v>186.71206469087704</c:v>
                </c:pt>
                <c:pt idx="1269">
                  <c:v>184.87271144010015</c:v>
                </c:pt>
                <c:pt idx="1270">
                  <c:v>182.90552592056466</c:v>
                </c:pt>
                <c:pt idx="1271">
                  <c:v>181.6384243370313</c:v>
                </c:pt>
                <c:pt idx="1272">
                  <c:v>183.57617594675824</c:v>
                </c:pt>
                <c:pt idx="1273">
                  <c:v>184.77020353054317</c:v>
                </c:pt>
                <c:pt idx="1274">
                  <c:v>184.62457424388487</c:v>
                </c:pt>
                <c:pt idx="1275">
                  <c:v>184.71708349173664</c:v>
                </c:pt>
                <c:pt idx="1276">
                  <c:v>184.99442389029153</c:v>
                </c:pt>
                <c:pt idx="1277">
                  <c:v>183.10752633039641</c:v>
                </c:pt>
                <c:pt idx="1278">
                  <c:v>185.47408427726285</c:v>
                </c:pt>
                <c:pt idx="1279">
                  <c:v>186.78331345389347</c:v>
                </c:pt>
                <c:pt idx="1280">
                  <c:v>187.11184256677302</c:v>
                </c:pt>
                <c:pt idx="1281">
                  <c:v>188.51474099114822</c:v>
                </c:pt>
                <c:pt idx="1282">
                  <c:v>188.77029502757233</c:v>
                </c:pt>
                <c:pt idx="1283">
                  <c:v>189.86741707100225</c:v>
                </c:pt>
                <c:pt idx="1284">
                  <c:v>190.19930131737863</c:v>
                </c:pt>
                <c:pt idx="1285">
                  <c:v>190.45128796299133</c:v>
                </c:pt>
                <c:pt idx="1286">
                  <c:v>191.60574862607288</c:v>
                </c:pt>
                <c:pt idx="1287">
                  <c:v>189.28026359047033</c:v>
                </c:pt>
                <c:pt idx="1288">
                  <c:v>188.89075208707288</c:v>
                </c:pt>
                <c:pt idx="1289">
                  <c:v>189.58285411590657</c:v>
                </c:pt>
                <c:pt idx="1290">
                  <c:v>188.62912218674478</c:v>
                </c:pt>
                <c:pt idx="1291">
                  <c:v>186.11128657798241</c:v>
                </c:pt>
                <c:pt idx="1292">
                  <c:v>187.11671776828888</c:v>
                </c:pt>
                <c:pt idx="1293">
                  <c:v>185.38962709376185</c:v>
                </c:pt>
                <c:pt idx="1294">
                  <c:v>187.71012679345765</c:v>
                </c:pt>
                <c:pt idx="1295">
                  <c:v>188.58634702322058</c:v>
                </c:pt>
                <c:pt idx="1296">
                  <c:v>188.58634702322058</c:v>
                </c:pt>
                <c:pt idx="1297">
                  <c:v>188.58634702322058</c:v>
                </c:pt>
                <c:pt idx="1298">
                  <c:v>191.14564245888371</c:v>
                </c:pt>
                <c:pt idx="1299">
                  <c:v>190.17178525747241</c:v>
                </c:pt>
                <c:pt idx="1300">
                  <c:v>190.86386347939592</c:v>
                </c:pt>
                <c:pt idx="1301">
                  <c:v>189.46574076628374</c:v>
                </c:pt>
                <c:pt idx="1302">
                  <c:v>189.91889733370553</c:v>
                </c:pt>
                <c:pt idx="1303">
                  <c:v>192.22863248767948</c:v>
                </c:pt>
                <c:pt idx="1304">
                  <c:v>192.32089846021103</c:v>
                </c:pt>
                <c:pt idx="1305">
                  <c:v>192.32089846021103</c:v>
                </c:pt>
                <c:pt idx="1306">
                  <c:v>192.27217774661486</c:v>
                </c:pt>
                <c:pt idx="1307">
                  <c:v>191.92645358296625</c:v>
                </c:pt>
                <c:pt idx="1308">
                  <c:v>191.40958480759832</c:v>
                </c:pt>
                <c:pt idx="1309">
                  <c:v>191.62123059860141</c:v>
                </c:pt>
                <c:pt idx="1310">
                  <c:v>193.70652907907615</c:v>
                </c:pt>
                <c:pt idx="1311">
                  <c:v>193.19637070732645</c:v>
                </c:pt>
                <c:pt idx="1312">
                  <c:v>194.66132434533614</c:v>
                </c:pt>
                <c:pt idx="1313">
                  <c:v>195.27483578346789</c:v>
                </c:pt>
                <c:pt idx="1314">
                  <c:v>195.36712666002319</c:v>
                </c:pt>
                <c:pt idx="1315">
                  <c:v>193.85688947293258</c:v>
                </c:pt>
                <c:pt idx="1316">
                  <c:v>194.39622718402683</c:v>
                </c:pt>
                <c:pt idx="1317">
                  <c:v>194.18590934355802</c:v>
                </c:pt>
                <c:pt idx="1318">
                  <c:v>193.99961106007774</c:v>
                </c:pt>
                <c:pt idx="1319">
                  <c:v>195.13613455485935</c:v>
                </c:pt>
                <c:pt idx="1320">
                  <c:v>195.42618907848188</c:v>
                </c:pt>
                <c:pt idx="1321">
                  <c:v>195.83638924234853</c:v>
                </c:pt>
                <c:pt idx="1322">
                  <c:v>196.93617157722548</c:v>
                </c:pt>
                <c:pt idx="1323">
                  <c:v>197.31998585055453</c:v>
                </c:pt>
                <c:pt idx="1324">
                  <c:v>197.18506593345444</c:v>
                </c:pt>
                <c:pt idx="1325">
                  <c:v>197.18506593345444</c:v>
                </c:pt>
                <c:pt idx="1326">
                  <c:v>197.16961810527587</c:v>
                </c:pt>
                <c:pt idx="1327">
                  <c:v>197.67936955600936</c:v>
                </c:pt>
                <c:pt idx="1328">
                  <c:v>196.84095137365659</c:v>
                </c:pt>
                <c:pt idx="1329">
                  <c:v>196.88568881598627</c:v>
                </c:pt>
                <c:pt idx="1330">
                  <c:v>197.64305334822143</c:v>
                </c:pt>
                <c:pt idx="1331">
                  <c:v>198.88294267701897</c:v>
                </c:pt>
                <c:pt idx="1332">
                  <c:v>198.88294267701897</c:v>
                </c:pt>
                <c:pt idx="1333">
                  <c:v>200.30074219145243</c:v>
                </c:pt>
                <c:pt idx="1334">
                  <c:v>199.33170304164653</c:v>
                </c:pt>
                <c:pt idx="1335">
                  <c:v>199.39934899631211</c:v>
                </c:pt>
                <c:pt idx="1336">
                  <c:v>199.10037903298695</c:v>
                </c:pt>
                <c:pt idx="1337">
                  <c:v>198.26073046121937</c:v>
                </c:pt>
                <c:pt idx="1338">
                  <c:v>198.84746841046586</c:v>
                </c:pt>
                <c:pt idx="1339">
                  <c:v>198.70628171937631</c:v>
                </c:pt>
                <c:pt idx="1340">
                  <c:v>199.83814028753949</c:v>
                </c:pt>
                <c:pt idx="1341">
                  <c:v>199.8231083289447</c:v>
                </c:pt>
                <c:pt idx="1342">
                  <c:v>199.8231083289447</c:v>
                </c:pt>
                <c:pt idx="1343">
                  <c:v>198.51980055471446</c:v>
                </c:pt>
                <c:pt idx="1344">
                  <c:v>196.44163761278671</c:v>
                </c:pt>
                <c:pt idx="1345">
                  <c:v>196.30566969201092</c:v>
                </c:pt>
                <c:pt idx="1346">
                  <c:v>196.38360018119491</c:v>
                </c:pt>
                <c:pt idx="1347">
                  <c:v>196.30507107852412</c:v>
                </c:pt>
                <c:pt idx="1348">
                  <c:v>198.04162222861231</c:v>
                </c:pt>
                <c:pt idx="1349">
                  <c:v>198.47995355353197</c:v>
                </c:pt>
                <c:pt idx="1350">
                  <c:v>200.32322451500332</c:v>
                </c:pt>
                <c:pt idx="1351">
                  <c:v>199.77806341386724</c:v>
                </c:pt>
                <c:pt idx="1352">
                  <c:v>198.01303847318147</c:v>
                </c:pt>
                <c:pt idx="1353">
                  <c:v>195.33104636443187</c:v>
                </c:pt>
                <c:pt idx="1354">
                  <c:v>195.37066760254328</c:v>
                </c:pt>
                <c:pt idx="1355">
                  <c:v>193.35592562143418</c:v>
                </c:pt>
                <c:pt idx="1356">
                  <c:v>193.66307357320281</c:v>
                </c:pt>
                <c:pt idx="1357">
                  <c:v>195.30619598756456</c:v>
                </c:pt>
                <c:pt idx="1358">
                  <c:v>194.62071094529682</c:v>
                </c:pt>
                <c:pt idx="1359">
                  <c:v>197.24830855507696</c:v>
                </c:pt>
                <c:pt idx="1360">
                  <c:v>195.36117041056232</c:v>
                </c:pt>
                <c:pt idx="1361">
                  <c:v>195.35070382025683</c:v>
                </c:pt>
                <c:pt idx="1362">
                  <c:v>194.3586880898954</c:v>
                </c:pt>
                <c:pt idx="1363">
                  <c:v>196.9118777762456</c:v>
                </c:pt>
                <c:pt idx="1364">
                  <c:v>197.15763796230371</c:v>
                </c:pt>
                <c:pt idx="1365">
                  <c:v>197.96262507092098</c:v>
                </c:pt>
                <c:pt idx="1366">
                  <c:v>196.59674172896905</c:v>
                </c:pt>
                <c:pt idx="1367">
                  <c:v>196.24816388927536</c:v>
                </c:pt>
                <c:pt idx="1368">
                  <c:v>196.78766870280592</c:v>
                </c:pt>
                <c:pt idx="1369">
                  <c:v>195.732330791111</c:v>
                </c:pt>
                <c:pt idx="1370">
                  <c:v>193.28199153239362</c:v>
                </c:pt>
                <c:pt idx="1371">
                  <c:v>190.92817697448004</c:v>
                </c:pt>
                <c:pt idx="1372">
                  <c:v>190.50207996555838</c:v>
                </c:pt>
                <c:pt idx="1373">
                  <c:v>191.11335410672251</c:v>
                </c:pt>
                <c:pt idx="1374">
                  <c:v>189.65585985168676</c:v>
                </c:pt>
                <c:pt idx="1375">
                  <c:v>188.35184293415165</c:v>
                </c:pt>
                <c:pt idx="1376">
                  <c:v>187.18088440045591</c:v>
                </c:pt>
                <c:pt idx="1377">
                  <c:v>189.65676412416784</c:v>
                </c:pt>
                <c:pt idx="1378">
                  <c:v>189.25991742019102</c:v>
                </c:pt>
                <c:pt idx="1379">
                  <c:v>190.17603043323962</c:v>
                </c:pt>
                <c:pt idx="1380">
                  <c:v>190.72193053716566</c:v>
                </c:pt>
                <c:pt idx="1381">
                  <c:v>190.72193053716566</c:v>
                </c:pt>
                <c:pt idx="1382">
                  <c:v>192.20809525031851</c:v>
                </c:pt>
                <c:pt idx="1383">
                  <c:v>193.27718979339738</c:v>
                </c:pt>
                <c:pt idx="1384">
                  <c:v>193.28873192223011</c:v>
                </c:pt>
                <c:pt idx="1385">
                  <c:v>194.51190502815251</c:v>
                </c:pt>
                <c:pt idx="1386">
                  <c:v>194.03289483849375</c:v>
                </c:pt>
                <c:pt idx="1387">
                  <c:v>196.17978904729631</c:v>
                </c:pt>
                <c:pt idx="1388">
                  <c:v>197.60619904061238</c:v>
                </c:pt>
                <c:pt idx="1389">
                  <c:v>197.82133916699988</c:v>
                </c:pt>
                <c:pt idx="1390">
                  <c:v>196.57026827831257</c:v>
                </c:pt>
                <c:pt idx="1391">
                  <c:v>197.15809890976317</c:v>
                </c:pt>
                <c:pt idx="1392">
                  <c:v>197.6086914971377</c:v>
                </c:pt>
                <c:pt idx="1393">
                  <c:v>197.56380514052847</c:v>
                </c:pt>
                <c:pt idx="1394">
                  <c:v>198.88519700424268</c:v>
                </c:pt>
                <c:pt idx="1395">
                  <c:v>201.14445640899237</c:v>
                </c:pt>
                <c:pt idx="1396">
                  <c:v>200.36690175044026</c:v>
                </c:pt>
                <c:pt idx="1397">
                  <c:v>199.55972274708992</c:v>
                </c:pt>
                <c:pt idx="1398">
                  <c:v>198.82719351709224</c:v>
                </c:pt>
                <c:pt idx="1399">
                  <c:v>198.80525842559109</c:v>
                </c:pt>
                <c:pt idx="1400">
                  <c:v>198.54881699315789</c:v>
                </c:pt>
                <c:pt idx="1401">
                  <c:v>198.49241849022107</c:v>
                </c:pt>
                <c:pt idx="1402">
                  <c:v>198.33686676074112</c:v>
                </c:pt>
                <c:pt idx="1403">
                  <c:v>197.78818939623415</c:v>
                </c:pt>
                <c:pt idx="1404">
                  <c:v>198.63729271690084</c:v>
                </c:pt>
                <c:pt idx="1405">
                  <c:v>200.60239094161756</c:v>
                </c:pt>
                <c:pt idx="1406">
                  <c:v>200.99806162843436</c:v>
                </c:pt>
                <c:pt idx="1407">
                  <c:v>199.9674801279553</c:v>
                </c:pt>
                <c:pt idx="1408">
                  <c:v>197.24459041900496</c:v>
                </c:pt>
                <c:pt idx="1409">
                  <c:v>198.69000734880268</c:v>
                </c:pt>
                <c:pt idx="1410">
                  <c:v>196.95183009907143</c:v>
                </c:pt>
                <c:pt idx="1411">
                  <c:v>197.47008707623752</c:v>
                </c:pt>
                <c:pt idx="1412">
                  <c:v>196.7260156370194</c:v>
                </c:pt>
                <c:pt idx="1413">
                  <c:v>197.85963485889414</c:v>
                </c:pt>
                <c:pt idx="1414">
                  <c:v>196.21747108227802</c:v>
                </c:pt>
                <c:pt idx="1415">
                  <c:v>191.48050081468259</c:v>
                </c:pt>
                <c:pt idx="1416">
                  <c:v>193.25766679282665</c:v>
                </c:pt>
                <c:pt idx="1417">
                  <c:v>193.7126444733448</c:v>
                </c:pt>
                <c:pt idx="1418">
                  <c:v>190.83245398051088</c:v>
                </c:pt>
                <c:pt idx="1419">
                  <c:v>189.26655772461081</c:v>
                </c:pt>
                <c:pt idx="1420">
                  <c:v>188.52947620875423</c:v>
                </c:pt>
                <c:pt idx="1421">
                  <c:v>185.5518976018484</c:v>
                </c:pt>
                <c:pt idx="1422">
                  <c:v>185.60033686219873</c:v>
                </c:pt>
                <c:pt idx="1423">
                  <c:v>185.54552474444921</c:v>
                </c:pt>
                <c:pt idx="1424">
                  <c:v>179.66307630085745</c:v>
                </c:pt>
                <c:pt idx="1425">
                  <c:v>178.86161399993907</c:v>
                </c:pt>
                <c:pt idx="1426">
                  <c:v>183.81794240869615</c:v>
                </c:pt>
                <c:pt idx="1427">
                  <c:v>182.8129449199443</c:v>
                </c:pt>
                <c:pt idx="1428">
                  <c:v>186.6325261099347</c:v>
                </c:pt>
                <c:pt idx="1429">
                  <c:v>187.95347055701183</c:v>
                </c:pt>
                <c:pt idx="1430">
                  <c:v>189.3073078986547</c:v>
                </c:pt>
                <c:pt idx="1431">
                  <c:v>188.67783714279389</c:v>
                </c:pt>
                <c:pt idx="1432">
                  <c:v>187.51668121856932</c:v>
                </c:pt>
                <c:pt idx="1433">
                  <c:v>189.27862745186138</c:v>
                </c:pt>
                <c:pt idx="1434">
                  <c:v>189.66382003352956</c:v>
                </c:pt>
                <c:pt idx="1435">
                  <c:v>190.76381193048417</c:v>
                </c:pt>
                <c:pt idx="1436">
                  <c:v>194.23462501408994</c:v>
                </c:pt>
                <c:pt idx="1437">
                  <c:v>192.66782881188013</c:v>
                </c:pt>
                <c:pt idx="1438">
                  <c:v>190.63876209560306</c:v>
                </c:pt>
                <c:pt idx="1439">
                  <c:v>193.8302496893545</c:v>
                </c:pt>
                <c:pt idx="1440">
                  <c:v>194.40994727331983</c:v>
                </c:pt>
                <c:pt idx="1441">
                  <c:v>193.4610604253981</c:v>
                </c:pt>
                <c:pt idx="1442">
                  <c:v>194.83572160264742</c:v>
                </c:pt>
                <c:pt idx="1443">
                  <c:v>195.55380172746933</c:v>
                </c:pt>
                <c:pt idx="1444">
                  <c:v>193.35948430973323</c:v>
                </c:pt>
                <c:pt idx="1445">
                  <c:v>193.84059173780349</c:v>
                </c:pt>
                <c:pt idx="1446">
                  <c:v>193.70571226937872</c:v>
                </c:pt>
                <c:pt idx="1447">
                  <c:v>194.63932592298536</c:v>
                </c:pt>
                <c:pt idx="1448">
                  <c:v>195.81321560565951</c:v>
                </c:pt>
                <c:pt idx="1449">
                  <c:v>195.78101636565296</c:v>
                </c:pt>
                <c:pt idx="1450">
                  <c:v>195.33835473173519</c:v>
                </c:pt>
                <c:pt idx="1451">
                  <c:v>199.4023774634899</c:v>
                </c:pt>
                <c:pt idx="1452">
                  <c:v>199.64239749165861</c:v>
                </c:pt>
                <c:pt idx="1453">
                  <c:v>199.95814783499711</c:v>
                </c:pt>
                <c:pt idx="1454">
                  <c:v>199.97755983086586</c:v>
                </c:pt>
                <c:pt idx="1455">
                  <c:v>200.55359957299447</c:v>
                </c:pt>
                <c:pt idx="1456">
                  <c:v>200.39726447698663</c:v>
                </c:pt>
                <c:pt idx="1457">
                  <c:v>199.46445088648483</c:v>
                </c:pt>
                <c:pt idx="1458">
                  <c:v>200.53343560503012</c:v>
                </c:pt>
                <c:pt idx="1459">
                  <c:v>201.60274887377935</c:v>
                </c:pt>
                <c:pt idx="1460">
                  <c:v>198.94351170106262</c:v>
                </c:pt>
                <c:pt idx="1461">
                  <c:v>202.44807489537848</c:v>
                </c:pt>
                <c:pt idx="1462">
                  <c:v>200.99912792305625</c:v>
                </c:pt>
                <c:pt idx="1463">
                  <c:v>196.39485385183417</c:v>
                </c:pt>
                <c:pt idx="1464">
                  <c:v>195.63674413043665</c:v>
                </c:pt>
                <c:pt idx="1465">
                  <c:v>195.70299707960586</c:v>
                </c:pt>
                <c:pt idx="1466">
                  <c:v>190.54770092163665</c:v>
                </c:pt>
                <c:pt idx="1467">
                  <c:v>186.32047505872259</c:v>
                </c:pt>
                <c:pt idx="1468">
                  <c:v>189.6527936458111</c:v>
                </c:pt>
                <c:pt idx="1469">
                  <c:v>189.93323114245618</c:v>
                </c:pt>
                <c:pt idx="1470">
                  <c:v>195.51321513926842</c:v>
                </c:pt>
                <c:pt idx="1471">
                  <c:v>196.28771922296434</c:v>
                </c:pt>
                <c:pt idx="1472">
                  <c:v>197.27493331213478</c:v>
                </c:pt>
                <c:pt idx="1473">
                  <c:v>198.50476416864996</c:v>
                </c:pt>
                <c:pt idx="1474">
                  <c:v>198.50476416864996</c:v>
                </c:pt>
                <c:pt idx="1475">
                  <c:v>198.50476416864996</c:v>
                </c:pt>
                <c:pt idx="1476">
                  <c:v>198.50476416864996</c:v>
                </c:pt>
                <c:pt idx="1477">
                  <c:v>198.69695953589738</c:v>
                </c:pt>
                <c:pt idx="1478">
                  <c:v>196.72482256671151</c:v>
                </c:pt>
                <c:pt idx="1479">
                  <c:v>197.57110876002741</c:v>
                </c:pt>
                <c:pt idx="1480">
                  <c:v>197.57110876002741</c:v>
                </c:pt>
                <c:pt idx="1481">
                  <c:v>196.83459826643323</c:v>
                </c:pt>
                <c:pt idx="1482">
                  <c:v>192.44601084860483</c:v>
                </c:pt>
                <c:pt idx="1483">
                  <c:v>191.14040978905129</c:v>
                </c:pt>
                <c:pt idx="1484">
                  <c:v>192.08344165813136</c:v>
                </c:pt>
                <c:pt idx="1485">
                  <c:v>197.45487851367548</c:v>
                </c:pt>
                <c:pt idx="1486">
                  <c:v>194.78828356256517</c:v>
                </c:pt>
                <c:pt idx="1487">
                  <c:v>195.8999067407745</c:v>
                </c:pt>
                <c:pt idx="1488">
                  <c:v>198.67682019142143</c:v>
                </c:pt>
                <c:pt idx="1489">
                  <c:v>195.66366915689198</c:v>
                </c:pt>
                <c:pt idx="1490">
                  <c:v>200.94747251620348</c:v>
                </c:pt>
                <c:pt idx="1491">
                  <c:v>203.31139637605</c:v>
                </c:pt>
                <c:pt idx="1492">
                  <c:v>203.69602116628357</c:v>
                </c:pt>
                <c:pt idx="1493">
                  <c:v>205.32097544200761</c:v>
                </c:pt>
                <c:pt idx="1494">
                  <c:v>206.66027101730168</c:v>
                </c:pt>
                <c:pt idx="1495">
                  <c:v>210.13024514907039</c:v>
                </c:pt>
                <c:pt idx="1496">
                  <c:v>213.8568214473211</c:v>
                </c:pt>
                <c:pt idx="1497">
                  <c:v>215.04460352324801</c:v>
                </c:pt>
                <c:pt idx="1498">
                  <c:v>212.92363307161301</c:v>
                </c:pt>
                <c:pt idx="1499">
                  <c:v>213.17532328288115</c:v>
                </c:pt>
                <c:pt idx="1500">
                  <c:v>212.90135613647254</c:v>
                </c:pt>
                <c:pt idx="1501">
                  <c:v>211.85023805715338</c:v>
                </c:pt>
                <c:pt idx="1502">
                  <c:v>212.09856469922133</c:v>
                </c:pt>
                <c:pt idx="1503">
                  <c:v>213.85263927182351</c:v>
                </c:pt>
                <c:pt idx="1504">
                  <c:v>214.86550571692803</c:v>
                </c:pt>
                <c:pt idx="1505">
                  <c:v>215.1212130809559</c:v>
                </c:pt>
                <c:pt idx="1506">
                  <c:v>215.59008404183436</c:v>
                </c:pt>
                <c:pt idx="1507">
                  <c:v>214.08285300655416</c:v>
                </c:pt>
                <c:pt idx="1508">
                  <c:v>215.33061324523749</c:v>
                </c:pt>
                <c:pt idx="1509">
                  <c:v>214.79030644000986</c:v>
                </c:pt>
                <c:pt idx="1510">
                  <c:v>216.37467281462918</c:v>
                </c:pt>
                <c:pt idx="1511">
                  <c:v>217.72719371290762</c:v>
                </c:pt>
                <c:pt idx="1512">
                  <c:v>217.43768240738697</c:v>
                </c:pt>
                <c:pt idx="1513">
                  <c:v>217.77260378164999</c:v>
                </c:pt>
                <c:pt idx="1514">
                  <c:v>219.63935478201648</c:v>
                </c:pt>
                <c:pt idx="1515">
                  <c:v>220.26029272230835</c:v>
                </c:pt>
                <c:pt idx="1516">
                  <c:v>220.76440985683217</c:v>
                </c:pt>
                <c:pt idx="1517">
                  <c:v>222.34105913672471</c:v>
                </c:pt>
                <c:pt idx="1518">
                  <c:v>223.59102546015751</c:v>
                </c:pt>
                <c:pt idx="1519">
                  <c:v>223.31397963960023</c:v>
                </c:pt>
                <c:pt idx="1520">
                  <c:v>225.60226864220931</c:v>
                </c:pt>
                <c:pt idx="1521">
                  <c:v>226.51610845546463</c:v>
                </c:pt>
                <c:pt idx="1522">
                  <c:v>225.9725705104394</c:v>
                </c:pt>
                <c:pt idx="1523">
                  <c:v>223.98384580009534</c:v>
                </c:pt>
                <c:pt idx="1524">
                  <c:v>225.72375782549886</c:v>
                </c:pt>
                <c:pt idx="1525">
                  <c:v>227.70233188283959</c:v>
                </c:pt>
                <c:pt idx="1526">
                  <c:v>227.89440820185175</c:v>
                </c:pt>
                <c:pt idx="1527">
                  <c:v>227.35467161475464</c:v>
                </c:pt>
                <c:pt idx="1528">
                  <c:v>225.20226493617898</c:v>
                </c:pt>
                <c:pt idx="1529">
                  <c:v>228.59770064839063</c:v>
                </c:pt>
                <c:pt idx="1530">
                  <c:v>228.5908839224457</c:v>
                </c:pt>
                <c:pt idx="1531">
                  <c:v>229.25302333368595</c:v>
                </c:pt>
                <c:pt idx="1532">
                  <c:v>231.39516692237453</c:v>
                </c:pt>
                <c:pt idx="1533">
                  <c:v>229.84238735563198</c:v>
                </c:pt>
                <c:pt idx="1534">
                  <c:v>230.65451889517487</c:v>
                </c:pt>
                <c:pt idx="1535">
                  <c:v>232.0276755714585</c:v>
                </c:pt>
                <c:pt idx="1536">
                  <c:v>234.02910302822661</c:v>
                </c:pt>
                <c:pt idx="1537">
                  <c:v>232.49806784879664</c:v>
                </c:pt>
                <c:pt idx="1538">
                  <c:v>233.13942133111993</c:v>
                </c:pt>
                <c:pt idx="1539">
                  <c:v>230.54023023727419</c:v>
                </c:pt>
                <c:pt idx="1540">
                  <c:v>228.71647346588065</c:v>
                </c:pt>
                <c:pt idx="1541">
                  <c:v>229.32960553205416</c:v>
                </c:pt>
                <c:pt idx="1542">
                  <c:v>231.85292752643753</c:v>
                </c:pt>
                <c:pt idx="1543">
                  <c:v>230.28137151392011</c:v>
                </c:pt>
                <c:pt idx="1544">
                  <c:v>231.039654936348</c:v>
                </c:pt>
                <c:pt idx="1545">
                  <c:v>230.66409470304734</c:v>
                </c:pt>
                <c:pt idx="1546">
                  <c:v>230.66409470304734</c:v>
                </c:pt>
                <c:pt idx="1547">
                  <c:v>230.66409470304734</c:v>
                </c:pt>
                <c:pt idx="1548">
                  <c:v>234.60331536465392</c:v>
                </c:pt>
                <c:pt idx="1549">
                  <c:v>234.55351636108776</c:v>
                </c:pt>
                <c:pt idx="1550">
                  <c:v>237.16027886003829</c:v>
                </c:pt>
                <c:pt idx="1551">
                  <c:v>239.38633044261474</c:v>
                </c:pt>
                <c:pt idx="1552">
                  <c:v>239.77761921632404</c:v>
                </c:pt>
                <c:pt idx="1553">
                  <c:v>238.75021032695111</c:v>
                </c:pt>
                <c:pt idx="1554">
                  <c:v>240.24485544671958</c:v>
                </c:pt>
                <c:pt idx="1555">
                  <c:v>238.5473971149236</c:v>
                </c:pt>
                <c:pt idx="1556">
                  <c:v>234.39702882281074</c:v>
                </c:pt>
                <c:pt idx="1557">
                  <c:v>236.39880304039224</c:v>
                </c:pt>
                <c:pt idx="1558">
                  <c:v>237.65865622044555</c:v>
                </c:pt>
                <c:pt idx="1559">
                  <c:v>237.59815027611114</c:v>
                </c:pt>
                <c:pt idx="1560">
                  <c:v>236.72452120950928</c:v>
                </c:pt>
                <c:pt idx="1561">
                  <c:v>237.45677350144371</c:v>
                </c:pt>
                <c:pt idx="1562">
                  <c:v>239.83610143011705</c:v>
                </c:pt>
                <c:pt idx="1563">
                  <c:v>236.24818902546741</c:v>
                </c:pt>
                <c:pt idx="1564">
                  <c:v>231.05165284460276</c:v>
                </c:pt>
                <c:pt idx="1565">
                  <c:v>230.29714834573568</c:v>
                </c:pt>
                <c:pt idx="1566">
                  <c:v>230.29714834573568</c:v>
                </c:pt>
                <c:pt idx="1567">
                  <c:v>231.01312311273125</c:v>
                </c:pt>
                <c:pt idx="1568">
                  <c:v>227.80670863697918</c:v>
                </c:pt>
                <c:pt idx="1569">
                  <c:v>226.51319426592204</c:v>
                </c:pt>
                <c:pt idx="1570">
                  <c:v>226.64766648330655</c:v>
                </c:pt>
                <c:pt idx="1571">
                  <c:v>233.13772153902065</c:v>
                </c:pt>
                <c:pt idx="1572">
                  <c:v>234.01963950781987</c:v>
                </c:pt>
                <c:pt idx="1573">
                  <c:v>231.03807684379836</c:v>
                </c:pt>
                <c:pt idx="1574">
                  <c:v>230.59891653544719</c:v>
                </c:pt>
                <c:pt idx="1575">
                  <c:v>230.59891653544719</c:v>
                </c:pt>
                <c:pt idx="1576">
                  <c:v>231.15765070197477</c:v>
                </c:pt>
                <c:pt idx="1577">
                  <c:v>232.2780662490473</c:v>
                </c:pt>
                <c:pt idx="1578">
                  <c:v>236.10978360732267</c:v>
                </c:pt>
                <c:pt idx="1579">
                  <c:v>237.15932378647261</c:v>
                </c:pt>
                <c:pt idx="1580">
                  <c:v>238.15054561944189</c:v>
                </c:pt>
                <c:pt idx="1581">
                  <c:v>238.13280501719612</c:v>
                </c:pt>
                <c:pt idx="1582">
                  <c:v>238.13280501719612</c:v>
                </c:pt>
                <c:pt idx="1583">
                  <c:v>235.6491733033053</c:v>
                </c:pt>
                <c:pt idx="1584">
                  <c:v>238.78422201472995</c:v>
                </c:pt>
                <c:pt idx="1585">
                  <c:v>237.66625318776607</c:v>
                </c:pt>
                <c:pt idx="1586">
                  <c:v>233.56651852656523</c:v>
                </c:pt>
                <c:pt idx="1587">
                  <c:v>233.88656398657383</c:v>
                </c:pt>
                <c:pt idx="1588">
                  <c:v>231.50517989233114</c:v>
                </c:pt>
                <c:pt idx="1589">
                  <c:v>231.21538141924108</c:v>
                </c:pt>
                <c:pt idx="1590">
                  <c:v>229.33079322140753</c:v>
                </c:pt>
                <c:pt idx="1591">
                  <c:v>227.26836684446818</c:v>
                </c:pt>
                <c:pt idx="1592">
                  <c:v>225.2042762301825</c:v>
                </c:pt>
                <c:pt idx="1593">
                  <c:v>224.27381006502998</c:v>
                </c:pt>
                <c:pt idx="1594">
                  <c:v>228.38183637498383</c:v>
                </c:pt>
                <c:pt idx="1595">
                  <c:v>229.70937605920736</c:v>
                </c:pt>
                <c:pt idx="1596">
                  <c:v>227.58270369851596</c:v>
                </c:pt>
                <c:pt idx="1597">
                  <c:v>223.91225409788703</c:v>
                </c:pt>
                <c:pt idx="1598">
                  <c:v>225.33720412599499</c:v>
                </c:pt>
                <c:pt idx="1599">
                  <c:v>224.32834020192911</c:v>
                </c:pt>
                <c:pt idx="1600">
                  <c:v>224.67345927743793</c:v>
                </c:pt>
                <c:pt idx="1601">
                  <c:v>225.44122010061457</c:v>
                </c:pt>
                <c:pt idx="1602">
                  <c:v>230.61142967954638</c:v>
                </c:pt>
                <c:pt idx="1603">
                  <c:v>230.61142967954638</c:v>
                </c:pt>
                <c:pt idx="1604">
                  <c:v>232.41736294040248</c:v>
                </c:pt>
                <c:pt idx="1605">
                  <c:v>231.78319338132223</c:v>
                </c:pt>
                <c:pt idx="1606">
                  <c:v>232.05147064741172</c:v>
                </c:pt>
                <c:pt idx="1607">
                  <c:v>225.77719741099696</c:v>
                </c:pt>
                <c:pt idx="1608">
                  <c:v>222.76342995290364</c:v>
                </c:pt>
                <c:pt idx="1609">
                  <c:v>226.09243757787979</c:v>
                </c:pt>
                <c:pt idx="1610">
                  <c:v>225.2462242362831</c:v>
                </c:pt>
                <c:pt idx="1611">
                  <c:v>224.05145562045851</c:v>
                </c:pt>
                <c:pt idx="1612">
                  <c:v>221.26951565439717</c:v>
                </c:pt>
                <c:pt idx="1613">
                  <c:v>217.7684239433234</c:v>
                </c:pt>
                <c:pt idx="1614">
                  <c:v>218.03891124414599</c:v>
                </c:pt>
                <c:pt idx="1615">
                  <c:v>222.83113201472386</c:v>
                </c:pt>
                <c:pt idx="1616">
                  <c:v>227.36915867629256</c:v>
                </c:pt>
                <c:pt idx="1617">
                  <c:v>231.78077756168841</c:v>
                </c:pt>
                <c:pt idx="1618">
                  <c:v>232.9464379032471</c:v>
                </c:pt>
                <c:pt idx="1619">
                  <c:v>233.86603459483956</c:v>
                </c:pt>
                <c:pt idx="1620">
                  <c:v>237.0545801842355</c:v>
                </c:pt>
                <c:pt idx="1621">
                  <c:v>237.12524848015951</c:v>
                </c:pt>
                <c:pt idx="1622">
                  <c:v>237.77436435659868</c:v>
                </c:pt>
                <c:pt idx="1623">
                  <c:v>235.3849614431692</c:v>
                </c:pt>
                <c:pt idx="1624">
                  <c:v>233.89353001483627</c:v>
                </c:pt>
                <c:pt idx="1625">
                  <c:v>232.66450786806635</c:v>
                </c:pt>
                <c:pt idx="1626">
                  <c:v>230.57969885985358</c:v>
                </c:pt>
                <c:pt idx="1627">
                  <c:v>225.53262089995437</c:v>
                </c:pt>
                <c:pt idx="1628">
                  <c:v>227.89507173368713</c:v>
                </c:pt>
                <c:pt idx="1629">
                  <c:v>230.21927355999784</c:v>
                </c:pt>
                <c:pt idx="1630">
                  <c:v>231.65441455584204</c:v>
                </c:pt>
                <c:pt idx="1631">
                  <c:v>231.66535675566814</c:v>
                </c:pt>
                <c:pt idx="1632">
                  <c:v>233.48950284817383</c:v>
                </c:pt>
                <c:pt idx="1633">
                  <c:v>233.05239153421576</c:v>
                </c:pt>
                <c:pt idx="1634">
                  <c:v>236.17084885645454</c:v>
                </c:pt>
                <c:pt idx="1635">
                  <c:v>234.43768849059143</c:v>
                </c:pt>
                <c:pt idx="1636">
                  <c:v>232.410988634663</c:v>
                </c:pt>
                <c:pt idx="1637">
                  <c:v>233.99610991851287</c:v>
                </c:pt>
                <c:pt idx="1638">
                  <c:v>230.23532621535944</c:v>
                </c:pt>
                <c:pt idx="1639">
                  <c:v>224.02992310077451</c:v>
                </c:pt>
                <c:pt idx="1640">
                  <c:v>226.42776051217325</c:v>
                </c:pt>
                <c:pt idx="1641">
                  <c:v>226.05639873409427</c:v>
                </c:pt>
                <c:pt idx="1642">
                  <c:v>226.63649168484835</c:v>
                </c:pt>
                <c:pt idx="1643">
                  <c:v>227.03660888659175</c:v>
                </c:pt>
                <c:pt idx="1644">
                  <c:v>222.96121899638504</c:v>
                </c:pt>
                <c:pt idx="1645">
                  <c:v>218.5274121342772</c:v>
                </c:pt>
                <c:pt idx="1646">
                  <c:v>211.39295694643653</c:v>
                </c:pt>
                <c:pt idx="1647">
                  <c:v>200.04795338151879</c:v>
                </c:pt>
                <c:pt idx="1648">
                  <c:v>208.36875020991275</c:v>
                </c:pt>
                <c:pt idx="1649">
                  <c:v>204.60064452816403</c:v>
                </c:pt>
                <c:pt idx="1650">
                  <c:v>211.81580190770813</c:v>
                </c:pt>
                <c:pt idx="1651">
                  <c:v>212.469084521311</c:v>
                </c:pt>
                <c:pt idx="1652">
                  <c:v>212.16338837119912</c:v>
                </c:pt>
                <c:pt idx="1653">
                  <c:v>206.25635649718794</c:v>
                </c:pt>
                <c:pt idx="1654">
                  <c:v>206.76252933471466</c:v>
                </c:pt>
                <c:pt idx="1655">
                  <c:v>211.67236583015475</c:v>
                </c:pt>
                <c:pt idx="1656">
                  <c:v>206.24040875400502</c:v>
                </c:pt>
                <c:pt idx="1657">
                  <c:v>207.22968384710319</c:v>
                </c:pt>
                <c:pt idx="1658">
                  <c:v>209.68455073586497</c:v>
                </c:pt>
                <c:pt idx="1659">
                  <c:v>212.51227710200959</c:v>
                </c:pt>
                <c:pt idx="1660">
                  <c:v>209.89529666790526</c:v>
                </c:pt>
                <c:pt idx="1661">
                  <c:v>207.76829762464223</c:v>
                </c:pt>
                <c:pt idx="1662">
                  <c:v>206.52376182829903</c:v>
                </c:pt>
                <c:pt idx="1663">
                  <c:v>208.23171567940358</c:v>
                </c:pt>
                <c:pt idx="1664">
                  <c:v>211.50318295255474</c:v>
                </c:pt>
                <c:pt idx="1665">
                  <c:v>211.07082328385584</c:v>
                </c:pt>
                <c:pt idx="1666">
                  <c:v>207.15087789185307</c:v>
                </c:pt>
                <c:pt idx="1667">
                  <c:v>208.91936665038918</c:v>
                </c:pt>
                <c:pt idx="1668">
                  <c:v>202.30768323457986</c:v>
                </c:pt>
                <c:pt idx="1669">
                  <c:v>202.47761950501183</c:v>
                </c:pt>
                <c:pt idx="1670">
                  <c:v>198.12847833138832</c:v>
                </c:pt>
                <c:pt idx="1671">
                  <c:v>203.80229096658815</c:v>
                </c:pt>
                <c:pt idx="1672">
                  <c:v>199.20100534421786</c:v>
                </c:pt>
                <c:pt idx="1673">
                  <c:v>197.9542636140043</c:v>
                </c:pt>
                <c:pt idx="1674">
                  <c:v>203.02941240440205</c:v>
                </c:pt>
                <c:pt idx="1675">
                  <c:v>202.13431991992223</c:v>
                </c:pt>
                <c:pt idx="1676">
                  <c:v>203.13171942246058</c:v>
                </c:pt>
                <c:pt idx="1677">
                  <c:v>209.40843321783444</c:v>
                </c:pt>
                <c:pt idx="1678">
                  <c:v>210.74383005890999</c:v>
                </c:pt>
                <c:pt idx="1679">
                  <c:v>211.2854745550849</c:v>
                </c:pt>
                <c:pt idx="1680">
                  <c:v>211.7308666715401</c:v>
                </c:pt>
                <c:pt idx="1681">
                  <c:v>212.58113404737483</c:v>
                </c:pt>
                <c:pt idx="1682">
                  <c:v>211.99168385509731</c:v>
                </c:pt>
                <c:pt idx="1683">
                  <c:v>210.0286668141365</c:v>
                </c:pt>
                <c:pt idx="1684">
                  <c:v>208.44406390877288</c:v>
                </c:pt>
                <c:pt idx="1685">
                  <c:v>211.44713773577101</c:v>
                </c:pt>
                <c:pt idx="1686">
                  <c:v>212.72529602041493</c:v>
                </c:pt>
                <c:pt idx="1687">
                  <c:v>213.27853884507729</c:v>
                </c:pt>
                <c:pt idx="1688">
                  <c:v>212.28170983979382</c:v>
                </c:pt>
                <c:pt idx="1689">
                  <c:v>212.24587186096983</c:v>
                </c:pt>
                <c:pt idx="1690">
                  <c:v>216.75255731913273</c:v>
                </c:pt>
                <c:pt idx="1691">
                  <c:v>221.00734771584101</c:v>
                </c:pt>
                <c:pt idx="1692">
                  <c:v>220.15065749768766</c:v>
                </c:pt>
                <c:pt idx="1693">
                  <c:v>217.79176397532208</c:v>
                </c:pt>
                <c:pt idx="1694">
                  <c:v>220.13989026510123</c:v>
                </c:pt>
                <c:pt idx="1695">
                  <c:v>220.04088454647962</c:v>
                </c:pt>
                <c:pt idx="1696">
                  <c:v>219.85174062796261</c:v>
                </c:pt>
                <c:pt idx="1697">
                  <c:v>220.59500959724065</c:v>
                </c:pt>
                <c:pt idx="1698">
                  <c:v>221.62801422148425</c:v>
                </c:pt>
                <c:pt idx="1699">
                  <c:v>222.79697880476402</c:v>
                </c:pt>
                <c:pt idx="1700">
                  <c:v>221.8632755945959</c:v>
                </c:pt>
                <c:pt idx="1701">
                  <c:v>222.44849739572419</c:v>
                </c:pt>
                <c:pt idx="1702">
                  <c:v>220.01120995290125</c:v>
                </c:pt>
                <c:pt idx="1703">
                  <c:v>220.19572045834713</c:v>
                </c:pt>
                <c:pt idx="1704">
                  <c:v>221.58244957987154</c:v>
                </c:pt>
                <c:pt idx="1705">
                  <c:v>218.07354343859794</c:v>
                </c:pt>
                <c:pt idx="1706">
                  <c:v>216.25246419648843</c:v>
                </c:pt>
                <c:pt idx="1707">
                  <c:v>216.8742547236092</c:v>
                </c:pt>
                <c:pt idx="1708">
                  <c:v>222.34690353401533</c:v>
                </c:pt>
                <c:pt idx="1709">
                  <c:v>222.10447682047948</c:v>
                </c:pt>
                <c:pt idx="1710">
                  <c:v>223.14515917628879</c:v>
                </c:pt>
                <c:pt idx="1711">
                  <c:v>223.63009975873288</c:v>
                </c:pt>
                <c:pt idx="1712">
                  <c:v>222.80060309172538</c:v>
                </c:pt>
                <c:pt idx="1713">
                  <c:v>220.13183467704783</c:v>
                </c:pt>
                <c:pt idx="1714">
                  <c:v>223.15915413740001</c:v>
                </c:pt>
                <c:pt idx="1715">
                  <c:v>225.29687322849554</c:v>
                </c:pt>
                <c:pt idx="1716">
                  <c:v>224.80760129130547</c:v>
                </c:pt>
                <c:pt idx="1717">
                  <c:v>225.73282925856918</c:v>
                </c:pt>
                <c:pt idx="1718">
                  <c:v>224.96817820375742</c:v>
                </c:pt>
                <c:pt idx="1719">
                  <c:v>224.91708899154</c:v>
                </c:pt>
                <c:pt idx="1720">
                  <c:v>217.72113550732169</c:v>
                </c:pt>
                <c:pt idx="1721">
                  <c:v>216.761750249551</c:v>
                </c:pt>
                <c:pt idx="1722">
                  <c:v>217.78450312618091</c:v>
                </c:pt>
                <c:pt idx="1723">
                  <c:v>213.85975976394059</c:v>
                </c:pt>
                <c:pt idx="1724">
                  <c:v>212.97471567353</c:v>
                </c:pt>
                <c:pt idx="1725">
                  <c:v>212.37866505338786</c:v>
                </c:pt>
                <c:pt idx="1726">
                  <c:v>207.88955475291681</c:v>
                </c:pt>
                <c:pt idx="1727">
                  <c:v>204.13025406083122</c:v>
                </c:pt>
                <c:pt idx="1728">
                  <c:v>210.05444724544699</c:v>
                </c:pt>
                <c:pt idx="1729">
                  <c:v>210.58288734893367</c:v>
                </c:pt>
                <c:pt idx="1730">
                  <c:v>213.21814346752225</c:v>
                </c:pt>
                <c:pt idx="1731">
                  <c:v>211.03156654648862</c:v>
                </c:pt>
                <c:pt idx="1732">
                  <c:v>208.67210181594245</c:v>
                </c:pt>
                <c:pt idx="1733">
                  <c:v>208.57989892787933</c:v>
                </c:pt>
                <c:pt idx="1734">
                  <c:v>214.28019861862541</c:v>
                </c:pt>
                <c:pt idx="1735">
                  <c:v>214.28019861862541</c:v>
                </c:pt>
                <c:pt idx="1736">
                  <c:v>214.28019861862541</c:v>
                </c:pt>
                <c:pt idx="1737">
                  <c:v>213.21929478455536</c:v>
                </c:pt>
                <c:pt idx="1738">
                  <c:v>216.21935021673968</c:v>
                </c:pt>
                <c:pt idx="1739">
                  <c:v>214.96994613199325</c:v>
                </c:pt>
                <c:pt idx="1740">
                  <c:v>213.81968892275017</c:v>
                </c:pt>
                <c:pt idx="1741">
                  <c:v>213.81968892275017</c:v>
                </c:pt>
                <c:pt idx="1742">
                  <c:v>208.42490675480821</c:v>
                </c:pt>
                <c:pt idx="1743">
                  <c:v>209.72704298809174</c:v>
                </c:pt>
                <c:pt idx="1744">
                  <c:v>207.06152032470823</c:v>
                </c:pt>
                <c:pt idx="1745">
                  <c:v>202.47321271360138</c:v>
                </c:pt>
                <c:pt idx="1746">
                  <c:v>199.33265374903459</c:v>
                </c:pt>
                <c:pt idx="1747">
                  <c:v>198.67907228756869</c:v>
                </c:pt>
                <c:pt idx="1748">
                  <c:v>200.50928285617954</c:v>
                </c:pt>
                <c:pt idx="1749">
                  <c:v>201.36429940720402</c:v>
                </c:pt>
                <c:pt idx="1750">
                  <c:v>198.49428675669142</c:v>
                </c:pt>
                <c:pt idx="1751">
                  <c:v>192.86168799705584</c:v>
                </c:pt>
                <c:pt idx="1752">
                  <c:v>192.2562322884792</c:v>
                </c:pt>
                <c:pt idx="1753">
                  <c:v>194.73889006620007</c:v>
                </c:pt>
                <c:pt idx="1754">
                  <c:v>188.4728718616208</c:v>
                </c:pt>
                <c:pt idx="1755">
                  <c:v>192.23129682082535</c:v>
                </c:pt>
                <c:pt idx="1756">
                  <c:v>198.03474719906043</c:v>
                </c:pt>
                <c:pt idx="1757">
                  <c:v>196.75682372124623</c:v>
                </c:pt>
                <c:pt idx="1758">
                  <c:v>198.48397694454579</c:v>
                </c:pt>
                <c:pt idx="1759">
                  <c:v>199.24705871842889</c:v>
                </c:pt>
                <c:pt idx="1760">
                  <c:v>196.1610256400634</c:v>
                </c:pt>
                <c:pt idx="1761">
                  <c:v>200.51008717289821</c:v>
                </c:pt>
                <c:pt idx="1762">
                  <c:v>200.0707224897634</c:v>
                </c:pt>
                <c:pt idx="1763">
                  <c:v>195.83609338489623</c:v>
                </c:pt>
                <c:pt idx="1764">
                  <c:v>192.8451609983409</c:v>
                </c:pt>
                <c:pt idx="1765">
                  <c:v>192.64519899320501</c:v>
                </c:pt>
                <c:pt idx="1766">
                  <c:v>191.0797215367194</c:v>
                </c:pt>
                <c:pt idx="1767">
                  <c:v>184.517333914689</c:v>
                </c:pt>
                <c:pt idx="1768">
                  <c:v>181.52636222864771</c:v>
                </c:pt>
                <c:pt idx="1769">
                  <c:v>184.81346722842312</c:v>
                </c:pt>
                <c:pt idx="1770">
                  <c:v>177.97745703542657</c:v>
                </c:pt>
                <c:pt idx="1771">
                  <c:v>183.29200511700822</c:v>
                </c:pt>
                <c:pt idx="1772">
                  <c:v>188.72545482631375</c:v>
                </c:pt>
                <c:pt idx="1773">
                  <c:v>187.91687260878049</c:v>
                </c:pt>
                <c:pt idx="1774">
                  <c:v>192.90039169427953</c:v>
                </c:pt>
                <c:pt idx="1775">
                  <c:v>192.96779396639425</c:v>
                </c:pt>
                <c:pt idx="1776">
                  <c:v>191.4268339443486</c:v>
                </c:pt>
                <c:pt idx="1777">
                  <c:v>194.79112308978418</c:v>
                </c:pt>
                <c:pt idx="1778">
                  <c:v>192.29175233820857</c:v>
                </c:pt>
                <c:pt idx="1779">
                  <c:v>187.8070632417907</c:v>
                </c:pt>
                <c:pt idx="1780">
                  <c:v>191.66781918041011</c:v>
                </c:pt>
                <c:pt idx="1781">
                  <c:v>194.69492537485911</c:v>
                </c:pt>
                <c:pt idx="1782">
                  <c:v>196.10247050992703</c:v>
                </c:pt>
                <c:pt idx="1783">
                  <c:v>198.88164114350394</c:v>
                </c:pt>
                <c:pt idx="1784">
                  <c:v>200.33640984025945</c:v>
                </c:pt>
                <c:pt idx="1785">
                  <c:v>199.67187209012855</c:v>
                </c:pt>
                <c:pt idx="1786">
                  <c:v>201.09271201109999</c:v>
                </c:pt>
                <c:pt idx="1787">
                  <c:v>200.5984631166107</c:v>
                </c:pt>
                <c:pt idx="1788">
                  <c:v>198.61095256247492</c:v>
                </c:pt>
                <c:pt idx="1789">
                  <c:v>199.64157605006864</c:v>
                </c:pt>
                <c:pt idx="1790">
                  <c:v>196.25430127872377</c:v>
                </c:pt>
                <c:pt idx="1791">
                  <c:v>201.40604941184162</c:v>
                </c:pt>
                <c:pt idx="1792">
                  <c:v>202.81125578935138</c:v>
                </c:pt>
                <c:pt idx="1793">
                  <c:v>200.51166736343683</c:v>
                </c:pt>
                <c:pt idx="1794">
                  <c:v>200.62359217222831</c:v>
                </c:pt>
                <c:pt idx="1795">
                  <c:v>200.5695250581629</c:v>
                </c:pt>
                <c:pt idx="1796">
                  <c:v>201.16525099331005</c:v>
                </c:pt>
                <c:pt idx="1797">
                  <c:v>200.72563497436508</c:v>
                </c:pt>
                <c:pt idx="1798">
                  <c:v>200.39663824128345</c:v>
                </c:pt>
                <c:pt idx="1799">
                  <c:v>200.26319141838641</c:v>
                </c:pt>
                <c:pt idx="1800">
                  <c:v>197.3145280097828</c:v>
                </c:pt>
                <c:pt idx="1801">
                  <c:v>197.3145280097828</c:v>
                </c:pt>
                <c:pt idx="1802">
                  <c:v>197.3145280097828</c:v>
                </c:pt>
                <c:pt idx="1803">
                  <c:v>198.25873207604849</c:v>
                </c:pt>
                <c:pt idx="1804">
                  <c:v>200.90750773948818</c:v>
                </c:pt>
                <c:pt idx="1805">
                  <c:v>198.71886463857012</c:v>
                </c:pt>
                <c:pt idx="1806">
                  <c:v>196.15759153513122</c:v>
                </c:pt>
                <c:pt idx="1807">
                  <c:v>196.96951321716062</c:v>
                </c:pt>
                <c:pt idx="1808">
                  <c:v>193.21331339845719</c:v>
                </c:pt>
                <c:pt idx="1809">
                  <c:v>194.71617373652506</c:v>
                </c:pt>
                <c:pt idx="1810">
                  <c:v>193.45181797824603</c:v>
                </c:pt>
                <c:pt idx="1811">
                  <c:v>195.75287429838716</c:v>
                </c:pt>
                <c:pt idx="1812">
                  <c:v>196.50158873221704</c:v>
                </c:pt>
                <c:pt idx="1813">
                  <c:v>197.63319853985101</c:v>
                </c:pt>
                <c:pt idx="1814">
                  <c:v>202.73140761279845</c:v>
                </c:pt>
                <c:pt idx="1815">
                  <c:v>203.45936428878309</c:v>
                </c:pt>
                <c:pt idx="1816">
                  <c:v>202.79711416423564</c:v>
                </c:pt>
                <c:pt idx="1817">
                  <c:v>203.64094003124603</c:v>
                </c:pt>
                <c:pt idx="1818">
                  <c:v>206.7203000601944</c:v>
                </c:pt>
                <c:pt idx="1819">
                  <c:v>207.7339679884771</c:v>
                </c:pt>
                <c:pt idx="1820">
                  <c:v>207.15920278697411</c:v>
                </c:pt>
                <c:pt idx="1821">
                  <c:v>206.49378137062749</c:v>
                </c:pt>
                <c:pt idx="1822">
                  <c:v>205.28842027008176</c:v>
                </c:pt>
                <c:pt idx="1823">
                  <c:v>205.74037172960908</c:v>
                </c:pt>
                <c:pt idx="1824">
                  <c:v>206.42791011161785</c:v>
                </c:pt>
                <c:pt idx="1825">
                  <c:v>206.95881888009424</c:v>
                </c:pt>
                <c:pt idx="1826">
                  <c:v>202.54254836030236</c:v>
                </c:pt>
                <c:pt idx="1827">
                  <c:v>202.54300567489264</c:v>
                </c:pt>
                <c:pt idx="1828">
                  <c:v>199.11101057375896</c:v>
                </c:pt>
                <c:pt idx="1829">
                  <c:v>196.80871699972406</c:v>
                </c:pt>
                <c:pt idx="1830">
                  <c:v>196.80871699972406</c:v>
                </c:pt>
                <c:pt idx="1831">
                  <c:v>197.04971406091602</c:v>
                </c:pt>
                <c:pt idx="1832">
                  <c:v>197.92016149176669</c:v>
                </c:pt>
                <c:pt idx="1833">
                  <c:v>199.8075314781392</c:v>
                </c:pt>
                <c:pt idx="1834">
                  <c:v>198.94992413618908</c:v>
                </c:pt>
                <c:pt idx="1835">
                  <c:v>198.09482778533859</c:v>
                </c:pt>
                <c:pt idx="1836">
                  <c:v>199.13684662140668</c:v>
                </c:pt>
                <c:pt idx="1837">
                  <c:v>199.13684662140668</c:v>
                </c:pt>
                <c:pt idx="1838">
                  <c:v>199.26131795191887</c:v>
                </c:pt>
                <c:pt idx="1839">
                  <c:v>200.93568952581799</c:v>
                </c:pt>
                <c:pt idx="1840">
                  <c:v>198.82864824228449</c:v>
                </c:pt>
                <c:pt idx="1841">
                  <c:v>201.26568646317477</c:v>
                </c:pt>
                <c:pt idx="1842">
                  <c:v>200.4633648490111</c:v>
                </c:pt>
                <c:pt idx="1843">
                  <c:v>204.9310626278961</c:v>
                </c:pt>
                <c:pt idx="1844">
                  <c:v>207.71406056906483</c:v>
                </c:pt>
                <c:pt idx="1845">
                  <c:v>208.02700005319758</c:v>
                </c:pt>
                <c:pt idx="1846">
                  <c:v>208.47578868747613</c:v>
                </c:pt>
                <c:pt idx="1847">
                  <c:v>208.79100225804882</c:v>
                </c:pt>
                <c:pt idx="1848">
                  <c:v>207.15791826652458</c:v>
                </c:pt>
                <c:pt idx="1849">
                  <c:v>205.19921167010122</c:v>
                </c:pt>
                <c:pt idx="1850">
                  <c:v>205.44582874811383</c:v>
                </c:pt>
                <c:pt idx="1851">
                  <c:v>203.63088379715438</c:v>
                </c:pt>
                <c:pt idx="1852">
                  <c:v>204.37920001649647</c:v>
                </c:pt>
                <c:pt idx="1853">
                  <c:v>206.74453446506394</c:v>
                </c:pt>
                <c:pt idx="1854">
                  <c:v>205.82969768514437</c:v>
                </c:pt>
                <c:pt idx="1855">
                  <c:v>203.92819036929347</c:v>
                </c:pt>
                <c:pt idx="1856">
                  <c:v>199.02201532087932</c:v>
                </c:pt>
                <c:pt idx="1857">
                  <c:v>195.46589361957209</c:v>
                </c:pt>
                <c:pt idx="1858">
                  <c:v>191.746217014932</c:v>
                </c:pt>
                <c:pt idx="1859">
                  <c:v>193.58414846161682</c:v>
                </c:pt>
                <c:pt idx="1860">
                  <c:v>192.35960214885947</c:v>
                </c:pt>
                <c:pt idx="1861">
                  <c:v>194.95192300447715</c:v>
                </c:pt>
                <c:pt idx="1862">
                  <c:v>202.0134549314368</c:v>
                </c:pt>
                <c:pt idx="1863">
                  <c:v>203.489311330834</c:v>
                </c:pt>
                <c:pt idx="1864">
                  <c:v>204.25530164584433</c:v>
                </c:pt>
                <c:pt idx="1865">
                  <c:v>204.25530164584433</c:v>
                </c:pt>
                <c:pt idx="1866">
                  <c:v>193.13058587482189</c:v>
                </c:pt>
                <c:pt idx="1867">
                  <c:v>185.62805353078195</c:v>
                </c:pt>
                <c:pt idx="1868">
                  <c:v>190.28316399302079</c:v>
                </c:pt>
                <c:pt idx="1869">
                  <c:v>196.24872740870148</c:v>
                </c:pt>
                <c:pt idx="1870">
                  <c:v>198.35281514165331</c:v>
                </c:pt>
                <c:pt idx="1871">
                  <c:v>199.74319755670766</c:v>
                </c:pt>
                <c:pt idx="1872">
                  <c:v>198.38431420640313</c:v>
                </c:pt>
                <c:pt idx="1873">
                  <c:v>195.24445671457627</c:v>
                </c:pt>
                <c:pt idx="1874">
                  <c:v>191.96540426230686</c:v>
                </c:pt>
                <c:pt idx="1875">
                  <c:v>193.98170931267043</c:v>
                </c:pt>
                <c:pt idx="1876">
                  <c:v>197.02687412885982</c:v>
                </c:pt>
                <c:pt idx="1877">
                  <c:v>200.13596210790649</c:v>
                </c:pt>
                <c:pt idx="1878">
                  <c:v>202.2462006577336</c:v>
                </c:pt>
                <c:pt idx="1879">
                  <c:v>201.98413464222739</c:v>
                </c:pt>
                <c:pt idx="1880">
                  <c:v>203.55355480105516</c:v>
                </c:pt>
                <c:pt idx="1881">
                  <c:v>203.24436244620259</c:v>
                </c:pt>
                <c:pt idx="1882">
                  <c:v>203.65156442584365</c:v>
                </c:pt>
                <c:pt idx="1883">
                  <c:v>202.79703406978484</c:v>
                </c:pt>
                <c:pt idx="1884">
                  <c:v>204.85594109959649</c:v>
                </c:pt>
                <c:pt idx="1885">
                  <c:v>204.72002178975526</c:v>
                </c:pt>
                <c:pt idx="1886">
                  <c:v>204.63716759507039</c:v>
                </c:pt>
                <c:pt idx="1887">
                  <c:v>204.85734033595872</c:v>
                </c:pt>
                <c:pt idx="1888">
                  <c:v>205.11409706831384</c:v>
                </c:pt>
                <c:pt idx="1889">
                  <c:v>205.94904062506077</c:v>
                </c:pt>
                <c:pt idx="1890">
                  <c:v>203.88250056832464</c:v>
                </c:pt>
                <c:pt idx="1891">
                  <c:v>205.30826853325669</c:v>
                </c:pt>
                <c:pt idx="1892">
                  <c:v>204.0712851534019</c:v>
                </c:pt>
                <c:pt idx="1893">
                  <c:v>201.32388893569106</c:v>
                </c:pt>
                <c:pt idx="1894">
                  <c:v>201.44283168901484</c:v>
                </c:pt>
                <c:pt idx="1895">
                  <c:v>202.94123841496742</c:v>
                </c:pt>
                <c:pt idx="1896">
                  <c:v>205.0645800255034</c:v>
                </c:pt>
                <c:pt idx="1897">
                  <c:v>205.1636474799854</c:v>
                </c:pt>
                <c:pt idx="1898">
                  <c:v>207.0420528682514</c:v>
                </c:pt>
                <c:pt idx="1899">
                  <c:v>206.62932480675616</c:v>
                </c:pt>
                <c:pt idx="1900">
                  <c:v>208.56954961305991</c:v>
                </c:pt>
                <c:pt idx="1901">
                  <c:v>208.18622913249197</c:v>
                </c:pt>
                <c:pt idx="1902">
                  <c:v>208.18622913249197</c:v>
                </c:pt>
                <c:pt idx="1903">
                  <c:v>206.58578046331235</c:v>
                </c:pt>
                <c:pt idx="1904">
                  <c:v>204.90784700655755</c:v>
                </c:pt>
                <c:pt idx="1905">
                  <c:v>206.37768599037645</c:v>
                </c:pt>
                <c:pt idx="1906">
                  <c:v>204.73551925142252</c:v>
                </c:pt>
                <c:pt idx="1907">
                  <c:v>204.81110017656084</c:v>
                </c:pt>
                <c:pt idx="1908">
                  <c:v>206.6908063309763</c:v>
                </c:pt>
                <c:pt idx="1909">
                  <c:v>207.45458812497696</c:v>
                </c:pt>
                <c:pt idx="1910">
                  <c:v>205.75113531807693</c:v>
                </c:pt>
                <c:pt idx="1911">
                  <c:v>206.81927889269306</c:v>
                </c:pt>
                <c:pt idx="1912">
                  <c:v>206.51932287433169</c:v>
                </c:pt>
                <c:pt idx="1913">
                  <c:v>207.4755928823167</c:v>
                </c:pt>
                <c:pt idx="1914">
                  <c:v>206.74604943266579</c:v>
                </c:pt>
                <c:pt idx="1915">
                  <c:v>206.70645964965669</c:v>
                </c:pt>
                <c:pt idx="1916">
                  <c:v>210.86513306461302</c:v>
                </c:pt>
                <c:pt idx="1917">
                  <c:v>210.96648982627855</c:v>
                </c:pt>
                <c:pt idx="1918">
                  <c:v>210.15973091626185</c:v>
                </c:pt>
                <c:pt idx="1919">
                  <c:v>210.84565225904984</c:v>
                </c:pt>
                <c:pt idx="1920">
                  <c:v>210.14881379620741</c:v>
                </c:pt>
                <c:pt idx="1921">
                  <c:v>207.86074344122406</c:v>
                </c:pt>
                <c:pt idx="1922">
                  <c:v>205.90759740826411</c:v>
                </c:pt>
                <c:pt idx="1923">
                  <c:v>203.7868064851229</c:v>
                </c:pt>
                <c:pt idx="1924">
                  <c:v>203.56288299902579</c:v>
                </c:pt>
                <c:pt idx="1925">
                  <c:v>204.70070953800783</c:v>
                </c:pt>
                <c:pt idx="1926">
                  <c:v>203.13501722150482</c:v>
                </c:pt>
                <c:pt idx="1927">
                  <c:v>205.27540022428812</c:v>
                </c:pt>
                <c:pt idx="1928">
                  <c:v>205.11630128184984</c:v>
                </c:pt>
                <c:pt idx="1929">
                  <c:v>206.0336979911115</c:v>
                </c:pt>
                <c:pt idx="1930">
                  <c:v>209.35570357573891</c:v>
                </c:pt>
                <c:pt idx="1931">
                  <c:v>207.88908981265416</c:v>
                </c:pt>
                <c:pt idx="1932">
                  <c:v>204.63257509160792</c:v>
                </c:pt>
                <c:pt idx="1933">
                  <c:v>204.76220926393913</c:v>
                </c:pt>
                <c:pt idx="1934">
                  <c:v>206.15783155328421</c:v>
                </c:pt>
                <c:pt idx="1935">
                  <c:v>206.54858340680769</c:v>
                </c:pt>
                <c:pt idx="1936">
                  <c:v>206.68210149725414</c:v>
                </c:pt>
              </c:numCache>
            </c:numRef>
          </c:val>
          <c:smooth val="0"/>
          <c:extLst xmlns:c16r2="http://schemas.microsoft.com/office/drawing/2015/06/chart">
            <c:ext xmlns:c16="http://schemas.microsoft.com/office/drawing/2014/chart" uri="{C3380CC4-5D6E-409C-BE32-E72D297353CC}">
              <c16:uniqueId val="{00000001-E39B-4E7F-AF15-2004DEAF3005}"/>
            </c:ext>
          </c:extLst>
        </c:ser>
        <c:dLbls>
          <c:showLegendKey val="0"/>
          <c:showVal val="0"/>
          <c:showCatName val="0"/>
          <c:showSerName val="0"/>
          <c:showPercent val="0"/>
          <c:showBubbleSize val="0"/>
        </c:dLbls>
        <c:marker val="1"/>
        <c:smooth val="0"/>
        <c:axId val="216568960"/>
        <c:axId val="216570496"/>
      </c:lineChart>
      <c:dateAx>
        <c:axId val="216568960"/>
        <c:scaling>
          <c:orientation val="minMax"/>
          <c:max val="40130"/>
        </c:scaling>
        <c:delete val="0"/>
        <c:axPos val="b"/>
        <c:numFmt formatCode="[$-409]mmm\-yy;@" sourceLinked="0"/>
        <c:majorTickMark val="out"/>
        <c:minorTickMark val="none"/>
        <c:tickLblPos val="low"/>
        <c:spPr>
          <a:ln w="15875">
            <a:solidFill>
              <a:srgbClr val="003C64"/>
            </a:solidFill>
            <a:prstDash val="solid"/>
          </a:ln>
        </c:spPr>
        <c:txPr>
          <a:bodyPr rot="0" vert="horz"/>
          <a:lstStyle/>
          <a:p>
            <a:pPr>
              <a:defRPr sz="900" b="0" i="0" u="none" strike="noStrike" baseline="0">
                <a:solidFill>
                  <a:schemeClr val="tx1"/>
                </a:solidFill>
                <a:latin typeface="Arial"/>
                <a:ea typeface="Arial"/>
                <a:cs typeface="Arial"/>
              </a:defRPr>
            </a:pPr>
            <a:endParaRPr lang="en-US"/>
          </a:p>
        </c:txPr>
        <c:crossAx val="216570496"/>
        <c:crosses val="autoZero"/>
        <c:auto val="1"/>
        <c:lblOffset val="100"/>
        <c:baseTimeUnit val="days"/>
      </c:dateAx>
      <c:valAx>
        <c:axId val="216570496"/>
        <c:scaling>
          <c:orientation val="minMax"/>
          <c:max val="150"/>
          <c:min val="90"/>
        </c:scaling>
        <c:delete val="0"/>
        <c:axPos val="l"/>
        <c:majorGridlines>
          <c:spPr>
            <a:ln>
              <a:solidFill>
                <a:srgbClr val="F0EDE8"/>
              </a:solidFill>
            </a:ln>
          </c:spPr>
        </c:majorGridlines>
        <c:numFmt formatCode="0" sourceLinked="0"/>
        <c:majorTickMark val="out"/>
        <c:minorTickMark val="none"/>
        <c:tickLblPos val="nextTo"/>
        <c:spPr>
          <a:ln w="15875">
            <a:solidFill>
              <a:srgbClr val="003C64"/>
            </a:solidFill>
            <a:prstDash val="solid"/>
          </a:ln>
        </c:spPr>
        <c:txPr>
          <a:bodyPr rot="0" vert="horz"/>
          <a:lstStyle/>
          <a:p>
            <a:pPr>
              <a:defRPr sz="900" b="0" i="0" u="none" strike="noStrike" baseline="0">
                <a:solidFill>
                  <a:srgbClr val="000000"/>
                </a:solidFill>
                <a:latin typeface="Arial"/>
                <a:ea typeface="Arial"/>
                <a:cs typeface="Arial"/>
              </a:defRPr>
            </a:pPr>
            <a:endParaRPr lang="en-US"/>
          </a:p>
        </c:txPr>
        <c:crossAx val="216568960"/>
        <c:crosses val="autoZero"/>
        <c:crossBetween val="between"/>
      </c:valAx>
      <c:spPr>
        <a:solidFill>
          <a:srgbClr val="FFFFFF"/>
        </a:solidFill>
        <a:ln w="25400">
          <a:noFill/>
        </a:ln>
      </c:spPr>
    </c:plotArea>
    <c:plotVisOnly val="1"/>
    <c:dispBlanksAs val="gap"/>
    <c:showDLblsOverMax val="0"/>
  </c:chart>
  <c:spPr>
    <a:solidFill>
      <a:srgbClr val="FFFFFF"/>
    </a:solidFill>
    <a:ln w="25400">
      <a:noFill/>
    </a:ln>
  </c:spPr>
  <c:txPr>
    <a:bodyPr/>
    <a:lstStyle/>
    <a:p>
      <a:pPr>
        <a:defRPr sz="1500" b="0" i="0" u="none" strike="noStrike" baseline="0">
          <a:solidFill>
            <a:srgbClr val="000000"/>
          </a:solidFill>
          <a:latin typeface="Arial"/>
          <a:ea typeface="Arial"/>
          <a:cs typeface="Arial"/>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48702525732135"/>
          <c:y val="4.750020721094074E-2"/>
          <c:w val="0.8862197403496318"/>
          <c:h val="0.77892084542063822"/>
        </c:manualLayout>
      </c:layout>
      <c:lineChart>
        <c:grouping val="standard"/>
        <c:varyColors val="0"/>
        <c:ser>
          <c:idx val="0"/>
          <c:order val="0"/>
          <c:tx>
            <c:strRef>
              <c:f>'market max dd'!$P$1</c:f>
              <c:strCache>
                <c:ptCount val="1"/>
                <c:pt idx="0">
                  <c:v>AFE Europe Conservative </c:v>
                </c:pt>
              </c:strCache>
            </c:strRef>
          </c:tx>
          <c:spPr>
            <a:ln w="28575">
              <a:solidFill>
                <a:srgbClr val="001C4B"/>
              </a:solidFill>
              <a:prstDash val="solid"/>
            </a:ln>
          </c:spPr>
          <c:marker>
            <c:symbol val="none"/>
          </c:marker>
          <c:cat>
            <c:numRef>
              <c:f>'market max dd'!$O$2:$O$157</c:f>
              <c:numCache>
                <c:formatCode>m/d/yyyy</c:formatCode>
                <c:ptCount val="156"/>
                <c:pt idx="0">
                  <c:v>40591</c:v>
                </c:pt>
                <c:pt idx="1">
                  <c:v>40592</c:v>
                </c:pt>
                <c:pt idx="2">
                  <c:v>40595</c:v>
                </c:pt>
                <c:pt idx="3">
                  <c:v>40596</c:v>
                </c:pt>
                <c:pt idx="4">
                  <c:v>40597</c:v>
                </c:pt>
                <c:pt idx="5">
                  <c:v>40598</c:v>
                </c:pt>
                <c:pt idx="6">
                  <c:v>40599</c:v>
                </c:pt>
                <c:pt idx="7">
                  <c:v>40602</c:v>
                </c:pt>
                <c:pt idx="8">
                  <c:v>40603</c:v>
                </c:pt>
                <c:pt idx="9">
                  <c:v>40604</c:v>
                </c:pt>
                <c:pt idx="10">
                  <c:v>40605</c:v>
                </c:pt>
                <c:pt idx="11">
                  <c:v>40606</c:v>
                </c:pt>
                <c:pt idx="12">
                  <c:v>40609</c:v>
                </c:pt>
                <c:pt idx="13">
                  <c:v>40610</c:v>
                </c:pt>
                <c:pt idx="14">
                  <c:v>40611</c:v>
                </c:pt>
                <c:pt idx="15">
                  <c:v>40612</c:v>
                </c:pt>
                <c:pt idx="16">
                  <c:v>40613</c:v>
                </c:pt>
                <c:pt idx="17">
                  <c:v>40616</c:v>
                </c:pt>
                <c:pt idx="18">
                  <c:v>40617</c:v>
                </c:pt>
                <c:pt idx="19">
                  <c:v>40618</c:v>
                </c:pt>
                <c:pt idx="20">
                  <c:v>40619</c:v>
                </c:pt>
                <c:pt idx="21">
                  <c:v>40620</c:v>
                </c:pt>
                <c:pt idx="22">
                  <c:v>40623</c:v>
                </c:pt>
                <c:pt idx="23">
                  <c:v>40624</c:v>
                </c:pt>
                <c:pt idx="24">
                  <c:v>40625</c:v>
                </c:pt>
                <c:pt idx="25">
                  <c:v>40626</c:v>
                </c:pt>
                <c:pt idx="26">
                  <c:v>40627</c:v>
                </c:pt>
                <c:pt idx="27">
                  <c:v>40630</c:v>
                </c:pt>
                <c:pt idx="28">
                  <c:v>40631</c:v>
                </c:pt>
                <c:pt idx="29">
                  <c:v>40632</c:v>
                </c:pt>
                <c:pt idx="30">
                  <c:v>40633</c:v>
                </c:pt>
                <c:pt idx="31">
                  <c:v>40634</c:v>
                </c:pt>
                <c:pt idx="32">
                  <c:v>40637</c:v>
                </c:pt>
                <c:pt idx="33">
                  <c:v>40638</c:v>
                </c:pt>
                <c:pt idx="34">
                  <c:v>40639</c:v>
                </c:pt>
                <c:pt idx="35">
                  <c:v>40640</c:v>
                </c:pt>
                <c:pt idx="36">
                  <c:v>40641</c:v>
                </c:pt>
                <c:pt idx="37">
                  <c:v>40644</c:v>
                </c:pt>
                <c:pt idx="38">
                  <c:v>40645</c:v>
                </c:pt>
                <c:pt idx="39">
                  <c:v>40646</c:v>
                </c:pt>
                <c:pt idx="40">
                  <c:v>40647</c:v>
                </c:pt>
                <c:pt idx="41">
                  <c:v>40648</c:v>
                </c:pt>
                <c:pt idx="42">
                  <c:v>40651</c:v>
                </c:pt>
                <c:pt idx="43">
                  <c:v>40652</c:v>
                </c:pt>
                <c:pt idx="44">
                  <c:v>40653</c:v>
                </c:pt>
                <c:pt idx="45">
                  <c:v>40654</c:v>
                </c:pt>
                <c:pt idx="46">
                  <c:v>40655</c:v>
                </c:pt>
                <c:pt idx="47">
                  <c:v>40658</c:v>
                </c:pt>
                <c:pt idx="48">
                  <c:v>40659</c:v>
                </c:pt>
                <c:pt idx="49">
                  <c:v>40660</c:v>
                </c:pt>
                <c:pt idx="50">
                  <c:v>40661</c:v>
                </c:pt>
                <c:pt idx="51">
                  <c:v>40662</c:v>
                </c:pt>
                <c:pt idx="52">
                  <c:v>40665</c:v>
                </c:pt>
                <c:pt idx="53">
                  <c:v>40666</c:v>
                </c:pt>
                <c:pt idx="54">
                  <c:v>40667</c:v>
                </c:pt>
                <c:pt idx="55">
                  <c:v>40668</c:v>
                </c:pt>
                <c:pt idx="56">
                  <c:v>40669</c:v>
                </c:pt>
                <c:pt idx="57">
                  <c:v>40672</c:v>
                </c:pt>
                <c:pt idx="58">
                  <c:v>40673</c:v>
                </c:pt>
                <c:pt idx="59">
                  <c:v>40674</c:v>
                </c:pt>
                <c:pt idx="60">
                  <c:v>40675</c:v>
                </c:pt>
                <c:pt idx="61">
                  <c:v>40676</c:v>
                </c:pt>
                <c:pt idx="62">
                  <c:v>40679</c:v>
                </c:pt>
                <c:pt idx="63">
                  <c:v>40680</c:v>
                </c:pt>
                <c:pt idx="64">
                  <c:v>40681</c:v>
                </c:pt>
                <c:pt idx="65">
                  <c:v>40682</c:v>
                </c:pt>
                <c:pt idx="66">
                  <c:v>40683</c:v>
                </c:pt>
                <c:pt idx="67">
                  <c:v>40686</c:v>
                </c:pt>
                <c:pt idx="68">
                  <c:v>40687</c:v>
                </c:pt>
                <c:pt idx="69">
                  <c:v>40688</c:v>
                </c:pt>
                <c:pt idx="70">
                  <c:v>40689</c:v>
                </c:pt>
                <c:pt idx="71">
                  <c:v>40690</c:v>
                </c:pt>
                <c:pt idx="72">
                  <c:v>40693</c:v>
                </c:pt>
                <c:pt idx="73">
                  <c:v>40694</c:v>
                </c:pt>
                <c:pt idx="74">
                  <c:v>40695</c:v>
                </c:pt>
                <c:pt idx="75">
                  <c:v>40696</c:v>
                </c:pt>
                <c:pt idx="76">
                  <c:v>40697</c:v>
                </c:pt>
                <c:pt idx="77">
                  <c:v>40700</c:v>
                </c:pt>
                <c:pt idx="78">
                  <c:v>40701</c:v>
                </c:pt>
                <c:pt idx="79">
                  <c:v>40702</c:v>
                </c:pt>
                <c:pt idx="80">
                  <c:v>40703</c:v>
                </c:pt>
                <c:pt idx="81">
                  <c:v>40704</c:v>
                </c:pt>
                <c:pt idx="82">
                  <c:v>40707</c:v>
                </c:pt>
                <c:pt idx="83">
                  <c:v>40708</c:v>
                </c:pt>
                <c:pt idx="84">
                  <c:v>40709</c:v>
                </c:pt>
                <c:pt idx="85">
                  <c:v>40710</c:v>
                </c:pt>
                <c:pt idx="86">
                  <c:v>40711</c:v>
                </c:pt>
                <c:pt idx="87">
                  <c:v>40714</c:v>
                </c:pt>
                <c:pt idx="88">
                  <c:v>40715</c:v>
                </c:pt>
                <c:pt idx="89">
                  <c:v>40716</c:v>
                </c:pt>
                <c:pt idx="90">
                  <c:v>40717</c:v>
                </c:pt>
                <c:pt idx="91">
                  <c:v>40718</c:v>
                </c:pt>
                <c:pt idx="92">
                  <c:v>40721</c:v>
                </c:pt>
                <c:pt idx="93">
                  <c:v>40722</c:v>
                </c:pt>
                <c:pt idx="94">
                  <c:v>40723</c:v>
                </c:pt>
                <c:pt idx="95">
                  <c:v>40724</c:v>
                </c:pt>
                <c:pt idx="96">
                  <c:v>40725</c:v>
                </c:pt>
                <c:pt idx="97">
                  <c:v>40728</c:v>
                </c:pt>
                <c:pt idx="98">
                  <c:v>40729</c:v>
                </c:pt>
                <c:pt idx="99">
                  <c:v>40730</c:v>
                </c:pt>
                <c:pt idx="100">
                  <c:v>40731</c:v>
                </c:pt>
                <c:pt idx="101">
                  <c:v>40732</c:v>
                </c:pt>
                <c:pt idx="102">
                  <c:v>40735</c:v>
                </c:pt>
                <c:pt idx="103">
                  <c:v>40736</c:v>
                </c:pt>
                <c:pt idx="104">
                  <c:v>40737</c:v>
                </c:pt>
                <c:pt idx="105">
                  <c:v>40738</c:v>
                </c:pt>
                <c:pt idx="106">
                  <c:v>40739</c:v>
                </c:pt>
                <c:pt idx="107">
                  <c:v>40742</c:v>
                </c:pt>
                <c:pt idx="108">
                  <c:v>40743</c:v>
                </c:pt>
                <c:pt idx="109">
                  <c:v>40744</c:v>
                </c:pt>
                <c:pt idx="110">
                  <c:v>40745</c:v>
                </c:pt>
                <c:pt idx="111">
                  <c:v>40746</c:v>
                </c:pt>
                <c:pt idx="112">
                  <c:v>40749</c:v>
                </c:pt>
                <c:pt idx="113">
                  <c:v>40750</c:v>
                </c:pt>
                <c:pt idx="114">
                  <c:v>40751</c:v>
                </c:pt>
                <c:pt idx="115">
                  <c:v>40752</c:v>
                </c:pt>
                <c:pt idx="116">
                  <c:v>40753</c:v>
                </c:pt>
                <c:pt idx="117">
                  <c:v>40756</c:v>
                </c:pt>
                <c:pt idx="118">
                  <c:v>40757</c:v>
                </c:pt>
                <c:pt idx="119">
                  <c:v>40758</c:v>
                </c:pt>
                <c:pt idx="120">
                  <c:v>40759</c:v>
                </c:pt>
                <c:pt idx="121">
                  <c:v>40760</c:v>
                </c:pt>
                <c:pt idx="122">
                  <c:v>40763</c:v>
                </c:pt>
                <c:pt idx="123">
                  <c:v>40764</c:v>
                </c:pt>
                <c:pt idx="124">
                  <c:v>40765</c:v>
                </c:pt>
                <c:pt idx="125">
                  <c:v>40766</c:v>
                </c:pt>
                <c:pt idx="126">
                  <c:v>40767</c:v>
                </c:pt>
                <c:pt idx="127">
                  <c:v>40770</c:v>
                </c:pt>
                <c:pt idx="128">
                  <c:v>40771</c:v>
                </c:pt>
                <c:pt idx="129">
                  <c:v>40772</c:v>
                </c:pt>
                <c:pt idx="130">
                  <c:v>40773</c:v>
                </c:pt>
                <c:pt idx="131">
                  <c:v>40774</c:v>
                </c:pt>
                <c:pt idx="132">
                  <c:v>40777</c:v>
                </c:pt>
                <c:pt idx="133">
                  <c:v>40778</c:v>
                </c:pt>
                <c:pt idx="134">
                  <c:v>40779</c:v>
                </c:pt>
                <c:pt idx="135">
                  <c:v>40780</c:v>
                </c:pt>
                <c:pt idx="136">
                  <c:v>40781</c:v>
                </c:pt>
                <c:pt idx="137">
                  <c:v>40784</c:v>
                </c:pt>
                <c:pt idx="138">
                  <c:v>40785</c:v>
                </c:pt>
                <c:pt idx="139">
                  <c:v>40786</c:v>
                </c:pt>
                <c:pt idx="140">
                  <c:v>40787</c:v>
                </c:pt>
                <c:pt idx="141">
                  <c:v>40788</c:v>
                </c:pt>
                <c:pt idx="142">
                  <c:v>40791</c:v>
                </c:pt>
                <c:pt idx="143">
                  <c:v>40792</c:v>
                </c:pt>
                <c:pt idx="144">
                  <c:v>40793</c:v>
                </c:pt>
                <c:pt idx="145">
                  <c:v>40794</c:v>
                </c:pt>
                <c:pt idx="146">
                  <c:v>40795</c:v>
                </c:pt>
                <c:pt idx="147">
                  <c:v>40798</c:v>
                </c:pt>
                <c:pt idx="148">
                  <c:v>40799</c:v>
                </c:pt>
                <c:pt idx="149">
                  <c:v>40800</c:v>
                </c:pt>
                <c:pt idx="150">
                  <c:v>40801</c:v>
                </c:pt>
                <c:pt idx="151">
                  <c:v>40802</c:v>
                </c:pt>
                <c:pt idx="152">
                  <c:v>40805</c:v>
                </c:pt>
                <c:pt idx="153">
                  <c:v>40806</c:v>
                </c:pt>
                <c:pt idx="154">
                  <c:v>40807</c:v>
                </c:pt>
                <c:pt idx="155">
                  <c:v>40808</c:v>
                </c:pt>
              </c:numCache>
            </c:numRef>
          </c:cat>
          <c:val>
            <c:numRef>
              <c:f>'market max dd'!$P$2:$P$157</c:f>
              <c:numCache>
                <c:formatCode>#,##0.00_);[Red]\(#,##0.00\)</c:formatCode>
                <c:ptCount val="156"/>
                <c:pt idx="0">
                  <c:v>100</c:v>
                </c:pt>
                <c:pt idx="1">
                  <c:v>100.05957954645747</c:v>
                </c:pt>
                <c:pt idx="2">
                  <c:v>99.329005068395276</c:v>
                </c:pt>
                <c:pt idx="3">
                  <c:v>98.713867841401282</c:v>
                </c:pt>
                <c:pt idx="4">
                  <c:v>98.14004039686445</c:v>
                </c:pt>
                <c:pt idx="5">
                  <c:v>97.633969992214332</c:v>
                </c:pt>
                <c:pt idx="6">
                  <c:v>98.580812516429503</c:v>
                </c:pt>
                <c:pt idx="7">
                  <c:v>99.213900609186524</c:v>
                </c:pt>
                <c:pt idx="8">
                  <c:v>98.976711578337373</c:v>
                </c:pt>
                <c:pt idx="9">
                  <c:v>98.303622285845378</c:v>
                </c:pt>
                <c:pt idx="10">
                  <c:v>98.428815432783708</c:v>
                </c:pt>
                <c:pt idx="11">
                  <c:v>97.981837612015568</c:v>
                </c:pt>
                <c:pt idx="12">
                  <c:v>97.539054985382407</c:v>
                </c:pt>
                <c:pt idx="13">
                  <c:v>97.859032786709037</c:v>
                </c:pt>
                <c:pt idx="14">
                  <c:v>97.862220045311247</c:v>
                </c:pt>
                <c:pt idx="15">
                  <c:v>97.165134930033901</c:v>
                </c:pt>
                <c:pt idx="16">
                  <c:v>96.081547797092497</c:v>
                </c:pt>
                <c:pt idx="17">
                  <c:v>94.914933926193882</c:v>
                </c:pt>
                <c:pt idx="18">
                  <c:v>92.833888957175873</c:v>
                </c:pt>
                <c:pt idx="19">
                  <c:v>91.580865320141555</c:v>
                </c:pt>
                <c:pt idx="20">
                  <c:v>92.85142903201492</c:v>
                </c:pt>
                <c:pt idx="21">
                  <c:v>93.025069153611867</c:v>
                </c:pt>
                <c:pt idx="22">
                  <c:v>94.521058697589993</c:v>
                </c:pt>
                <c:pt idx="23">
                  <c:v>94.333578697571483</c:v>
                </c:pt>
                <c:pt idx="24">
                  <c:v>94.762109114543478</c:v>
                </c:pt>
                <c:pt idx="25">
                  <c:v>95.365549724029933</c:v>
                </c:pt>
                <c:pt idx="26">
                  <c:v>95.778423369342633</c:v>
                </c:pt>
                <c:pt idx="27">
                  <c:v>95.777834347271735</c:v>
                </c:pt>
                <c:pt idx="28">
                  <c:v>96.064396174029355</c:v>
                </c:pt>
                <c:pt idx="29">
                  <c:v>97.043494546998119</c:v>
                </c:pt>
                <c:pt idx="30">
                  <c:v>96.335265574323373</c:v>
                </c:pt>
                <c:pt idx="31">
                  <c:v>97.450733947091251</c:v>
                </c:pt>
                <c:pt idx="32">
                  <c:v>97.607349382391817</c:v>
                </c:pt>
                <c:pt idx="33">
                  <c:v>97.998954140399789</c:v>
                </c:pt>
                <c:pt idx="34">
                  <c:v>97.530884476880672</c:v>
                </c:pt>
                <c:pt idx="35">
                  <c:v>97.190605900781236</c:v>
                </c:pt>
                <c:pt idx="36">
                  <c:v>97.365867196716835</c:v>
                </c:pt>
                <c:pt idx="37">
                  <c:v>97.163299334809651</c:v>
                </c:pt>
                <c:pt idx="38">
                  <c:v>95.990993245799544</c:v>
                </c:pt>
                <c:pt idx="39">
                  <c:v>96.866836664110409</c:v>
                </c:pt>
                <c:pt idx="40">
                  <c:v>96.759301849249084</c:v>
                </c:pt>
                <c:pt idx="41">
                  <c:v>97.379920316427317</c:v>
                </c:pt>
                <c:pt idx="42">
                  <c:v>96.309347268029441</c:v>
                </c:pt>
                <c:pt idx="43">
                  <c:v>96.828272271167833</c:v>
                </c:pt>
                <c:pt idx="44">
                  <c:v>98.425237646353622</c:v>
                </c:pt>
                <c:pt idx="45">
                  <c:v>98.447729021344671</c:v>
                </c:pt>
                <c:pt idx="46">
                  <c:v>98.447729021344671</c:v>
                </c:pt>
                <c:pt idx="47">
                  <c:v>98.447729021344671</c:v>
                </c:pt>
                <c:pt idx="48">
                  <c:v>98.627366056242877</c:v>
                </c:pt>
                <c:pt idx="49">
                  <c:v>98.872080656440545</c:v>
                </c:pt>
                <c:pt idx="50">
                  <c:v>98.748107083444665</c:v>
                </c:pt>
                <c:pt idx="51">
                  <c:v>99.106451133664677</c:v>
                </c:pt>
                <c:pt idx="52">
                  <c:v>99.267606915377769</c:v>
                </c:pt>
                <c:pt idx="53">
                  <c:v>99.229382389418717</c:v>
                </c:pt>
                <c:pt idx="54">
                  <c:v>98.374316391035848</c:v>
                </c:pt>
                <c:pt idx="55">
                  <c:v>98.253881008042271</c:v>
                </c:pt>
                <c:pt idx="56">
                  <c:v>99.276930442128744</c:v>
                </c:pt>
                <c:pt idx="57">
                  <c:v>99.431695203395378</c:v>
                </c:pt>
                <c:pt idx="58">
                  <c:v>100.22401282960585</c:v>
                </c:pt>
                <c:pt idx="59">
                  <c:v>100.79550593877927</c:v>
                </c:pt>
                <c:pt idx="60">
                  <c:v>100.51213720038098</c:v>
                </c:pt>
                <c:pt idx="61">
                  <c:v>100.3727544231314</c:v>
                </c:pt>
                <c:pt idx="62">
                  <c:v>99.908568234403717</c:v>
                </c:pt>
                <c:pt idx="63">
                  <c:v>99.021801821347296</c:v>
                </c:pt>
                <c:pt idx="64">
                  <c:v>99.207314963320613</c:v>
                </c:pt>
                <c:pt idx="65">
                  <c:v>100.02838480433235</c:v>
                </c:pt>
                <c:pt idx="66">
                  <c:v>100.13815128201631</c:v>
                </c:pt>
                <c:pt idx="67">
                  <c:v>98.946019153380533</c:v>
                </c:pt>
                <c:pt idx="68">
                  <c:v>99.033604407392829</c:v>
                </c:pt>
                <c:pt idx="69">
                  <c:v>99.239885958426285</c:v>
                </c:pt>
                <c:pt idx="70">
                  <c:v>99.304602131199232</c:v>
                </c:pt>
                <c:pt idx="71">
                  <c:v>99.520196481729798</c:v>
                </c:pt>
                <c:pt idx="72">
                  <c:v>99.575655976921297</c:v>
                </c:pt>
                <c:pt idx="73">
                  <c:v>100.28432241585044</c:v>
                </c:pt>
                <c:pt idx="74">
                  <c:v>99.835616367457789</c:v>
                </c:pt>
                <c:pt idx="75">
                  <c:v>99.835616367457789</c:v>
                </c:pt>
                <c:pt idx="76">
                  <c:v>98.376737564646476</c:v>
                </c:pt>
                <c:pt idx="77">
                  <c:v>98.251169029803975</c:v>
                </c:pt>
                <c:pt idx="78">
                  <c:v>98.126241458833505</c:v>
                </c:pt>
                <c:pt idx="79">
                  <c:v>97.403460787438519</c:v>
                </c:pt>
                <c:pt idx="80">
                  <c:v>98.334338059905932</c:v>
                </c:pt>
                <c:pt idx="81">
                  <c:v>97.340432783748881</c:v>
                </c:pt>
                <c:pt idx="82">
                  <c:v>97.340432783748881</c:v>
                </c:pt>
                <c:pt idx="83">
                  <c:v>98.033441722999385</c:v>
                </c:pt>
                <c:pt idx="84">
                  <c:v>97.242246917856747</c:v>
                </c:pt>
                <c:pt idx="85">
                  <c:v>96.831577696846495</c:v>
                </c:pt>
                <c:pt idx="86">
                  <c:v>96.921363686031171</c:v>
                </c:pt>
                <c:pt idx="87">
                  <c:v>96.753397531489426</c:v>
                </c:pt>
                <c:pt idx="88">
                  <c:v>97.47573355043609</c:v>
                </c:pt>
                <c:pt idx="89">
                  <c:v>97.012332112192425</c:v>
                </c:pt>
                <c:pt idx="90">
                  <c:v>97.012332112192425</c:v>
                </c:pt>
                <c:pt idx="91">
                  <c:v>96.422530472839085</c:v>
                </c:pt>
                <c:pt idx="92">
                  <c:v>96.454892835285648</c:v>
                </c:pt>
                <c:pt idx="93">
                  <c:v>96.629820585756704</c:v>
                </c:pt>
                <c:pt idx="94">
                  <c:v>97.67796394169433</c:v>
                </c:pt>
                <c:pt idx="95">
                  <c:v>98.404783876273981</c:v>
                </c:pt>
                <c:pt idx="96">
                  <c:v>98.741532363017143</c:v>
                </c:pt>
                <c:pt idx="97">
                  <c:v>99.201416937993727</c:v>
                </c:pt>
                <c:pt idx="98">
                  <c:v>99.535022484471781</c:v>
                </c:pt>
                <c:pt idx="99">
                  <c:v>99.423398856562201</c:v>
                </c:pt>
                <c:pt idx="100">
                  <c:v>99.796655733648578</c:v>
                </c:pt>
                <c:pt idx="101">
                  <c:v>99.739081705839553</c:v>
                </c:pt>
                <c:pt idx="102">
                  <c:v>99.16615194601728</c:v>
                </c:pt>
                <c:pt idx="103">
                  <c:v>98.598101223107761</c:v>
                </c:pt>
                <c:pt idx="104">
                  <c:v>98.952194109323045</c:v>
                </c:pt>
                <c:pt idx="105">
                  <c:v>97.917836766660969</c:v>
                </c:pt>
                <c:pt idx="106">
                  <c:v>98.078655762118402</c:v>
                </c:pt>
                <c:pt idx="107">
                  <c:v>97.051633053541153</c:v>
                </c:pt>
                <c:pt idx="108">
                  <c:v>97.309604330823277</c:v>
                </c:pt>
                <c:pt idx="109">
                  <c:v>97.882631592086071</c:v>
                </c:pt>
                <c:pt idx="110">
                  <c:v>98.498744987943454</c:v>
                </c:pt>
                <c:pt idx="111">
                  <c:v>99.179212173182833</c:v>
                </c:pt>
                <c:pt idx="112">
                  <c:v>99.190076348706782</c:v>
                </c:pt>
                <c:pt idx="113">
                  <c:v>98.750188392634087</c:v>
                </c:pt>
                <c:pt idx="114">
                  <c:v>98.152275068359813</c:v>
                </c:pt>
                <c:pt idx="115">
                  <c:v>98.501093568520901</c:v>
                </c:pt>
                <c:pt idx="116">
                  <c:v>98.052884119074051</c:v>
                </c:pt>
                <c:pt idx="117">
                  <c:v>97.323692040105499</c:v>
                </c:pt>
                <c:pt idx="118">
                  <c:v>96.232802556510876</c:v>
                </c:pt>
                <c:pt idx="119">
                  <c:v>94.792028792421306</c:v>
                </c:pt>
                <c:pt idx="120">
                  <c:v>92.050697214156557</c:v>
                </c:pt>
                <c:pt idx="121">
                  <c:v>90.598413910718364</c:v>
                </c:pt>
                <c:pt idx="122">
                  <c:v>87.367184013915747</c:v>
                </c:pt>
                <c:pt idx="123">
                  <c:v>88.380195933503217</c:v>
                </c:pt>
                <c:pt idx="124">
                  <c:v>86.434270811402129</c:v>
                </c:pt>
                <c:pt idx="125">
                  <c:v>87.729736390595079</c:v>
                </c:pt>
                <c:pt idx="126">
                  <c:v>90.781756853837649</c:v>
                </c:pt>
                <c:pt idx="127">
                  <c:v>90.781756853837649</c:v>
                </c:pt>
                <c:pt idx="128">
                  <c:v>90.807867431801483</c:v>
                </c:pt>
                <c:pt idx="129">
                  <c:v>91.463173528304807</c:v>
                </c:pt>
                <c:pt idx="130">
                  <c:v>88.537604868044596</c:v>
                </c:pt>
                <c:pt idx="131">
                  <c:v>87.842549250155983</c:v>
                </c:pt>
                <c:pt idx="132">
                  <c:v>88.851130123361997</c:v>
                </c:pt>
                <c:pt idx="133">
                  <c:v>89.578744388529856</c:v>
                </c:pt>
                <c:pt idx="134">
                  <c:v>90.097229968968563</c:v>
                </c:pt>
                <c:pt idx="135">
                  <c:v>88.74912310711143</c:v>
                </c:pt>
                <c:pt idx="136">
                  <c:v>88.458274560210086</c:v>
                </c:pt>
                <c:pt idx="137">
                  <c:v>88.981126500555519</c:v>
                </c:pt>
                <c:pt idx="138">
                  <c:v>89.604752215195475</c:v>
                </c:pt>
                <c:pt idx="139">
                  <c:v>91.960561744613429</c:v>
                </c:pt>
                <c:pt idx="140">
                  <c:v>93.01967219342059</c:v>
                </c:pt>
                <c:pt idx="141">
                  <c:v>91.842909917215039</c:v>
                </c:pt>
                <c:pt idx="142">
                  <c:v>89.120814428814953</c:v>
                </c:pt>
                <c:pt idx="143">
                  <c:v>88.696016965886784</c:v>
                </c:pt>
                <c:pt idx="144">
                  <c:v>90.559933932862464</c:v>
                </c:pt>
                <c:pt idx="145">
                  <c:v>91.047892213997102</c:v>
                </c:pt>
                <c:pt idx="146">
                  <c:v>90.005930947597662</c:v>
                </c:pt>
                <c:pt idx="147">
                  <c:v>88.080645222165685</c:v>
                </c:pt>
                <c:pt idx="148">
                  <c:v>88.130179777068832</c:v>
                </c:pt>
                <c:pt idx="149">
                  <c:v>89.278718263064007</c:v>
                </c:pt>
                <c:pt idx="150">
                  <c:v>90.404585915514602</c:v>
                </c:pt>
                <c:pt idx="151">
                  <c:v>91.11757690882007</c:v>
                </c:pt>
                <c:pt idx="152">
                  <c:v>89.715949157088318</c:v>
                </c:pt>
                <c:pt idx="153">
                  <c:v>91.371347463060928</c:v>
                </c:pt>
                <c:pt idx="154">
                  <c:v>90.145323339039635</c:v>
                </c:pt>
                <c:pt idx="155">
                  <c:v>86.848446430544413</c:v>
                </c:pt>
              </c:numCache>
            </c:numRef>
          </c:val>
          <c:smooth val="0"/>
          <c:extLst xmlns:c16r2="http://schemas.microsoft.com/office/drawing/2015/06/chart">
            <c:ext xmlns:c16="http://schemas.microsoft.com/office/drawing/2014/chart" uri="{C3380CC4-5D6E-409C-BE32-E72D297353CC}">
              <c16:uniqueId val="{00000000-1D43-4F87-A0A7-42228F4E3F63}"/>
            </c:ext>
          </c:extLst>
        </c:ser>
        <c:ser>
          <c:idx val="1"/>
          <c:order val="1"/>
          <c:tx>
            <c:strRef>
              <c:f>'market max dd'!$Q$1</c:f>
              <c:strCache>
                <c:ptCount val="1"/>
                <c:pt idx="0">
                  <c:v>MSCI Europe </c:v>
                </c:pt>
              </c:strCache>
            </c:strRef>
          </c:tx>
          <c:spPr>
            <a:ln w="28575">
              <a:solidFill>
                <a:srgbClr val="009EE0"/>
              </a:solidFill>
              <a:prstDash val="solid"/>
            </a:ln>
          </c:spPr>
          <c:marker>
            <c:symbol val="none"/>
          </c:marker>
          <c:cat>
            <c:numRef>
              <c:f>'market max dd'!$O$2:$O$157</c:f>
              <c:numCache>
                <c:formatCode>m/d/yyyy</c:formatCode>
                <c:ptCount val="156"/>
                <c:pt idx="0">
                  <c:v>40591</c:v>
                </c:pt>
                <c:pt idx="1">
                  <c:v>40592</c:v>
                </c:pt>
                <c:pt idx="2">
                  <c:v>40595</c:v>
                </c:pt>
                <c:pt idx="3">
                  <c:v>40596</c:v>
                </c:pt>
                <c:pt idx="4">
                  <c:v>40597</c:v>
                </c:pt>
                <c:pt idx="5">
                  <c:v>40598</c:v>
                </c:pt>
                <c:pt idx="6">
                  <c:v>40599</c:v>
                </c:pt>
                <c:pt idx="7">
                  <c:v>40602</c:v>
                </c:pt>
                <c:pt idx="8">
                  <c:v>40603</c:v>
                </c:pt>
                <c:pt idx="9">
                  <c:v>40604</c:v>
                </c:pt>
                <c:pt idx="10">
                  <c:v>40605</c:v>
                </c:pt>
                <c:pt idx="11">
                  <c:v>40606</c:v>
                </c:pt>
                <c:pt idx="12">
                  <c:v>40609</c:v>
                </c:pt>
                <c:pt idx="13">
                  <c:v>40610</c:v>
                </c:pt>
                <c:pt idx="14">
                  <c:v>40611</c:v>
                </c:pt>
                <c:pt idx="15">
                  <c:v>40612</c:v>
                </c:pt>
                <c:pt idx="16">
                  <c:v>40613</c:v>
                </c:pt>
                <c:pt idx="17">
                  <c:v>40616</c:v>
                </c:pt>
                <c:pt idx="18">
                  <c:v>40617</c:v>
                </c:pt>
                <c:pt idx="19">
                  <c:v>40618</c:v>
                </c:pt>
                <c:pt idx="20">
                  <c:v>40619</c:v>
                </c:pt>
                <c:pt idx="21">
                  <c:v>40620</c:v>
                </c:pt>
                <c:pt idx="22">
                  <c:v>40623</c:v>
                </c:pt>
                <c:pt idx="23">
                  <c:v>40624</c:v>
                </c:pt>
                <c:pt idx="24">
                  <c:v>40625</c:v>
                </c:pt>
                <c:pt idx="25">
                  <c:v>40626</c:v>
                </c:pt>
                <c:pt idx="26">
                  <c:v>40627</c:v>
                </c:pt>
                <c:pt idx="27">
                  <c:v>40630</c:v>
                </c:pt>
                <c:pt idx="28">
                  <c:v>40631</c:v>
                </c:pt>
                <c:pt idx="29">
                  <c:v>40632</c:v>
                </c:pt>
                <c:pt idx="30">
                  <c:v>40633</c:v>
                </c:pt>
                <c:pt idx="31">
                  <c:v>40634</c:v>
                </c:pt>
                <c:pt idx="32">
                  <c:v>40637</c:v>
                </c:pt>
                <c:pt idx="33">
                  <c:v>40638</c:v>
                </c:pt>
                <c:pt idx="34">
                  <c:v>40639</c:v>
                </c:pt>
                <c:pt idx="35">
                  <c:v>40640</c:v>
                </c:pt>
                <c:pt idx="36">
                  <c:v>40641</c:v>
                </c:pt>
                <c:pt idx="37">
                  <c:v>40644</c:v>
                </c:pt>
                <c:pt idx="38">
                  <c:v>40645</c:v>
                </c:pt>
                <c:pt idx="39">
                  <c:v>40646</c:v>
                </c:pt>
                <c:pt idx="40">
                  <c:v>40647</c:v>
                </c:pt>
                <c:pt idx="41">
                  <c:v>40648</c:v>
                </c:pt>
                <c:pt idx="42">
                  <c:v>40651</c:v>
                </c:pt>
                <c:pt idx="43">
                  <c:v>40652</c:v>
                </c:pt>
                <c:pt idx="44">
                  <c:v>40653</c:v>
                </c:pt>
                <c:pt idx="45">
                  <c:v>40654</c:v>
                </c:pt>
                <c:pt idx="46">
                  <c:v>40655</c:v>
                </c:pt>
                <c:pt idx="47">
                  <c:v>40658</c:v>
                </c:pt>
                <c:pt idx="48">
                  <c:v>40659</c:v>
                </c:pt>
                <c:pt idx="49">
                  <c:v>40660</c:v>
                </c:pt>
                <c:pt idx="50">
                  <c:v>40661</c:v>
                </c:pt>
                <c:pt idx="51">
                  <c:v>40662</c:v>
                </c:pt>
                <c:pt idx="52">
                  <c:v>40665</c:v>
                </c:pt>
                <c:pt idx="53">
                  <c:v>40666</c:v>
                </c:pt>
                <c:pt idx="54">
                  <c:v>40667</c:v>
                </c:pt>
                <c:pt idx="55">
                  <c:v>40668</c:v>
                </c:pt>
                <c:pt idx="56">
                  <c:v>40669</c:v>
                </c:pt>
                <c:pt idx="57">
                  <c:v>40672</c:v>
                </c:pt>
                <c:pt idx="58">
                  <c:v>40673</c:v>
                </c:pt>
                <c:pt idx="59">
                  <c:v>40674</c:v>
                </c:pt>
                <c:pt idx="60">
                  <c:v>40675</c:v>
                </c:pt>
                <c:pt idx="61">
                  <c:v>40676</c:v>
                </c:pt>
                <c:pt idx="62">
                  <c:v>40679</c:v>
                </c:pt>
                <c:pt idx="63">
                  <c:v>40680</c:v>
                </c:pt>
                <c:pt idx="64">
                  <c:v>40681</c:v>
                </c:pt>
                <c:pt idx="65">
                  <c:v>40682</c:v>
                </c:pt>
                <c:pt idx="66">
                  <c:v>40683</c:v>
                </c:pt>
                <c:pt idx="67">
                  <c:v>40686</c:v>
                </c:pt>
                <c:pt idx="68">
                  <c:v>40687</c:v>
                </c:pt>
                <c:pt idx="69">
                  <c:v>40688</c:v>
                </c:pt>
                <c:pt idx="70">
                  <c:v>40689</c:v>
                </c:pt>
                <c:pt idx="71">
                  <c:v>40690</c:v>
                </c:pt>
                <c:pt idx="72">
                  <c:v>40693</c:v>
                </c:pt>
                <c:pt idx="73">
                  <c:v>40694</c:v>
                </c:pt>
                <c:pt idx="74">
                  <c:v>40695</c:v>
                </c:pt>
                <c:pt idx="75">
                  <c:v>40696</c:v>
                </c:pt>
                <c:pt idx="76">
                  <c:v>40697</c:v>
                </c:pt>
                <c:pt idx="77">
                  <c:v>40700</c:v>
                </c:pt>
                <c:pt idx="78">
                  <c:v>40701</c:v>
                </c:pt>
                <c:pt idx="79">
                  <c:v>40702</c:v>
                </c:pt>
                <c:pt idx="80">
                  <c:v>40703</c:v>
                </c:pt>
                <c:pt idx="81">
                  <c:v>40704</c:v>
                </c:pt>
                <c:pt idx="82">
                  <c:v>40707</c:v>
                </c:pt>
                <c:pt idx="83">
                  <c:v>40708</c:v>
                </c:pt>
                <c:pt idx="84">
                  <c:v>40709</c:v>
                </c:pt>
                <c:pt idx="85">
                  <c:v>40710</c:v>
                </c:pt>
                <c:pt idx="86">
                  <c:v>40711</c:v>
                </c:pt>
                <c:pt idx="87">
                  <c:v>40714</c:v>
                </c:pt>
                <c:pt idx="88">
                  <c:v>40715</c:v>
                </c:pt>
                <c:pt idx="89">
                  <c:v>40716</c:v>
                </c:pt>
                <c:pt idx="90">
                  <c:v>40717</c:v>
                </c:pt>
                <c:pt idx="91">
                  <c:v>40718</c:v>
                </c:pt>
                <c:pt idx="92">
                  <c:v>40721</c:v>
                </c:pt>
                <c:pt idx="93">
                  <c:v>40722</c:v>
                </c:pt>
                <c:pt idx="94">
                  <c:v>40723</c:v>
                </c:pt>
                <c:pt idx="95">
                  <c:v>40724</c:v>
                </c:pt>
                <c:pt idx="96">
                  <c:v>40725</c:v>
                </c:pt>
                <c:pt idx="97">
                  <c:v>40728</c:v>
                </c:pt>
                <c:pt idx="98">
                  <c:v>40729</c:v>
                </c:pt>
                <c:pt idx="99">
                  <c:v>40730</c:v>
                </c:pt>
                <c:pt idx="100">
                  <c:v>40731</c:v>
                </c:pt>
                <c:pt idx="101">
                  <c:v>40732</c:v>
                </c:pt>
                <c:pt idx="102">
                  <c:v>40735</c:v>
                </c:pt>
                <c:pt idx="103">
                  <c:v>40736</c:v>
                </c:pt>
                <c:pt idx="104">
                  <c:v>40737</c:v>
                </c:pt>
                <c:pt idx="105">
                  <c:v>40738</c:v>
                </c:pt>
                <c:pt idx="106">
                  <c:v>40739</c:v>
                </c:pt>
                <c:pt idx="107">
                  <c:v>40742</c:v>
                </c:pt>
                <c:pt idx="108">
                  <c:v>40743</c:v>
                </c:pt>
                <c:pt idx="109">
                  <c:v>40744</c:v>
                </c:pt>
                <c:pt idx="110">
                  <c:v>40745</c:v>
                </c:pt>
                <c:pt idx="111">
                  <c:v>40746</c:v>
                </c:pt>
                <c:pt idx="112">
                  <c:v>40749</c:v>
                </c:pt>
                <c:pt idx="113">
                  <c:v>40750</c:v>
                </c:pt>
                <c:pt idx="114">
                  <c:v>40751</c:v>
                </c:pt>
                <c:pt idx="115">
                  <c:v>40752</c:v>
                </c:pt>
                <c:pt idx="116">
                  <c:v>40753</c:v>
                </c:pt>
                <c:pt idx="117">
                  <c:v>40756</c:v>
                </c:pt>
                <c:pt idx="118">
                  <c:v>40757</c:v>
                </c:pt>
                <c:pt idx="119">
                  <c:v>40758</c:v>
                </c:pt>
                <c:pt idx="120">
                  <c:v>40759</c:v>
                </c:pt>
                <c:pt idx="121">
                  <c:v>40760</c:v>
                </c:pt>
                <c:pt idx="122">
                  <c:v>40763</c:v>
                </c:pt>
                <c:pt idx="123">
                  <c:v>40764</c:v>
                </c:pt>
                <c:pt idx="124">
                  <c:v>40765</c:v>
                </c:pt>
                <c:pt idx="125">
                  <c:v>40766</c:v>
                </c:pt>
                <c:pt idx="126">
                  <c:v>40767</c:v>
                </c:pt>
                <c:pt idx="127">
                  <c:v>40770</c:v>
                </c:pt>
                <c:pt idx="128">
                  <c:v>40771</c:v>
                </c:pt>
                <c:pt idx="129">
                  <c:v>40772</c:v>
                </c:pt>
                <c:pt idx="130">
                  <c:v>40773</c:v>
                </c:pt>
                <c:pt idx="131">
                  <c:v>40774</c:v>
                </c:pt>
                <c:pt idx="132">
                  <c:v>40777</c:v>
                </c:pt>
                <c:pt idx="133">
                  <c:v>40778</c:v>
                </c:pt>
                <c:pt idx="134">
                  <c:v>40779</c:v>
                </c:pt>
                <c:pt idx="135">
                  <c:v>40780</c:v>
                </c:pt>
                <c:pt idx="136">
                  <c:v>40781</c:v>
                </c:pt>
                <c:pt idx="137">
                  <c:v>40784</c:v>
                </c:pt>
                <c:pt idx="138">
                  <c:v>40785</c:v>
                </c:pt>
                <c:pt idx="139">
                  <c:v>40786</c:v>
                </c:pt>
                <c:pt idx="140">
                  <c:v>40787</c:v>
                </c:pt>
                <c:pt idx="141">
                  <c:v>40788</c:v>
                </c:pt>
                <c:pt idx="142">
                  <c:v>40791</c:v>
                </c:pt>
                <c:pt idx="143">
                  <c:v>40792</c:v>
                </c:pt>
                <c:pt idx="144">
                  <c:v>40793</c:v>
                </c:pt>
                <c:pt idx="145">
                  <c:v>40794</c:v>
                </c:pt>
                <c:pt idx="146">
                  <c:v>40795</c:v>
                </c:pt>
                <c:pt idx="147">
                  <c:v>40798</c:v>
                </c:pt>
                <c:pt idx="148">
                  <c:v>40799</c:v>
                </c:pt>
                <c:pt idx="149">
                  <c:v>40800</c:v>
                </c:pt>
                <c:pt idx="150">
                  <c:v>40801</c:v>
                </c:pt>
                <c:pt idx="151">
                  <c:v>40802</c:v>
                </c:pt>
                <c:pt idx="152">
                  <c:v>40805</c:v>
                </c:pt>
                <c:pt idx="153">
                  <c:v>40806</c:v>
                </c:pt>
                <c:pt idx="154">
                  <c:v>40807</c:v>
                </c:pt>
                <c:pt idx="155">
                  <c:v>40808</c:v>
                </c:pt>
              </c:numCache>
            </c:numRef>
          </c:cat>
          <c:val>
            <c:numRef>
              <c:f>'market max dd'!$Q$2:$Q$157</c:f>
              <c:numCache>
                <c:formatCode>#,##0.00_);[Red]\(#,##0.00\)</c:formatCode>
                <c:ptCount val="156"/>
                <c:pt idx="0">
                  <c:v>100</c:v>
                </c:pt>
                <c:pt idx="1">
                  <c:v>99.98137240426432</c:v>
                </c:pt>
                <c:pt idx="2">
                  <c:v>98.660926179287188</c:v>
                </c:pt>
                <c:pt idx="3">
                  <c:v>98.072062781639872</c:v>
                </c:pt>
                <c:pt idx="4">
                  <c:v>97.05693436427174</c:v>
                </c:pt>
                <c:pt idx="5">
                  <c:v>96.484397605836079</c:v>
                </c:pt>
                <c:pt idx="6">
                  <c:v>97.668729372481238</c:v>
                </c:pt>
                <c:pt idx="7">
                  <c:v>98.464695589953905</c:v>
                </c:pt>
                <c:pt idx="8">
                  <c:v>97.831353707178764</c:v>
                </c:pt>
                <c:pt idx="9">
                  <c:v>97.19345184152192</c:v>
                </c:pt>
                <c:pt idx="10">
                  <c:v>97.535451345046482</c:v>
                </c:pt>
                <c:pt idx="11">
                  <c:v>96.944313538210352</c:v>
                </c:pt>
                <c:pt idx="12">
                  <c:v>96.521548435908642</c:v>
                </c:pt>
                <c:pt idx="13">
                  <c:v>96.890203994874739</c:v>
                </c:pt>
                <c:pt idx="14">
                  <c:v>96.701341584652667</c:v>
                </c:pt>
                <c:pt idx="15">
                  <c:v>95.55979813217408</c:v>
                </c:pt>
                <c:pt idx="16">
                  <c:v>94.744095658381369</c:v>
                </c:pt>
                <c:pt idx="17">
                  <c:v>93.722105626676111</c:v>
                </c:pt>
                <c:pt idx="18">
                  <c:v>91.597081301837008</c:v>
                </c:pt>
                <c:pt idx="19">
                  <c:v>90.21354094792224</c:v>
                </c:pt>
                <c:pt idx="20">
                  <c:v>91.900684500313119</c:v>
                </c:pt>
                <c:pt idx="21">
                  <c:v>92.077790068843825</c:v>
                </c:pt>
                <c:pt idx="22">
                  <c:v>93.678313463279267</c:v>
                </c:pt>
                <c:pt idx="23">
                  <c:v>93.518561583987022</c:v>
                </c:pt>
                <c:pt idx="24">
                  <c:v>93.996557038988854</c:v>
                </c:pt>
                <c:pt idx="25">
                  <c:v>94.918155285797567</c:v>
                </c:pt>
                <c:pt idx="26">
                  <c:v>95.016327302895434</c:v>
                </c:pt>
                <c:pt idx="27">
                  <c:v>95.094778615236848</c:v>
                </c:pt>
                <c:pt idx="28">
                  <c:v>95.21581550897082</c:v>
                </c:pt>
                <c:pt idx="29">
                  <c:v>95.950116007242073</c:v>
                </c:pt>
                <c:pt idx="30">
                  <c:v>95.038178656271484</c:v>
                </c:pt>
                <c:pt idx="31">
                  <c:v>96.479907225342671</c:v>
                </c:pt>
                <c:pt idx="32">
                  <c:v>96.590354347732088</c:v>
                </c:pt>
                <c:pt idx="33">
                  <c:v>96.815306397676665</c:v>
                </c:pt>
                <c:pt idx="34">
                  <c:v>97.045119112819307</c:v>
                </c:pt>
                <c:pt idx="35">
                  <c:v>96.796603068917861</c:v>
                </c:pt>
                <c:pt idx="36">
                  <c:v>97.135556293861555</c:v>
                </c:pt>
                <c:pt idx="37">
                  <c:v>96.916504979709629</c:v>
                </c:pt>
                <c:pt idx="38">
                  <c:v>95.24141023345156</c:v>
                </c:pt>
                <c:pt idx="39">
                  <c:v>95.954476828865751</c:v>
                </c:pt>
                <c:pt idx="40">
                  <c:v>95.549044549148192</c:v>
                </c:pt>
                <c:pt idx="41">
                  <c:v>95.819348840259778</c:v>
                </c:pt>
                <c:pt idx="42">
                  <c:v>94.233247791819963</c:v>
                </c:pt>
                <c:pt idx="43">
                  <c:v>94.702610525897938</c:v>
                </c:pt>
                <c:pt idx="44">
                  <c:v>96.381367257681092</c:v>
                </c:pt>
                <c:pt idx="45">
                  <c:v>96.892193723265578</c:v>
                </c:pt>
                <c:pt idx="46">
                  <c:v>96.892193723265578</c:v>
                </c:pt>
                <c:pt idx="47">
                  <c:v>96.892193723265578</c:v>
                </c:pt>
                <c:pt idx="48">
                  <c:v>97.182925570053186</c:v>
                </c:pt>
                <c:pt idx="49">
                  <c:v>97.545872861406025</c:v>
                </c:pt>
                <c:pt idx="50">
                  <c:v>97.836600517989083</c:v>
                </c:pt>
                <c:pt idx="51">
                  <c:v>98.182469689315354</c:v>
                </c:pt>
                <c:pt idx="52">
                  <c:v>98.270971952090122</c:v>
                </c:pt>
                <c:pt idx="53">
                  <c:v>97.797261641933659</c:v>
                </c:pt>
                <c:pt idx="54">
                  <c:v>96.470110583756423</c:v>
                </c:pt>
                <c:pt idx="55">
                  <c:v>96.268841878287986</c:v>
                </c:pt>
                <c:pt idx="56">
                  <c:v>97.581352053032163</c:v>
                </c:pt>
                <c:pt idx="57">
                  <c:v>97.274991109511419</c:v>
                </c:pt>
                <c:pt idx="58">
                  <c:v>98.158140294067053</c:v>
                </c:pt>
                <c:pt idx="59">
                  <c:v>98.513225890223467</c:v>
                </c:pt>
                <c:pt idx="60">
                  <c:v>97.847501995543979</c:v>
                </c:pt>
                <c:pt idx="61">
                  <c:v>97.404677625597046</c:v>
                </c:pt>
                <c:pt idx="62">
                  <c:v>97.337656909570853</c:v>
                </c:pt>
                <c:pt idx="63">
                  <c:v>96.345848723128697</c:v>
                </c:pt>
                <c:pt idx="64">
                  <c:v>96.720647009221167</c:v>
                </c:pt>
                <c:pt idx="65">
                  <c:v>97.344368745193506</c:v>
                </c:pt>
                <c:pt idx="66">
                  <c:v>97.27100791248067</c:v>
                </c:pt>
                <c:pt idx="67">
                  <c:v>95.68364516256861</c:v>
                </c:pt>
                <c:pt idx="68">
                  <c:v>95.89248421747989</c:v>
                </c:pt>
                <c:pt idx="69">
                  <c:v>96.612419907730228</c:v>
                </c:pt>
                <c:pt idx="70">
                  <c:v>96.556955269173429</c:v>
                </c:pt>
                <c:pt idx="71">
                  <c:v>97.220435464082129</c:v>
                </c:pt>
                <c:pt idx="72">
                  <c:v>97.134769885303029</c:v>
                </c:pt>
                <c:pt idx="73">
                  <c:v>97.973710754486788</c:v>
                </c:pt>
                <c:pt idx="74">
                  <c:v>97.079380473569842</c:v>
                </c:pt>
                <c:pt idx="75">
                  <c:v>97.079380473569842</c:v>
                </c:pt>
                <c:pt idx="76">
                  <c:v>95.385858417720954</c:v>
                </c:pt>
                <c:pt idx="77">
                  <c:v>94.870707014410129</c:v>
                </c:pt>
                <c:pt idx="78">
                  <c:v>94.765896391838723</c:v>
                </c:pt>
                <c:pt idx="79">
                  <c:v>93.804248987149748</c:v>
                </c:pt>
                <c:pt idx="80">
                  <c:v>94.794069554364569</c:v>
                </c:pt>
                <c:pt idx="81">
                  <c:v>93.543473248910914</c:v>
                </c:pt>
                <c:pt idx="82">
                  <c:v>93.543473248910914</c:v>
                </c:pt>
                <c:pt idx="83">
                  <c:v>94.478511702803928</c:v>
                </c:pt>
                <c:pt idx="84">
                  <c:v>93.476243472620183</c:v>
                </c:pt>
                <c:pt idx="85">
                  <c:v>93.084296423593358</c:v>
                </c:pt>
                <c:pt idx="86">
                  <c:v>93.228046390450743</c:v>
                </c:pt>
                <c:pt idx="87">
                  <c:v>92.78882925215045</c:v>
                </c:pt>
                <c:pt idx="88">
                  <c:v>94.129149335259555</c:v>
                </c:pt>
                <c:pt idx="89">
                  <c:v>93.594108972207209</c:v>
                </c:pt>
                <c:pt idx="90">
                  <c:v>93.594108972207209</c:v>
                </c:pt>
                <c:pt idx="91">
                  <c:v>92.177239676443975</c:v>
                </c:pt>
                <c:pt idx="92">
                  <c:v>92.200101262784941</c:v>
                </c:pt>
                <c:pt idx="93">
                  <c:v>92.637779189970772</c:v>
                </c:pt>
                <c:pt idx="94">
                  <c:v>94.216164947268226</c:v>
                </c:pt>
                <c:pt idx="95">
                  <c:v>95.29140676778691</c:v>
                </c:pt>
                <c:pt idx="96">
                  <c:v>95.98731127035434</c:v>
                </c:pt>
                <c:pt idx="97">
                  <c:v>96.197285758163218</c:v>
                </c:pt>
                <c:pt idx="98">
                  <c:v>96.254247818279637</c:v>
                </c:pt>
                <c:pt idx="99">
                  <c:v>95.990385080547057</c:v>
                </c:pt>
                <c:pt idx="100">
                  <c:v>96.398877981156403</c:v>
                </c:pt>
                <c:pt idx="101">
                  <c:v>95.671107199288983</c:v>
                </c:pt>
                <c:pt idx="102">
                  <c:v>94.377072001225613</c:v>
                </c:pt>
                <c:pt idx="103">
                  <c:v>93.743764764972596</c:v>
                </c:pt>
                <c:pt idx="104">
                  <c:v>94.383525309674852</c:v>
                </c:pt>
                <c:pt idx="105">
                  <c:v>93.624680506477389</c:v>
                </c:pt>
                <c:pt idx="106">
                  <c:v>93.386718378145602</c:v>
                </c:pt>
                <c:pt idx="107">
                  <c:v>91.761441224810866</c:v>
                </c:pt>
                <c:pt idx="108">
                  <c:v>92.495362973602383</c:v>
                </c:pt>
                <c:pt idx="109">
                  <c:v>93.697606148501492</c:v>
                </c:pt>
                <c:pt idx="110">
                  <c:v>94.660903200094424</c:v>
                </c:pt>
                <c:pt idx="111">
                  <c:v>95.190394663909871</c:v>
                </c:pt>
                <c:pt idx="112">
                  <c:v>94.955469055763203</c:v>
                </c:pt>
                <c:pt idx="113">
                  <c:v>94.556978172999052</c:v>
                </c:pt>
                <c:pt idx="114">
                  <c:v>93.507938909695085</c:v>
                </c:pt>
                <c:pt idx="115">
                  <c:v>93.54387407429968</c:v>
                </c:pt>
                <c:pt idx="116">
                  <c:v>92.883372186670599</c:v>
                </c:pt>
                <c:pt idx="117">
                  <c:v>91.786476908535022</c:v>
                </c:pt>
                <c:pt idx="118">
                  <c:v>90.116423849928807</c:v>
                </c:pt>
                <c:pt idx="119">
                  <c:v>88.406399841216441</c:v>
                </c:pt>
                <c:pt idx="120">
                  <c:v>85.340407417091882</c:v>
                </c:pt>
                <c:pt idx="121">
                  <c:v>83.793258142941028</c:v>
                </c:pt>
                <c:pt idx="122">
                  <c:v>80.408828409429915</c:v>
                </c:pt>
                <c:pt idx="123">
                  <c:v>81.491872474863044</c:v>
                </c:pt>
                <c:pt idx="124">
                  <c:v>78.457409370114263</c:v>
                </c:pt>
                <c:pt idx="125">
                  <c:v>80.43839901917552</c:v>
                </c:pt>
                <c:pt idx="126">
                  <c:v>83.38077875500646</c:v>
                </c:pt>
                <c:pt idx="127">
                  <c:v>83.38077875500646</c:v>
                </c:pt>
                <c:pt idx="128">
                  <c:v>83.422091161078086</c:v>
                </c:pt>
                <c:pt idx="129">
                  <c:v>83.6404115798493</c:v>
                </c:pt>
                <c:pt idx="130">
                  <c:v>79.686252749811359</c:v>
                </c:pt>
                <c:pt idx="131">
                  <c:v>78.425030845359984</c:v>
                </c:pt>
                <c:pt idx="132">
                  <c:v>79.041672992000173</c:v>
                </c:pt>
                <c:pt idx="133">
                  <c:v>79.66850920283261</c:v>
                </c:pt>
                <c:pt idx="134">
                  <c:v>80.773657411891463</c:v>
                </c:pt>
                <c:pt idx="135">
                  <c:v>79.767666424158222</c:v>
                </c:pt>
                <c:pt idx="136">
                  <c:v>79.229239447938411</c:v>
                </c:pt>
                <c:pt idx="137">
                  <c:v>80.16191038011587</c:v>
                </c:pt>
                <c:pt idx="138">
                  <c:v>81.017208035484913</c:v>
                </c:pt>
                <c:pt idx="139">
                  <c:v>83.414446344110971</c:v>
                </c:pt>
                <c:pt idx="140">
                  <c:v>83.941832694244226</c:v>
                </c:pt>
                <c:pt idx="141">
                  <c:v>81.894883969460849</c:v>
                </c:pt>
                <c:pt idx="142">
                  <c:v>78.489806708605514</c:v>
                </c:pt>
                <c:pt idx="143">
                  <c:v>78.050836145552736</c:v>
                </c:pt>
                <c:pt idx="144">
                  <c:v>80.5136804278456</c:v>
                </c:pt>
                <c:pt idx="145">
                  <c:v>81.094290585226346</c:v>
                </c:pt>
                <c:pt idx="146">
                  <c:v>79.029245605120792</c:v>
                </c:pt>
                <c:pt idx="147">
                  <c:v>77.067938133433174</c:v>
                </c:pt>
                <c:pt idx="148">
                  <c:v>77.758126494177745</c:v>
                </c:pt>
                <c:pt idx="149">
                  <c:v>78.927828541893959</c:v>
                </c:pt>
                <c:pt idx="150">
                  <c:v>80.521246109006711</c:v>
                </c:pt>
                <c:pt idx="151">
                  <c:v>81.01807447975888</c:v>
                </c:pt>
                <c:pt idx="152">
                  <c:v>79.231764903801547</c:v>
                </c:pt>
                <c:pt idx="153">
                  <c:v>80.732235244962453</c:v>
                </c:pt>
                <c:pt idx="154">
                  <c:v>79.379929518129885</c:v>
                </c:pt>
                <c:pt idx="155">
                  <c:v>75.685618169512253</c:v>
                </c:pt>
              </c:numCache>
            </c:numRef>
          </c:val>
          <c:smooth val="0"/>
          <c:extLst xmlns:c16r2="http://schemas.microsoft.com/office/drawing/2015/06/chart">
            <c:ext xmlns:c16="http://schemas.microsoft.com/office/drawing/2014/chart" uri="{C3380CC4-5D6E-409C-BE32-E72D297353CC}">
              <c16:uniqueId val="{00000001-1D43-4F87-A0A7-42228F4E3F63}"/>
            </c:ext>
          </c:extLst>
        </c:ser>
        <c:dLbls>
          <c:showLegendKey val="0"/>
          <c:showVal val="0"/>
          <c:showCatName val="0"/>
          <c:showSerName val="0"/>
          <c:showPercent val="0"/>
          <c:showBubbleSize val="0"/>
        </c:dLbls>
        <c:marker val="1"/>
        <c:smooth val="0"/>
        <c:axId val="216587264"/>
        <c:axId val="216601344"/>
      </c:lineChart>
      <c:dateAx>
        <c:axId val="216587264"/>
        <c:scaling>
          <c:orientation val="minMax"/>
          <c:max val="40808"/>
          <c:min val="40591"/>
        </c:scaling>
        <c:delete val="0"/>
        <c:axPos val="b"/>
        <c:numFmt formatCode="[$-409]mmm\-yy;@" sourceLinked="0"/>
        <c:majorTickMark val="out"/>
        <c:minorTickMark val="none"/>
        <c:tickLblPos val="low"/>
        <c:spPr>
          <a:ln w="15875">
            <a:solidFill>
              <a:srgbClr val="003C64"/>
            </a:solidFill>
            <a:prstDash val="solid"/>
          </a:ln>
        </c:spPr>
        <c:txPr>
          <a:bodyPr rot="0" vert="horz"/>
          <a:lstStyle/>
          <a:p>
            <a:pPr>
              <a:defRPr sz="900" b="0" i="0" u="none" strike="noStrike" baseline="0">
                <a:solidFill>
                  <a:schemeClr val="tx1"/>
                </a:solidFill>
                <a:latin typeface="Arial"/>
                <a:ea typeface="Arial"/>
                <a:cs typeface="Arial"/>
              </a:defRPr>
            </a:pPr>
            <a:endParaRPr lang="en-US"/>
          </a:p>
        </c:txPr>
        <c:crossAx val="216601344"/>
        <c:crosses val="autoZero"/>
        <c:auto val="1"/>
        <c:lblOffset val="100"/>
        <c:baseTimeUnit val="days"/>
      </c:dateAx>
      <c:valAx>
        <c:axId val="216601344"/>
        <c:scaling>
          <c:orientation val="minMax"/>
          <c:min val="60"/>
        </c:scaling>
        <c:delete val="0"/>
        <c:axPos val="l"/>
        <c:majorGridlines>
          <c:spPr>
            <a:ln>
              <a:solidFill>
                <a:srgbClr val="F0EDE8"/>
              </a:solidFill>
            </a:ln>
          </c:spPr>
        </c:majorGridlines>
        <c:numFmt formatCode="0" sourceLinked="0"/>
        <c:majorTickMark val="out"/>
        <c:minorTickMark val="none"/>
        <c:tickLblPos val="nextTo"/>
        <c:spPr>
          <a:ln w="15875">
            <a:solidFill>
              <a:srgbClr val="003C64"/>
            </a:solidFill>
            <a:prstDash val="solid"/>
          </a:ln>
        </c:spPr>
        <c:txPr>
          <a:bodyPr rot="0" vert="horz"/>
          <a:lstStyle/>
          <a:p>
            <a:pPr>
              <a:defRPr sz="900" b="0" i="0" u="none" strike="noStrike" baseline="0">
                <a:solidFill>
                  <a:srgbClr val="000000"/>
                </a:solidFill>
                <a:latin typeface="Arial"/>
                <a:ea typeface="Arial"/>
                <a:cs typeface="Arial"/>
              </a:defRPr>
            </a:pPr>
            <a:endParaRPr lang="en-US"/>
          </a:p>
        </c:txPr>
        <c:crossAx val="216587264"/>
        <c:crosses val="autoZero"/>
        <c:crossBetween val="between"/>
      </c:valAx>
      <c:spPr>
        <a:noFill/>
        <a:ln w="25400">
          <a:noFill/>
        </a:ln>
      </c:spPr>
    </c:plotArea>
    <c:plotVisOnly val="1"/>
    <c:dispBlanksAs val="gap"/>
    <c:showDLblsOverMax val="0"/>
  </c:chart>
  <c:spPr>
    <a:noFill/>
    <a:ln w="25400">
      <a:noFill/>
    </a:ln>
  </c:spPr>
  <c:txPr>
    <a:bodyPr/>
    <a:lstStyle/>
    <a:p>
      <a:pPr>
        <a:defRPr sz="1500" b="0" i="0" u="none" strike="noStrike" baseline="0">
          <a:solidFill>
            <a:srgbClr val="000000"/>
          </a:solidFill>
          <a:latin typeface="Arial"/>
          <a:ea typeface="Arial"/>
          <a:cs typeface="Arial"/>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xMode val="edge"/>
          <c:yMode val="edge"/>
          <c:x val="7.2727965455930913E-3"/>
          <c:y val="2.1052631578947368E-2"/>
          <c:w val="0.9927272034544069"/>
          <c:h val="0.89473684210526316"/>
        </c:manualLayout>
      </c:layout>
      <c:lineChart>
        <c:grouping val="standard"/>
        <c:varyColors val="0"/>
        <c:ser>
          <c:idx val="0"/>
          <c:order val="0"/>
          <c:tx>
            <c:strRef>
              <c:f>'bull market'!$N$1</c:f>
              <c:strCache>
                <c:ptCount val="1"/>
                <c:pt idx="0">
                  <c:v>AFE Europe Conservative</c:v>
                </c:pt>
              </c:strCache>
            </c:strRef>
          </c:tx>
          <c:spPr>
            <a:ln w="28575">
              <a:solidFill>
                <a:srgbClr val="001C4B"/>
              </a:solidFill>
              <a:prstDash val="solid"/>
            </a:ln>
          </c:spPr>
          <c:marker>
            <c:symbol val="none"/>
          </c:marker>
          <c:cat>
            <c:numRef>
              <c:f>'bull market'!$M$2:$M$132</c:f>
              <c:numCache>
                <c:formatCode>m/d/yyyy</c:formatCode>
                <c:ptCount val="131"/>
                <c:pt idx="0">
                  <c:v>41927</c:v>
                </c:pt>
                <c:pt idx="1">
                  <c:v>41928</c:v>
                </c:pt>
                <c:pt idx="2">
                  <c:v>41929</c:v>
                </c:pt>
                <c:pt idx="3">
                  <c:v>41932</c:v>
                </c:pt>
                <c:pt idx="4">
                  <c:v>41933</c:v>
                </c:pt>
                <c:pt idx="5">
                  <c:v>41934</c:v>
                </c:pt>
                <c:pt idx="6">
                  <c:v>41935</c:v>
                </c:pt>
                <c:pt idx="7">
                  <c:v>41936</c:v>
                </c:pt>
                <c:pt idx="8">
                  <c:v>41939</c:v>
                </c:pt>
                <c:pt idx="9">
                  <c:v>41940</c:v>
                </c:pt>
                <c:pt idx="10">
                  <c:v>41941</c:v>
                </c:pt>
                <c:pt idx="11">
                  <c:v>41942</c:v>
                </c:pt>
                <c:pt idx="12">
                  <c:v>41943</c:v>
                </c:pt>
                <c:pt idx="13">
                  <c:v>41946</c:v>
                </c:pt>
                <c:pt idx="14">
                  <c:v>41947</c:v>
                </c:pt>
                <c:pt idx="15">
                  <c:v>41948</c:v>
                </c:pt>
                <c:pt idx="16">
                  <c:v>41949</c:v>
                </c:pt>
                <c:pt idx="17">
                  <c:v>41950</c:v>
                </c:pt>
                <c:pt idx="18">
                  <c:v>41953</c:v>
                </c:pt>
                <c:pt idx="19">
                  <c:v>41954</c:v>
                </c:pt>
                <c:pt idx="20">
                  <c:v>41955</c:v>
                </c:pt>
                <c:pt idx="21">
                  <c:v>41956</c:v>
                </c:pt>
                <c:pt idx="22">
                  <c:v>41957</c:v>
                </c:pt>
                <c:pt idx="23">
                  <c:v>41960</c:v>
                </c:pt>
                <c:pt idx="24">
                  <c:v>41961</c:v>
                </c:pt>
                <c:pt idx="25">
                  <c:v>41962</c:v>
                </c:pt>
                <c:pt idx="26">
                  <c:v>41963</c:v>
                </c:pt>
                <c:pt idx="27">
                  <c:v>41964</c:v>
                </c:pt>
                <c:pt idx="28">
                  <c:v>41967</c:v>
                </c:pt>
                <c:pt idx="29">
                  <c:v>41968</c:v>
                </c:pt>
                <c:pt idx="30">
                  <c:v>41969</c:v>
                </c:pt>
                <c:pt idx="31">
                  <c:v>41970</c:v>
                </c:pt>
                <c:pt idx="32">
                  <c:v>41971</c:v>
                </c:pt>
                <c:pt idx="33">
                  <c:v>41974</c:v>
                </c:pt>
                <c:pt idx="34">
                  <c:v>41975</c:v>
                </c:pt>
                <c:pt idx="35">
                  <c:v>41976</c:v>
                </c:pt>
                <c:pt idx="36">
                  <c:v>41977</c:v>
                </c:pt>
                <c:pt idx="37">
                  <c:v>41978</c:v>
                </c:pt>
                <c:pt idx="38">
                  <c:v>41981</c:v>
                </c:pt>
                <c:pt idx="39">
                  <c:v>41982</c:v>
                </c:pt>
                <c:pt idx="40">
                  <c:v>41983</c:v>
                </c:pt>
                <c:pt idx="41">
                  <c:v>41984</c:v>
                </c:pt>
                <c:pt idx="42">
                  <c:v>41985</c:v>
                </c:pt>
                <c:pt idx="43">
                  <c:v>41988</c:v>
                </c:pt>
                <c:pt idx="44">
                  <c:v>41989</c:v>
                </c:pt>
                <c:pt idx="45">
                  <c:v>41990</c:v>
                </c:pt>
                <c:pt idx="46">
                  <c:v>41991</c:v>
                </c:pt>
                <c:pt idx="47">
                  <c:v>41992</c:v>
                </c:pt>
                <c:pt idx="48">
                  <c:v>41995</c:v>
                </c:pt>
                <c:pt idx="49">
                  <c:v>41996</c:v>
                </c:pt>
                <c:pt idx="50">
                  <c:v>41997</c:v>
                </c:pt>
                <c:pt idx="51">
                  <c:v>41998</c:v>
                </c:pt>
                <c:pt idx="52">
                  <c:v>41999</c:v>
                </c:pt>
                <c:pt idx="53">
                  <c:v>42002</c:v>
                </c:pt>
                <c:pt idx="54">
                  <c:v>42003</c:v>
                </c:pt>
                <c:pt idx="55">
                  <c:v>42004</c:v>
                </c:pt>
                <c:pt idx="56">
                  <c:v>42005</c:v>
                </c:pt>
                <c:pt idx="57">
                  <c:v>42006</c:v>
                </c:pt>
                <c:pt idx="58">
                  <c:v>42009</c:v>
                </c:pt>
                <c:pt idx="59">
                  <c:v>42010</c:v>
                </c:pt>
                <c:pt idx="60">
                  <c:v>42011</c:v>
                </c:pt>
                <c:pt idx="61">
                  <c:v>42012</c:v>
                </c:pt>
                <c:pt idx="62">
                  <c:v>42013</c:v>
                </c:pt>
                <c:pt idx="63">
                  <c:v>42016</c:v>
                </c:pt>
                <c:pt idx="64">
                  <c:v>42017</c:v>
                </c:pt>
                <c:pt idx="65">
                  <c:v>42018</c:v>
                </c:pt>
                <c:pt idx="66">
                  <c:v>42019</c:v>
                </c:pt>
                <c:pt idx="67">
                  <c:v>42020</c:v>
                </c:pt>
                <c:pt idx="68">
                  <c:v>42023</c:v>
                </c:pt>
                <c:pt idx="69">
                  <c:v>42024</c:v>
                </c:pt>
                <c:pt idx="70">
                  <c:v>42025</c:v>
                </c:pt>
                <c:pt idx="71">
                  <c:v>42026</c:v>
                </c:pt>
                <c:pt idx="72">
                  <c:v>42027</c:v>
                </c:pt>
                <c:pt idx="73">
                  <c:v>42030</c:v>
                </c:pt>
                <c:pt idx="74">
                  <c:v>42031</c:v>
                </c:pt>
                <c:pt idx="75">
                  <c:v>42032</c:v>
                </c:pt>
                <c:pt idx="76">
                  <c:v>42033</c:v>
                </c:pt>
                <c:pt idx="77">
                  <c:v>42034</c:v>
                </c:pt>
                <c:pt idx="78">
                  <c:v>42037</c:v>
                </c:pt>
                <c:pt idx="79">
                  <c:v>42038</c:v>
                </c:pt>
                <c:pt idx="80">
                  <c:v>42039</c:v>
                </c:pt>
                <c:pt idx="81">
                  <c:v>42040</c:v>
                </c:pt>
                <c:pt idx="82">
                  <c:v>42041</c:v>
                </c:pt>
                <c:pt idx="83">
                  <c:v>42044</c:v>
                </c:pt>
                <c:pt idx="84">
                  <c:v>42045</c:v>
                </c:pt>
                <c:pt idx="85">
                  <c:v>42046</c:v>
                </c:pt>
                <c:pt idx="86">
                  <c:v>42047</c:v>
                </c:pt>
                <c:pt idx="87">
                  <c:v>42048</c:v>
                </c:pt>
                <c:pt idx="88">
                  <c:v>42051</c:v>
                </c:pt>
                <c:pt idx="89">
                  <c:v>42052</c:v>
                </c:pt>
                <c:pt idx="90">
                  <c:v>42053</c:v>
                </c:pt>
                <c:pt idx="91">
                  <c:v>42054</c:v>
                </c:pt>
                <c:pt idx="92">
                  <c:v>42055</c:v>
                </c:pt>
                <c:pt idx="93">
                  <c:v>42058</c:v>
                </c:pt>
                <c:pt idx="94">
                  <c:v>42059</c:v>
                </c:pt>
                <c:pt idx="95">
                  <c:v>42060</c:v>
                </c:pt>
                <c:pt idx="96">
                  <c:v>42061</c:v>
                </c:pt>
                <c:pt idx="97">
                  <c:v>42062</c:v>
                </c:pt>
                <c:pt idx="98">
                  <c:v>42065</c:v>
                </c:pt>
                <c:pt idx="99">
                  <c:v>42066</c:v>
                </c:pt>
                <c:pt idx="100">
                  <c:v>42067</c:v>
                </c:pt>
                <c:pt idx="101">
                  <c:v>42068</c:v>
                </c:pt>
                <c:pt idx="102">
                  <c:v>42069</c:v>
                </c:pt>
                <c:pt idx="103">
                  <c:v>42072</c:v>
                </c:pt>
                <c:pt idx="104">
                  <c:v>42073</c:v>
                </c:pt>
                <c:pt idx="105">
                  <c:v>42074</c:v>
                </c:pt>
                <c:pt idx="106">
                  <c:v>42075</c:v>
                </c:pt>
                <c:pt idx="107">
                  <c:v>42076</c:v>
                </c:pt>
                <c:pt idx="108">
                  <c:v>42079</c:v>
                </c:pt>
                <c:pt idx="109">
                  <c:v>42080</c:v>
                </c:pt>
                <c:pt idx="110">
                  <c:v>42081</c:v>
                </c:pt>
                <c:pt idx="111">
                  <c:v>42082</c:v>
                </c:pt>
                <c:pt idx="112">
                  <c:v>42083</c:v>
                </c:pt>
                <c:pt idx="113">
                  <c:v>42086</c:v>
                </c:pt>
                <c:pt idx="114">
                  <c:v>42087</c:v>
                </c:pt>
                <c:pt idx="115">
                  <c:v>42088</c:v>
                </c:pt>
                <c:pt idx="116">
                  <c:v>42089</c:v>
                </c:pt>
                <c:pt idx="117">
                  <c:v>42090</c:v>
                </c:pt>
                <c:pt idx="118">
                  <c:v>42093</c:v>
                </c:pt>
                <c:pt idx="119">
                  <c:v>42094</c:v>
                </c:pt>
                <c:pt idx="120">
                  <c:v>42095</c:v>
                </c:pt>
                <c:pt idx="121">
                  <c:v>42096</c:v>
                </c:pt>
                <c:pt idx="122">
                  <c:v>42097</c:v>
                </c:pt>
                <c:pt idx="123">
                  <c:v>42100</c:v>
                </c:pt>
                <c:pt idx="124">
                  <c:v>42101</c:v>
                </c:pt>
                <c:pt idx="125">
                  <c:v>42102</c:v>
                </c:pt>
                <c:pt idx="126">
                  <c:v>42103</c:v>
                </c:pt>
                <c:pt idx="127">
                  <c:v>42104</c:v>
                </c:pt>
                <c:pt idx="128">
                  <c:v>42107</c:v>
                </c:pt>
                <c:pt idx="129">
                  <c:v>42108</c:v>
                </c:pt>
                <c:pt idx="130">
                  <c:v>42109</c:v>
                </c:pt>
              </c:numCache>
            </c:numRef>
          </c:cat>
          <c:val>
            <c:numRef>
              <c:f>'bull market'!$N$2:$N$132</c:f>
              <c:numCache>
                <c:formatCode>#,##0.00_);[Red]\(#,##0.00\)</c:formatCode>
                <c:ptCount val="131"/>
                <c:pt idx="0">
                  <c:v>100</c:v>
                </c:pt>
                <c:pt idx="1">
                  <c:v>99.705118577100052</c:v>
                </c:pt>
                <c:pt idx="2">
                  <c:v>102.3396577817239</c:v>
                </c:pt>
                <c:pt idx="3">
                  <c:v>101.56247111103835</c:v>
                </c:pt>
                <c:pt idx="4">
                  <c:v>103.32250807424799</c:v>
                </c:pt>
                <c:pt idx="5">
                  <c:v>103.93432435465414</c:v>
                </c:pt>
                <c:pt idx="6">
                  <c:v>104.52770814032</c:v>
                </c:pt>
                <c:pt idx="7">
                  <c:v>104.01640280904813</c:v>
                </c:pt>
                <c:pt idx="8">
                  <c:v>103.75607575454835</c:v>
                </c:pt>
                <c:pt idx="9">
                  <c:v>104.63145378462566</c:v>
                </c:pt>
                <c:pt idx="10">
                  <c:v>105.18800606929999</c:v>
                </c:pt>
                <c:pt idx="11">
                  <c:v>105.84198554561014</c:v>
                </c:pt>
                <c:pt idx="12">
                  <c:v>107.49562033693122</c:v>
                </c:pt>
                <c:pt idx="13">
                  <c:v>106.84831327330281</c:v>
                </c:pt>
                <c:pt idx="14">
                  <c:v>106.11256624055352</c:v>
                </c:pt>
                <c:pt idx="15">
                  <c:v>107.78487310803879</c:v>
                </c:pt>
                <c:pt idx="16">
                  <c:v>108.25486811892941</c:v>
                </c:pt>
                <c:pt idx="17">
                  <c:v>107.69256678292861</c:v>
                </c:pt>
                <c:pt idx="18">
                  <c:v>108.58675025243683</c:v>
                </c:pt>
                <c:pt idx="19">
                  <c:v>109.19390405245514</c:v>
                </c:pt>
                <c:pt idx="20">
                  <c:v>107.9891656200093</c:v>
                </c:pt>
                <c:pt idx="21">
                  <c:v>108.47490126177603</c:v>
                </c:pt>
                <c:pt idx="22">
                  <c:v>108.35572655165875</c:v>
                </c:pt>
                <c:pt idx="23">
                  <c:v>108.88351974143202</c:v>
                </c:pt>
                <c:pt idx="24">
                  <c:v>109.52938495885282</c:v>
                </c:pt>
                <c:pt idx="25">
                  <c:v>109.4482763971627</c:v>
                </c:pt>
                <c:pt idx="26">
                  <c:v>109.41361732200275</c:v>
                </c:pt>
                <c:pt idx="27">
                  <c:v>111.09775121905339</c:v>
                </c:pt>
                <c:pt idx="28">
                  <c:v>111.46683217248022</c:v>
                </c:pt>
                <c:pt idx="29">
                  <c:v>111.68688966466324</c:v>
                </c:pt>
                <c:pt idx="30">
                  <c:v>111.81571799694844</c:v>
                </c:pt>
                <c:pt idx="31">
                  <c:v>112.26408982360918</c:v>
                </c:pt>
                <c:pt idx="32">
                  <c:v>112.42874154390728</c:v>
                </c:pt>
                <c:pt idx="33">
                  <c:v>112.20622712655474</c:v>
                </c:pt>
                <c:pt idx="34">
                  <c:v>112.57246668786031</c:v>
                </c:pt>
                <c:pt idx="35">
                  <c:v>113.13166376162648</c:v>
                </c:pt>
                <c:pt idx="36">
                  <c:v>112.27736592244101</c:v>
                </c:pt>
                <c:pt idx="37">
                  <c:v>113.85141511877201</c:v>
                </c:pt>
                <c:pt idx="38">
                  <c:v>113.28325851841804</c:v>
                </c:pt>
                <c:pt idx="39">
                  <c:v>110.73991762164017</c:v>
                </c:pt>
                <c:pt idx="40">
                  <c:v>110.61258895452401</c:v>
                </c:pt>
                <c:pt idx="41">
                  <c:v>110.79402462535397</c:v>
                </c:pt>
                <c:pt idx="42">
                  <c:v>108.10253096105536</c:v>
                </c:pt>
                <c:pt idx="43">
                  <c:v>106.23799577095077</c:v>
                </c:pt>
                <c:pt idx="44">
                  <c:v>108.06660368882504</c:v>
                </c:pt>
                <c:pt idx="45">
                  <c:v>107.97741701007631</c:v>
                </c:pt>
                <c:pt idx="46">
                  <c:v>111.07301122316514</c:v>
                </c:pt>
                <c:pt idx="47">
                  <c:v>111.61418111279238</c:v>
                </c:pt>
                <c:pt idx="48">
                  <c:v>112.40390280902274</c:v>
                </c:pt>
                <c:pt idx="49">
                  <c:v>112.93824372578629</c:v>
                </c:pt>
                <c:pt idx="50">
                  <c:v>112.93824372578629</c:v>
                </c:pt>
                <c:pt idx="51">
                  <c:v>112.93824372578629</c:v>
                </c:pt>
                <c:pt idx="52">
                  <c:v>112.93824372578629</c:v>
                </c:pt>
                <c:pt idx="53">
                  <c:v>113.18510984412541</c:v>
                </c:pt>
                <c:pt idx="54">
                  <c:v>112.2588562463482</c:v>
                </c:pt>
                <c:pt idx="55">
                  <c:v>112.76758896091937</c:v>
                </c:pt>
                <c:pt idx="56">
                  <c:v>112.76758896091937</c:v>
                </c:pt>
                <c:pt idx="57">
                  <c:v>112.15662492701134</c:v>
                </c:pt>
                <c:pt idx="58">
                  <c:v>110.44821649665455</c:v>
                </c:pt>
                <c:pt idx="59">
                  <c:v>109.64865950604775</c:v>
                </c:pt>
                <c:pt idx="60">
                  <c:v>110.31819440403434</c:v>
                </c:pt>
                <c:pt idx="61">
                  <c:v>113.28151404064423</c:v>
                </c:pt>
                <c:pt idx="62">
                  <c:v>112.39915780090129</c:v>
                </c:pt>
                <c:pt idx="63">
                  <c:v>113.26187921277528</c:v>
                </c:pt>
                <c:pt idx="64">
                  <c:v>114.61873706497772</c:v>
                </c:pt>
                <c:pt idx="65">
                  <c:v>113.44483021564912</c:v>
                </c:pt>
                <c:pt idx="66">
                  <c:v>117.13587927167595</c:v>
                </c:pt>
                <c:pt idx="67">
                  <c:v>118.90317127438648</c:v>
                </c:pt>
                <c:pt idx="68">
                  <c:v>119.14503950194238</c:v>
                </c:pt>
                <c:pt idx="69">
                  <c:v>119.73721680385835</c:v>
                </c:pt>
                <c:pt idx="70">
                  <c:v>120.19093439764411</c:v>
                </c:pt>
                <c:pt idx="71">
                  <c:v>122.07285291660608</c:v>
                </c:pt>
                <c:pt idx="72">
                  <c:v>124.71720158088799</c:v>
                </c:pt>
                <c:pt idx="73">
                  <c:v>125.305817064146</c:v>
                </c:pt>
                <c:pt idx="74">
                  <c:v>124.03450966480068</c:v>
                </c:pt>
                <c:pt idx="75">
                  <c:v>124.39687293186439</c:v>
                </c:pt>
                <c:pt idx="76">
                  <c:v>124.33095783978342</c:v>
                </c:pt>
                <c:pt idx="77">
                  <c:v>123.62700539058463</c:v>
                </c:pt>
                <c:pt idx="78">
                  <c:v>123.36639859933072</c:v>
                </c:pt>
                <c:pt idx="79">
                  <c:v>123.74652783835931</c:v>
                </c:pt>
                <c:pt idx="80">
                  <c:v>124.43955280265524</c:v>
                </c:pt>
                <c:pt idx="81">
                  <c:v>125.21014826049284</c:v>
                </c:pt>
                <c:pt idx="82">
                  <c:v>125.23874734470039</c:v>
                </c:pt>
                <c:pt idx="83">
                  <c:v>124.15290195243637</c:v>
                </c:pt>
                <c:pt idx="84">
                  <c:v>125.33638753148522</c:v>
                </c:pt>
                <c:pt idx="85">
                  <c:v>125.36839789076443</c:v>
                </c:pt>
                <c:pt idx="86">
                  <c:v>125.9091215745628</c:v>
                </c:pt>
                <c:pt idx="87">
                  <c:v>126.01192045623918</c:v>
                </c:pt>
                <c:pt idx="88">
                  <c:v>125.64895936487785</c:v>
                </c:pt>
                <c:pt idx="89">
                  <c:v>125.76059163584135</c:v>
                </c:pt>
                <c:pt idx="90">
                  <c:v>126.66489916905785</c:v>
                </c:pt>
                <c:pt idx="91">
                  <c:v>127.50661825537784</c:v>
                </c:pt>
                <c:pt idx="92">
                  <c:v>127.66344918010333</c:v>
                </c:pt>
                <c:pt idx="93">
                  <c:v>128.96932892924724</c:v>
                </c:pt>
                <c:pt idx="94">
                  <c:v>129.5109344302067</c:v>
                </c:pt>
                <c:pt idx="95">
                  <c:v>129.31239904868312</c:v>
                </c:pt>
                <c:pt idx="96">
                  <c:v>130.63653251441579</c:v>
                </c:pt>
                <c:pt idx="97">
                  <c:v>131.31548707192238</c:v>
                </c:pt>
                <c:pt idx="98">
                  <c:v>131.09740456321529</c:v>
                </c:pt>
                <c:pt idx="99">
                  <c:v>130.15355373789345</c:v>
                </c:pt>
                <c:pt idx="100">
                  <c:v>131.29819616126557</c:v>
                </c:pt>
                <c:pt idx="101">
                  <c:v>132.51028763000156</c:v>
                </c:pt>
                <c:pt idx="102">
                  <c:v>132.72311973600949</c:v>
                </c:pt>
                <c:pt idx="103">
                  <c:v>132.38709944772941</c:v>
                </c:pt>
                <c:pt idx="104">
                  <c:v>131.66361532060429</c:v>
                </c:pt>
                <c:pt idx="105">
                  <c:v>133.88109318664959</c:v>
                </c:pt>
                <c:pt idx="106">
                  <c:v>134.09580538368513</c:v>
                </c:pt>
                <c:pt idx="107">
                  <c:v>134.83384059390298</c:v>
                </c:pt>
                <c:pt idx="108">
                  <c:v>136.12487669729933</c:v>
                </c:pt>
                <c:pt idx="109">
                  <c:v>135.04782466400653</c:v>
                </c:pt>
                <c:pt idx="110">
                  <c:v>135.70754336636435</c:v>
                </c:pt>
                <c:pt idx="111">
                  <c:v>136.3006990130273</c:v>
                </c:pt>
                <c:pt idx="112">
                  <c:v>136.87558608763842</c:v>
                </c:pt>
                <c:pt idx="113">
                  <c:v>135.98997653730626</c:v>
                </c:pt>
                <c:pt idx="114">
                  <c:v>136.3394466219134</c:v>
                </c:pt>
                <c:pt idx="115">
                  <c:v>134.49483376543444</c:v>
                </c:pt>
                <c:pt idx="116">
                  <c:v>133.4824015766109</c:v>
                </c:pt>
                <c:pt idx="117">
                  <c:v>134.00466423399791</c:v>
                </c:pt>
                <c:pt idx="118">
                  <c:v>135.35324124733799</c:v>
                </c:pt>
                <c:pt idx="119">
                  <c:v>134.63867862792173</c:v>
                </c:pt>
                <c:pt idx="120">
                  <c:v>134.97980725400697</c:v>
                </c:pt>
                <c:pt idx="121">
                  <c:v>134.81762733284398</c:v>
                </c:pt>
                <c:pt idx="122">
                  <c:v>134.81762733284398</c:v>
                </c:pt>
                <c:pt idx="123">
                  <c:v>134.81762733284398</c:v>
                </c:pt>
                <c:pt idx="124">
                  <c:v>137.04308533036345</c:v>
                </c:pt>
                <c:pt idx="125">
                  <c:v>137.21226606504624</c:v>
                </c:pt>
                <c:pt idx="126">
                  <c:v>138.66185477560521</c:v>
                </c:pt>
                <c:pt idx="127">
                  <c:v>140.18707648156717</c:v>
                </c:pt>
                <c:pt idx="128">
                  <c:v>140.32684342814539</c:v>
                </c:pt>
                <c:pt idx="129">
                  <c:v>139.82737961694025</c:v>
                </c:pt>
                <c:pt idx="130">
                  <c:v>140.4536503874553</c:v>
                </c:pt>
              </c:numCache>
            </c:numRef>
          </c:val>
          <c:smooth val="0"/>
          <c:extLst xmlns:c16r2="http://schemas.microsoft.com/office/drawing/2015/06/chart">
            <c:ext xmlns:c16="http://schemas.microsoft.com/office/drawing/2014/chart" uri="{C3380CC4-5D6E-409C-BE32-E72D297353CC}">
              <c16:uniqueId val="{00000000-3806-4620-B674-9E1C8630A87B}"/>
            </c:ext>
          </c:extLst>
        </c:ser>
        <c:ser>
          <c:idx val="1"/>
          <c:order val="1"/>
          <c:tx>
            <c:strRef>
              <c:f>'bull market'!$O$1</c:f>
              <c:strCache>
                <c:ptCount val="1"/>
                <c:pt idx="0">
                  <c:v>MSCI Europe </c:v>
                </c:pt>
              </c:strCache>
            </c:strRef>
          </c:tx>
          <c:spPr>
            <a:ln w="28575">
              <a:solidFill>
                <a:srgbClr val="009EE0"/>
              </a:solidFill>
              <a:prstDash val="solid"/>
            </a:ln>
          </c:spPr>
          <c:marker>
            <c:symbol val="none"/>
          </c:marker>
          <c:cat>
            <c:numRef>
              <c:f>'bull market'!$M$2:$M$132</c:f>
              <c:numCache>
                <c:formatCode>m/d/yyyy</c:formatCode>
                <c:ptCount val="131"/>
                <c:pt idx="0">
                  <c:v>41927</c:v>
                </c:pt>
                <c:pt idx="1">
                  <c:v>41928</c:v>
                </c:pt>
                <c:pt idx="2">
                  <c:v>41929</c:v>
                </c:pt>
                <c:pt idx="3">
                  <c:v>41932</c:v>
                </c:pt>
                <c:pt idx="4">
                  <c:v>41933</c:v>
                </c:pt>
                <c:pt idx="5">
                  <c:v>41934</c:v>
                </c:pt>
                <c:pt idx="6">
                  <c:v>41935</c:v>
                </c:pt>
                <c:pt idx="7">
                  <c:v>41936</c:v>
                </c:pt>
                <c:pt idx="8">
                  <c:v>41939</c:v>
                </c:pt>
                <c:pt idx="9">
                  <c:v>41940</c:v>
                </c:pt>
                <c:pt idx="10">
                  <c:v>41941</c:v>
                </c:pt>
                <c:pt idx="11">
                  <c:v>41942</c:v>
                </c:pt>
                <c:pt idx="12">
                  <c:v>41943</c:v>
                </c:pt>
                <c:pt idx="13">
                  <c:v>41946</c:v>
                </c:pt>
                <c:pt idx="14">
                  <c:v>41947</c:v>
                </c:pt>
                <c:pt idx="15">
                  <c:v>41948</c:v>
                </c:pt>
                <c:pt idx="16">
                  <c:v>41949</c:v>
                </c:pt>
                <c:pt idx="17">
                  <c:v>41950</c:v>
                </c:pt>
                <c:pt idx="18">
                  <c:v>41953</c:v>
                </c:pt>
                <c:pt idx="19">
                  <c:v>41954</c:v>
                </c:pt>
                <c:pt idx="20">
                  <c:v>41955</c:v>
                </c:pt>
                <c:pt idx="21">
                  <c:v>41956</c:v>
                </c:pt>
                <c:pt idx="22">
                  <c:v>41957</c:v>
                </c:pt>
                <c:pt idx="23">
                  <c:v>41960</c:v>
                </c:pt>
                <c:pt idx="24">
                  <c:v>41961</c:v>
                </c:pt>
                <c:pt idx="25">
                  <c:v>41962</c:v>
                </c:pt>
                <c:pt idx="26">
                  <c:v>41963</c:v>
                </c:pt>
                <c:pt idx="27">
                  <c:v>41964</c:v>
                </c:pt>
                <c:pt idx="28">
                  <c:v>41967</c:v>
                </c:pt>
                <c:pt idx="29">
                  <c:v>41968</c:v>
                </c:pt>
                <c:pt idx="30">
                  <c:v>41969</c:v>
                </c:pt>
                <c:pt idx="31">
                  <c:v>41970</c:v>
                </c:pt>
                <c:pt idx="32">
                  <c:v>41971</c:v>
                </c:pt>
                <c:pt idx="33">
                  <c:v>41974</c:v>
                </c:pt>
                <c:pt idx="34">
                  <c:v>41975</c:v>
                </c:pt>
                <c:pt idx="35">
                  <c:v>41976</c:v>
                </c:pt>
                <c:pt idx="36">
                  <c:v>41977</c:v>
                </c:pt>
                <c:pt idx="37">
                  <c:v>41978</c:v>
                </c:pt>
                <c:pt idx="38">
                  <c:v>41981</c:v>
                </c:pt>
                <c:pt idx="39">
                  <c:v>41982</c:v>
                </c:pt>
                <c:pt idx="40">
                  <c:v>41983</c:v>
                </c:pt>
                <c:pt idx="41">
                  <c:v>41984</c:v>
                </c:pt>
                <c:pt idx="42">
                  <c:v>41985</c:v>
                </c:pt>
                <c:pt idx="43">
                  <c:v>41988</c:v>
                </c:pt>
                <c:pt idx="44">
                  <c:v>41989</c:v>
                </c:pt>
                <c:pt idx="45">
                  <c:v>41990</c:v>
                </c:pt>
                <c:pt idx="46">
                  <c:v>41991</c:v>
                </c:pt>
                <c:pt idx="47">
                  <c:v>41992</c:v>
                </c:pt>
                <c:pt idx="48">
                  <c:v>41995</c:v>
                </c:pt>
                <c:pt idx="49">
                  <c:v>41996</c:v>
                </c:pt>
                <c:pt idx="50">
                  <c:v>41997</c:v>
                </c:pt>
                <c:pt idx="51">
                  <c:v>41998</c:v>
                </c:pt>
                <c:pt idx="52">
                  <c:v>41999</c:v>
                </c:pt>
                <c:pt idx="53">
                  <c:v>42002</c:v>
                </c:pt>
                <c:pt idx="54">
                  <c:v>42003</c:v>
                </c:pt>
                <c:pt idx="55">
                  <c:v>42004</c:v>
                </c:pt>
                <c:pt idx="56">
                  <c:v>42005</c:v>
                </c:pt>
                <c:pt idx="57">
                  <c:v>42006</c:v>
                </c:pt>
                <c:pt idx="58">
                  <c:v>42009</c:v>
                </c:pt>
                <c:pt idx="59">
                  <c:v>42010</c:v>
                </c:pt>
                <c:pt idx="60">
                  <c:v>42011</c:v>
                </c:pt>
                <c:pt idx="61">
                  <c:v>42012</c:v>
                </c:pt>
                <c:pt idx="62">
                  <c:v>42013</c:v>
                </c:pt>
                <c:pt idx="63">
                  <c:v>42016</c:v>
                </c:pt>
                <c:pt idx="64">
                  <c:v>42017</c:v>
                </c:pt>
                <c:pt idx="65">
                  <c:v>42018</c:v>
                </c:pt>
                <c:pt idx="66">
                  <c:v>42019</c:v>
                </c:pt>
                <c:pt idx="67">
                  <c:v>42020</c:v>
                </c:pt>
                <c:pt idx="68">
                  <c:v>42023</c:v>
                </c:pt>
                <c:pt idx="69">
                  <c:v>42024</c:v>
                </c:pt>
                <c:pt idx="70">
                  <c:v>42025</c:v>
                </c:pt>
                <c:pt idx="71">
                  <c:v>42026</c:v>
                </c:pt>
                <c:pt idx="72">
                  <c:v>42027</c:v>
                </c:pt>
                <c:pt idx="73">
                  <c:v>42030</c:v>
                </c:pt>
                <c:pt idx="74">
                  <c:v>42031</c:v>
                </c:pt>
                <c:pt idx="75">
                  <c:v>42032</c:v>
                </c:pt>
                <c:pt idx="76">
                  <c:v>42033</c:v>
                </c:pt>
                <c:pt idx="77">
                  <c:v>42034</c:v>
                </c:pt>
                <c:pt idx="78">
                  <c:v>42037</c:v>
                </c:pt>
                <c:pt idx="79">
                  <c:v>42038</c:v>
                </c:pt>
                <c:pt idx="80">
                  <c:v>42039</c:v>
                </c:pt>
                <c:pt idx="81">
                  <c:v>42040</c:v>
                </c:pt>
                <c:pt idx="82">
                  <c:v>42041</c:v>
                </c:pt>
                <c:pt idx="83">
                  <c:v>42044</c:v>
                </c:pt>
                <c:pt idx="84">
                  <c:v>42045</c:v>
                </c:pt>
                <c:pt idx="85">
                  <c:v>42046</c:v>
                </c:pt>
                <c:pt idx="86">
                  <c:v>42047</c:v>
                </c:pt>
                <c:pt idx="87">
                  <c:v>42048</c:v>
                </c:pt>
                <c:pt idx="88">
                  <c:v>42051</c:v>
                </c:pt>
                <c:pt idx="89">
                  <c:v>42052</c:v>
                </c:pt>
                <c:pt idx="90">
                  <c:v>42053</c:v>
                </c:pt>
                <c:pt idx="91">
                  <c:v>42054</c:v>
                </c:pt>
                <c:pt idx="92">
                  <c:v>42055</c:v>
                </c:pt>
                <c:pt idx="93">
                  <c:v>42058</c:v>
                </c:pt>
                <c:pt idx="94">
                  <c:v>42059</c:v>
                </c:pt>
                <c:pt idx="95">
                  <c:v>42060</c:v>
                </c:pt>
                <c:pt idx="96">
                  <c:v>42061</c:v>
                </c:pt>
                <c:pt idx="97">
                  <c:v>42062</c:v>
                </c:pt>
                <c:pt idx="98">
                  <c:v>42065</c:v>
                </c:pt>
                <c:pt idx="99">
                  <c:v>42066</c:v>
                </c:pt>
                <c:pt idx="100">
                  <c:v>42067</c:v>
                </c:pt>
                <c:pt idx="101">
                  <c:v>42068</c:v>
                </c:pt>
                <c:pt idx="102">
                  <c:v>42069</c:v>
                </c:pt>
                <c:pt idx="103">
                  <c:v>42072</c:v>
                </c:pt>
                <c:pt idx="104">
                  <c:v>42073</c:v>
                </c:pt>
                <c:pt idx="105">
                  <c:v>42074</c:v>
                </c:pt>
                <c:pt idx="106">
                  <c:v>42075</c:v>
                </c:pt>
                <c:pt idx="107">
                  <c:v>42076</c:v>
                </c:pt>
                <c:pt idx="108">
                  <c:v>42079</c:v>
                </c:pt>
                <c:pt idx="109">
                  <c:v>42080</c:v>
                </c:pt>
                <c:pt idx="110">
                  <c:v>42081</c:v>
                </c:pt>
                <c:pt idx="111">
                  <c:v>42082</c:v>
                </c:pt>
                <c:pt idx="112">
                  <c:v>42083</c:v>
                </c:pt>
                <c:pt idx="113">
                  <c:v>42086</c:v>
                </c:pt>
                <c:pt idx="114">
                  <c:v>42087</c:v>
                </c:pt>
                <c:pt idx="115">
                  <c:v>42088</c:v>
                </c:pt>
                <c:pt idx="116">
                  <c:v>42089</c:v>
                </c:pt>
                <c:pt idx="117">
                  <c:v>42090</c:v>
                </c:pt>
                <c:pt idx="118">
                  <c:v>42093</c:v>
                </c:pt>
                <c:pt idx="119">
                  <c:v>42094</c:v>
                </c:pt>
                <c:pt idx="120">
                  <c:v>42095</c:v>
                </c:pt>
                <c:pt idx="121">
                  <c:v>42096</c:v>
                </c:pt>
                <c:pt idx="122">
                  <c:v>42097</c:v>
                </c:pt>
                <c:pt idx="123">
                  <c:v>42100</c:v>
                </c:pt>
                <c:pt idx="124">
                  <c:v>42101</c:v>
                </c:pt>
                <c:pt idx="125">
                  <c:v>42102</c:v>
                </c:pt>
                <c:pt idx="126">
                  <c:v>42103</c:v>
                </c:pt>
                <c:pt idx="127">
                  <c:v>42104</c:v>
                </c:pt>
                <c:pt idx="128">
                  <c:v>42107</c:v>
                </c:pt>
                <c:pt idx="129">
                  <c:v>42108</c:v>
                </c:pt>
                <c:pt idx="130">
                  <c:v>42109</c:v>
                </c:pt>
              </c:numCache>
            </c:numRef>
          </c:cat>
          <c:val>
            <c:numRef>
              <c:f>'bull market'!$O$2:$O$132</c:f>
              <c:numCache>
                <c:formatCode>#,##0.00_);[Red]\(#,##0.00\)</c:formatCode>
                <c:ptCount val="131"/>
                <c:pt idx="0">
                  <c:v>100</c:v>
                </c:pt>
                <c:pt idx="1">
                  <c:v>99.553908172218826</c:v>
                </c:pt>
                <c:pt idx="2">
                  <c:v>102.31258764649066</c:v>
                </c:pt>
                <c:pt idx="3">
                  <c:v>101.75320866365006</c:v>
                </c:pt>
                <c:pt idx="4">
                  <c:v>103.87917759874402</c:v>
                </c:pt>
                <c:pt idx="5">
                  <c:v>104.61441183511273</c:v>
                </c:pt>
                <c:pt idx="6">
                  <c:v>105.36795417086557</c:v>
                </c:pt>
                <c:pt idx="7">
                  <c:v>105.01759238878927</c:v>
                </c:pt>
                <c:pt idx="8">
                  <c:v>104.37129602777175</c:v>
                </c:pt>
                <c:pt idx="9">
                  <c:v>105.35199070893236</c:v>
                </c:pt>
                <c:pt idx="10">
                  <c:v>105.56638789593319</c:v>
                </c:pt>
                <c:pt idx="11">
                  <c:v>106.17864051878854</c:v>
                </c:pt>
                <c:pt idx="12">
                  <c:v>108.11048603488872</c:v>
                </c:pt>
                <c:pt idx="13">
                  <c:v>107.23841135239462</c:v>
                </c:pt>
                <c:pt idx="14">
                  <c:v>106.10903810662026</c:v>
                </c:pt>
                <c:pt idx="15">
                  <c:v>107.88541178309404</c:v>
                </c:pt>
                <c:pt idx="16">
                  <c:v>108.2080699474208</c:v>
                </c:pt>
                <c:pt idx="17">
                  <c:v>107.67992200102097</c:v>
                </c:pt>
                <c:pt idx="18">
                  <c:v>108.44505482939765</c:v>
                </c:pt>
                <c:pt idx="19">
                  <c:v>108.84473635528862</c:v>
                </c:pt>
                <c:pt idx="20">
                  <c:v>107.62338499978718</c:v>
                </c:pt>
                <c:pt idx="21">
                  <c:v>107.8911681403055</c:v>
                </c:pt>
                <c:pt idx="22">
                  <c:v>107.81609457972652</c:v>
                </c:pt>
                <c:pt idx="23">
                  <c:v>108.33574150597821</c:v>
                </c:pt>
                <c:pt idx="24">
                  <c:v>108.98912544375983</c:v>
                </c:pt>
                <c:pt idx="25">
                  <c:v>108.97120343069543</c:v>
                </c:pt>
                <c:pt idx="26">
                  <c:v>108.72481911899828</c:v>
                </c:pt>
                <c:pt idx="27">
                  <c:v>110.98684357913234</c:v>
                </c:pt>
                <c:pt idx="28">
                  <c:v>111.12043810122924</c:v>
                </c:pt>
                <c:pt idx="29">
                  <c:v>111.29618391936816</c:v>
                </c:pt>
                <c:pt idx="30">
                  <c:v>111.30698858567379</c:v>
                </c:pt>
                <c:pt idx="31">
                  <c:v>111.62761080476794</c:v>
                </c:pt>
                <c:pt idx="32">
                  <c:v>111.54059509779761</c:v>
                </c:pt>
                <c:pt idx="33">
                  <c:v>111.02139348458479</c:v>
                </c:pt>
                <c:pt idx="34">
                  <c:v>111.6163875927538</c:v>
                </c:pt>
                <c:pt idx="35">
                  <c:v>112.21156457110999</c:v>
                </c:pt>
                <c:pt idx="36">
                  <c:v>110.73144009174079</c:v>
                </c:pt>
                <c:pt idx="37">
                  <c:v>112.68207083149682</c:v>
                </c:pt>
                <c:pt idx="38">
                  <c:v>111.87559072319905</c:v>
                </c:pt>
                <c:pt idx="39">
                  <c:v>109.31286377561418</c:v>
                </c:pt>
                <c:pt idx="40">
                  <c:v>108.89090188060131</c:v>
                </c:pt>
                <c:pt idx="41">
                  <c:v>108.92777809942896</c:v>
                </c:pt>
                <c:pt idx="42">
                  <c:v>106.0583536945299</c:v>
                </c:pt>
                <c:pt idx="43">
                  <c:v>103.70549079696086</c:v>
                </c:pt>
                <c:pt idx="44">
                  <c:v>105.56025063726791</c:v>
                </c:pt>
                <c:pt idx="45">
                  <c:v>105.71634141697575</c:v>
                </c:pt>
                <c:pt idx="46">
                  <c:v>108.82214596607977</c:v>
                </c:pt>
                <c:pt idx="47">
                  <c:v>109.2532329204181</c:v>
                </c:pt>
                <c:pt idx="48">
                  <c:v>109.80271370940186</c:v>
                </c:pt>
                <c:pt idx="49">
                  <c:v>110.48723435873983</c:v>
                </c:pt>
                <c:pt idx="50">
                  <c:v>110.48723435873983</c:v>
                </c:pt>
                <c:pt idx="51">
                  <c:v>110.48723435873983</c:v>
                </c:pt>
                <c:pt idx="52">
                  <c:v>110.48723435873983</c:v>
                </c:pt>
                <c:pt idx="53">
                  <c:v>110.59420979921686</c:v>
                </c:pt>
                <c:pt idx="54">
                  <c:v>109.49652350229327</c:v>
                </c:pt>
                <c:pt idx="55">
                  <c:v>109.9675641917551</c:v>
                </c:pt>
                <c:pt idx="56">
                  <c:v>109.9675641917551</c:v>
                </c:pt>
                <c:pt idx="57">
                  <c:v>109.55762437064192</c:v>
                </c:pt>
                <c:pt idx="58">
                  <c:v>107.114948052176</c:v>
                </c:pt>
                <c:pt idx="59">
                  <c:v>106.38825390531234</c:v>
                </c:pt>
                <c:pt idx="60">
                  <c:v>106.91314298574915</c:v>
                </c:pt>
                <c:pt idx="61">
                  <c:v>109.90287073957504</c:v>
                </c:pt>
                <c:pt idx="62">
                  <c:v>108.41865093992911</c:v>
                </c:pt>
                <c:pt idx="63">
                  <c:v>109.03737750361537</c:v>
                </c:pt>
                <c:pt idx="64">
                  <c:v>110.58300029257219</c:v>
                </c:pt>
                <c:pt idx="65">
                  <c:v>108.90588828014972</c:v>
                </c:pt>
                <c:pt idx="66">
                  <c:v>111.84683945837814</c:v>
                </c:pt>
                <c:pt idx="67">
                  <c:v>113.16259331750052</c:v>
                </c:pt>
                <c:pt idx="68">
                  <c:v>113.37667447326872</c:v>
                </c:pt>
                <c:pt idx="69">
                  <c:v>114.28111978789917</c:v>
                </c:pt>
                <c:pt idx="70">
                  <c:v>115.02656821440354</c:v>
                </c:pt>
                <c:pt idx="71">
                  <c:v>116.95794677209784</c:v>
                </c:pt>
                <c:pt idx="72">
                  <c:v>119.03214942685497</c:v>
                </c:pt>
                <c:pt idx="73">
                  <c:v>119.69326583451232</c:v>
                </c:pt>
                <c:pt idx="74">
                  <c:v>118.51273920917318</c:v>
                </c:pt>
                <c:pt idx="75">
                  <c:v>118.65282932476636</c:v>
                </c:pt>
                <c:pt idx="76">
                  <c:v>118.50033992513599</c:v>
                </c:pt>
                <c:pt idx="77">
                  <c:v>117.91529034179311</c:v>
                </c:pt>
                <c:pt idx="78">
                  <c:v>118.05350830353619</c:v>
                </c:pt>
                <c:pt idx="79">
                  <c:v>119.02982163887332</c:v>
                </c:pt>
                <c:pt idx="80">
                  <c:v>119.59358046231036</c:v>
                </c:pt>
                <c:pt idx="81">
                  <c:v>119.7359065146594</c:v>
                </c:pt>
                <c:pt idx="82">
                  <c:v>119.99687886943157</c:v>
                </c:pt>
                <c:pt idx="83">
                  <c:v>119.15795800360144</c:v>
                </c:pt>
                <c:pt idx="84">
                  <c:v>119.85245810032352</c:v>
                </c:pt>
                <c:pt idx="85">
                  <c:v>119.55172474077509</c:v>
                </c:pt>
                <c:pt idx="86">
                  <c:v>120.43357893543788</c:v>
                </c:pt>
                <c:pt idx="87">
                  <c:v>121.18638854224521</c:v>
                </c:pt>
                <c:pt idx="88">
                  <c:v>121.02524730416697</c:v>
                </c:pt>
                <c:pt idx="89">
                  <c:v>121.21166366815162</c:v>
                </c:pt>
                <c:pt idx="90">
                  <c:v>122.25069240950552</c:v>
                </c:pt>
                <c:pt idx="91">
                  <c:v>122.59630484867586</c:v>
                </c:pt>
                <c:pt idx="92">
                  <c:v>122.87689513183435</c:v>
                </c:pt>
                <c:pt idx="93">
                  <c:v>123.75445401168584</c:v>
                </c:pt>
                <c:pt idx="94">
                  <c:v>124.4501820094296</c:v>
                </c:pt>
                <c:pt idx="95">
                  <c:v>124.29597902779227</c:v>
                </c:pt>
                <c:pt idx="96">
                  <c:v>125.56963472250898</c:v>
                </c:pt>
                <c:pt idx="97">
                  <c:v>126.07827558075914</c:v>
                </c:pt>
                <c:pt idx="98">
                  <c:v>125.77574377722092</c:v>
                </c:pt>
                <c:pt idx="99">
                  <c:v>124.66882478680253</c:v>
                </c:pt>
                <c:pt idx="100">
                  <c:v>125.63725528528177</c:v>
                </c:pt>
                <c:pt idx="101">
                  <c:v>126.73852444869489</c:v>
                </c:pt>
                <c:pt idx="102">
                  <c:v>126.84543362723446</c:v>
                </c:pt>
                <c:pt idx="103">
                  <c:v>126.54501764961127</c:v>
                </c:pt>
                <c:pt idx="104">
                  <c:v>125.3469937022915</c:v>
                </c:pt>
                <c:pt idx="105">
                  <c:v>127.23688436993528</c:v>
                </c:pt>
                <c:pt idx="106">
                  <c:v>127.23309019804125</c:v>
                </c:pt>
                <c:pt idx="107">
                  <c:v>127.60163526855504</c:v>
                </c:pt>
                <c:pt idx="108">
                  <c:v>128.79394680679312</c:v>
                </c:pt>
                <c:pt idx="109">
                  <c:v>127.92967374706753</c:v>
                </c:pt>
                <c:pt idx="110">
                  <c:v>128.38170404525908</c:v>
                </c:pt>
                <c:pt idx="111">
                  <c:v>129.14599947231957</c:v>
                </c:pt>
                <c:pt idx="112">
                  <c:v>130.25998877828948</c:v>
                </c:pt>
                <c:pt idx="113">
                  <c:v>129.40781858786806</c:v>
                </c:pt>
                <c:pt idx="114">
                  <c:v>129.76479426452258</c:v>
                </c:pt>
                <c:pt idx="115">
                  <c:v>128.31809127615048</c:v>
                </c:pt>
                <c:pt idx="116">
                  <c:v>127.30299301058392</c:v>
                </c:pt>
                <c:pt idx="117">
                  <c:v>127.644260720565</c:v>
                </c:pt>
                <c:pt idx="118">
                  <c:v>129.04873516591954</c:v>
                </c:pt>
                <c:pt idx="119">
                  <c:v>128.17401118541409</c:v>
                </c:pt>
                <c:pt idx="120">
                  <c:v>128.59606976196773</c:v>
                </c:pt>
                <c:pt idx="121">
                  <c:v>128.38703391496279</c:v>
                </c:pt>
                <c:pt idx="122">
                  <c:v>128.38703391496279</c:v>
                </c:pt>
                <c:pt idx="123">
                  <c:v>128.38703391496279</c:v>
                </c:pt>
                <c:pt idx="124">
                  <c:v>130.5795938681332</c:v>
                </c:pt>
                <c:pt idx="125">
                  <c:v>130.55187587254306</c:v>
                </c:pt>
                <c:pt idx="126">
                  <c:v>132.0027930852626</c:v>
                </c:pt>
                <c:pt idx="127">
                  <c:v>133.2418075942031</c:v>
                </c:pt>
                <c:pt idx="128">
                  <c:v>133.45959790580505</c:v>
                </c:pt>
                <c:pt idx="129">
                  <c:v>132.88774479579124</c:v>
                </c:pt>
                <c:pt idx="130">
                  <c:v>133.71966037385113</c:v>
                </c:pt>
              </c:numCache>
            </c:numRef>
          </c:val>
          <c:smooth val="0"/>
          <c:extLst xmlns:c16r2="http://schemas.microsoft.com/office/drawing/2015/06/chart">
            <c:ext xmlns:c16="http://schemas.microsoft.com/office/drawing/2014/chart" uri="{C3380CC4-5D6E-409C-BE32-E72D297353CC}">
              <c16:uniqueId val="{00000001-3806-4620-B674-9E1C8630A87B}"/>
            </c:ext>
          </c:extLst>
        </c:ser>
        <c:dLbls>
          <c:showLegendKey val="0"/>
          <c:showVal val="0"/>
          <c:showCatName val="0"/>
          <c:showSerName val="0"/>
          <c:showPercent val="0"/>
          <c:showBubbleSize val="0"/>
        </c:dLbls>
        <c:marker val="1"/>
        <c:smooth val="0"/>
        <c:axId val="216655360"/>
        <c:axId val="216656896"/>
      </c:lineChart>
      <c:dateAx>
        <c:axId val="216655360"/>
        <c:scaling>
          <c:orientation val="minMax"/>
          <c:max val="42109"/>
          <c:min val="41927"/>
        </c:scaling>
        <c:delete val="0"/>
        <c:axPos val="b"/>
        <c:numFmt formatCode="[$-409]mmm\-yy;@" sourceLinked="0"/>
        <c:majorTickMark val="out"/>
        <c:minorTickMark val="none"/>
        <c:tickLblPos val="low"/>
        <c:spPr>
          <a:ln w="15875">
            <a:solidFill>
              <a:srgbClr val="003C64"/>
            </a:solidFill>
            <a:prstDash val="solid"/>
          </a:ln>
        </c:spPr>
        <c:txPr>
          <a:bodyPr rot="0" vert="horz"/>
          <a:lstStyle/>
          <a:p>
            <a:pPr>
              <a:defRPr sz="900" b="0" i="0" u="none" strike="noStrike" baseline="0">
                <a:solidFill>
                  <a:schemeClr val="tx1"/>
                </a:solidFill>
                <a:latin typeface="Arial"/>
                <a:ea typeface="Arial"/>
                <a:cs typeface="Arial"/>
              </a:defRPr>
            </a:pPr>
            <a:endParaRPr lang="en-US"/>
          </a:p>
        </c:txPr>
        <c:crossAx val="216656896"/>
        <c:crosses val="autoZero"/>
        <c:auto val="1"/>
        <c:lblOffset val="100"/>
        <c:baseTimeUnit val="days"/>
      </c:dateAx>
      <c:valAx>
        <c:axId val="216656896"/>
        <c:scaling>
          <c:orientation val="minMax"/>
          <c:min val="80"/>
        </c:scaling>
        <c:delete val="0"/>
        <c:axPos val="l"/>
        <c:majorGridlines>
          <c:spPr>
            <a:ln>
              <a:solidFill>
                <a:srgbClr val="F0EDE8"/>
              </a:solidFill>
            </a:ln>
          </c:spPr>
        </c:majorGridlines>
        <c:numFmt formatCode="0" sourceLinked="0"/>
        <c:majorTickMark val="out"/>
        <c:minorTickMark val="none"/>
        <c:tickLblPos val="nextTo"/>
        <c:spPr>
          <a:ln w="15875">
            <a:solidFill>
              <a:srgbClr val="003C64"/>
            </a:solidFill>
            <a:prstDash val="solid"/>
          </a:ln>
        </c:spPr>
        <c:txPr>
          <a:bodyPr rot="0" vert="horz"/>
          <a:lstStyle/>
          <a:p>
            <a:pPr>
              <a:defRPr sz="900" b="0" i="0" u="none" strike="noStrike" baseline="0">
                <a:solidFill>
                  <a:srgbClr val="000000"/>
                </a:solidFill>
                <a:latin typeface="Arial"/>
                <a:ea typeface="Arial"/>
                <a:cs typeface="Arial"/>
              </a:defRPr>
            </a:pPr>
            <a:endParaRPr lang="en-US"/>
          </a:p>
        </c:txPr>
        <c:crossAx val="216655360"/>
        <c:crosses val="autoZero"/>
        <c:crossBetween val="between"/>
      </c:valAx>
      <c:spPr>
        <a:solidFill>
          <a:srgbClr val="FFFFFF"/>
        </a:solidFill>
        <a:ln w="25400">
          <a:noFill/>
        </a:ln>
      </c:spPr>
    </c:plotArea>
    <c:plotVisOnly val="1"/>
    <c:dispBlanksAs val="gap"/>
    <c:showDLblsOverMax val="0"/>
  </c:chart>
  <c:spPr>
    <a:solidFill>
      <a:srgbClr val="FFFFFF"/>
    </a:solidFill>
    <a:ln w="25400">
      <a:noFill/>
    </a:ln>
  </c:spPr>
  <c:txPr>
    <a:bodyPr/>
    <a:lstStyle/>
    <a:p>
      <a:pPr>
        <a:defRPr sz="1500" b="0" i="0" u="none" strike="noStrike" baseline="0">
          <a:solidFill>
            <a:srgbClr val="000000"/>
          </a:solidFill>
          <a:latin typeface="Arial"/>
          <a:ea typeface="Arial"/>
          <a:cs typeface="Arial"/>
        </a:defRPr>
      </a:pPr>
      <a:endParaRPr lang="en-US"/>
    </a:p>
  </c:txPr>
  <c:externalData r:id="rId2">
    <c:autoUpdate val="0"/>
  </c:externalData>
</c:chartSpace>
</file>

<file path=ppt/drawings/drawing1.xml><?xml version="1.0" encoding="utf-8"?>
<c:userShapes xmlns:c="http://schemas.openxmlformats.org/drawingml/2006/chart">
  <cdr:relSizeAnchor xmlns:cdr="http://schemas.openxmlformats.org/drawingml/2006/chartDrawing">
    <cdr:from>
      <cdr:x>0.56857</cdr:x>
      <cdr:y>0.08049</cdr:y>
    </cdr:from>
    <cdr:to>
      <cdr:x>0.76498</cdr:x>
      <cdr:y>0.19932</cdr:y>
    </cdr:to>
    <cdr:sp macro="" textlink="">
      <cdr:nvSpPr>
        <cdr:cNvPr id="1206" name="BBPieLabel1"/>
        <cdr:cNvSpPr txBox="1">
          <a:spLocks xmlns:a="http://schemas.openxmlformats.org/drawingml/2006/main" noChangeArrowheads="1"/>
        </cdr:cNvSpPr>
      </cdr:nvSpPr>
      <cdr:spPr bwMode="auto">
        <a:xfrm xmlns:a="http://schemas.openxmlformats.org/drawingml/2006/main">
          <a:off x="1987425" y="185546"/>
          <a:ext cx="686535" cy="273921"/>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9"/>
              </a:solidFill>
            </a14:hiddenFill>
          </a:ext>
          <a:ext uri="{91240B29-F687-4F45-9708-019B960494DF}">
            <a14:hiddenLine xmlns:a14="http://schemas.microsoft.com/office/drawing/2010/main" w="9525">
              <a:solidFill>
                <a:srgbClr xmlns:mc="http://schemas.openxmlformats.org/markup-compatibility/2006" val="000000" mc:Ignorable="a14" a14:legacySpreadsheetColorIndex="77"/>
              </a:solidFill>
              <a:miter lim="800000"/>
              <a:headEnd/>
              <a:tailEnd/>
            </a14:hiddenLine>
          </a:ext>
        </a:extLst>
      </cdr:spPr>
      <cdr:txBody>
        <a:bodyPr xmlns:a="http://schemas.openxmlformats.org/drawingml/2006/main" wrap="none" lIns="27432" tIns="27432" rIns="0" bIns="0" anchor="t" upright="1">
          <a:spAutoFit/>
        </a:bodyPr>
        <a:lstStyle xmlns:a="http://schemas.openxmlformats.org/drawingml/2006/main"/>
        <a:p xmlns:a="http://schemas.openxmlformats.org/drawingml/2006/main">
          <a:pPr algn="l" rtl="0">
            <a:defRPr sz="1000"/>
          </a:pPr>
          <a:r>
            <a:rPr lang="en-US" sz="800" b="1" noProof="0" dirty="0" smtClean="0">
              <a:solidFill>
                <a:srgbClr val="005482"/>
              </a:solidFill>
              <a:latin typeface="Arial"/>
              <a:cs typeface="Arial"/>
            </a:rPr>
            <a:t>Equities</a:t>
          </a:r>
          <a:endParaRPr lang="en-US" sz="800" b="1" i="0" u="none" strike="noStrike" baseline="0" noProof="0" dirty="0" smtClean="0">
            <a:solidFill>
              <a:srgbClr val="005482"/>
            </a:solidFill>
            <a:latin typeface="Arial"/>
            <a:cs typeface="Arial"/>
          </a:endParaRPr>
        </a:p>
        <a:p xmlns:a="http://schemas.openxmlformats.org/drawingml/2006/main">
          <a:pPr algn="l" rtl="0">
            <a:defRPr sz="1000"/>
          </a:pPr>
          <a:r>
            <a:rPr lang="en-US" sz="800" b="1" noProof="0" dirty="0" smtClean="0">
              <a:solidFill>
                <a:srgbClr val="005482"/>
              </a:solidFill>
              <a:cs typeface="Arial"/>
            </a:rPr>
            <a:t>€192bn </a:t>
          </a:r>
          <a:r>
            <a:rPr lang="en-US" sz="800" b="1" i="0" u="none" strike="noStrike" baseline="0" noProof="0" dirty="0" smtClean="0">
              <a:solidFill>
                <a:srgbClr val="005482"/>
              </a:solidFill>
              <a:latin typeface="Arial"/>
              <a:cs typeface="Arial"/>
            </a:rPr>
            <a:t>(15%)</a:t>
          </a:r>
          <a:endParaRPr lang="en-US" sz="800" b="1" i="0" u="none" strike="noStrike" baseline="0" noProof="0" dirty="0">
            <a:solidFill>
              <a:srgbClr val="005482"/>
            </a:solidFill>
            <a:latin typeface="Arial"/>
            <a:cs typeface="Arial"/>
          </a:endParaRPr>
        </a:p>
      </cdr:txBody>
    </cdr:sp>
  </cdr:relSizeAnchor>
  <cdr:relSizeAnchor xmlns:cdr="http://schemas.openxmlformats.org/drawingml/2006/chartDrawing">
    <cdr:from>
      <cdr:x>0.7353</cdr:x>
      <cdr:y>0.44604</cdr:y>
    </cdr:from>
    <cdr:to>
      <cdr:x>0.93171</cdr:x>
      <cdr:y>0.56487</cdr:y>
    </cdr:to>
    <cdr:sp macro="" textlink="">
      <cdr:nvSpPr>
        <cdr:cNvPr id="1207" name="BBPieLabel2"/>
        <cdr:cNvSpPr txBox="1">
          <a:spLocks xmlns:a="http://schemas.openxmlformats.org/drawingml/2006/main" noChangeArrowheads="1"/>
        </cdr:cNvSpPr>
      </cdr:nvSpPr>
      <cdr:spPr bwMode="auto">
        <a:xfrm xmlns:a="http://schemas.openxmlformats.org/drawingml/2006/main">
          <a:off x="2570223" y="1028182"/>
          <a:ext cx="686535" cy="273921"/>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9"/>
              </a:solidFill>
            </a14:hiddenFill>
          </a:ext>
          <a:ext uri="{91240B29-F687-4F45-9708-019B960494DF}">
            <a14:hiddenLine xmlns:a14="http://schemas.microsoft.com/office/drawing/2010/main" w="9525">
              <a:solidFill>
                <a:srgbClr xmlns:mc="http://schemas.openxmlformats.org/markup-compatibility/2006" val="000000" mc:Ignorable="a14" a14:legacySpreadsheetColorIndex="77"/>
              </a:solidFill>
              <a:miter lim="800000"/>
              <a:headEnd/>
              <a:tailEnd/>
            </a14:hiddenLine>
          </a:ext>
        </a:extLst>
      </cdr:spPr>
      <cdr:txBody>
        <a:bodyPr xmlns:a="http://schemas.openxmlformats.org/drawingml/2006/main" wrap="none" lIns="27432" tIns="27432" rIns="0" bIns="0" anchor="t" upright="1">
          <a:spAutoFit/>
        </a:bodyPr>
        <a:lstStyle xmlns:a="http://schemas.openxmlformats.org/drawingml/2006/main"/>
        <a:p xmlns:a="http://schemas.openxmlformats.org/drawingml/2006/main">
          <a:pPr algn="l" rtl="0">
            <a:defRPr sz="1000"/>
          </a:pPr>
          <a:r>
            <a:rPr lang="en-US" sz="800" b="1" i="0" u="none" strike="noStrike" baseline="0" noProof="0" dirty="0" smtClean="0">
              <a:solidFill>
                <a:srgbClr val="1496C9"/>
              </a:solidFill>
              <a:latin typeface="Arial"/>
              <a:cs typeface="Arial"/>
            </a:rPr>
            <a:t>Multi-assets</a:t>
          </a:r>
        </a:p>
        <a:p xmlns:a="http://schemas.openxmlformats.org/drawingml/2006/main">
          <a:pPr algn="l" rtl="0">
            <a:defRPr sz="1000"/>
          </a:pPr>
          <a:r>
            <a:rPr lang="en-US" sz="800" b="1" noProof="0" dirty="0" smtClean="0">
              <a:solidFill>
                <a:srgbClr val="1496C9"/>
              </a:solidFill>
              <a:cs typeface="Arial"/>
            </a:rPr>
            <a:t>€234bn </a:t>
          </a:r>
          <a:r>
            <a:rPr lang="en-US" sz="800" b="1" i="0" u="none" strike="noStrike" baseline="0" noProof="0" dirty="0" smtClean="0">
              <a:solidFill>
                <a:srgbClr val="1496C9"/>
              </a:solidFill>
              <a:latin typeface="Arial"/>
              <a:cs typeface="Arial"/>
            </a:rPr>
            <a:t>(</a:t>
          </a:r>
          <a:r>
            <a:rPr lang="en-US" sz="800" b="1" dirty="0" smtClean="0">
              <a:solidFill>
                <a:srgbClr val="1496C9"/>
              </a:solidFill>
              <a:latin typeface="Arial"/>
              <a:cs typeface="Arial"/>
            </a:rPr>
            <a:t>18</a:t>
          </a:r>
          <a:r>
            <a:rPr lang="en-US" sz="800" b="1" i="0" u="none" strike="noStrike" baseline="0" noProof="0" dirty="0" smtClean="0">
              <a:solidFill>
                <a:srgbClr val="1496C9"/>
              </a:solidFill>
              <a:latin typeface="Arial"/>
              <a:cs typeface="Arial"/>
            </a:rPr>
            <a:t>%)</a:t>
          </a:r>
          <a:endParaRPr lang="en-US" sz="800" b="1" i="0" u="none" strike="noStrike" baseline="0" noProof="0" dirty="0">
            <a:solidFill>
              <a:srgbClr val="1496C9"/>
            </a:solidFill>
            <a:latin typeface="Arial"/>
            <a:cs typeface="Arial"/>
          </a:endParaRPr>
        </a:p>
      </cdr:txBody>
    </cdr:sp>
  </cdr:relSizeAnchor>
  <cdr:relSizeAnchor xmlns:cdr="http://schemas.openxmlformats.org/drawingml/2006/chartDrawing">
    <cdr:from>
      <cdr:x>0.65329</cdr:x>
      <cdr:y>0.80185</cdr:y>
    </cdr:from>
    <cdr:to>
      <cdr:x>0.92583</cdr:x>
      <cdr:y>0.92068</cdr:y>
    </cdr:to>
    <cdr:sp macro="" textlink="">
      <cdr:nvSpPr>
        <cdr:cNvPr id="1208" name="BBPieLabel3"/>
        <cdr:cNvSpPr txBox="1">
          <a:spLocks xmlns:a="http://schemas.openxmlformats.org/drawingml/2006/main" noChangeArrowheads="1"/>
        </cdr:cNvSpPr>
      </cdr:nvSpPr>
      <cdr:spPr bwMode="auto">
        <a:xfrm xmlns:a="http://schemas.openxmlformats.org/drawingml/2006/main">
          <a:off x="2283544" y="1848370"/>
          <a:ext cx="952633" cy="273921"/>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9"/>
              </a:solidFill>
            </a14:hiddenFill>
          </a:ext>
          <a:ext uri="{91240B29-F687-4F45-9708-019B960494DF}">
            <a14:hiddenLine xmlns:a14="http://schemas.microsoft.com/office/drawing/2010/main" w="9525">
              <a:solidFill>
                <a:srgbClr xmlns:mc="http://schemas.openxmlformats.org/markup-compatibility/2006" val="000000" mc:Ignorable="a14" a14:legacySpreadsheetColorIndex="77"/>
              </a:solidFill>
              <a:miter lim="800000"/>
              <a:headEnd/>
              <a:tailEnd/>
            </a14:hiddenLine>
          </a:ext>
        </a:extLst>
      </cdr:spPr>
      <cdr:txBody>
        <a:bodyPr xmlns:a="http://schemas.openxmlformats.org/drawingml/2006/main" wrap="none" lIns="27432" tIns="27432" rIns="0" bIns="0" anchor="t" upright="1">
          <a:spAutoFit/>
        </a:bodyPr>
        <a:lstStyle xmlns:a="http://schemas.openxmlformats.org/drawingml/2006/main"/>
        <a:p xmlns:a="http://schemas.openxmlformats.org/drawingml/2006/main">
          <a:pPr algn="l" rtl="0">
            <a:defRPr sz="1000"/>
          </a:pPr>
          <a:r>
            <a:rPr lang="en-US" sz="800" b="1" i="0" u="none" strike="noStrike" baseline="0" noProof="0" dirty="0" smtClean="0">
              <a:solidFill>
                <a:srgbClr val="00C4F1"/>
              </a:solidFill>
              <a:latin typeface="Arial"/>
              <a:cs typeface="Arial"/>
            </a:rPr>
            <a:t>Liquidity Solutions</a:t>
          </a:r>
        </a:p>
        <a:p xmlns:a="http://schemas.openxmlformats.org/drawingml/2006/main">
          <a:pPr algn="l" rtl="0">
            <a:defRPr sz="1000"/>
          </a:pPr>
          <a:r>
            <a:rPr lang="en-US" sz="800" b="1" noProof="0" dirty="0" smtClean="0">
              <a:solidFill>
                <a:srgbClr val="00C4F1"/>
              </a:solidFill>
              <a:cs typeface="Arial"/>
            </a:rPr>
            <a:t>€186bn </a:t>
          </a:r>
          <a:r>
            <a:rPr lang="en-US" sz="800" b="1" i="0" u="none" strike="noStrike" baseline="0" noProof="0" dirty="0" smtClean="0">
              <a:solidFill>
                <a:srgbClr val="00C4F1"/>
              </a:solidFill>
              <a:latin typeface="Arial"/>
              <a:cs typeface="Arial"/>
            </a:rPr>
            <a:t>(14%)</a:t>
          </a:r>
          <a:endParaRPr lang="en-US" sz="800" b="1" i="0" u="none" strike="noStrike" baseline="0" noProof="0" dirty="0">
            <a:solidFill>
              <a:srgbClr val="00C4F1"/>
            </a:solidFill>
            <a:latin typeface="Arial"/>
            <a:cs typeface="Arial"/>
          </a:endParaRPr>
        </a:p>
      </cdr:txBody>
    </cdr:sp>
  </cdr:relSizeAnchor>
  <cdr:relSizeAnchor xmlns:cdr="http://schemas.openxmlformats.org/drawingml/2006/chartDrawing">
    <cdr:from>
      <cdr:x>0.05361</cdr:x>
      <cdr:y>0.69342</cdr:y>
    </cdr:from>
    <cdr:to>
      <cdr:x>0.26237</cdr:x>
      <cdr:y>0.81225</cdr:y>
    </cdr:to>
    <cdr:sp macro="" textlink="">
      <cdr:nvSpPr>
        <cdr:cNvPr id="1209" name="BBPieLabel4"/>
        <cdr:cNvSpPr txBox="1">
          <a:spLocks xmlns:a="http://schemas.openxmlformats.org/drawingml/2006/main" noChangeArrowheads="1"/>
        </cdr:cNvSpPr>
      </cdr:nvSpPr>
      <cdr:spPr bwMode="auto">
        <a:xfrm xmlns:a="http://schemas.openxmlformats.org/drawingml/2006/main">
          <a:off x="187402" y="1598418"/>
          <a:ext cx="729694" cy="273921"/>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9"/>
              </a:solidFill>
            </a14:hiddenFill>
          </a:ext>
          <a:ext uri="{91240B29-F687-4F45-9708-019B960494DF}">
            <a14:hiddenLine xmlns:a14="http://schemas.microsoft.com/office/drawing/2010/main" w="9525">
              <a:solidFill>
                <a:srgbClr xmlns:mc="http://schemas.openxmlformats.org/markup-compatibility/2006" val="000000" mc:Ignorable="a14" a14:legacySpreadsheetColorIndex="77"/>
              </a:solidFill>
              <a:miter lim="800000"/>
              <a:headEnd/>
              <a:tailEnd/>
            </a14:hiddenLine>
          </a:ext>
        </a:extLst>
      </cdr:spPr>
      <cdr:txBody>
        <a:bodyPr xmlns:a="http://schemas.openxmlformats.org/drawingml/2006/main" wrap="square" lIns="27432" tIns="27432" rIns="0" bIns="0" anchor="t" upright="1">
          <a:spAutoFit/>
        </a:bodyPr>
        <a:lstStyle xmlns:a="http://schemas.openxmlformats.org/drawingml/2006/main"/>
        <a:p xmlns:a="http://schemas.openxmlformats.org/drawingml/2006/main">
          <a:pPr algn="l" rtl="0">
            <a:defRPr sz="1000"/>
          </a:pPr>
          <a:r>
            <a:rPr lang="en-US" sz="800" b="1" i="0" u="none" strike="noStrike" baseline="0" noProof="0" dirty="0" smtClean="0">
              <a:solidFill>
                <a:schemeClr val="tx1"/>
              </a:solidFill>
              <a:latin typeface="Arial"/>
              <a:cs typeface="Arial"/>
            </a:rPr>
            <a:t>Fixed income</a:t>
          </a:r>
        </a:p>
        <a:p xmlns:a="http://schemas.openxmlformats.org/drawingml/2006/main">
          <a:pPr algn="l" rtl="0">
            <a:defRPr sz="1000"/>
          </a:pPr>
          <a:r>
            <a:rPr lang="en-US" sz="800" b="1" i="0" u="none" strike="noStrike" baseline="0" noProof="0" dirty="0" smtClean="0">
              <a:solidFill>
                <a:schemeClr val="tx1"/>
              </a:solidFill>
              <a:latin typeface="Arial"/>
              <a:cs typeface="Arial"/>
            </a:rPr>
            <a:t>€</a:t>
          </a:r>
          <a:r>
            <a:rPr lang="en-US" sz="800" b="1" noProof="0" dirty="0" smtClean="0">
              <a:solidFill>
                <a:schemeClr val="tx1"/>
              </a:solidFill>
              <a:latin typeface="Arial"/>
              <a:cs typeface="Arial"/>
            </a:rPr>
            <a:t>614</a:t>
          </a:r>
          <a:r>
            <a:rPr lang="en-US" sz="800" b="1" i="0" u="none" strike="noStrike" baseline="0" noProof="0" dirty="0" smtClean="0">
              <a:solidFill>
                <a:schemeClr val="tx1"/>
              </a:solidFill>
              <a:latin typeface="Arial"/>
              <a:cs typeface="Arial"/>
            </a:rPr>
            <a:t>bn (</a:t>
          </a:r>
          <a:r>
            <a:rPr lang="en-US" sz="800" b="1" dirty="0" smtClean="0">
              <a:solidFill>
                <a:schemeClr val="tx1"/>
              </a:solidFill>
              <a:latin typeface="Arial"/>
              <a:cs typeface="Arial"/>
            </a:rPr>
            <a:t>47</a:t>
          </a:r>
          <a:r>
            <a:rPr lang="en-US" sz="800" b="1" i="0" u="none" strike="noStrike" baseline="0" noProof="0" dirty="0" smtClean="0">
              <a:solidFill>
                <a:schemeClr val="tx1"/>
              </a:solidFill>
              <a:latin typeface="Arial"/>
              <a:cs typeface="Arial"/>
            </a:rPr>
            <a:t>%)</a:t>
          </a:r>
          <a:endParaRPr lang="en-US" sz="800" b="1" i="0" u="none" strike="noStrike" baseline="0" noProof="0" dirty="0">
            <a:solidFill>
              <a:schemeClr val="tx1"/>
            </a:solidFill>
            <a:latin typeface="Arial"/>
            <a:cs typeface="Arial"/>
          </a:endParaRPr>
        </a:p>
      </cdr:txBody>
    </cdr:sp>
  </cdr:relSizeAnchor>
  <cdr:relSizeAnchor xmlns:cdr="http://schemas.openxmlformats.org/drawingml/2006/chartDrawing">
    <cdr:from>
      <cdr:x>2.86086E-7</cdr:x>
      <cdr:y>0.04034</cdr:y>
    </cdr:from>
    <cdr:to>
      <cdr:x>0.43532</cdr:x>
      <cdr:y>0.15917</cdr:y>
    </cdr:to>
    <cdr:sp macro="" textlink="">
      <cdr:nvSpPr>
        <cdr:cNvPr id="1210" name="BBPieLabel5"/>
        <cdr:cNvSpPr txBox="1">
          <a:spLocks xmlns:a="http://schemas.openxmlformats.org/drawingml/2006/main" noChangeArrowheads="1"/>
        </cdr:cNvSpPr>
      </cdr:nvSpPr>
      <cdr:spPr bwMode="auto">
        <a:xfrm xmlns:a="http://schemas.openxmlformats.org/drawingml/2006/main">
          <a:off x="1" y="92983"/>
          <a:ext cx="1521656" cy="273921"/>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9"/>
              </a:solidFill>
            </a14:hiddenFill>
          </a:ext>
          <a:ext uri="{91240B29-F687-4F45-9708-019B960494DF}">
            <a14:hiddenLine xmlns:a14="http://schemas.microsoft.com/office/drawing/2010/main" w="9525">
              <a:solidFill>
                <a:srgbClr xmlns:mc="http://schemas.openxmlformats.org/markup-compatibility/2006" val="000000" mc:Ignorable="a14" a14:legacySpreadsheetColorIndex="77"/>
              </a:solidFill>
              <a:miter lim="800000"/>
              <a:headEnd/>
              <a:tailEnd/>
            </a14:hiddenLine>
          </a:ext>
        </a:extLst>
      </cdr:spPr>
      <cdr:txBody>
        <a:bodyPr xmlns:a="http://schemas.openxmlformats.org/drawingml/2006/main" wrap="square" lIns="27432" tIns="27432" rIns="0" bIns="0" anchor="t" upright="1">
          <a:spAutoFit/>
        </a:bodyPr>
        <a:lstStyle xmlns:a="http://schemas.openxmlformats.org/drawingml/2006/main"/>
        <a:p xmlns:a="http://schemas.openxmlformats.org/drawingml/2006/main">
          <a:pPr algn="r" rtl="0">
            <a:defRPr sz="1000"/>
          </a:pPr>
          <a:r>
            <a:rPr lang="en-US" sz="800" b="1" i="0" u="none" strike="noStrike" baseline="0" noProof="0" dirty="0" smtClean="0">
              <a:solidFill>
                <a:schemeClr val="bg1">
                  <a:lumMod val="65000"/>
                </a:schemeClr>
              </a:solidFill>
              <a:latin typeface="Arial"/>
              <a:cs typeface="Arial"/>
            </a:rPr>
            <a:t>Real, alternative and structured assets</a:t>
          </a:r>
          <a:r>
            <a:rPr lang="en-US" sz="800" b="1" i="0" u="none" strike="noStrike" noProof="0" dirty="0" smtClean="0">
              <a:solidFill>
                <a:schemeClr val="bg1">
                  <a:lumMod val="65000"/>
                </a:schemeClr>
              </a:solidFill>
              <a:latin typeface="Arial"/>
              <a:cs typeface="Arial"/>
            </a:rPr>
            <a:t> </a:t>
          </a:r>
          <a:r>
            <a:rPr lang="en-US" sz="800" b="1" i="0" u="none" strike="noStrike" baseline="0" noProof="0" dirty="0" smtClean="0">
              <a:solidFill>
                <a:schemeClr val="bg1">
                  <a:lumMod val="65000"/>
                </a:schemeClr>
              </a:solidFill>
              <a:latin typeface="Arial"/>
              <a:cs typeface="Arial"/>
            </a:rPr>
            <a:t>€</a:t>
          </a:r>
          <a:r>
            <a:rPr lang="en-US" sz="800" b="1" dirty="0" smtClean="0">
              <a:solidFill>
                <a:schemeClr val="bg1">
                  <a:lumMod val="65000"/>
                </a:schemeClr>
              </a:solidFill>
              <a:latin typeface="Arial"/>
              <a:cs typeface="Arial"/>
            </a:rPr>
            <a:t>81</a:t>
          </a:r>
          <a:r>
            <a:rPr lang="en-US" sz="800" b="1" i="0" u="none" strike="noStrike" baseline="0" noProof="0" dirty="0" err="1" smtClean="0">
              <a:solidFill>
                <a:schemeClr val="bg1">
                  <a:lumMod val="65000"/>
                </a:schemeClr>
              </a:solidFill>
              <a:latin typeface="Arial"/>
              <a:cs typeface="Arial"/>
            </a:rPr>
            <a:t>bn</a:t>
          </a:r>
          <a:r>
            <a:rPr lang="en-US" sz="800" b="1" noProof="0" dirty="0" smtClean="0">
              <a:solidFill>
                <a:schemeClr val="bg1">
                  <a:lumMod val="65000"/>
                </a:schemeClr>
              </a:solidFill>
              <a:cs typeface="Arial"/>
            </a:rPr>
            <a:t> </a:t>
          </a:r>
          <a:r>
            <a:rPr lang="en-US" sz="800" b="1" i="0" u="none" strike="noStrike" baseline="0" noProof="0" dirty="0" smtClean="0">
              <a:solidFill>
                <a:schemeClr val="bg1">
                  <a:lumMod val="65000"/>
                </a:schemeClr>
              </a:solidFill>
              <a:latin typeface="Arial"/>
              <a:cs typeface="Arial"/>
            </a:rPr>
            <a:t>(6%)</a:t>
          </a:r>
          <a:endParaRPr lang="en-US" sz="800" b="1" i="0" u="none" strike="noStrike" baseline="0" noProof="0" dirty="0">
            <a:solidFill>
              <a:schemeClr val="bg1">
                <a:lumMod val="65000"/>
              </a:schemeClr>
            </a:solidFill>
            <a:latin typeface="Arial"/>
            <a:cs typeface="Aria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889362" cy="493713"/>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778155" y="0"/>
            <a:ext cx="2889362" cy="493713"/>
          </a:xfrm>
          <a:prstGeom prst="rect">
            <a:avLst/>
          </a:prstGeom>
        </p:spPr>
        <p:txBody>
          <a:bodyPr vert="horz" lIns="91440" tIns="45720" rIns="91440" bIns="45720" rtlCol="0"/>
          <a:lstStyle>
            <a:lvl1pPr algn="r">
              <a:defRPr sz="1200"/>
            </a:lvl1pPr>
          </a:lstStyle>
          <a:p>
            <a:fld id="{0D0167D4-A016-4808-BA80-0F555324BBAE}" type="datetimeFigureOut">
              <a:rPr lang="fr-FR" smtClean="0"/>
              <a:t>06/03/2018</a:t>
            </a:fld>
            <a:endParaRPr lang="fr-FR"/>
          </a:p>
        </p:txBody>
      </p:sp>
      <p:sp>
        <p:nvSpPr>
          <p:cNvPr id="4" name="Espace réservé du pied de page 3"/>
          <p:cNvSpPr>
            <a:spLocks noGrp="1"/>
          </p:cNvSpPr>
          <p:nvPr>
            <p:ph type="ftr" sz="quarter" idx="2"/>
          </p:nvPr>
        </p:nvSpPr>
        <p:spPr>
          <a:xfrm>
            <a:off x="0" y="9377363"/>
            <a:ext cx="2889362" cy="493712"/>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778155" y="9377363"/>
            <a:ext cx="2889362" cy="493712"/>
          </a:xfrm>
          <a:prstGeom prst="rect">
            <a:avLst/>
          </a:prstGeom>
        </p:spPr>
        <p:txBody>
          <a:bodyPr vert="horz" lIns="91440" tIns="45720" rIns="91440" bIns="45720" rtlCol="0" anchor="b"/>
          <a:lstStyle>
            <a:lvl1pPr algn="r">
              <a:defRPr sz="1200"/>
            </a:lvl1pPr>
          </a:lstStyle>
          <a:p>
            <a:fld id="{EA61AF8A-7E1C-4957-B44D-20A47ECD9F96}" type="slidenum">
              <a:rPr lang="fr-FR" smtClean="0"/>
              <a:t>‹#›</a:t>
            </a:fld>
            <a:endParaRPr lang="fr-FR"/>
          </a:p>
        </p:txBody>
      </p:sp>
    </p:spTree>
    <p:extLst>
      <p:ext uri="{BB962C8B-B14F-4D97-AF65-F5344CB8AC3E}">
        <p14:creationId xmlns:p14="http://schemas.microsoft.com/office/powerpoint/2010/main" val="18812101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889938" cy="49534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777607" y="0"/>
            <a:ext cx="2889938" cy="495348"/>
          </a:xfrm>
          <a:prstGeom prst="rect">
            <a:avLst/>
          </a:prstGeom>
        </p:spPr>
        <p:txBody>
          <a:bodyPr vert="horz" lIns="91440" tIns="45720" rIns="91440" bIns="45720" rtlCol="0"/>
          <a:lstStyle>
            <a:lvl1pPr algn="r">
              <a:defRPr sz="1200"/>
            </a:lvl1pPr>
          </a:lstStyle>
          <a:p>
            <a:fld id="{4FABE3DF-9B42-6F42-B595-8789B0F99C6A}" type="datetimeFigureOut">
              <a:rPr lang="fr-FR" smtClean="0"/>
              <a:t>06/03/2018</a:t>
            </a:fld>
            <a:endParaRPr lang="fr-FR"/>
          </a:p>
        </p:txBody>
      </p:sp>
      <p:sp>
        <p:nvSpPr>
          <p:cNvPr id="4" name="Espace réservé de l’image des diapositives 3"/>
          <p:cNvSpPr>
            <a:spLocks noGrp="1" noRot="1" noChangeAspect="1"/>
          </p:cNvSpPr>
          <p:nvPr>
            <p:ph type="sldImg" idx="2"/>
          </p:nvPr>
        </p:nvSpPr>
        <p:spPr>
          <a:xfrm>
            <a:off x="1114425" y="1233488"/>
            <a:ext cx="4440238" cy="3332162"/>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66909" y="4751221"/>
            <a:ext cx="5335270" cy="3887361"/>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377319"/>
            <a:ext cx="2889938" cy="49534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777607" y="9377319"/>
            <a:ext cx="2889938" cy="495347"/>
          </a:xfrm>
          <a:prstGeom prst="rect">
            <a:avLst/>
          </a:prstGeom>
        </p:spPr>
        <p:txBody>
          <a:bodyPr vert="horz" lIns="91440" tIns="45720" rIns="91440" bIns="45720" rtlCol="0" anchor="b"/>
          <a:lstStyle>
            <a:lvl1pPr algn="r">
              <a:defRPr sz="1200"/>
            </a:lvl1pPr>
          </a:lstStyle>
          <a:p>
            <a:fld id="{F94CB9D9-8607-4446-80EE-4BEFE06B9BD3}" type="slidenum">
              <a:rPr lang="fr-FR" smtClean="0"/>
              <a:t>‹#›</a:t>
            </a:fld>
            <a:endParaRPr lang="fr-FR"/>
          </a:p>
        </p:txBody>
      </p:sp>
    </p:spTree>
    <p:extLst>
      <p:ext uri="{BB962C8B-B14F-4D97-AF65-F5344CB8AC3E}">
        <p14:creationId xmlns:p14="http://schemas.microsoft.com/office/powerpoint/2010/main" val="3490983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F94CB9D9-8607-4446-80EE-4BEFE06B9BD3}" type="slidenum">
              <a:rPr lang="fr-FR" smtClean="0"/>
              <a:t>2</a:t>
            </a:fld>
            <a:endParaRPr lang="fr-FR"/>
          </a:p>
        </p:txBody>
      </p:sp>
    </p:spTree>
    <p:extLst>
      <p:ext uri="{BB962C8B-B14F-4D97-AF65-F5344CB8AC3E}">
        <p14:creationId xmlns:p14="http://schemas.microsoft.com/office/powerpoint/2010/main" val="6839277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a:p>
        </p:txBody>
      </p:sp>
    </p:spTree>
    <p:extLst>
      <p:ext uri="{BB962C8B-B14F-4D97-AF65-F5344CB8AC3E}">
        <p14:creationId xmlns:p14="http://schemas.microsoft.com/office/powerpoint/2010/main" val="842811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94CB9D9-8607-4446-80EE-4BEFE06B9BD3}" type="slidenum">
              <a:rPr lang="fr-FR" smtClean="0"/>
              <a:t>10</a:t>
            </a:fld>
            <a:endParaRPr lang="fr-FR"/>
          </a:p>
        </p:txBody>
      </p:sp>
    </p:spTree>
    <p:extLst>
      <p:ext uri="{BB962C8B-B14F-4D97-AF65-F5344CB8AC3E}">
        <p14:creationId xmlns:p14="http://schemas.microsoft.com/office/powerpoint/2010/main" val="3224220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F94CB9D9-8607-4446-80EE-4BEFE06B9BD3}" type="slidenum">
              <a:rPr lang="fr-FR" smtClean="0"/>
              <a:t>12</a:t>
            </a:fld>
            <a:endParaRPr lang="fr-FR"/>
          </a:p>
        </p:txBody>
      </p:sp>
    </p:spTree>
    <p:extLst>
      <p:ext uri="{BB962C8B-B14F-4D97-AF65-F5344CB8AC3E}">
        <p14:creationId xmlns:p14="http://schemas.microsoft.com/office/powerpoint/2010/main" val="39699675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94CB9D9-8607-4446-80EE-4BEFE06B9BD3}" type="slidenum">
              <a:rPr lang="fr-FR" smtClean="0"/>
              <a:t>15</a:t>
            </a:fld>
            <a:endParaRPr lang="fr-FR"/>
          </a:p>
        </p:txBody>
      </p:sp>
    </p:spTree>
    <p:extLst>
      <p:ext uri="{BB962C8B-B14F-4D97-AF65-F5344CB8AC3E}">
        <p14:creationId xmlns:p14="http://schemas.microsoft.com/office/powerpoint/2010/main" val="6691754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sz="8800" b="1" dirty="0">
              <a:solidFill>
                <a:srgbClr val="FF0000"/>
              </a:solidFill>
            </a:endParaRPr>
          </a:p>
        </p:txBody>
      </p:sp>
      <p:sp>
        <p:nvSpPr>
          <p:cNvPr id="4" name="Espace réservé du numéro de diapositive 3"/>
          <p:cNvSpPr>
            <a:spLocks noGrp="1"/>
          </p:cNvSpPr>
          <p:nvPr>
            <p:ph type="sldNum" sz="quarter" idx="10"/>
          </p:nvPr>
        </p:nvSpPr>
        <p:spPr/>
        <p:txBody>
          <a:bodyPr/>
          <a:lstStyle/>
          <a:p>
            <a:fld id="{F94CB9D9-8607-4446-80EE-4BEFE06B9BD3}" type="slidenum">
              <a:rPr lang="fr-FR" smtClean="0"/>
              <a:t>24</a:t>
            </a:fld>
            <a:endParaRPr lang="fr-FR"/>
          </a:p>
        </p:txBody>
      </p:sp>
    </p:spTree>
    <p:extLst>
      <p:ext uri="{BB962C8B-B14F-4D97-AF65-F5344CB8AC3E}">
        <p14:creationId xmlns:p14="http://schemas.microsoft.com/office/powerpoint/2010/main" val="1043904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94CB9D9-8607-4446-80EE-4BEFE06B9BD3}" type="slidenum">
              <a:rPr lang="fr-FR" smtClean="0"/>
              <a:t>28</a:t>
            </a:fld>
            <a:endParaRPr lang="fr-FR"/>
          </a:p>
        </p:txBody>
      </p:sp>
    </p:spTree>
    <p:extLst>
      <p:ext uri="{BB962C8B-B14F-4D97-AF65-F5344CB8AC3E}">
        <p14:creationId xmlns:p14="http://schemas.microsoft.com/office/powerpoint/2010/main" val="1696432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Tree>
    <p:extLst>
      <p:ext uri="{BB962C8B-B14F-4D97-AF65-F5344CB8AC3E}">
        <p14:creationId xmlns:p14="http://schemas.microsoft.com/office/powerpoint/2010/main" val="4156049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Tree>
    <p:extLst>
      <p:ext uri="{BB962C8B-B14F-4D97-AF65-F5344CB8AC3E}">
        <p14:creationId xmlns:p14="http://schemas.microsoft.com/office/powerpoint/2010/main" val="32523124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a:p>
        </p:txBody>
      </p:sp>
    </p:spTree>
    <p:extLst>
      <p:ext uri="{BB962C8B-B14F-4D97-AF65-F5344CB8AC3E}">
        <p14:creationId xmlns:p14="http://schemas.microsoft.com/office/powerpoint/2010/main" val="4549827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14" name="Rectangle 13"/>
          <p:cNvSpPr/>
          <p:nvPr userDrawn="1"/>
        </p:nvSpPr>
        <p:spPr>
          <a:xfrm>
            <a:off x="0" y="3888000"/>
            <a:ext cx="9144000" cy="2430000"/>
          </a:xfrm>
          <a:prstGeom prst="rect">
            <a:avLst/>
          </a:prstGeom>
          <a:solidFill>
            <a:srgbClr val="003C64"/>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2" name="Title 1"/>
          <p:cNvSpPr>
            <a:spLocks noGrp="1"/>
          </p:cNvSpPr>
          <p:nvPr>
            <p:ph type="ctrTitle"/>
          </p:nvPr>
        </p:nvSpPr>
        <p:spPr>
          <a:xfrm>
            <a:off x="828000" y="4591745"/>
            <a:ext cx="7772400" cy="1338789"/>
          </a:xfrm>
        </p:spPr>
        <p:txBody>
          <a:bodyPr anchor="t" anchorCtr="0">
            <a:normAutofit/>
          </a:bodyPr>
          <a:lstStyle>
            <a:lvl1pPr algn="l">
              <a:lnSpc>
                <a:spcPct val="100000"/>
              </a:lnSpc>
              <a:defRPr sz="2500" b="0" spc="100" baseline="0">
                <a:solidFill>
                  <a:schemeClr val="bg1"/>
                </a:solidFill>
              </a:defRPr>
            </a:lvl1pPr>
          </a:lstStyle>
          <a:p>
            <a:r>
              <a:rPr lang="fr-FR"/>
              <a:t>Cliquez et modifiez le titre</a:t>
            </a:r>
            <a:endParaRPr lang="en-US" dirty="0"/>
          </a:p>
        </p:txBody>
      </p:sp>
      <p:sp>
        <p:nvSpPr>
          <p:cNvPr id="3" name="Subtitle 2"/>
          <p:cNvSpPr>
            <a:spLocks noGrp="1"/>
          </p:cNvSpPr>
          <p:nvPr>
            <p:ph type="subTitle" idx="1"/>
          </p:nvPr>
        </p:nvSpPr>
        <p:spPr>
          <a:xfrm>
            <a:off x="828000" y="4186800"/>
            <a:ext cx="7772400" cy="242802"/>
          </a:xfrm>
        </p:spPr>
        <p:txBody>
          <a:bodyPr>
            <a:normAutofit/>
          </a:bodyPr>
          <a:lstStyle>
            <a:lvl1pPr marL="0" indent="0" algn="l">
              <a:buNone/>
              <a:defRPr sz="1000" spc="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quez pour modifier le style des sous-titres du masque</a:t>
            </a:r>
            <a:endParaRPr lang="en-US" dirty="0"/>
          </a:p>
        </p:txBody>
      </p:sp>
      <p:sp>
        <p:nvSpPr>
          <p:cNvPr id="9" name="Rectangle 8"/>
          <p:cNvSpPr/>
          <p:nvPr userDrawn="1"/>
        </p:nvSpPr>
        <p:spPr>
          <a:xfrm>
            <a:off x="862925" y="2871000"/>
            <a:ext cx="9648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10" name="Rectangle 9"/>
          <p:cNvSpPr/>
          <p:nvPr userDrawn="1"/>
        </p:nvSpPr>
        <p:spPr>
          <a:xfrm>
            <a:off x="0" y="3088800"/>
            <a:ext cx="9144000" cy="158400"/>
          </a:xfrm>
          <a:prstGeom prst="rect">
            <a:avLst/>
          </a:prstGeom>
          <a:solidFill>
            <a:srgbClr val="00C3F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11" name="Rectangle 10"/>
          <p:cNvSpPr/>
          <p:nvPr userDrawn="1"/>
        </p:nvSpPr>
        <p:spPr>
          <a:xfrm>
            <a:off x="0" y="3290400"/>
            <a:ext cx="9144000" cy="158400"/>
          </a:xfrm>
          <a:prstGeom prst="rect">
            <a:avLst/>
          </a:prstGeom>
          <a:solidFill>
            <a:srgbClr val="1596C8"/>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12" name="Rectangle 11"/>
          <p:cNvSpPr/>
          <p:nvPr userDrawn="1"/>
        </p:nvSpPr>
        <p:spPr>
          <a:xfrm>
            <a:off x="0" y="3488400"/>
            <a:ext cx="9144000" cy="158400"/>
          </a:xfrm>
          <a:prstGeom prst="rect">
            <a:avLst/>
          </a:prstGeom>
          <a:solidFill>
            <a:srgbClr val="0073A3"/>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13" name="Rectangle 12"/>
          <p:cNvSpPr/>
          <p:nvPr userDrawn="1"/>
        </p:nvSpPr>
        <p:spPr>
          <a:xfrm>
            <a:off x="0" y="3690000"/>
            <a:ext cx="9144000" cy="158400"/>
          </a:xfrm>
          <a:prstGeom prst="rect">
            <a:avLst/>
          </a:prstGeom>
          <a:solidFill>
            <a:srgbClr val="005483"/>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22" name="Rectangle 21"/>
          <p:cNvSpPr/>
          <p:nvPr userDrawn="1"/>
        </p:nvSpPr>
        <p:spPr>
          <a:xfrm>
            <a:off x="862925" y="6499133"/>
            <a:ext cx="9648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5938" y="277900"/>
            <a:ext cx="3203574" cy="1222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540000" y="799865"/>
            <a:ext cx="8063999" cy="388800"/>
          </a:xfrm>
        </p:spPr>
        <p:txBody>
          <a:bodyPr/>
          <a:lstStyle/>
          <a:p>
            <a:r>
              <a:rPr lang="fr-FR" smtClean="0"/>
              <a:t>Cliquez et modifiez le titre</a:t>
            </a:r>
            <a:endParaRPr lang="en-US" dirty="0"/>
          </a:p>
        </p:txBody>
      </p:sp>
      <p:sp>
        <p:nvSpPr>
          <p:cNvPr id="3" name="Content Placeholder 2"/>
          <p:cNvSpPr>
            <a:spLocks noGrp="1"/>
          </p:cNvSpPr>
          <p:nvPr>
            <p:ph sz="half" idx="1"/>
          </p:nvPr>
        </p:nvSpPr>
        <p:spPr>
          <a:xfrm>
            <a:off x="539999" y="1825625"/>
            <a:ext cx="3974851" cy="4148455"/>
          </a:xfrm>
        </p:spPr>
        <p:txBody>
          <a:bodyPr/>
          <a:lstStyle/>
          <a:p>
            <a:pPr lvl="0"/>
            <a:r>
              <a:rPr lang="fr-FR"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4" name="Content Placeholder 3"/>
          <p:cNvSpPr>
            <a:spLocks noGrp="1"/>
          </p:cNvSpPr>
          <p:nvPr>
            <p:ph sz="half" idx="2"/>
          </p:nvPr>
        </p:nvSpPr>
        <p:spPr>
          <a:xfrm>
            <a:off x="4629150" y="1825625"/>
            <a:ext cx="3974848" cy="4148455"/>
          </a:xfrm>
        </p:spPr>
        <p:txBody>
          <a:bodyPr/>
          <a:lstStyle/>
          <a:p>
            <a:pPr lvl="0"/>
            <a:r>
              <a:rPr lang="fr-FR"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Footer Placeholder 5"/>
          <p:cNvSpPr>
            <a:spLocks noGrp="1"/>
          </p:cNvSpPr>
          <p:nvPr>
            <p:ph type="ftr" sz="quarter" idx="11"/>
          </p:nvPr>
        </p:nvSpPr>
        <p:spPr/>
        <p:txBody>
          <a:bodyPr/>
          <a:lstStyle/>
          <a:p>
            <a:r>
              <a:rPr lang="fr-FR" smtClean="0"/>
              <a:t>Smart Beta - Investment Solutions</a:t>
            </a:r>
            <a:endParaRPr lang="fr-FR" dirty="0"/>
          </a:p>
        </p:txBody>
      </p:sp>
      <p:sp>
        <p:nvSpPr>
          <p:cNvPr id="7" name="Slide Number Placeholder 6"/>
          <p:cNvSpPr>
            <a:spLocks noGrp="1"/>
          </p:cNvSpPr>
          <p:nvPr>
            <p:ph type="sldNum" sz="quarter" idx="12"/>
          </p:nvPr>
        </p:nvSpPr>
        <p:spPr/>
        <p:txBody>
          <a:bodyPr/>
          <a:lstStyle/>
          <a:p>
            <a:fld id="{2B1C6FFC-D040-034F-8B69-20295064E64D}" type="slidenum">
              <a:rPr lang="fr-FR" smtClean="0"/>
              <a:t>‹#›</a:t>
            </a:fld>
            <a:endParaRPr lang="fr-FR"/>
          </a:p>
        </p:txBody>
      </p:sp>
      <p:sp>
        <p:nvSpPr>
          <p:cNvPr id="9" name="Espace réservé du texte 8"/>
          <p:cNvSpPr>
            <a:spLocks noGrp="1"/>
          </p:cNvSpPr>
          <p:nvPr>
            <p:ph type="body" sz="quarter" idx="13"/>
          </p:nvPr>
        </p:nvSpPr>
        <p:spPr>
          <a:xfrm>
            <a:off x="539750" y="1188665"/>
            <a:ext cx="8064500" cy="306000"/>
          </a:xfrm>
        </p:spPr>
        <p:txBody>
          <a:bodyPr>
            <a:normAutofit/>
          </a:bodyPr>
          <a:lstStyle>
            <a:lvl1pPr marL="0" indent="0">
              <a:buNone/>
              <a:defRPr sz="1600">
                <a:solidFill>
                  <a:schemeClr val="tx1"/>
                </a:solidFill>
              </a:defRPr>
            </a:lvl1pPr>
          </a:lstStyle>
          <a:p>
            <a:pPr lvl="0"/>
            <a:r>
              <a:rPr lang="fr-FR" dirty="0" smtClean="0"/>
              <a:t>Cliquez pour modifier les styles du texte du masque</a:t>
            </a:r>
          </a:p>
        </p:txBody>
      </p:sp>
    </p:spTree>
    <p:extLst>
      <p:ext uri="{BB962C8B-B14F-4D97-AF65-F5344CB8AC3E}">
        <p14:creationId xmlns:p14="http://schemas.microsoft.com/office/powerpoint/2010/main" val="314907433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2" name="Title 1"/>
          <p:cNvSpPr>
            <a:spLocks noGrp="1"/>
          </p:cNvSpPr>
          <p:nvPr>
            <p:ph type="title"/>
          </p:nvPr>
        </p:nvSpPr>
        <p:spPr>
          <a:xfrm>
            <a:off x="539999" y="799865"/>
            <a:ext cx="8063999" cy="387493"/>
          </a:xfrm>
        </p:spPr>
        <p:txBody>
          <a:bodyPr/>
          <a:lstStyle/>
          <a:p>
            <a:r>
              <a:rPr lang="fr-FR" smtClean="0"/>
              <a:t>Cliquez et modifiez le titre</a:t>
            </a:r>
            <a:endParaRPr lang="en-US" dirty="0"/>
          </a:p>
        </p:txBody>
      </p:sp>
      <p:sp>
        <p:nvSpPr>
          <p:cNvPr id="5" name="Footer Placeholder 4"/>
          <p:cNvSpPr>
            <a:spLocks noGrp="1"/>
          </p:cNvSpPr>
          <p:nvPr>
            <p:ph type="ftr" sz="quarter" idx="11"/>
          </p:nvPr>
        </p:nvSpPr>
        <p:spPr/>
        <p:txBody>
          <a:bodyPr/>
          <a:lstStyle/>
          <a:p>
            <a:r>
              <a:rPr lang="fr-FR" smtClean="0"/>
              <a:t>Smart Beta - Investment Solutions</a:t>
            </a:r>
            <a:endParaRPr lang="fr-FR" dirty="0"/>
          </a:p>
        </p:txBody>
      </p:sp>
      <p:sp>
        <p:nvSpPr>
          <p:cNvPr id="6" name="Slide Number Placeholder 5"/>
          <p:cNvSpPr>
            <a:spLocks noGrp="1"/>
          </p:cNvSpPr>
          <p:nvPr>
            <p:ph type="sldNum" sz="quarter" idx="12"/>
          </p:nvPr>
        </p:nvSpPr>
        <p:spPr/>
        <p:txBody>
          <a:bodyPr/>
          <a:lstStyle/>
          <a:p>
            <a:fld id="{2B1C6FFC-D040-034F-8B69-20295064E64D}" type="slidenum">
              <a:rPr lang="fr-FR" smtClean="0"/>
              <a:t>‹#›</a:t>
            </a:fld>
            <a:endParaRPr lang="fr-FR" dirty="0"/>
          </a:p>
        </p:txBody>
      </p:sp>
      <p:sp>
        <p:nvSpPr>
          <p:cNvPr id="8" name="Espace réservé du texte 7"/>
          <p:cNvSpPr>
            <a:spLocks noGrp="1"/>
          </p:cNvSpPr>
          <p:nvPr>
            <p:ph type="body" sz="quarter" idx="13"/>
          </p:nvPr>
        </p:nvSpPr>
        <p:spPr>
          <a:xfrm>
            <a:off x="539750" y="1187358"/>
            <a:ext cx="8064248" cy="304482"/>
          </a:xfrm>
        </p:spPr>
        <p:txBody>
          <a:bodyPr>
            <a:normAutofit/>
          </a:bodyPr>
          <a:lstStyle>
            <a:lvl1pPr marL="0" indent="0">
              <a:buNone/>
              <a:defRPr sz="1600">
                <a:solidFill>
                  <a:schemeClr val="tx1"/>
                </a:solidFill>
              </a:defRPr>
            </a:lvl1pPr>
          </a:lstStyle>
          <a:p>
            <a:pPr lvl="0"/>
            <a:r>
              <a:rPr lang="fr-FR" dirty="0" smtClean="0"/>
              <a:t>Cliquez pour modifier les styles du texte du masque</a:t>
            </a:r>
            <a:endParaRPr lang="fr-FR" dirty="0"/>
          </a:p>
        </p:txBody>
      </p:sp>
    </p:spTree>
    <p:extLst>
      <p:ext uri="{BB962C8B-B14F-4D97-AF65-F5344CB8AC3E}">
        <p14:creationId xmlns:p14="http://schemas.microsoft.com/office/powerpoint/2010/main" val="270213856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lide texte">
    <p:spTree>
      <p:nvGrpSpPr>
        <p:cNvPr id="1" name=""/>
        <p:cNvGrpSpPr/>
        <p:nvPr/>
      </p:nvGrpSpPr>
      <p:grpSpPr>
        <a:xfrm>
          <a:off x="0" y="0"/>
          <a:ext cx="0" cy="0"/>
          <a:chOff x="0" y="0"/>
          <a:chExt cx="0" cy="0"/>
        </a:xfrm>
      </p:grpSpPr>
      <p:sp>
        <p:nvSpPr>
          <p:cNvPr id="2" name="Titre 1"/>
          <p:cNvSpPr>
            <a:spLocks noGrp="1"/>
          </p:cNvSpPr>
          <p:nvPr>
            <p:ph type="title"/>
          </p:nvPr>
        </p:nvSpPr>
        <p:spPr>
          <a:xfrm>
            <a:off x="500063" y="682625"/>
            <a:ext cx="8142287" cy="360363"/>
          </a:xfrm>
          <a:prstGeom prst="rect">
            <a:avLst/>
          </a:prstGeom>
        </p:spPr>
        <p:txBody>
          <a:bodyPr/>
          <a:lstStyle>
            <a:lvl1pPr>
              <a:defRPr sz="2000"/>
            </a:lvl1pPr>
          </a:lstStyle>
          <a:p>
            <a:r>
              <a:rPr lang="fr-FR" noProof="0" smtClean="0"/>
              <a:t>Modifiez le style du titre</a:t>
            </a:r>
            <a:endParaRPr lang="en-GB" noProof="0"/>
          </a:p>
        </p:txBody>
      </p:sp>
      <p:sp>
        <p:nvSpPr>
          <p:cNvPr id="5" name="Espace réservé du texte 4"/>
          <p:cNvSpPr>
            <a:spLocks noGrp="1"/>
          </p:cNvSpPr>
          <p:nvPr>
            <p:ph type="body" sz="quarter" idx="11"/>
          </p:nvPr>
        </p:nvSpPr>
        <p:spPr>
          <a:xfrm>
            <a:off x="500400" y="1260000"/>
            <a:ext cx="8143200" cy="4751387"/>
          </a:xfrm>
        </p:spPr>
        <p:txBody>
          <a:bodyPr/>
          <a:lstStyle>
            <a:lvl1pPr>
              <a:defRPr>
                <a:solidFill>
                  <a:schemeClr val="tx1"/>
                </a:solidFill>
              </a:defRPr>
            </a:lvl1pPr>
            <a:lvl2pPr>
              <a:buClr>
                <a:schemeClr val="accent3"/>
              </a:buClr>
              <a:defRPr>
                <a:solidFill>
                  <a:schemeClr val="tx1"/>
                </a:solidFill>
              </a:defRPr>
            </a:lvl2pPr>
            <a:lvl3pPr marL="481012" indent="-285750">
              <a:buClr>
                <a:schemeClr val="accent3"/>
              </a:buClr>
              <a:buFont typeface="Wingdings" pitchFamily="2" charset="2"/>
              <a:buChar char="§"/>
              <a:defRPr>
                <a:solidFill>
                  <a:schemeClr val="tx1"/>
                </a:solidFill>
              </a:defRPr>
            </a:lvl3pPr>
            <a:lvl4pPr>
              <a:buClr>
                <a:schemeClr val="accent3"/>
              </a:buClr>
              <a:defRPr>
                <a:solidFill>
                  <a:schemeClr val="tx1"/>
                </a:solidFill>
              </a:defRPr>
            </a:lvl4pPr>
            <a:lvl5pPr>
              <a:defRPr lang="fr-FR" sz="1000" dirty="0">
                <a:solidFill>
                  <a:schemeClr val="tx1"/>
                </a:solidFill>
                <a:latin typeface="+mn-lt"/>
              </a:defRPr>
            </a:lvl5pPr>
          </a:lstStyle>
          <a:p>
            <a:pPr lvl="0"/>
            <a:r>
              <a:rPr lang="fr-FR" noProof="0" smtClean="0"/>
              <a:t>Modifiez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en-GB" noProof="0"/>
          </a:p>
        </p:txBody>
      </p:sp>
    </p:spTree>
    <p:extLst>
      <p:ext uri="{BB962C8B-B14F-4D97-AF65-F5344CB8AC3E}">
        <p14:creationId xmlns:p14="http://schemas.microsoft.com/office/powerpoint/2010/main" val="186113409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Espace réservé du pied de page 3"/>
          <p:cNvSpPr>
            <a:spLocks noGrp="1"/>
          </p:cNvSpPr>
          <p:nvPr>
            <p:ph type="ftr" sz="quarter" idx="10"/>
          </p:nvPr>
        </p:nvSpPr>
        <p:spPr/>
        <p:txBody>
          <a:bodyPr/>
          <a:lstStyle/>
          <a:p>
            <a:pPr>
              <a:defRPr/>
            </a:pPr>
            <a:r>
              <a:rPr lang="fr-FR" smtClean="0"/>
              <a:t>Smart Beta - Investment Solutions</a:t>
            </a:r>
            <a:endParaRPr lang="fr-FR" dirty="0"/>
          </a:p>
        </p:txBody>
      </p:sp>
    </p:spTree>
    <p:extLst>
      <p:ext uri="{BB962C8B-B14F-4D97-AF65-F5344CB8AC3E}">
        <p14:creationId xmlns:p14="http://schemas.microsoft.com/office/powerpoint/2010/main" val="22240734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mtClean="0"/>
              <a:t>Modifiez le style du titre</a:t>
            </a:r>
            <a:endParaRPr lang="en-US"/>
          </a:p>
        </p:txBody>
      </p:sp>
      <p:sp>
        <p:nvSpPr>
          <p:cNvPr id="3" name="Espace réservé du contenu 2"/>
          <p:cNvSpPr>
            <a:spLocks noGrp="1"/>
          </p:cNvSpPr>
          <p:nvPr>
            <p:ph idx="1"/>
          </p:nvPr>
        </p:nvSpPr>
        <p:spPr/>
        <p:txBody>
          <a:bodyPr>
            <a:noAutofit/>
          </a:bodyPr>
          <a:lstStyle>
            <a:lvl2pPr>
              <a:defRPr>
                <a:latin typeface="+mn-lt"/>
              </a:defRPr>
            </a:lvl2pPr>
            <a:lvl3pPr>
              <a:defRPr>
                <a:latin typeface="+mn-lt"/>
              </a:defRPr>
            </a:lvl3pPr>
            <a:lvl4pPr marL="539750" indent="-7938">
              <a:defRPr>
                <a:latin typeface="+mn-lt"/>
              </a:defRPr>
            </a:lvl4pPr>
            <a:lvl5pPr>
              <a:defRPr>
                <a:latin typeface="+mn-lt"/>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Espace réservé de la date 3"/>
          <p:cNvSpPr>
            <a:spLocks noGrp="1"/>
          </p:cNvSpPr>
          <p:nvPr>
            <p:ph type="dt" sz="half" idx="10"/>
          </p:nvPr>
        </p:nvSpPr>
        <p:spPr>
          <a:xfrm>
            <a:off x="6538800" y="220726"/>
            <a:ext cx="2133600" cy="365125"/>
          </a:xfrm>
          <a:prstGeom prst="rect">
            <a:avLst/>
          </a:prstGeom>
        </p:spPr>
        <p:txBody>
          <a:bodyPr/>
          <a:lstStyle/>
          <a:p>
            <a:endParaRPr lang="en-US"/>
          </a:p>
        </p:txBody>
      </p:sp>
      <p:sp>
        <p:nvSpPr>
          <p:cNvPr id="5" name="Espace réservé du pied de page 4"/>
          <p:cNvSpPr>
            <a:spLocks noGrp="1"/>
          </p:cNvSpPr>
          <p:nvPr>
            <p:ph type="ftr" sz="quarter" idx="11"/>
          </p:nvPr>
        </p:nvSpPr>
        <p:spPr>
          <a:xfrm>
            <a:off x="4652962" y="6192000"/>
            <a:ext cx="3430333" cy="216000"/>
          </a:xfrm>
        </p:spPr>
        <p:txBody>
          <a:bodyPr/>
          <a:lstStyle>
            <a:lvl1pPr>
              <a:defRPr sz="900"/>
            </a:lvl1pPr>
          </a:lstStyle>
          <a:p>
            <a:r>
              <a:rPr lang="en-US" smtClean="0"/>
              <a:t>Smart Beta - Investment Solutions</a:t>
            </a:r>
            <a:endParaRPr lang="en-US" dirty="0"/>
          </a:p>
        </p:txBody>
      </p:sp>
      <p:sp>
        <p:nvSpPr>
          <p:cNvPr id="9" name="Espace réservé du texte 8"/>
          <p:cNvSpPr>
            <a:spLocks noGrp="1"/>
          </p:cNvSpPr>
          <p:nvPr>
            <p:ph type="body" sz="quarter" idx="13" hasCustomPrompt="1"/>
          </p:nvPr>
        </p:nvSpPr>
        <p:spPr>
          <a:xfrm>
            <a:off x="519113" y="6183313"/>
            <a:ext cx="4027487" cy="674687"/>
          </a:xfrm>
        </p:spPr>
        <p:txBody>
          <a:bodyPr tIns="46800"/>
          <a:lstStyle>
            <a:lvl1pPr>
              <a:buNone/>
              <a:defRPr sz="800" baseline="0">
                <a:solidFill>
                  <a:srgbClr val="767A7E"/>
                </a:solidFill>
              </a:defRPr>
            </a:lvl1pPr>
          </a:lstStyle>
          <a:p>
            <a:pPr lvl="0"/>
            <a:r>
              <a:rPr lang="fr-FR" dirty="0" smtClean="0"/>
              <a:t>Sources, notes, mentions légales, </a:t>
            </a:r>
            <a:r>
              <a:rPr lang="fr-FR" dirty="0" err="1" smtClean="0"/>
              <a:t>etc</a:t>
            </a:r>
            <a:endParaRPr lang="fr-FR" dirty="0" smtClean="0"/>
          </a:p>
          <a:p>
            <a:pPr lvl="0"/>
            <a:r>
              <a:rPr lang="fr-FR" dirty="0" smtClean="0"/>
              <a:t>En cas de débord placer cette zone dans le corps de la page sur toue la largeur</a:t>
            </a:r>
            <a:endParaRPr lang="en-US" dirty="0"/>
          </a:p>
        </p:txBody>
      </p:sp>
      <p:sp>
        <p:nvSpPr>
          <p:cNvPr id="8" name="Espace réservé du numéro de diapositive 4"/>
          <p:cNvSpPr>
            <a:spLocks noGrp="1"/>
          </p:cNvSpPr>
          <p:nvPr>
            <p:ph type="sldNum" sz="quarter" idx="12"/>
          </p:nvPr>
        </p:nvSpPr>
        <p:spPr>
          <a:xfrm>
            <a:off x="8136000" y="6192000"/>
            <a:ext cx="502920" cy="216000"/>
          </a:xfrm>
          <a:prstGeom prst="rect">
            <a:avLst/>
          </a:prstGeom>
        </p:spPr>
        <p:txBody>
          <a:bodyPr vert="horz" lIns="0" tIns="0" rIns="0" bIns="0" rtlCol="0" anchor="t">
            <a:noAutofit/>
          </a:bodyPr>
          <a:lstStyle>
            <a:lvl1pPr>
              <a:defRPr lang="en-US" smtClean="0"/>
            </a:lvl1pPr>
          </a:lstStyle>
          <a:p>
            <a:fld id="{C12E7156-0CA6-462A-9A46-AEFB5E440988}" type="slidenum">
              <a:rPr lang="en-US" smtClean="0"/>
              <a:pPr/>
              <a:t>‹#›</a:t>
            </a:fld>
            <a:endParaRPr lang="en-US" dirty="0"/>
          </a:p>
        </p:txBody>
      </p:sp>
    </p:spTree>
    <p:extLst>
      <p:ext uri="{BB962C8B-B14F-4D97-AF65-F5344CB8AC3E}">
        <p14:creationId xmlns:p14="http://schemas.microsoft.com/office/powerpoint/2010/main" val="76534313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mtClean="0"/>
              <a:t>Modifiez le style du titre</a:t>
            </a:r>
            <a:endParaRPr lang="en-US"/>
          </a:p>
        </p:txBody>
      </p:sp>
      <p:sp>
        <p:nvSpPr>
          <p:cNvPr id="3" name="Espace réservé du contenu 2"/>
          <p:cNvSpPr>
            <a:spLocks noGrp="1"/>
          </p:cNvSpPr>
          <p:nvPr>
            <p:ph idx="1"/>
          </p:nvPr>
        </p:nvSpPr>
        <p:spPr/>
        <p:txBody>
          <a:bodyPr>
            <a:noAutofit/>
          </a:bodyPr>
          <a:lstStyle>
            <a:lvl2pPr>
              <a:defRPr>
                <a:latin typeface="+mn-lt"/>
              </a:defRPr>
            </a:lvl2pPr>
            <a:lvl3pPr>
              <a:defRPr>
                <a:latin typeface="+mn-lt"/>
              </a:defRPr>
            </a:lvl3pPr>
            <a:lvl4pPr marL="539750" indent="-7938">
              <a:defRPr>
                <a:latin typeface="+mn-lt"/>
              </a:defRPr>
            </a:lvl4pPr>
            <a:lvl5pPr>
              <a:defRPr>
                <a:latin typeface="+mn-lt"/>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Espace réservé de la date 3"/>
          <p:cNvSpPr>
            <a:spLocks noGrp="1"/>
          </p:cNvSpPr>
          <p:nvPr>
            <p:ph type="dt" sz="half" idx="10"/>
          </p:nvPr>
        </p:nvSpPr>
        <p:spPr>
          <a:xfrm>
            <a:off x="6538800" y="220726"/>
            <a:ext cx="2133600" cy="365125"/>
          </a:xfrm>
          <a:prstGeom prst="rect">
            <a:avLst/>
          </a:prstGeom>
        </p:spPr>
        <p:txBody>
          <a:bodyPr/>
          <a:lstStyle/>
          <a:p>
            <a:endParaRPr lang="en-US"/>
          </a:p>
        </p:txBody>
      </p:sp>
      <p:sp>
        <p:nvSpPr>
          <p:cNvPr id="5" name="Espace réservé du pied de page 4"/>
          <p:cNvSpPr>
            <a:spLocks noGrp="1"/>
          </p:cNvSpPr>
          <p:nvPr>
            <p:ph type="ftr" sz="quarter" idx="11"/>
          </p:nvPr>
        </p:nvSpPr>
        <p:spPr>
          <a:xfrm>
            <a:off x="4652962" y="6192000"/>
            <a:ext cx="3430333" cy="216000"/>
          </a:xfrm>
        </p:spPr>
        <p:txBody>
          <a:bodyPr/>
          <a:lstStyle>
            <a:lvl1pPr>
              <a:defRPr sz="900"/>
            </a:lvl1pPr>
          </a:lstStyle>
          <a:p>
            <a:r>
              <a:rPr lang="en-US" smtClean="0"/>
              <a:t>Smart Beta - Investment Solutions</a:t>
            </a:r>
            <a:endParaRPr lang="en-US" dirty="0"/>
          </a:p>
        </p:txBody>
      </p:sp>
      <p:sp>
        <p:nvSpPr>
          <p:cNvPr id="9" name="Espace réservé du texte 8"/>
          <p:cNvSpPr>
            <a:spLocks noGrp="1"/>
          </p:cNvSpPr>
          <p:nvPr>
            <p:ph type="body" sz="quarter" idx="13" hasCustomPrompt="1"/>
          </p:nvPr>
        </p:nvSpPr>
        <p:spPr>
          <a:xfrm>
            <a:off x="519113" y="6183313"/>
            <a:ext cx="4027487" cy="674687"/>
          </a:xfrm>
        </p:spPr>
        <p:txBody>
          <a:bodyPr tIns="46800"/>
          <a:lstStyle>
            <a:lvl1pPr>
              <a:buNone/>
              <a:defRPr sz="800" baseline="0">
                <a:solidFill>
                  <a:srgbClr val="767A7E"/>
                </a:solidFill>
              </a:defRPr>
            </a:lvl1pPr>
          </a:lstStyle>
          <a:p>
            <a:pPr lvl="0"/>
            <a:r>
              <a:rPr lang="fr-FR" dirty="0" smtClean="0"/>
              <a:t>Sources, notes, mentions légales, </a:t>
            </a:r>
            <a:r>
              <a:rPr lang="fr-FR" dirty="0" err="1" smtClean="0"/>
              <a:t>etc</a:t>
            </a:r>
            <a:endParaRPr lang="fr-FR" dirty="0" smtClean="0"/>
          </a:p>
          <a:p>
            <a:pPr lvl="0"/>
            <a:r>
              <a:rPr lang="fr-FR" dirty="0" smtClean="0"/>
              <a:t>En cas de débord placer cette zone dans le corps de la page sur toue la largeur</a:t>
            </a:r>
            <a:endParaRPr lang="en-US" dirty="0"/>
          </a:p>
        </p:txBody>
      </p:sp>
      <p:sp>
        <p:nvSpPr>
          <p:cNvPr id="8" name="Espace réservé du numéro de diapositive 4"/>
          <p:cNvSpPr>
            <a:spLocks noGrp="1"/>
          </p:cNvSpPr>
          <p:nvPr>
            <p:ph type="sldNum" sz="quarter" idx="12"/>
          </p:nvPr>
        </p:nvSpPr>
        <p:spPr>
          <a:xfrm>
            <a:off x="8136000" y="6192000"/>
            <a:ext cx="502920" cy="216000"/>
          </a:xfrm>
          <a:prstGeom prst="rect">
            <a:avLst/>
          </a:prstGeom>
        </p:spPr>
        <p:txBody>
          <a:bodyPr vert="horz" lIns="0" tIns="0" rIns="0" bIns="0" rtlCol="0" anchor="t">
            <a:noAutofit/>
          </a:bodyPr>
          <a:lstStyle>
            <a:lvl1pPr>
              <a:defRPr lang="en-US" smtClean="0"/>
            </a:lvl1pPr>
          </a:lstStyle>
          <a:p>
            <a:fld id="{C12E7156-0CA6-462A-9A46-AEFB5E440988}" type="slidenum">
              <a:rPr lang="en-US" smtClean="0"/>
              <a:pPr/>
              <a:t>‹#›</a:t>
            </a:fld>
            <a:endParaRPr lang="en-US" dirty="0"/>
          </a:p>
        </p:txBody>
      </p:sp>
    </p:spTree>
    <p:extLst>
      <p:ext uri="{BB962C8B-B14F-4D97-AF65-F5344CB8AC3E}">
        <p14:creationId xmlns:p14="http://schemas.microsoft.com/office/powerpoint/2010/main" val="108063630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Souces">
    <p:spTree>
      <p:nvGrpSpPr>
        <p:cNvPr id="1" name=""/>
        <p:cNvGrpSpPr/>
        <p:nvPr/>
      </p:nvGrpSpPr>
      <p:grpSpPr>
        <a:xfrm>
          <a:off x="0" y="0"/>
          <a:ext cx="0" cy="0"/>
          <a:chOff x="0" y="0"/>
          <a:chExt cx="0" cy="0"/>
        </a:xfrm>
      </p:grpSpPr>
      <p:sp>
        <p:nvSpPr>
          <p:cNvPr id="14" name="Rectangle 13"/>
          <p:cNvSpPr/>
          <p:nvPr userDrawn="1"/>
        </p:nvSpPr>
        <p:spPr>
          <a:xfrm>
            <a:off x="0" y="3786400"/>
            <a:ext cx="9144000" cy="2073600"/>
          </a:xfrm>
          <a:prstGeom prst="rect">
            <a:avLst/>
          </a:prstGeom>
          <a:solidFill>
            <a:srgbClr val="003C64"/>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sp>
        <p:nvSpPr>
          <p:cNvPr id="2" name="Title 1"/>
          <p:cNvSpPr>
            <a:spLocks noGrp="1"/>
          </p:cNvSpPr>
          <p:nvPr>
            <p:ph type="ctrTitle"/>
          </p:nvPr>
        </p:nvSpPr>
        <p:spPr>
          <a:xfrm>
            <a:off x="828000" y="4325045"/>
            <a:ext cx="7772400" cy="1338789"/>
          </a:xfrm>
        </p:spPr>
        <p:txBody>
          <a:bodyPr anchor="t" anchorCtr="0">
            <a:normAutofit/>
          </a:bodyPr>
          <a:lstStyle>
            <a:lvl1pPr algn="l">
              <a:lnSpc>
                <a:spcPct val="100000"/>
              </a:lnSpc>
              <a:defRPr sz="2500" b="0" spc="100" baseline="0">
                <a:solidFill>
                  <a:schemeClr val="bg1"/>
                </a:solidFill>
              </a:defRPr>
            </a:lvl1pPr>
          </a:lstStyle>
          <a:p>
            <a:r>
              <a:rPr lang="fr-FR" dirty="0"/>
              <a:t>Cliquez et modifiez le titre</a:t>
            </a:r>
            <a:endParaRPr lang="en-US" dirty="0"/>
          </a:p>
        </p:txBody>
      </p:sp>
      <p:sp>
        <p:nvSpPr>
          <p:cNvPr id="3" name="Subtitle 2"/>
          <p:cNvSpPr>
            <a:spLocks noGrp="1"/>
          </p:cNvSpPr>
          <p:nvPr>
            <p:ph type="subTitle" idx="1"/>
          </p:nvPr>
        </p:nvSpPr>
        <p:spPr>
          <a:xfrm>
            <a:off x="828000" y="3996300"/>
            <a:ext cx="7772400" cy="242802"/>
          </a:xfrm>
        </p:spPr>
        <p:txBody>
          <a:bodyPr>
            <a:normAutofit/>
          </a:bodyPr>
          <a:lstStyle>
            <a:lvl1pPr marL="0" indent="0" algn="l">
              <a:buNone/>
              <a:defRPr sz="1000" spc="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quez pour modifier le style des sous-titres du masque</a:t>
            </a:r>
            <a:endParaRPr lang="en-US" dirty="0"/>
          </a:p>
        </p:txBody>
      </p:sp>
      <p:sp>
        <p:nvSpPr>
          <p:cNvPr id="9" name="Rectangle 8"/>
          <p:cNvSpPr/>
          <p:nvPr userDrawn="1"/>
        </p:nvSpPr>
        <p:spPr>
          <a:xfrm>
            <a:off x="862925" y="2769400"/>
            <a:ext cx="9648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sp>
        <p:nvSpPr>
          <p:cNvPr id="10" name="Rectangle 9"/>
          <p:cNvSpPr/>
          <p:nvPr userDrawn="1"/>
        </p:nvSpPr>
        <p:spPr>
          <a:xfrm>
            <a:off x="0" y="2987200"/>
            <a:ext cx="9144000" cy="158400"/>
          </a:xfrm>
          <a:prstGeom prst="rect">
            <a:avLst/>
          </a:prstGeom>
          <a:solidFill>
            <a:srgbClr val="00C3F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sp>
        <p:nvSpPr>
          <p:cNvPr id="11" name="Rectangle 10"/>
          <p:cNvSpPr/>
          <p:nvPr userDrawn="1"/>
        </p:nvSpPr>
        <p:spPr>
          <a:xfrm>
            <a:off x="0" y="3187000"/>
            <a:ext cx="9144000" cy="158400"/>
          </a:xfrm>
          <a:prstGeom prst="rect">
            <a:avLst/>
          </a:prstGeom>
          <a:solidFill>
            <a:srgbClr val="1596C8"/>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sp>
        <p:nvSpPr>
          <p:cNvPr id="12" name="Rectangle 11"/>
          <p:cNvSpPr/>
          <p:nvPr userDrawn="1"/>
        </p:nvSpPr>
        <p:spPr>
          <a:xfrm>
            <a:off x="0" y="3386800"/>
            <a:ext cx="9144000" cy="158400"/>
          </a:xfrm>
          <a:prstGeom prst="rect">
            <a:avLst/>
          </a:prstGeom>
          <a:solidFill>
            <a:srgbClr val="0073A3"/>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sp>
        <p:nvSpPr>
          <p:cNvPr id="13" name="Rectangle 12"/>
          <p:cNvSpPr/>
          <p:nvPr userDrawn="1"/>
        </p:nvSpPr>
        <p:spPr>
          <a:xfrm>
            <a:off x="0" y="3586600"/>
            <a:ext cx="9144000" cy="158400"/>
          </a:xfrm>
          <a:prstGeom prst="rect">
            <a:avLst/>
          </a:prstGeom>
          <a:solidFill>
            <a:srgbClr val="005483"/>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sp>
        <p:nvSpPr>
          <p:cNvPr id="22" name="Rectangle 21"/>
          <p:cNvSpPr/>
          <p:nvPr userDrawn="1"/>
        </p:nvSpPr>
        <p:spPr>
          <a:xfrm>
            <a:off x="862925" y="6036400"/>
            <a:ext cx="9648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00" y="540000"/>
            <a:ext cx="1612800" cy="1612800"/>
          </a:xfrm>
          <a:prstGeom prst="rect">
            <a:avLst/>
          </a:prstGeom>
        </p:spPr>
      </p:pic>
      <p:sp>
        <p:nvSpPr>
          <p:cNvPr id="16" name="Espace réservé du texte 6"/>
          <p:cNvSpPr>
            <a:spLocks noGrp="1"/>
          </p:cNvSpPr>
          <p:nvPr>
            <p:ph type="body" sz="quarter" idx="14"/>
          </p:nvPr>
        </p:nvSpPr>
        <p:spPr>
          <a:xfrm>
            <a:off x="2152800" y="6011000"/>
            <a:ext cx="6451198" cy="580300"/>
          </a:xfrm>
        </p:spPr>
        <p:txBody>
          <a:bodyPr anchor="t">
            <a:noAutofit/>
          </a:bodyPr>
          <a:lstStyle>
            <a:lvl1pPr marL="6350" indent="0" algn="just">
              <a:buNone/>
              <a:defRPr sz="800">
                <a:solidFill>
                  <a:schemeClr val="tx2"/>
                </a:solidFill>
              </a:defRPr>
            </a:lvl1pPr>
          </a:lstStyle>
          <a:p>
            <a:pPr lvl="0"/>
            <a:r>
              <a:rPr lang="fr-FR" dirty="0"/>
              <a:t>Cliquez pour modifier les styles du texte du masque</a:t>
            </a:r>
          </a:p>
        </p:txBody>
      </p:sp>
    </p:spTree>
    <p:extLst>
      <p:ext uri="{BB962C8B-B14F-4D97-AF65-F5344CB8AC3E}">
        <p14:creationId xmlns:p14="http://schemas.microsoft.com/office/powerpoint/2010/main" val="295720211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539999" y="698265"/>
            <a:ext cx="8063999" cy="387493"/>
          </a:xfrm>
        </p:spPr>
        <p:txBody>
          <a:bodyPr/>
          <a:lstStyle/>
          <a:p>
            <a:r>
              <a:rPr lang="fr-FR" dirty="0"/>
              <a:t>Cliquez et modifiez le titre</a:t>
            </a:r>
            <a:endParaRPr lang="en-US" dirty="0"/>
          </a:p>
        </p:txBody>
      </p:sp>
      <p:sp>
        <p:nvSpPr>
          <p:cNvPr id="3" name="Content Placeholder 2"/>
          <p:cNvSpPr>
            <a:spLocks noGrp="1"/>
          </p:cNvSpPr>
          <p:nvPr>
            <p:ph idx="1"/>
          </p:nvPr>
        </p:nvSpPr>
        <p:spPr>
          <a:xfrm>
            <a:off x="540000" y="1548000"/>
            <a:ext cx="8063998" cy="3913200"/>
          </a:xfrm>
        </p:spPr>
        <p:txBody>
          <a:bodyPr>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Footer Placeholder 4"/>
          <p:cNvSpPr>
            <a:spLocks noGrp="1"/>
          </p:cNvSpPr>
          <p:nvPr>
            <p:ph type="ftr" sz="quarter" idx="11"/>
          </p:nvPr>
        </p:nvSpPr>
        <p:spPr/>
        <p:txBody>
          <a:bodyPr/>
          <a:lstStyle>
            <a:lvl1pPr>
              <a:defRPr/>
            </a:lvl1pPr>
          </a:lstStyle>
          <a:p>
            <a:r>
              <a:rPr lang="it-IT" smtClean="0">
                <a:solidFill>
                  <a:srgbClr val="003C64"/>
                </a:solidFill>
              </a:rPr>
              <a:t>Amundi Conservative Strategy  l  February 2018 </a:t>
            </a:r>
            <a:endParaRPr lang="fr-FR" dirty="0">
              <a:solidFill>
                <a:srgbClr val="003C64"/>
              </a:solidFill>
            </a:endParaRPr>
          </a:p>
        </p:txBody>
      </p:sp>
      <p:sp>
        <p:nvSpPr>
          <p:cNvPr id="6" name="Slide Number Placeholder 5"/>
          <p:cNvSpPr>
            <a:spLocks noGrp="1"/>
          </p:cNvSpPr>
          <p:nvPr>
            <p:ph type="sldNum" sz="quarter" idx="12"/>
          </p:nvPr>
        </p:nvSpPr>
        <p:spPr/>
        <p:txBody>
          <a:bodyPr/>
          <a:lstStyle/>
          <a:p>
            <a:fld id="{2B1C6FFC-D040-034F-8B69-20295064E64D}" type="slidenum">
              <a:rPr lang="fr-FR" smtClean="0">
                <a:solidFill>
                  <a:srgbClr val="003C64"/>
                </a:solidFill>
              </a:rPr>
              <a:pPr/>
              <a:t>‹#›</a:t>
            </a:fld>
            <a:endParaRPr lang="fr-FR" dirty="0">
              <a:solidFill>
                <a:srgbClr val="003C64"/>
              </a:solidFill>
            </a:endParaRPr>
          </a:p>
        </p:txBody>
      </p:sp>
      <p:sp>
        <p:nvSpPr>
          <p:cNvPr id="8" name="Espace réservé du texte 7"/>
          <p:cNvSpPr>
            <a:spLocks noGrp="1"/>
          </p:cNvSpPr>
          <p:nvPr>
            <p:ph type="body" sz="quarter" idx="13" hasCustomPrompt="1"/>
          </p:nvPr>
        </p:nvSpPr>
        <p:spPr>
          <a:xfrm>
            <a:off x="539750" y="1085758"/>
            <a:ext cx="8064248" cy="304482"/>
          </a:xfrm>
        </p:spPr>
        <p:txBody>
          <a:bodyPr>
            <a:noAutofit/>
          </a:bodyPr>
          <a:lstStyle>
            <a:lvl1pPr marL="0" indent="0">
              <a:buNone/>
              <a:defRPr sz="1600">
                <a:solidFill>
                  <a:schemeClr val="tx1"/>
                </a:solidFill>
              </a:defRPr>
            </a:lvl1pPr>
          </a:lstStyle>
          <a:p>
            <a:pPr lvl="0"/>
            <a:r>
              <a:rPr lang="fr-FR" dirty="0"/>
              <a:t>Cliquez pour modifier les styles du texte du masque</a:t>
            </a:r>
          </a:p>
        </p:txBody>
      </p:sp>
      <p:sp>
        <p:nvSpPr>
          <p:cNvPr id="7" name="Espace réservé du texte 6"/>
          <p:cNvSpPr>
            <a:spLocks noGrp="1"/>
          </p:cNvSpPr>
          <p:nvPr>
            <p:ph type="body" sz="quarter" idx="14"/>
          </p:nvPr>
        </p:nvSpPr>
        <p:spPr>
          <a:xfrm>
            <a:off x="539750" y="5461200"/>
            <a:ext cx="8064248" cy="612000"/>
          </a:xfrm>
        </p:spPr>
        <p:txBody>
          <a:bodyPr anchor="b">
            <a:noAutofit/>
          </a:bodyPr>
          <a:lstStyle>
            <a:lvl1pPr marL="6350" indent="0" algn="just">
              <a:buNone/>
              <a:defRPr sz="800">
                <a:solidFill>
                  <a:schemeClr val="tx2"/>
                </a:solidFill>
              </a:defRPr>
            </a:lvl1pPr>
          </a:lstStyle>
          <a:p>
            <a:pPr lvl="0"/>
            <a:r>
              <a:rPr lang="fr-FR" dirty="0"/>
              <a:t>Cliquez pour modifier les styles du texte du masque</a:t>
            </a:r>
          </a:p>
        </p:txBody>
      </p:sp>
    </p:spTree>
    <p:extLst>
      <p:ext uri="{BB962C8B-B14F-4D97-AF65-F5344CB8AC3E}">
        <p14:creationId xmlns:p14="http://schemas.microsoft.com/office/powerpoint/2010/main" val="280931504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539999" y="698265"/>
            <a:ext cx="8063999" cy="387493"/>
          </a:xfrm>
        </p:spPr>
        <p:txBody>
          <a:bodyPr/>
          <a:lstStyle/>
          <a:p>
            <a:r>
              <a:rPr lang="fr-FR" dirty="0"/>
              <a:t>Cliquez et modifiez le titre</a:t>
            </a:r>
            <a:endParaRPr lang="en-US" dirty="0"/>
          </a:p>
        </p:txBody>
      </p:sp>
      <p:sp>
        <p:nvSpPr>
          <p:cNvPr id="5" name="Footer Placeholder 4"/>
          <p:cNvSpPr>
            <a:spLocks noGrp="1"/>
          </p:cNvSpPr>
          <p:nvPr>
            <p:ph type="ftr" sz="quarter" idx="11"/>
          </p:nvPr>
        </p:nvSpPr>
        <p:spPr/>
        <p:txBody>
          <a:bodyPr/>
          <a:lstStyle>
            <a:lvl1pPr>
              <a:defRPr/>
            </a:lvl1pPr>
          </a:lstStyle>
          <a:p>
            <a:r>
              <a:rPr lang="it-IT" smtClean="0">
                <a:solidFill>
                  <a:srgbClr val="003C64"/>
                </a:solidFill>
              </a:rPr>
              <a:t>Amundi Conservative Strategy  l  February 2018 </a:t>
            </a:r>
            <a:endParaRPr lang="fr-FR" dirty="0">
              <a:solidFill>
                <a:srgbClr val="003C64"/>
              </a:solidFill>
            </a:endParaRPr>
          </a:p>
        </p:txBody>
      </p:sp>
      <p:sp>
        <p:nvSpPr>
          <p:cNvPr id="6" name="Slide Number Placeholder 5"/>
          <p:cNvSpPr>
            <a:spLocks noGrp="1"/>
          </p:cNvSpPr>
          <p:nvPr>
            <p:ph type="sldNum" sz="quarter" idx="12"/>
          </p:nvPr>
        </p:nvSpPr>
        <p:spPr/>
        <p:txBody>
          <a:bodyPr/>
          <a:lstStyle/>
          <a:p>
            <a:fld id="{2B1C6FFC-D040-034F-8B69-20295064E64D}" type="slidenum">
              <a:rPr lang="fr-FR" smtClean="0">
                <a:solidFill>
                  <a:srgbClr val="003C64"/>
                </a:solidFill>
              </a:rPr>
              <a:pPr/>
              <a:t>‹#›</a:t>
            </a:fld>
            <a:endParaRPr lang="fr-FR" dirty="0">
              <a:solidFill>
                <a:srgbClr val="003C64"/>
              </a:solidFill>
            </a:endParaRPr>
          </a:p>
        </p:txBody>
      </p:sp>
      <p:sp>
        <p:nvSpPr>
          <p:cNvPr id="8" name="Espace réservé du texte 7"/>
          <p:cNvSpPr>
            <a:spLocks noGrp="1"/>
          </p:cNvSpPr>
          <p:nvPr>
            <p:ph type="body" sz="quarter" idx="13" hasCustomPrompt="1"/>
          </p:nvPr>
        </p:nvSpPr>
        <p:spPr>
          <a:xfrm>
            <a:off x="539750" y="1085758"/>
            <a:ext cx="8064248" cy="304482"/>
          </a:xfrm>
        </p:spPr>
        <p:txBody>
          <a:bodyPr>
            <a:noAutofit/>
          </a:bodyPr>
          <a:lstStyle>
            <a:lvl1pPr marL="0" indent="0">
              <a:buNone/>
              <a:defRPr sz="1600">
                <a:solidFill>
                  <a:schemeClr val="tx1"/>
                </a:solidFill>
              </a:defRPr>
            </a:lvl1pPr>
          </a:lstStyle>
          <a:p>
            <a:pPr lvl="0"/>
            <a:r>
              <a:rPr lang="fr-FR"/>
              <a:t>Cliquez pour modifier les styles du texte du masque</a:t>
            </a:r>
          </a:p>
        </p:txBody>
      </p:sp>
    </p:spTree>
    <p:extLst>
      <p:ext uri="{BB962C8B-B14F-4D97-AF65-F5344CB8AC3E}">
        <p14:creationId xmlns:p14="http://schemas.microsoft.com/office/powerpoint/2010/main" val="303061335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11" name="Espace réservé du texte 10"/>
          <p:cNvSpPr>
            <a:spLocks noGrp="1"/>
          </p:cNvSpPr>
          <p:nvPr>
            <p:ph type="body" sz="quarter" idx="13"/>
          </p:nvPr>
        </p:nvSpPr>
        <p:spPr>
          <a:xfrm>
            <a:off x="764500" y="1698577"/>
            <a:ext cx="7772090" cy="1446644"/>
          </a:xfrm>
        </p:spPr>
        <p:txBody>
          <a:bodyPr>
            <a:noAutofit/>
          </a:bodyPr>
          <a:lstStyle>
            <a:lvl1pPr marL="0" indent="0">
              <a:buNone/>
              <a:defRPr sz="8900">
                <a:solidFill>
                  <a:srgbClr val="00B4E0"/>
                </a:solidFill>
              </a:defRPr>
            </a:lvl1pPr>
          </a:lstStyle>
          <a:p>
            <a:pPr lvl="0"/>
            <a:r>
              <a:rPr lang="fr-FR" dirty="0"/>
              <a:t>Cliquez pour modifier les styles du texte du masque</a:t>
            </a:r>
          </a:p>
        </p:txBody>
      </p:sp>
      <p:sp>
        <p:nvSpPr>
          <p:cNvPr id="13" name="Rectangle 12"/>
          <p:cNvSpPr/>
          <p:nvPr userDrawn="1"/>
        </p:nvSpPr>
        <p:spPr>
          <a:xfrm>
            <a:off x="0" y="3240000"/>
            <a:ext cx="9144000" cy="2563200"/>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sp>
        <p:nvSpPr>
          <p:cNvPr id="2" name="Title 1"/>
          <p:cNvSpPr>
            <a:spLocks noGrp="1"/>
          </p:cNvSpPr>
          <p:nvPr>
            <p:ph type="title"/>
          </p:nvPr>
        </p:nvSpPr>
        <p:spPr>
          <a:xfrm>
            <a:off x="828000" y="3470586"/>
            <a:ext cx="7772090" cy="502324"/>
          </a:xfrm>
        </p:spPr>
        <p:txBody>
          <a:bodyPr anchor="t" anchorCtr="0">
            <a:normAutofit/>
          </a:bodyPr>
          <a:lstStyle>
            <a:lvl1pPr>
              <a:defRPr sz="3300" b="0"/>
            </a:lvl1pPr>
          </a:lstStyle>
          <a:p>
            <a:r>
              <a:rPr lang="fr-FR"/>
              <a:t>Cliquez et modifiez le titre</a:t>
            </a:r>
            <a:endParaRPr lang="en-US" dirty="0"/>
          </a:p>
        </p:txBody>
      </p:sp>
      <p:sp>
        <p:nvSpPr>
          <p:cNvPr id="3" name="Text Placeholder 2"/>
          <p:cNvSpPr>
            <a:spLocks noGrp="1"/>
          </p:cNvSpPr>
          <p:nvPr>
            <p:ph type="body" idx="1"/>
          </p:nvPr>
        </p:nvSpPr>
        <p:spPr>
          <a:xfrm>
            <a:off x="828000" y="3972910"/>
            <a:ext cx="7772090" cy="1332188"/>
          </a:xfrm>
        </p:spPr>
        <p:txBody>
          <a:bodyPr>
            <a:normAutofit/>
          </a:bodyPr>
          <a:lstStyle>
            <a:lvl1pPr marL="0" indent="0">
              <a:buNone/>
              <a:defRPr sz="2500" spc="8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5" name="Footer Placeholder 4"/>
          <p:cNvSpPr>
            <a:spLocks noGrp="1"/>
          </p:cNvSpPr>
          <p:nvPr>
            <p:ph type="ftr" sz="quarter" idx="11"/>
          </p:nvPr>
        </p:nvSpPr>
        <p:spPr/>
        <p:txBody>
          <a:bodyPr/>
          <a:lstStyle>
            <a:lvl1pPr>
              <a:defRPr/>
            </a:lvl1pPr>
          </a:lstStyle>
          <a:p>
            <a:r>
              <a:rPr lang="it-IT" smtClean="0">
                <a:solidFill>
                  <a:srgbClr val="003C64"/>
                </a:solidFill>
              </a:rPr>
              <a:t>Amundi Conservative Strategy  l  February 2018 </a:t>
            </a:r>
            <a:endParaRPr lang="fr-FR" dirty="0">
              <a:solidFill>
                <a:srgbClr val="003C64"/>
              </a:solidFill>
            </a:endParaRPr>
          </a:p>
        </p:txBody>
      </p:sp>
      <p:sp>
        <p:nvSpPr>
          <p:cNvPr id="6" name="Slide Number Placeholder 5"/>
          <p:cNvSpPr>
            <a:spLocks noGrp="1"/>
          </p:cNvSpPr>
          <p:nvPr>
            <p:ph type="sldNum" sz="quarter" idx="12"/>
          </p:nvPr>
        </p:nvSpPr>
        <p:spPr/>
        <p:txBody>
          <a:bodyPr/>
          <a:lstStyle/>
          <a:p>
            <a:fld id="{2B1C6FFC-D040-034F-8B69-20295064E64D}" type="slidenum">
              <a:rPr lang="fr-FR" smtClean="0">
                <a:solidFill>
                  <a:srgbClr val="003C64"/>
                </a:solidFill>
              </a:rPr>
              <a:pPr/>
              <a:t>‹#›</a:t>
            </a:fld>
            <a:endParaRPr lang="fr-FR">
              <a:solidFill>
                <a:srgbClr val="003C64"/>
              </a:solidFill>
            </a:endParaRPr>
          </a:p>
        </p:txBody>
      </p:sp>
      <p:sp>
        <p:nvSpPr>
          <p:cNvPr id="8" name="Rectangle 7"/>
          <p:cNvSpPr/>
          <p:nvPr userDrawn="1"/>
        </p:nvSpPr>
        <p:spPr>
          <a:xfrm>
            <a:off x="828000" y="1620000"/>
            <a:ext cx="1026000" cy="39600"/>
          </a:xfrm>
          <a:prstGeom prst="rect">
            <a:avLst/>
          </a:prstGeom>
          <a:solidFill>
            <a:srgbClr val="00B4E0"/>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sp>
        <p:nvSpPr>
          <p:cNvPr id="9" name="Rectangle 8"/>
          <p:cNvSpPr/>
          <p:nvPr userDrawn="1"/>
        </p:nvSpPr>
        <p:spPr>
          <a:xfrm>
            <a:off x="828000" y="5997600"/>
            <a:ext cx="10260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sp>
        <p:nvSpPr>
          <p:cNvPr id="15" name="Espace réservé du texte 14"/>
          <p:cNvSpPr>
            <a:spLocks noGrp="1"/>
          </p:cNvSpPr>
          <p:nvPr>
            <p:ph type="body" sz="quarter" idx="14"/>
          </p:nvPr>
        </p:nvSpPr>
        <p:spPr>
          <a:xfrm>
            <a:off x="828000" y="5362219"/>
            <a:ext cx="7772090" cy="291826"/>
          </a:xfrm>
        </p:spPr>
        <p:txBody>
          <a:bodyPr>
            <a:normAutofit/>
          </a:bodyPr>
          <a:lstStyle>
            <a:lvl1pPr marL="0" indent="0">
              <a:buNone/>
              <a:defRPr sz="1200" spc="50" baseline="0">
                <a:solidFill>
                  <a:schemeClr val="tx1"/>
                </a:solidFill>
              </a:defRPr>
            </a:lvl1pPr>
          </a:lstStyle>
          <a:p>
            <a:pPr lvl="0"/>
            <a:r>
              <a:rPr lang="fr-FR"/>
              <a:t>Cliquez pour modifier les styles du texte du masque</a:t>
            </a:r>
          </a:p>
        </p:txBody>
      </p:sp>
      <p:cxnSp>
        <p:nvCxnSpPr>
          <p:cNvPr id="17" name="Connecteur droit 16"/>
          <p:cNvCxnSpPr/>
          <p:nvPr userDrawn="1"/>
        </p:nvCxnSpPr>
        <p:spPr>
          <a:xfrm>
            <a:off x="719288" y="6482819"/>
            <a:ext cx="0" cy="1176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Image 15" descr="Description : Description : Amundi_compact"/>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93495" y="6105240"/>
            <a:ext cx="1158169" cy="524887"/>
          </a:xfrm>
          <a:prstGeom prst="rect">
            <a:avLst/>
          </a:prstGeom>
          <a:noFill/>
          <a:ln>
            <a:noFill/>
          </a:ln>
        </p:spPr>
      </p:pic>
    </p:spTree>
    <p:extLst>
      <p:ext uri="{BB962C8B-B14F-4D97-AF65-F5344CB8AC3E}">
        <p14:creationId xmlns:p14="http://schemas.microsoft.com/office/powerpoint/2010/main" val="325050479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Souces">
    <p:spTree>
      <p:nvGrpSpPr>
        <p:cNvPr id="1" name=""/>
        <p:cNvGrpSpPr/>
        <p:nvPr/>
      </p:nvGrpSpPr>
      <p:grpSpPr>
        <a:xfrm>
          <a:off x="0" y="0"/>
          <a:ext cx="0" cy="0"/>
          <a:chOff x="0" y="0"/>
          <a:chExt cx="0" cy="0"/>
        </a:xfrm>
      </p:grpSpPr>
      <p:sp>
        <p:nvSpPr>
          <p:cNvPr id="14" name="Rectangle 13"/>
          <p:cNvSpPr/>
          <p:nvPr userDrawn="1"/>
        </p:nvSpPr>
        <p:spPr>
          <a:xfrm>
            <a:off x="0" y="3786400"/>
            <a:ext cx="9144000" cy="2073600"/>
          </a:xfrm>
          <a:prstGeom prst="rect">
            <a:avLst/>
          </a:prstGeom>
          <a:solidFill>
            <a:srgbClr val="003C64"/>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2" name="Title 1"/>
          <p:cNvSpPr>
            <a:spLocks noGrp="1"/>
          </p:cNvSpPr>
          <p:nvPr>
            <p:ph type="ctrTitle"/>
          </p:nvPr>
        </p:nvSpPr>
        <p:spPr>
          <a:xfrm>
            <a:off x="828000" y="4325045"/>
            <a:ext cx="7772400" cy="1338789"/>
          </a:xfrm>
        </p:spPr>
        <p:txBody>
          <a:bodyPr anchor="t" anchorCtr="0">
            <a:normAutofit/>
          </a:bodyPr>
          <a:lstStyle>
            <a:lvl1pPr algn="l">
              <a:lnSpc>
                <a:spcPct val="100000"/>
              </a:lnSpc>
              <a:defRPr sz="2500" b="0" spc="100" baseline="0">
                <a:solidFill>
                  <a:schemeClr val="bg1"/>
                </a:solidFill>
              </a:defRPr>
            </a:lvl1pPr>
          </a:lstStyle>
          <a:p>
            <a:r>
              <a:rPr lang="fr-FR" dirty="0"/>
              <a:t>Cliquez et modifiez le titre</a:t>
            </a:r>
            <a:endParaRPr lang="en-US" dirty="0"/>
          </a:p>
        </p:txBody>
      </p:sp>
      <p:sp>
        <p:nvSpPr>
          <p:cNvPr id="3" name="Subtitle 2"/>
          <p:cNvSpPr>
            <a:spLocks noGrp="1"/>
          </p:cNvSpPr>
          <p:nvPr>
            <p:ph type="subTitle" idx="1"/>
          </p:nvPr>
        </p:nvSpPr>
        <p:spPr>
          <a:xfrm>
            <a:off x="828000" y="3996300"/>
            <a:ext cx="7772400" cy="242802"/>
          </a:xfrm>
        </p:spPr>
        <p:txBody>
          <a:bodyPr>
            <a:normAutofit/>
          </a:bodyPr>
          <a:lstStyle>
            <a:lvl1pPr marL="0" indent="0" algn="l">
              <a:buNone/>
              <a:defRPr sz="1000" spc="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quez pour modifier le style des sous-titres du masque</a:t>
            </a:r>
            <a:endParaRPr lang="en-US" dirty="0"/>
          </a:p>
        </p:txBody>
      </p:sp>
      <p:sp>
        <p:nvSpPr>
          <p:cNvPr id="9" name="Rectangle 8"/>
          <p:cNvSpPr/>
          <p:nvPr userDrawn="1"/>
        </p:nvSpPr>
        <p:spPr>
          <a:xfrm>
            <a:off x="862925" y="2769400"/>
            <a:ext cx="9648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10" name="Rectangle 9"/>
          <p:cNvSpPr/>
          <p:nvPr userDrawn="1"/>
        </p:nvSpPr>
        <p:spPr>
          <a:xfrm>
            <a:off x="0" y="2987200"/>
            <a:ext cx="9144000" cy="158400"/>
          </a:xfrm>
          <a:prstGeom prst="rect">
            <a:avLst/>
          </a:prstGeom>
          <a:solidFill>
            <a:srgbClr val="00C3F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11" name="Rectangle 10"/>
          <p:cNvSpPr/>
          <p:nvPr userDrawn="1"/>
        </p:nvSpPr>
        <p:spPr>
          <a:xfrm>
            <a:off x="0" y="3187000"/>
            <a:ext cx="9144000" cy="158400"/>
          </a:xfrm>
          <a:prstGeom prst="rect">
            <a:avLst/>
          </a:prstGeom>
          <a:solidFill>
            <a:srgbClr val="1596C8"/>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12" name="Rectangle 11"/>
          <p:cNvSpPr/>
          <p:nvPr userDrawn="1"/>
        </p:nvSpPr>
        <p:spPr>
          <a:xfrm>
            <a:off x="0" y="3386800"/>
            <a:ext cx="9144000" cy="158400"/>
          </a:xfrm>
          <a:prstGeom prst="rect">
            <a:avLst/>
          </a:prstGeom>
          <a:solidFill>
            <a:srgbClr val="0073A3"/>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13" name="Rectangle 12"/>
          <p:cNvSpPr/>
          <p:nvPr userDrawn="1"/>
        </p:nvSpPr>
        <p:spPr>
          <a:xfrm>
            <a:off x="0" y="3586600"/>
            <a:ext cx="9144000" cy="158400"/>
          </a:xfrm>
          <a:prstGeom prst="rect">
            <a:avLst/>
          </a:prstGeom>
          <a:solidFill>
            <a:srgbClr val="005483"/>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22" name="Rectangle 21"/>
          <p:cNvSpPr/>
          <p:nvPr userDrawn="1"/>
        </p:nvSpPr>
        <p:spPr>
          <a:xfrm>
            <a:off x="862925" y="6036400"/>
            <a:ext cx="9648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16" name="Espace réservé du texte 6"/>
          <p:cNvSpPr>
            <a:spLocks noGrp="1"/>
          </p:cNvSpPr>
          <p:nvPr>
            <p:ph type="body" sz="quarter" idx="14"/>
          </p:nvPr>
        </p:nvSpPr>
        <p:spPr>
          <a:xfrm>
            <a:off x="2152800" y="6011000"/>
            <a:ext cx="6451198" cy="580300"/>
          </a:xfrm>
        </p:spPr>
        <p:txBody>
          <a:bodyPr anchor="t">
            <a:noAutofit/>
          </a:bodyPr>
          <a:lstStyle>
            <a:lvl1pPr marL="6350" indent="0" algn="just">
              <a:buNone/>
              <a:defRPr sz="800">
                <a:solidFill>
                  <a:schemeClr val="tx2"/>
                </a:solidFill>
              </a:defRPr>
            </a:lvl1pPr>
          </a:lstStyle>
          <a:p>
            <a:pPr lvl="0"/>
            <a:r>
              <a:rPr lang="fr-FR" dirty="0"/>
              <a:t>Cliquez pour modifier les styles du texte du masque</a:t>
            </a:r>
          </a:p>
        </p:txBody>
      </p:sp>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5938" y="277900"/>
            <a:ext cx="3203574" cy="1222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11" name="Rectangle 10"/>
          <p:cNvSpPr/>
          <p:nvPr userDrawn="1"/>
        </p:nvSpPr>
        <p:spPr>
          <a:xfrm>
            <a:off x="0" y="1854200"/>
            <a:ext cx="9144000" cy="3949000"/>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sp>
        <p:nvSpPr>
          <p:cNvPr id="2" name="Titre 1"/>
          <p:cNvSpPr>
            <a:spLocks noGrp="1"/>
          </p:cNvSpPr>
          <p:nvPr>
            <p:ph type="title"/>
          </p:nvPr>
        </p:nvSpPr>
        <p:spPr>
          <a:xfrm>
            <a:off x="828000" y="1084589"/>
            <a:ext cx="7775998" cy="466228"/>
          </a:xfrm>
        </p:spPr>
        <p:txBody>
          <a:bodyPr>
            <a:noAutofit/>
          </a:bodyPr>
          <a:lstStyle>
            <a:lvl1pPr>
              <a:defRPr sz="3400" b="0">
                <a:solidFill>
                  <a:srgbClr val="00B4E0"/>
                </a:solidFill>
              </a:defRPr>
            </a:lvl1pPr>
          </a:lstStyle>
          <a:p>
            <a:r>
              <a:rPr lang="fr-FR"/>
              <a:t>Cliquez et modifiez le titre</a:t>
            </a:r>
            <a:endParaRPr lang="fr-FR" dirty="0"/>
          </a:p>
        </p:txBody>
      </p:sp>
      <p:sp>
        <p:nvSpPr>
          <p:cNvPr id="3" name="Espace réservé du pied de page 2"/>
          <p:cNvSpPr>
            <a:spLocks noGrp="1"/>
          </p:cNvSpPr>
          <p:nvPr>
            <p:ph type="ftr" sz="quarter" idx="10"/>
          </p:nvPr>
        </p:nvSpPr>
        <p:spPr/>
        <p:txBody>
          <a:bodyPr/>
          <a:lstStyle>
            <a:lvl1pPr>
              <a:defRPr/>
            </a:lvl1pPr>
          </a:lstStyle>
          <a:p>
            <a:r>
              <a:rPr lang="it-IT" smtClean="0">
                <a:solidFill>
                  <a:srgbClr val="003C64"/>
                </a:solidFill>
              </a:rPr>
              <a:t>Amundi Conservative Strategy  l  February 2018 </a:t>
            </a:r>
            <a:endParaRPr lang="fr-FR" dirty="0">
              <a:solidFill>
                <a:srgbClr val="003C64"/>
              </a:solidFill>
            </a:endParaRPr>
          </a:p>
        </p:txBody>
      </p:sp>
      <p:sp>
        <p:nvSpPr>
          <p:cNvPr id="4" name="Espace réservé du numéro de diapositive 3"/>
          <p:cNvSpPr>
            <a:spLocks noGrp="1"/>
          </p:cNvSpPr>
          <p:nvPr>
            <p:ph type="sldNum" sz="quarter" idx="11"/>
          </p:nvPr>
        </p:nvSpPr>
        <p:spPr/>
        <p:txBody>
          <a:bodyPr/>
          <a:lstStyle/>
          <a:p>
            <a:fld id="{2B1C6FFC-D040-034F-8B69-20295064E64D}" type="slidenum">
              <a:rPr lang="fr-FR" smtClean="0">
                <a:solidFill>
                  <a:srgbClr val="003C64"/>
                </a:solidFill>
              </a:rPr>
              <a:pPr/>
              <a:t>‹#›</a:t>
            </a:fld>
            <a:endParaRPr lang="fr-FR" dirty="0">
              <a:solidFill>
                <a:srgbClr val="003C64"/>
              </a:solidFill>
            </a:endParaRPr>
          </a:p>
        </p:txBody>
      </p:sp>
      <p:sp>
        <p:nvSpPr>
          <p:cNvPr id="6" name="Rectangle 5"/>
          <p:cNvSpPr/>
          <p:nvPr userDrawn="1"/>
        </p:nvSpPr>
        <p:spPr>
          <a:xfrm>
            <a:off x="828000" y="5997600"/>
            <a:ext cx="10260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sp>
        <p:nvSpPr>
          <p:cNvPr id="9" name="Espace réservé du texte 8"/>
          <p:cNvSpPr>
            <a:spLocks noGrp="1"/>
          </p:cNvSpPr>
          <p:nvPr>
            <p:ph type="body" sz="quarter" idx="12"/>
          </p:nvPr>
        </p:nvSpPr>
        <p:spPr>
          <a:xfrm>
            <a:off x="828000" y="2102399"/>
            <a:ext cx="7775998" cy="3452401"/>
          </a:xfrm>
        </p:spPr>
        <p:txBody>
          <a:bodyPr/>
          <a:lstStyle>
            <a:lvl1pPr marL="269875" indent="-263525">
              <a:spcBef>
                <a:spcPts val="1200"/>
              </a:spcBef>
              <a:buClr>
                <a:schemeClr val="accent1"/>
              </a:buClr>
              <a:buSzPct val="100000"/>
              <a:buFont typeface="+mj-lt"/>
              <a:buAutoNum type="arabicPeriod"/>
              <a:tabLst/>
              <a:defRPr b="1">
                <a:solidFill>
                  <a:schemeClr val="tx1"/>
                </a:solidFill>
              </a:defRPr>
            </a:lvl1pPr>
            <a:lvl2pPr marL="536575" indent="-133350">
              <a:spcBef>
                <a:spcPts val="800"/>
              </a:spcBef>
              <a:tabLst/>
              <a:defRPr sz="1200"/>
            </a:lvl2pPr>
            <a:lvl3pPr marL="270000" indent="-265113">
              <a:spcBef>
                <a:spcPts val="1200"/>
              </a:spcBef>
              <a:buClr>
                <a:schemeClr val="tx2">
                  <a:lumMod val="60000"/>
                  <a:lumOff val="40000"/>
                </a:schemeClr>
              </a:buClr>
              <a:buFont typeface="+mj-lt"/>
              <a:buAutoNum type="arabicPeriod"/>
              <a:tabLst/>
              <a:defRPr sz="1600" b="1">
                <a:solidFill>
                  <a:schemeClr val="tx2">
                    <a:lumMod val="60000"/>
                    <a:lumOff val="40000"/>
                  </a:schemeClr>
                </a:solidFill>
              </a:defRPr>
            </a:lvl3pPr>
          </a:lstStyle>
          <a:p>
            <a:pPr lvl="0"/>
            <a:r>
              <a:rPr lang="fr-FR"/>
              <a:t>Cliquez pour modifier les styles du texte du masque</a:t>
            </a:r>
          </a:p>
          <a:p>
            <a:pPr lvl="1"/>
            <a:r>
              <a:rPr lang="fr-FR"/>
              <a:t>Deuxième niveau</a:t>
            </a:r>
          </a:p>
        </p:txBody>
      </p:sp>
      <p:sp>
        <p:nvSpPr>
          <p:cNvPr id="10" name="Rectangle 9"/>
          <p:cNvSpPr/>
          <p:nvPr userDrawn="1"/>
        </p:nvSpPr>
        <p:spPr>
          <a:xfrm>
            <a:off x="828000" y="799865"/>
            <a:ext cx="1026000" cy="39600"/>
          </a:xfrm>
          <a:prstGeom prst="rect">
            <a:avLst/>
          </a:prstGeom>
          <a:solidFill>
            <a:srgbClr val="00B4E0"/>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00B4E0"/>
              </a:solidFill>
            </a:endParaRPr>
          </a:p>
        </p:txBody>
      </p:sp>
      <p:pic>
        <p:nvPicPr>
          <p:cNvPr id="12" name="Image 11" descr="Description : Description : Amundi_compact"/>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93495" y="6105240"/>
            <a:ext cx="1158169" cy="524887"/>
          </a:xfrm>
          <a:prstGeom prst="rect">
            <a:avLst/>
          </a:prstGeom>
          <a:noFill/>
          <a:ln>
            <a:noFill/>
          </a:ln>
        </p:spPr>
      </p:pic>
      <p:cxnSp>
        <p:nvCxnSpPr>
          <p:cNvPr id="13" name="Connecteur droit 12"/>
          <p:cNvCxnSpPr/>
          <p:nvPr userDrawn="1"/>
        </p:nvCxnSpPr>
        <p:spPr>
          <a:xfrm>
            <a:off x="719288" y="6482819"/>
            <a:ext cx="0" cy="1176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982582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le 1"/>
          <p:cNvSpPr>
            <a:spLocks noGrp="1"/>
          </p:cNvSpPr>
          <p:nvPr>
            <p:ph type="title"/>
          </p:nvPr>
        </p:nvSpPr>
        <p:spPr>
          <a:xfrm>
            <a:off x="540000" y="698265"/>
            <a:ext cx="8063999" cy="388800"/>
          </a:xfrm>
        </p:spPr>
        <p:txBody>
          <a:bodyPr/>
          <a:lstStyle/>
          <a:p>
            <a:r>
              <a:rPr lang="fr-FR" dirty="0"/>
              <a:t>Cliquez et modifiez le titre</a:t>
            </a:r>
            <a:endParaRPr lang="en-US" dirty="0"/>
          </a:p>
        </p:txBody>
      </p:sp>
      <p:sp>
        <p:nvSpPr>
          <p:cNvPr id="3" name="Content Placeholder 2"/>
          <p:cNvSpPr>
            <a:spLocks noGrp="1"/>
          </p:cNvSpPr>
          <p:nvPr>
            <p:ph sz="half" idx="1"/>
          </p:nvPr>
        </p:nvSpPr>
        <p:spPr>
          <a:xfrm>
            <a:off x="539999" y="1548000"/>
            <a:ext cx="3974851" cy="3913000"/>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4" name="Content Placeholder 3"/>
          <p:cNvSpPr>
            <a:spLocks noGrp="1"/>
          </p:cNvSpPr>
          <p:nvPr>
            <p:ph sz="half" idx="2"/>
          </p:nvPr>
        </p:nvSpPr>
        <p:spPr>
          <a:xfrm>
            <a:off x="4629150" y="1548000"/>
            <a:ext cx="3974848" cy="39130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6" name="Footer Placeholder 5"/>
          <p:cNvSpPr>
            <a:spLocks noGrp="1"/>
          </p:cNvSpPr>
          <p:nvPr>
            <p:ph type="ftr" sz="quarter" idx="11"/>
          </p:nvPr>
        </p:nvSpPr>
        <p:spPr/>
        <p:txBody>
          <a:bodyPr/>
          <a:lstStyle>
            <a:lvl1pPr>
              <a:defRPr/>
            </a:lvl1pPr>
          </a:lstStyle>
          <a:p>
            <a:r>
              <a:rPr lang="it-IT" smtClean="0">
                <a:solidFill>
                  <a:srgbClr val="003C64"/>
                </a:solidFill>
              </a:rPr>
              <a:t>Amundi Conservative Strategy  l  February 2018 </a:t>
            </a:r>
            <a:endParaRPr lang="fr-FR" dirty="0">
              <a:solidFill>
                <a:srgbClr val="003C64"/>
              </a:solidFill>
            </a:endParaRPr>
          </a:p>
        </p:txBody>
      </p:sp>
      <p:sp>
        <p:nvSpPr>
          <p:cNvPr id="7" name="Slide Number Placeholder 6"/>
          <p:cNvSpPr>
            <a:spLocks noGrp="1"/>
          </p:cNvSpPr>
          <p:nvPr>
            <p:ph type="sldNum" sz="quarter" idx="12"/>
          </p:nvPr>
        </p:nvSpPr>
        <p:spPr/>
        <p:txBody>
          <a:bodyPr/>
          <a:lstStyle/>
          <a:p>
            <a:fld id="{2B1C6FFC-D040-034F-8B69-20295064E64D}" type="slidenum">
              <a:rPr lang="fr-FR" smtClean="0">
                <a:solidFill>
                  <a:srgbClr val="003C64"/>
                </a:solidFill>
              </a:rPr>
              <a:pPr/>
              <a:t>‹#›</a:t>
            </a:fld>
            <a:endParaRPr lang="fr-FR">
              <a:solidFill>
                <a:srgbClr val="003C64"/>
              </a:solidFill>
            </a:endParaRPr>
          </a:p>
        </p:txBody>
      </p:sp>
      <p:sp>
        <p:nvSpPr>
          <p:cNvPr id="9" name="Espace réservé du texte 8"/>
          <p:cNvSpPr>
            <a:spLocks noGrp="1"/>
          </p:cNvSpPr>
          <p:nvPr>
            <p:ph type="body" sz="quarter" idx="13" hasCustomPrompt="1"/>
          </p:nvPr>
        </p:nvSpPr>
        <p:spPr>
          <a:xfrm>
            <a:off x="539750" y="1087065"/>
            <a:ext cx="8064500" cy="306000"/>
          </a:xfrm>
        </p:spPr>
        <p:txBody>
          <a:bodyPr>
            <a:noAutofit/>
          </a:bodyPr>
          <a:lstStyle>
            <a:lvl1pPr marL="0" indent="0">
              <a:buNone/>
              <a:defRPr sz="1600">
                <a:solidFill>
                  <a:schemeClr val="tx1"/>
                </a:solidFill>
              </a:defRPr>
            </a:lvl1pPr>
          </a:lstStyle>
          <a:p>
            <a:pPr lvl="0"/>
            <a:r>
              <a:rPr lang="fr-FR"/>
              <a:t>Cliquez pour modifier les styles du texte du masque</a:t>
            </a:r>
          </a:p>
        </p:txBody>
      </p:sp>
      <p:sp>
        <p:nvSpPr>
          <p:cNvPr id="8" name="Espace réservé du contenu 7"/>
          <p:cNvSpPr>
            <a:spLocks noGrp="1"/>
          </p:cNvSpPr>
          <p:nvPr>
            <p:ph sz="quarter" idx="14"/>
          </p:nvPr>
        </p:nvSpPr>
        <p:spPr>
          <a:xfrm>
            <a:off x="539750" y="5461000"/>
            <a:ext cx="8064248" cy="622300"/>
          </a:xfrm>
        </p:spPr>
        <p:txBody>
          <a:bodyPr anchor="b"/>
          <a:lstStyle>
            <a:lvl1pPr marL="6350" indent="0" algn="just">
              <a:buNone/>
              <a:defRPr sz="800">
                <a:solidFill>
                  <a:schemeClr val="tx2"/>
                </a:solidFill>
              </a:defRPr>
            </a:lvl1pPr>
          </a:lstStyle>
          <a:p>
            <a:pPr lvl="0"/>
            <a:r>
              <a:rPr lang="fr-FR" dirty="0"/>
              <a:t>Cliquez pour modifier les styles du texte du masque</a:t>
            </a:r>
          </a:p>
        </p:txBody>
      </p:sp>
    </p:spTree>
    <p:extLst>
      <p:ext uri="{BB962C8B-B14F-4D97-AF65-F5344CB8AC3E}">
        <p14:creationId xmlns:p14="http://schemas.microsoft.com/office/powerpoint/2010/main" val="256367827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sp>
        <p:nvSpPr>
          <p:cNvPr id="13" name="Rectangle 12"/>
          <p:cNvSpPr/>
          <p:nvPr userDrawn="1"/>
        </p:nvSpPr>
        <p:spPr>
          <a:xfrm>
            <a:off x="540000" y="438400"/>
            <a:ext cx="9648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sp>
        <p:nvSpPr>
          <p:cNvPr id="8" name="Rectangle 7"/>
          <p:cNvSpPr/>
          <p:nvPr userDrawn="1"/>
        </p:nvSpPr>
        <p:spPr>
          <a:xfrm>
            <a:off x="540000" y="6224400"/>
            <a:ext cx="9648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FFFFFF"/>
              </a:solidFill>
            </a:endParaRPr>
          </a:p>
        </p:txBody>
      </p:sp>
      <p:sp>
        <p:nvSpPr>
          <p:cNvPr id="3" name="Espace réservé du pied de page 2"/>
          <p:cNvSpPr>
            <a:spLocks noGrp="1"/>
          </p:cNvSpPr>
          <p:nvPr>
            <p:ph type="ftr" sz="quarter" idx="10"/>
          </p:nvPr>
        </p:nvSpPr>
        <p:spPr/>
        <p:txBody>
          <a:bodyPr/>
          <a:lstStyle>
            <a:lvl1pPr>
              <a:defRPr/>
            </a:lvl1pPr>
          </a:lstStyle>
          <a:p>
            <a:r>
              <a:rPr lang="it-IT" smtClean="0">
                <a:solidFill>
                  <a:srgbClr val="003C64"/>
                </a:solidFill>
              </a:rPr>
              <a:t>Amundi Conservative Strategy  l  February 2018 </a:t>
            </a:r>
            <a:endParaRPr lang="fr-FR" dirty="0">
              <a:solidFill>
                <a:srgbClr val="003C64"/>
              </a:solidFill>
            </a:endParaRPr>
          </a:p>
        </p:txBody>
      </p:sp>
      <p:sp>
        <p:nvSpPr>
          <p:cNvPr id="4" name="Espace réservé du numéro de diapositive 3"/>
          <p:cNvSpPr>
            <a:spLocks noGrp="1"/>
          </p:cNvSpPr>
          <p:nvPr>
            <p:ph type="sldNum" sz="quarter" idx="11"/>
          </p:nvPr>
        </p:nvSpPr>
        <p:spPr/>
        <p:txBody>
          <a:bodyPr/>
          <a:lstStyle/>
          <a:p>
            <a:fld id="{2B1C6FFC-D040-034F-8B69-20295064E64D}" type="slidenum">
              <a:rPr lang="fr-FR" smtClean="0">
                <a:solidFill>
                  <a:srgbClr val="003C64"/>
                </a:solidFill>
              </a:rPr>
              <a:pPr/>
              <a:t>‹#›</a:t>
            </a:fld>
            <a:endParaRPr lang="fr-FR" dirty="0">
              <a:solidFill>
                <a:srgbClr val="003C64"/>
              </a:solidFill>
            </a:endParaRPr>
          </a:p>
        </p:txBody>
      </p:sp>
      <p:sp>
        <p:nvSpPr>
          <p:cNvPr id="7" name="Espace réservé du texte 6"/>
          <p:cNvSpPr>
            <a:spLocks noGrp="1"/>
          </p:cNvSpPr>
          <p:nvPr>
            <p:ph type="body" sz="quarter" idx="12"/>
          </p:nvPr>
        </p:nvSpPr>
        <p:spPr>
          <a:xfrm>
            <a:off x="539998" y="1368055"/>
            <a:ext cx="8063999" cy="4462645"/>
          </a:xfrm>
        </p:spPr>
        <p:txBody>
          <a:bodyPr anchor="b"/>
          <a:lstStyle>
            <a:lvl1pPr marL="177800" indent="-171450">
              <a:tabLst/>
              <a:defRPr sz="1000">
                <a:solidFill>
                  <a:schemeClr val="accent1"/>
                </a:solidFill>
              </a:defRPr>
            </a:lvl1pPr>
            <a:lvl2pPr marL="177800" indent="0" algn="just">
              <a:buNone/>
              <a:tabLst/>
              <a:defRPr sz="800">
                <a:solidFill>
                  <a:schemeClr val="tx2"/>
                </a:solidFill>
              </a:defRPr>
            </a:lvl2pPr>
          </a:lstStyle>
          <a:p>
            <a:pPr lvl="0"/>
            <a:r>
              <a:rPr lang="fr-FR" dirty="0"/>
              <a:t>Cliquez pour modifier les styles du texte du masque</a:t>
            </a:r>
          </a:p>
          <a:p>
            <a:pPr lvl="1"/>
            <a:r>
              <a:rPr lang="fr-FR" dirty="0"/>
              <a:t>Deuxième niveau</a:t>
            </a:r>
          </a:p>
        </p:txBody>
      </p:sp>
      <p:cxnSp>
        <p:nvCxnSpPr>
          <p:cNvPr id="10" name="Connecteur droit 9"/>
          <p:cNvCxnSpPr/>
          <p:nvPr userDrawn="1"/>
        </p:nvCxnSpPr>
        <p:spPr>
          <a:xfrm>
            <a:off x="719288" y="6482819"/>
            <a:ext cx="0" cy="1176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descr="Description : Description : Amundi_compact"/>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8203" y="5912137"/>
            <a:ext cx="1653339" cy="749300"/>
          </a:xfrm>
          <a:prstGeom prst="rect">
            <a:avLst/>
          </a:prstGeom>
          <a:noFill/>
          <a:ln>
            <a:noFill/>
          </a:ln>
        </p:spPr>
      </p:pic>
    </p:spTree>
    <p:extLst>
      <p:ext uri="{BB962C8B-B14F-4D97-AF65-F5344CB8AC3E}">
        <p14:creationId xmlns:p14="http://schemas.microsoft.com/office/powerpoint/2010/main" val="12945003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500400" y="684000"/>
            <a:ext cx="8194338" cy="360000"/>
          </a:xfrm>
        </p:spPr>
        <p:txBody>
          <a:bodyPr/>
          <a:lstStyle/>
          <a:p>
            <a:r>
              <a:rPr lang="en-US"/>
              <a:t>Click to edit Master title style</a:t>
            </a:r>
          </a:p>
        </p:txBody>
      </p:sp>
      <p:sp>
        <p:nvSpPr>
          <p:cNvPr id="3" name="Espace réservé du contenu 2"/>
          <p:cNvSpPr>
            <a:spLocks noGrp="1"/>
          </p:cNvSpPr>
          <p:nvPr>
            <p:ph sz="half" idx="1"/>
          </p:nvPr>
        </p:nvSpPr>
        <p:spPr>
          <a:xfrm>
            <a:off x="500400" y="1259999"/>
            <a:ext cx="4032000" cy="4755600"/>
          </a:xfrm>
        </p:spPr>
        <p:txBody>
          <a:bodyPr>
            <a:normAutofit/>
          </a:bodyPr>
          <a:lstStyle>
            <a:lvl1pPr>
              <a:defRPr sz="16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Espace réservé du contenu 3"/>
          <p:cNvSpPr>
            <a:spLocks noGrp="1"/>
          </p:cNvSpPr>
          <p:nvPr>
            <p:ph sz="half" idx="2"/>
          </p:nvPr>
        </p:nvSpPr>
        <p:spPr>
          <a:xfrm>
            <a:off x="4640400" y="1259999"/>
            <a:ext cx="4032000" cy="4755600"/>
          </a:xfrm>
        </p:spPr>
        <p:txBody>
          <a:bodyPr>
            <a:normAutofit/>
          </a:bodyPr>
          <a:lstStyle>
            <a:lvl1pPr>
              <a:defRPr sz="16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e la date 4"/>
          <p:cNvSpPr>
            <a:spLocks noGrp="1"/>
          </p:cNvSpPr>
          <p:nvPr>
            <p:ph type="dt" sz="half" idx="10"/>
          </p:nvPr>
        </p:nvSpPr>
        <p:spPr/>
        <p:txBody>
          <a:bodyPr/>
          <a:lstStyle/>
          <a:p>
            <a:endParaRPr lang="en-US">
              <a:solidFill>
                <a:srgbClr val="003C64"/>
              </a:solidFill>
            </a:endParaRPr>
          </a:p>
        </p:txBody>
      </p:sp>
      <p:sp>
        <p:nvSpPr>
          <p:cNvPr id="6" name="Espace réservé du pied de page 5"/>
          <p:cNvSpPr>
            <a:spLocks noGrp="1"/>
          </p:cNvSpPr>
          <p:nvPr>
            <p:ph type="ftr" sz="quarter" idx="11"/>
          </p:nvPr>
        </p:nvSpPr>
        <p:spPr>
          <a:xfrm>
            <a:off x="4652962" y="6192000"/>
            <a:ext cx="3430333" cy="216000"/>
          </a:xfrm>
        </p:spPr>
        <p:txBody>
          <a:bodyPr/>
          <a:lstStyle>
            <a:lvl1pPr>
              <a:defRPr sz="900"/>
            </a:lvl1pPr>
          </a:lstStyle>
          <a:p>
            <a:r>
              <a:rPr lang="it-IT" smtClean="0">
                <a:solidFill>
                  <a:srgbClr val="003C64"/>
                </a:solidFill>
              </a:rPr>
              <a:t>Amundi Conservative Strategy  l  February 2018 </a:t>
            </a:r>
            <a:endParaRPr lang="en-US">
              <a:solidFill>
                <a:srgbClr val="003C64"/>
              </a:solidFill>
            </a:endParaRPr>
          </a:p>
        </p:txBody>
      </p:sp>
      <p:sp>
        <p:nvSpPr>
          <p:cNvPr id="9" name="Espace réservé du texte 8"/>
          <p:cNvSpPr>
            <a:spLocks noGrp="1"/>
          </p:cNvSpPr>
          <p:nvPr>
            <p:ph type="body" sz="quarter" idx="13" hasCustomPrompt="1"/>
          </p:nvPr>
        </p:nvSpPr>
        <p:spPr>
          <a:xfrm>
            <a:off x="500063" y="6173787"/>
            <a:ext cx="4028400" cy="673200"/>
          </a:xfrm>
        </p:spPr>
        <p:txBody>
          <a:bodyPr vert="horz" lIns="0" tIns="46800" rIns="0" bIns="0" rtlCol="0">
            <a:noAutofit/>
          </a:bodyPr>
          <a:lstStyle>
            <a:lvl1pPr>
              <a:defRPr lang="fr-FR" sz="800" baseline="0" smtClean="0">
                <a:solidFill>
                  <a:srgbClr val="767A7E"/>
                </a:solidFill>
              </a:defRPr>
            </a:lvl1pPr>
            <a:lvl2pPr>
              <a:defRPr lang="fr-FR" smtClean="0"/>
            </a:lvl2pPr>
            <a:lvl3pPr>
              <a:defRPr lang="fr-FR" smtClean="0"/>
            </a:lvl3pPr>
            <a:lvl4pPr>
              <a:defRPr lang="fr-FR" smtClean="0"/>
            </a:lvl4pPr>
            <a:lvl5pPr>
              <a:defRPr lang="fr-FR"/>
            </a:lvl5pPr>
          </a:lstStyle>
          <a:p>
            <a:pPr lvl="0"/>
            <a:r>
              <a:rPr lang="fr-FR" dirty="0"/>
              <a:t>Sources, notes, mentions légales, </a:t>
            </a:r>
            <a:r>
              <a:rPr lang="fr-FR" dirty="0" err="1"/>
              <a:t>etc</a:t>
            </a:r>
            <a:endParaRPr lang="fr-FR" dirty="0"/>
          </a:p>
          <a:p>
            <a:pPr lvl="0"/>
            <a:r>
              <a:rPr lang="fr-FR" dirty="0"/>
              <a:t>En cas de débord placer cette zone dans le corps de la page sur toue la largeur</a:t>
            </a:r>
            <a:endParaRPr lang="en-US" dirty="0"/>
          </a:p>
        </p:txBody>
      </p:sp>
      <p:sp>
        <p:nvSpPr>
          <p:cNvPr id="10" name="Espace réservé du numéro de diapositive 4"/>
          <p:cNvSpPr>
            <a:spLocks noGrp="1"/>
          </p:cNvSpPr>
          <p:nvPr>
            <p:ph type="sldNum" sz="quarter" idx="12"/>
          </p:nvPr>
        </p:nvSpPr>
        <p:spPr>
          <a:xfrm>
            <a:off x="8136000" y="6192000"/>
            <a:ext cx="502920" cy="216000"/>
          </a:xfrm>
        </p:spPr>
        <p:txBody>
          <a:bodyPr vert="horz" lIns="0" tIns="0" rIns="0" bIns="0" rtlCol="0" anchor="t">
            <a:noAutofit/>
          </a:bodyPr>
          <a:lstStyle>
            <a:lvl1pPr>
              <a:defRPr lang="en-US" smtClean="0"/>
            </a:lvl1pPr>
          </a:lstStyle>
          <a:p>
            <a:fld id="{C12E7156-0CA6-462A-9A46-AEFB5E440988}" type="slidenum">
              <a:rPr>
                <a:solidFill>
                  <a:srgbClr val="003C64"/>
                </a:solidFill>
              </a:rPr>
              <a:pPr/>
              <a:t>‹#›</a:t>
            </a:fld>
            <a:endParaRPr>
              <a:solidFill>
                <a:srgbClr val="003C64"/>
              </a:solidFill>
            </a:endParaRPr>
          </a:p>
        </p:txBody>
      </p:sp>
    </p:spTree>
    <p:extLst>
      <p:ext uri="{BB962C8B-B14F-4D97-AF65-F5344CB8AC3E}">
        <p14:creationId xmlns:p14="http://schemas.microsoft.com/office/powerpoint/2010/main" val="180045967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re et contenu + sous-tit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Espace réservé du contenu 2"/>
          <p:cNvSpPr>
            <a:spLocks noGrp="1"/>
          </p:cNvSpPr>
          <p:nvPr>
            <p:ph idx="1"/>
          </p:nvPr>
        </p:nvSpPr>
        <p:spPr>
          <a:xfrm>
            <a:off x="500400" y="1620000"/>
            <a:ext cx="8172000" cy="439675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Espace réservé de la date 3"/>
          <p:cNvSpPr>
            <a:spLocks noGrp="1"/>
          </p:cNvSpPr>
          <p:nvPr>
            <p:ph type="dt" sz="half" idx="10"/>
          </p:nvPr>
        </p:nvSpPr>
        <p:spPr>
          <a:xfrm>
            <a:off x="6538800" y="220726"/>
            <a:ext cx="2133600" cy="365125"/>
          </a:xfrm>
          <a:prstGeom prst="rect">
            <a:avLst/>
          </a:prstGeom>
        </p:spPr>
        <p:txBody>
          <a:bodyPr/>
          <a:lstStyle/>
          <a:p>
            <a:endParaRPr lang="en-US">
              <a:solidFill>
                <a:srgbClr val="003C64"/>
              </a:solidFill>
            </a:endParaRPr>
          </a:p>
        </p:txBody>
      </p:sp>
      <p:sp>
        <p:nvSpPr>
          <p:cNvPr id="5" name="Espace réservé du pied de page 4"/>
          <p:cNvSpPr>
            <a:spLocks noGrp="1"/>
          </p:cNvSpPr>
          <p:nvPr>
            <p:ph type="ftr" sz="quarter" idx="11"/>
          </p:nvPr>
        </p:nvSpPr>
        <p:spPr>
          <a:xfrm>
            <a:off x="4652962" y="6192000"/>
            <a:ext cx="3430333" cy="216000"/>
          </a:xfrm>
        </p:spPr>
        <p:txBody>
          <a:bodyPr/>
          <a:lstStyle>
            <a:lvl1pPr>
              <a:defRPr sz="900"/>
            </a:lvl1pPr>
          </a:lstStyle>
          <a:p>
            <a:r>
              <a:rPr lang="it-IT" smtClean="0">
                <a:solidFill>
                  <a:srgbClr val="003C64"/>
                </a:solidFill>
              </a:rPr>
              <a:t>Amundi Conservative Strategy  l  February 2018 </a:t>
            </a:r>
            <a:endParaRPr lang="en-US">
              <a:solidFill>
                <a:srgbClr val="003C64"/>
              </a:solidFill>
            </a:endParaRPr>
          </a:p>
        </p:txBody>
      </p:sp>
      <p:sp>
        <p:nvSpPr>
          <p:cNvPr id="9" name="Espace réservé du texte 8"/>
          <p:cNvSpPr>
            <a:spLocks noGrp="1"/>
          </p:cNvSpPr>
          <p:nvPr>
            <p:ph type="body" sz="quarter" idx="13"/>
          </p:nvPr>
        </p:nvSpPr>
        <p:spPr>
          <a:xfrm>
            <a:off x="500400" y="1260000"/>
            <a:ext cx="8172000" cy="360000"/>
          </a:xfrm>
        </p:spPr>
        <p:txBody>
          <a:bodyPr>
            <a:noAutofit/>
          </a:bodyPr>
          <a:lstStyle>
            <a:lvl1pPr>
              <a:buNone/>
              <a:defRPr sz="1800" b="1"/>
            </a:lvl1pPr>
            <a:lvl2pPr>
              <a:defRPr sz="1800" b="1"/>
            </a:lvl2pPr>
            <a:lvl3pPr>
              <a:defRPr sz="1600" b="1"/>
            </a:lvl3pPr>
            <a:lvl4pPr>
              <a:defRPr sz="1400" b="1"/>
            </a:lvl4pPr>
            <a:lvl5pPr>
              <a:defRPr sz="1200" b="1"/>
            </a:lvl5pPr>
          </a:lstStyle>
          <a:p>
            <a:pPr lvl="0"/>
            <a:r>
              <a:rPr lang="en-US" smtClean="0"/>
              <a:t>Click to edit Master text styles</a:t>
            </a:r>
          </a:p>
        </p:txBody>
      </p:sp>
      <p:sp>
        <p:nvSpPr>
          <p:cNvPr id="10" name="Espace réservé du texte 8"/>
          <p:cNvSpPr>
            <a:spLocks noGrp="1"/>
          </p:cNvSpPr>
          <p:nvPr>
            <p:ph type="body" sz="quarter" idx="14" hasCustomPrompt="1"/>
          </p:nvPr>
        </p:nvSpPr>
        <p:spPr>
          <a:xfrm>
            <a:off x="519113" y="6183313"/>
            <a:ext cx="4027487" cy="674687"/>
          </a:xfrm>
        </p:spPr>
        <p:txBody>
          <a:bodyPr tIns="46800"/>
          <a:lstStyle>
            <a:lvl1pPr>
              <a:buNone/>
              <a:defRPr sz="800" baseline="0">
                <a:solidFill>
                  <a:srgbClr val="767A7E"/>
                </a:solidFill>
              </a:defRPr>
            </a:lvl1pPr>
          </a:lstStyle>
          <a:p>
            <a:pPr lvl="0"/>
            <a:r>
              <a:rPr lang="fr-FR" dirty="0" smtClean="0"/>
              <a:t>Sources, notes, mentions légales, </a:t>
            </a:r>
            <a:r>
              <a:rPr lang="fr-FR" dirty="0" err="1" smtClean="0"/>
              <a:t>etc</a:t>
            </a:r>
            <a:endParaRPr lang="fr-FR" dirty="0" smtClean="0"/>
          </a:p>
          <a:p>
            <a:pPr lvl="0"/>
            <a:r>
              <a:rPr lang="fr-FR" dirty="0" smtClean="0"/>
              <a:t>En cas de débord placer cette zone dans le corps de la page sur toue la largeur</a:t>
            </a:r>
            <a:endParaRPr lang="en-US" dirty="0"/>
          </a:p>
        </p:txBody>
      </p:sp>
      <p:sp>
        <p:nvSpPr>
          <p:cNvPr id="12" name="Espace réservé du numéro de diapositive 4"/>
          <p:cNvSpPr>
            <a:spLocks noGrp="1"/>
          </p:cNvSpPr>
          <p:nvPr>
            <p:ph type="sldNum" sz="quarter" idx="12"/>
          </p:nvPr>
        </p:nvSpPr>
        <p:spPr>
          <a:xfrm>
            <a:off x="8136000" y="6192000"/>
            <a:ext cx="502920" cy="216000"/>
          </a:xfrm>
        </p:spPr>
        <p:txBody>
          <a:bodyPr vert="horz" lIns="0" tIns="0" rIns="0" bIns="0" rtlCol="0" anchor="t">
            <a:noAutofit/>
          </a:bodyPr>
          <a:lstStyle>
            <a:lvl1pPr>
              <a:defRPr lang="en-US" smtClean="0"/>
            </a:lvl1pPr>
          </a:lstStyle>
          <a:p>
            <a:fld id="{C12E7156-0CA6-462A-9A46-AEFB5E440988}" type="slidenum">
              <a:rPr>
                <a:solidFill>
                  <a:srgbClr val="003C64"/>
                </a:solidFill>
              </a:rPr>
              <a:pPr/>
              <a:t>‹#›</a:t>
            </a:fld>
            <a:endParaRPr>
              <a:solidFill>
                <a:srgbClr val="003C64"/>
              </a:solidFill>
            </a:endParaRPr>
          </a:p>
        </p:txBody>
      </p:sp>
    </p:spTree>
    <p:extLst>
      <p:ext uri="{BB962C8B-B14F-4D97-AF65-F5344CB8AC3E}">
        <p14:creationId xmlns:p14="http://schemas.microsoft.com/office/powerpoint/2010/main" val="207410406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539999" y="698265"/>
            <a:ext cx="8063999" cy="387493"/>
          </a:xfrm>
        </p:spPr>
        <p:txBody>
          <a:bodyPr/>
          <a:lstStyle/>
          <a:p>
            <a:r>
              <a:rPr lang="fr-FR" dirty="0"/>
              <a:t>Cliquez et modifiez le titre</a:t>
            </a:r>
            <a:endParaRPr lang="en-US" dirty="0"/>
          </a:p>
        </p:txBody>
      </p:sp>
      <p:sp>
        <p:nvSpPr>
          <p:cNvPr id="3" name="Content Placeholder 2"/>
          <p:cNvSpPr>
            <a:spLocks noGrp="1"/>
          </p:cNvSpPr>
          <p:nvPr>
            <p:ph idx="1"/>
          </p:nvPr>
        </p:nvSpPr>
        <p:spPr>
          <a:xfrm>
            <a:off x="540000" y="1548000"/>
            <a:ext cx="8063998" cy="3913200"/>
          </a:xfrm>
        </p:spPr>
        <p:txBody>
          <a:bodyPr>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Footer Placeholder 4"/>
          <p:cNvSpPr>
            <a:spLocks noGrp="1"/>
          </p:cNvSpPr>
          <p:nvPr>
            <p:ph type="ftr" sz="quarter" idx="11"/>
          </p:nvPr>
        </p:nvSpPr>
        <p:spPr/>
        <p:txBody>
          <a:bodyPr/>
          <a:lstStyle>
            <a:lvl1pPr>
              <a:defRPr/>
            </a:lvl1pPr>
          </a:lstStyle>
          <a:p>
            <a:r>
              <a:rPr lang="en-US" smtClean="0"/>
              <a:t>Smart Beta - Investment Solutions</a:t>
            </a:r>
            <a:endParaRPr lang="fr-FR" dirty="0"/>
          </a:p>
        </p:txBody>
      </p:sp>
      <p:sp>
        <p:nvSpPr>
          <p:cNvPr id="6" name="Slide Number Placeholder 5"/>
          <p:cNvSpPr>
            <a:spLocks noGrp="1"/>
          </p:cNvSpPr>
          <p:nvPr>
            <p:ph type="sldNum" sz="quarter" idx="12"/>
          </p:nvPr>
        </p:nvSpPr>
        <p:spPr/>
        <p:txBody>
          <a:bodyPr/>
          <a:lstStyle/>
          <a:p>
            <a:fld id="{2B1C6FFC-D040-034F-8B69-20295064E64D}" type="slidenum">
              <a:rPr lang="fr-FR" smtClean="0"/>
              <a:t>‹#›</a:t>
            </a:fld>
            <a:endParaRPr lang="fr-FR" dirty="0"/>
          </a:p>
        </p:txBody>
      </p:sp>
      <p:sp>
        <p:nvSpPr>
          <p:cNvPr id="8" name="Espace réservé du texte 7"/>
          <p:cNvSpPr>
            <a:spLocks noGrp="1"/>
          </p:cNvSpPr>
          <p:nvPr>
            <p:ph type="body" sz="quarter" idx="13" hasCustomPrompt="1"/>
          </p:nvPr>
        </p:nvSpPr>
        <p:spPr>
          <a:xfrm>
            <a:off x="539750" y="1085758"/>
            <a:ext cx="8064248" cy="304482"/>
          </a:xfrm>
        </p:spPr>
        <p:txBody>
          <a:bodyPr>
            <a:noAutofit/>
          </a:bodyPr>
          <a:lstStyle>
            <a:lvl1pPr marL="0" indent="0">
              <a:buNone/>
              <a:defRPr sz="1600">
                <a:solidFill>
                  <a:schemeClr val="tx1"/>
                </a:solidFill>
              </a:defRPr>
            </a:lvl1pPr>
          </a:lstStyle>
          <a:p>
            <a:pPr lvl="0"/>
            <a:r>
              <a:rPr lang="fr-FR" dirty="0"/>
              <a:t>Cliquez pour modifier les styles du texte du masque</a:t>
            </a:r>
          </a:p>
        </p:txBody>
      </p:sp>
      <p:sp>
        <p:nvSpPr>
          <p:cNvPr id="7" name="Espace réservé du texte 6"/>
          <p:cNvSpPr>
            <a:spLocks noGrp="1"/>
          </p:cNvSpPr>
          <p:nvPr>
            <p:ph type="body" sz="quarter" idx="14"/>
          </p:nvPr>
        </p:nvSpPr>
        <p:spPr>
          <a:xfrm>
            <a:off x="539750" y="5461200"/>
            <a:ext cx="8064248" cy="612000"/>
          </a:xfrm>
        </p:spPr>
        <p:txBody>
          <a:bodyPr anchor="b">
            <a:noAutofit/>
          </a:bodyPr>
          <a:lstStyle>
            <a:lvl1pPr marL="6350" indent="0" algn="just">
              <a:buNone/>
              <a:defRPr sz="800">
                <a:solidFill>
                  <a:schemeClr val="tx2"/>
                </a:solidFill>
              </a:defRPr>
            </a:lvl1pPr>
          </a:lstStyle>
          <a:p>
            <a:pPr lvl="0"/>
            <a:r>
              <a:rPr lang="fr-FR" dirty="0"/>
              <a:t>Cliquez pour modifier les styles du texte du masqu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539999" y="698265"/>
            <a:ext cx="8063999" cy="387493"/>
          </a:xfrm>
        </p:spPr>
        <p:txBody>
          <a:bodyPr/>
          <a:lstStyle/>
          <a:p>
            <a:r>
              <a:rPr lang="fr-FR" dirty="0"/>
              <a:t>Cliquez et modifiez le titre</a:t>
            </a:r>
            <a:endParaRPr lang="en-US" dirty="0"/>
          </a:p>
        </p:txBody>
      </p:sp>
      <p:sp>
        <p:nvSpPr>
          <p:cNvPr id="5" name="Footer Placeholder 4"/>
          <p:cNvSpPr>
            <a:spLocks noGrp="1"/>
          </p:cNvSpPr>
          <p:nvPr>
            <p:ph type="ftr" sz="quarter" idx="11"/>
          </p:nvPr>
        </p:nvSpPr>
        <p:spPr/>
        <p:txBody>
          <a:bodyPr/>
          <a:lstStyle>
            <a:lvl1pPr>
              <a:defRPr/>
            </a:lvl1pPr>
          </a:lstStyle>
          <a:p>
            <a:r>
              <a:rPr lang="en-US" smtClean="0"/>
              <a:t>Smart Beta - Investment Solutions</a:t>
            </a:r>
            <a:endParaRPr lang="fr-FR" dirty="0"/>
          </a:p>
        </p:txBody>
      </p:sp>
      <p:sp>
        <p:nvSpPr>
          <p:cNvPr id="6" name="Slide Number Placeholder 5"/>
          <p:cNvSpPr>
            <a:spLocks noGrp="1"/>
          </p:cNvSpPr>
          <p:nvPr>
            <p:ph type="sldNum" sz="quarter" idx="12"/>
          </p:nvPr>
        </p:nvSpPr>
        <p:spPr/>
        <p:txBody>
          <a:bodyPr/>
          <a:lstStyle/>
          <a:p>
            <a:fld id="{2B1C6FFC-D040-034F-8B69-20295064E64D}" type="slidenum">
              <a:rPr lang="fr-FR" smtClean="0"/>
              <a:t>‹#›</a:t>
            </a:fld>
            <a:endParaRPr lang="fr-FR" dirty="0"/>
          </a:p>
        </p:txBody>
      </p:sp>
      <p:sp>
        <p:nvSpPr>
          <p:cNvPr id="8" name="Espace réservé du texte 7"/>
          <p:cNvSpPr>
            <a:spLocks noGrp="1"/>
          </p:cNvSpPr>
          <p:nvPr>
            <p:ph type="body" sz="quarter" idx="13" hasCustomPrompt="1"/>
          </p:nvPr>
        </p:nvSpPr>
        <p:spPr>
          <a:xfrm>
            <a:off x="539750" y="1085758"/>
            <a:ext cx="8064248" cy="304482"/>
          </a:xfrm>
        </p:spPr>
        <p:txBody>
          <a:bodyPr>
            <a:noAutofit/>
          </a:bodyPr>
          <a:lstStyle>
            <a:lvl1pPr marL="0" indent="0">
              <a:buNone/>
              <a:defRPr sz="1600">
                <a:solidFill>
                  <a:schemeClr val="tx1"/>
                </a:solidFill>
              </a:defRPr>
            </a:lvl1pPr>
          </a:lstStyle>
          <a:p>
            <a:pPr lvl="0"/>
            <a:r>
              <a:rPr lang="fr-FR"/>
              <a:t>Cliquez pour modifier les styles du texte du masqu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sp>
        <p:nvSpPr>
          <p:cNvPr id="11" name="Espace réservé du texte 10"/>
          <p:cNvSpPr>
            <a:spLocks noGrp="1"/>
          </p:cNvSpPr>
          <p:nvPr>
            <p:ph type="body" sz="quarter" idx="13"/>
          </p:nvPr>
        </p:nvSpPr>
        <p:spPr>
          <a:xfrm>
            <a:off x="764500" y="1698577"/>
            <a:ext cx="7772090" cy="1446644"/>
          </a:xfrm>
        </p:spPr>
        <p:txBody>
          <a:bodyPr>
            <a:noAutofit/>
          </a:bodyPr>
          <a:lstStyle>
            <a:lvl1pPr marL="0" indent="0">
              <a:buNone/>
              <a:defRPr sz="8900">
                <a:solidFill>
                  <a:srgbClr val="00B4E0"/>
                </a:solidFill>
              </a:defRPr>
            </a:lvl1pPr>
          </a:lstStyle>
          <a:p>
            <a:pPr lvl="0"/>
            <a:r>
              <a:rPr lang="fr-FR"/>
              <a:t>Cliquez pour modifier les styles du texte du masque</a:t>
            </a:r>
          </a:p>
        </p:txBody>
      </p:sp>
      <p:sp>
        <p:nvSpPr>
          <p:cNvPr id="13" name="Rectangle 12"/>
          <p:cNvSpPr/>
          <p:nvPr userDrawn="1"/>
        </p:nvSpPr>
        <p:spPr>
          <a:xfrm>
            <a:off x="0" y="3240000"/>
            <a:ext cx="9144000" cy="2563200"/>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2" name="Title 1"/>
          <p:cNvSpPr>
            <a:spLocks noGrp="1"/>
          </p:cNvSpPr>
          <p:nvPr>
            <p:ph type="title"/>
          </p:nvPr>
        </p:nvSpPr>
        <p:spPr>
          <a:xfrm>
            <a:off x="828000" y="3470586"/>
            <a:ext cx="7772090" cy="502324"/>
          </a:xfrm>
        </p:spPr>
        <p:txBody>
          <a:bodyPr anchor="t" anchorCtr="0">
            <a:normAutofit/>
          </a:bodyPr>
          <a:lstStyle>
            <a:lvl1pPr>
              <a:defRPr sz="3300" b="0"/>
            </a:lvl1pPr>
          </a:lstStyle>
          <a:p>
            <a:r>
              <a:rPr lang="fr-FR"/>
              <a:t>Cliquez et modifiez le titre</a:t>
            </a:r>
            <a:endParaRPr lang="en-US" dirty="0"/>
          </a:p>
        </p:txBody>
      </p:sp>
      <p:sp>
        <p:nvSpPr>
          <p:cNvPr id="3" name="Text Placeholder 2"/>
          <p:cNvSpPr>
            <a:spLocks noGrp="1"/>
          </p:cNvSpPr>
          <p:nvPr>
            <p:ph type="body" idx="1"/>
          </p:nvPr>
        </p:nvSpPr>
        <p:spPr>
          <a:xfrm>
            <a:off x="828000" y="3972910"/>
            <a:ext cx="7772090" cy="1332188"/>
          </a:xfrm>
        </p:spPr>
        <p:txBody>
          <a:bodyPr>
            <a:normAutofit/>
          </a:bodyPr>
          <a:lstStyle>
            <a:lvl1pPr marL="0" indent="0">
              <a:buNone/>
              <a:defRPr sz="2500" spc="8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5" name="Footer Placeholder 4"/>
          <p:cNvSpPr>
            <a:spLocks noGrp="1"/>
          </p:cNvSpPr>
          <p:nvPr>
            <p:ph type="ftr" sz="quarter" idx="11"/>
          </p:nvPr>
        </p:nvSpPr>
        <p:spPr/>
        <p:txBody>
          <a:bodyPr/>
          <a:lstStyle>
            <a:lvl1pPr>
              <a:defRPr/>
            </a:lvl1pPr>
          </a:lstStyle>
          <a:p>
            <a:r>
              <a:rPr lang="en-US" smtClean="0"/>
              <a:t>Smart Beta - Investment Solutions</a:t>
            </a:r>
            <a:endParaRPr lang="fr-FR" dirty="0"/>
          </a:p>
        </p:txBody>
      </p:sp>
      <p:sp>
        <p:nvSpPr>
          <p:cNvPr id="6" name="Slide Number Placeholder 5"/>
          <p:cNvSpPr>
            <a:spLocks noGrp="1"/>
          </p:cNvSpPr>
          <p:nvPr>
            <p:ph type="sldNum" sz="quarter" idx="12"/>
          </p:nvPr>
        </p:nvSpPr>
        <p:spPr/>
        <p:txBody>
          <a:bodyPr/>
          <a:lstStyle/>
          <a:p>
            <a:fld id="{2B1C6FFC-D040-034F-8B69-20295064E64D}" type="slidenum">
              <a:rPr lang="fr-FR" smtClean="0"/>
              <a:t>‹#›</a:t>
            </a:fld>
            <a:endParaRPr lang="fr-FR"/>
          </a:p>
        </p:txBody>
      </p:sp>
      <p:sp>
        <p:nvSpPr>
          <p:cNvPr id="8" name="Rectangle 7"/>
          <p:cNvSpPr/>
          <p:nvPr userDrawn="1"/>
        </p:nvSpPr>
        <p:spPr>
          <a:xfrm>
            <a:off x="828000" y="1620000"/>
            <a:ext cx="1026000" cy="39600"/>
          </a:xfrm>
          <a:prstGeom prst="rect">
            <a:avLst/>
          </a:prstGeom>
          <a:solidFill>
            <a:srgbClr val="00B4E0"/>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9" name="Rectangle 8"/>
          <p:cNvSpPr/>
          <p:nvPr userDrawn="1"/>
        </p:nvSpPr>
        <p:spPr>
          <a:xfrm>
            <a:off x="828000" y="5997600"/>
            <a:ext cx="10260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15" name="Espace réservé du texte 14"/>
          <p:cNvSpPr>
            <a:spLocks noGrp="1"/>
          </p:cNvSpPr>
          <p:nvPr>
            <p:ph type="body" sz="quarter" idx="14"/>
          </p:nvPr>
        </p:nvSpPr>
        <p:spPr>
          <a:xfrm>
            <a:off x="828000" y="5362219"/>
            <a:ext cx="7772090" cy="291826"/>
          </a:xfrm>
        </p:spPr>
        <p:txBody>
          <a:bodyPr>
            <a:normAutofit/>
          </a:bodyPr>
          <a:lstStyle>
            <a:lvl1pPr marL="0" indent="0">
              <a:buNone/>
              <a:defRPr sz="1200" spc="50" baseline="0">
                <a:solidFill>
                  <a:schemeClr val="tx1"/>
                </a:solidFill>
              </a:defRPr>
            </a:lvl1pPr>
          </a:lstStyle>
          <a:p>
            <a:pPr lvl="0"/>
            <a:r>
              <a:rPr lang="fr-FR"/>
              <a:t>Cliquez pour modifier les styles du texte du masque</a:t>
            </a:r>
          </a:p>
        </p:txBody>
      </p:sp>
      <p:cxnSp>
        <p:nvCxnSpPr>
          <p:cNvPr id="17" name="Connecteur droit 16"/>
          <p:cNvCxnSpPr/>
          <p:nvPr userDrawn="1"/>
        </p:nvCxnSpPr>
        <p:spPr>
          <a:xfrm>
            <a:off x="719288" y="6482819"/>
            <a:ext cx="0" cy="1176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Image 15" descr="Description : Description : Amundi_compact"/>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93495" y="6105240"/>
            <a:ext cx="1158169" cy="524887"/>
          </a:xfrm>
          <a:prstGeom prst="rect">
            <a:avLst/>
          </a:prstGeom>
          <a:noFill/>
          <a:ln>
            <a:noFill/>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11" name="Rectangle 10"/>
          <p:cNvSpPr/>
          <p:nvPr userDrawn="1"/>
        </p:nvSpPr>
        <p:spPr>
          <a:xfrm>
            <a:off x="0" y="1854200"/>
            <a:ext cx="9144000" cy="3949000"/>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2" name="Titre 1"/>
          <p:cNvSpPr>
            <a:spLocks noGrp="1"/>
          </p:cNvSpPr>
          <p:nvPr>
            <p:ph type="title"/>
          </p:nvPr>
        </p:nvSpPr>
        <p:spPr>
          <a:xfrm>
            <a:off x="828000" y="1084589"/>
            <a:ext cx="7775998" cy="466228"/>
          </a:xfrm>
        </p:spPr>
        <p:txBody>
          <a:bodyPr>
            <a:noAutofit/>
          </a:bodyPr>
          <a:lstStyle>
            <a:lvl1pPr>
              <a:defRPr sz="3400" b="0">
                <a:solidFill>
                  <a:srgbClr val="00B4E0"/>
                </a:solidFill>
              </a:defRPr>
            </a:lvl1pPr>
          </a:lstStyle>
          <a:p>
            <a:r>
              <a:rPr lang="fr-FR"/>
              <a:t>Cliquez et modifiez le titre</a:t>
            </a:r>
            <a:endParaRPr lang="fr-FR" dirty="0"/>
          </a:p>
        </p:txBody>
      </p:sp>
      <p:sp>
        <p:nvSpPr>
          <p:cNvPr id="3" name="Espace réservé du pied de page 2"/>
          <p:cNvSpPr>
            <a:spLocks noGrp="1"/>
          </p:cNvSpPr>
          <p:nvPr>
            <p:ph type="ftr" sz="quarter" idx="10"/>
          </p:nvPr>
        </p:nvSpPr>
        <p:spPr/>
        <p:txBody>
          <a:bodyPr/>
          <a:lstStyle>
            <a:lvl1pPr>
              <a:defRPr/>
            </a:lvl1pPr>
          </a:lstStyle>
          <a:p>
            <a:r>
              <a:rPr lang="en-US" smtClean="0"/>
              <a:t>Smart Beta - Investment Solutions</a:t>
            </a:r>
            <a:endParaRPr lang="fr-FR" dirty="0"/>
          </a:p>
        </p:txBody>
      </p:sp>
      <p:sp>
        <p:nvSpPr>
          <p:cNvPr id="4" name="Espace réservé du numéro de diapositive 3"/>
          <p:cNvSpPr>
            <a:spLocks noGrp="1"/>
          </p:cNvSpPr>
          <p:nvPr>
            <p:ph type="sldNum" sz="quarter" idx="11"/>
          </p:nvPr>
        </p:nvSpPr>
        <p:spPr/>
        <p:txBody>
          <a:bodyPr/>
          <a:lstStyle/>
          <a:p>
            <a:fld id="{2B1C6FFC-D040-034F-8B69-20295064E64D}" type="slidenum">
              <a:rPr lang="fr-FR" smtClean="0"/>
              <a:pPr/>
              <a:t>‹#›</a:t>
            </a:fld>
            <a:endParaRPr lang="fr-FR" dirty="0"/>
          </a:p>
        </p:txBody>
      </p:sp>
      <p:sp>
        <p:nvSpPr>
          <p:cNvPr id="6" name="Rectangle 5"/>
          <p:cNvSpPr/>
          <p:nvPr userDrawn="1"/>
        </p:nvSpPr>
        <p:spPr>
          <a:xfrm>
            <a:off x="828000" y="5997600"/>
            <a:ext cx="10260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9" name="Espace réservé du texte 8"/>
          <p:cNvSpPr>
            <a:spLocks noGrp="1"/>
          </p:cNvSpPr>
          <p:nvPr>
            <p:ph type="body" sz="quarter" idx="12"/>
          </p:nvPr>
        </p:nvSpPr>
        <p:spPr>
          <a:xfrm>
            <a:off x="828000" y="2102399"/>
            <a:ext cx="7775998" cy="3452401"/>
          </a:xfrm>
        </p:spPr>
        <p:txBody>
          <a:bodyPr/>
          <a:lstStyle>
            <a:lvl1pPr marL="269875" indent="-263525">
              <a:spcBef>
                <a:spcPts val="1200"/>
              </a:spcBef>
              <a:buClr>
                <a:schemeClr val="accent1"/>
              </a:buClr>
              <a:buSzPct val="100000"/>
              <a:buFont typeface="+mj-lt"/>
              <a:buAutoNum type="arabicPeriod"/>
              <a:tabLst/>
              <a:defRPr b="1">
                <a:solidFill>
                  <a:schemeClr val="tx1"/>
                </a:solidFill>
              </a:defRPr>
            </a:lvl1pPr>
            <a:lvl2pPr marL="536575" indent="-133350">
              <a:spcBef>
                <a:spcPts val="800"/>
              </a:spcBef>
              <a:tabLst/>
              <a:defRPr sz="1200"/>
            </a:lvl2pPr>
            <a:lvl3pPr marL="270000" indent="-265113">
              <a:spcBef>
                <a:spcPts val="1200"/>
              </a:spcBef>
              <a:buClr>
                <a:schemeClr val="tx2">
                  <a:lumMod val="60000"/>
                  <a:lumOff val="40000"/>
                </a:schemeClr>
              </a:buClr>
              <a:buFont typeface="+mj-lt"/>
              <a:buAutoNum type="arabicPeriod"/>
              <a:tabLst/>
              <a:defRPr sz="1600" b="1">
                <a:solidFill>
                  <a:schemeClr val="tx2">
                    <a:lumMod val="60000"/>
                    <a:lumOff val="40000"/>
                  </a:schemeClr>
                </a:solidFill>
              </a:defRPr>
            </a:lvl3pPr>
          </a:lstStyle>
          <a:p>
            <a:pPr lvl="0"/>
            <a:r>
              <a:rPr lang="fr-FR"/>
              <a:t>Cliquez pour modifier les styles du texte du masque</a:t>
            </a:r>
          </a:p>
          <a:p>
            <a:pPr lvl="1"/>
            <a:r>
              <a:rPr lang="fr-FR"/>
              <a:t>Deuxième niveau</a:t>
            </a:r>
          </a:p>
        </p:txBody>
      </p:sp>
      <p:sp>
        <p:nvSpPr>
          <p:cNvPr id="10" name="Rectangle 9"/>
          <p:cNvSpPr/>
          <p:nvPr userDrawn="1"/>
        </p:nvSpPr>
        <p:spPr>
          <a:xfrm>
            <a:off x="828000" y="799865"/>
            <a:ext cx="1026000" cy="39600"/>
          </a:xfrm>
          <a:prstGeom prst="rect">
            <a:avLst/>
          </a:prstGeom>
          <a:solidFill>
            <a:srgbClr val="00B4E0"/>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solidFill>
                <a:srgbClr val="00B4E0"/>
              </a:solidFill>
            </a:endParaRPr>
          </a:p>
        </p:txBody>
      </p:sp>
      <p:pic>
        <p:nvPicPr>
          <p:cNvPr id="12" name="Image 11" descr="Description : Description : Amundi_compact"/>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93495" y="6105240"/>
            <a:ext cx="1158169" cy="524887"/>
          </a:xfrm>
          <a:prstGeom prst="rect">
            <a:avLst/>
          </a:prstGeom>
          <a:noFill/>
          <a:ln>
            <a:noFill/>
          </a:ln>
        </p:spPr>
      </p:pic>
      <p:cxnSp>
        <p:nvCxnSpPr>
          <p:cNvPr id="13" name="Connecteur droit 12"/>
          <p:cNvCxnSpPr/>
          <p:nvPr userDrawn="1"/>
        </p:nvCxnSpPr>
        <p:spPr>
          <a:xfrm>
            <a:off x="719288" y="6482819"/>
            <a:ext cx="0" cy="1176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3208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le 1"/>
          <p:cNvSpPr>
            <a:spLocks noGrp="1"/>
          </p:cNvSpPr>
          <p:nvPr>
            <p:ph type="title"/>
          </p:nvPr>
        </p:nvSpPr>
        <p:spPr>
          <a:xfrm>
            <a:off x="540000" y="698265"/>
            <a:ext cx="8063999" cy="388800"/>
          </a:xfrm>
        </p:spPr>
        <p:txBody>
          <a:bodyPr/>
          <a:lstStyle/>
          <a:p>
            <a:r>
              <a:rPr lang="fr-FR" dirty="0"/>
              <a:t>Cliquez et modifiez le titre</a:t>
            </a:r>
            <a:endParaRPr lang="en-US" dirty="0"/>
          </a:p>
        </p:txBody>
      </p:sp>
      <p:sp>
        <p:nvSpPr>
          <p:cNvPr id="3" name="Content Placeholder 2"/>
          <p:cNvSpPr>
            <a:spLocks noGrp="1"/>
          </p:cNvSpPr>
          <p:nvPr>
            <p:ph sz="half" idx="1"/>
          </p:nvPr>
        </p:nvSpPr>
        <p:spPr>
          <a:xfrm>
            <a:off x="539999" y="1548000"/>
            <a:ext cx="3974851" cy="3913000"/>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4" name="Content Placeholder 3"/>
          <p:cNvSpPr>
            <a:spLocks noGrp="1"/>
          </p:cNvSpPr>
          <p:nvPr>
            <p:ph sz="half" idx="2"/>
          </p:nvPr>
        </p:nvSpPr>
        <p:spPr>
          <a:xfrm>
            <a:off x="4629150" y="1548000"/>
            <a:ext cx="3974848" cy="39130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6" name="Footer Placeholder 5"/>
          <p:cNvSpPr>
            <a:spLocks noGrp="1"/>
          </p:cNvSpPr>
          <p:nvPr>
            <p:ph type="ftr" sz="quarter" idx="11"/>
          </p:nvPr>
        </p:nvSpPr>
        <p:spPr/>
        <p:txBody>
          <a:bodyPr/>
          <a:lstStyle>
            <a:lvl1pPr>
              <a:defRPr/>
            </a:lvl1pPr>
          </a:lstStyle>
          <a:p>
            <a:r>
              <a:rPr lang="en-US" smtClean="0"/>
              <a:t>Smart Beta - Investment Solutions</a:t>
            </a:r>
            <a:endParaRPr lang="fr-FR" dirty="0"/>
          </a:p>
        </p:txBody>
      </p:sp>
      <p:sp>
        <p:nvSpPr>
          <p:cNvPr id="7" name="Slide Number Placeholder 6"/>
          <p:cNvSpPr>
            <a:spLocks noGrp="1"/>
          </p:cNvSpPr>
          <p:nvPr>
            <p:ph type="sldNum" sz="quarter" idx="12"/>
          </p:nvPr>
        </p:nvSpPr>
        <p:spPr/>
        <p:txBody>
          <a:bodyPr/>
          <a:lstStyle/>
          <a:p>
            <a:fld id="{2B1C6FFC-D040-034F-8B69-20295064E64D}" type="slidenum">
              <a:rPr lang="fr-FR" smtClean="0"/>
              <a:t>‹#›</a:t>
            </a:fld>
            <a:endParaRPr lang="fr-FR"/>
          </a:p>
        </p:txBody>
      </p:sp>
      <p:sp>
        <p:nvSpPr>
          <p:cNvPr id="9" name="Espace réservé du texte 8"/>
          <p:cNvSpPr>
            <a:spLocks noGrp="1"/>
          </p:cNvSpPr>
          <p:nvPr>
            <p:ph type="body" sz="quarter" idx="13" hasCustomPrompt="1"/>
          </p:nvPr>
        </p:nvSpPr>
        <p:spPr>
          <a:xfrm>
            <a:off x="539750" y="1087065"/>
            <a:ext cx="8064500" cy="306000"/>
          </a:xfrm>
        </p:spPr>
        <p:txBody>
          <a:bodyPr>
            <a:noAutofit/>
          </a:bodyPr>
          <a:lstStyle>
            <a:lvl1pPr marL="0" indent="0">
              <a:buNone/>
              <a:defRPr sz="1600">
                <a:solidFill>
                  <a:schemeClr val="tx1"/>
                </a:solidFill>
              </a:defRPr>
            </a:lvl1pPr>
          </a:lstStyle>
          <a:p>
            <a:pPr lvl="0"/>
            <a:r>
              <a:rPr lang="fr-FR"/>
              <a:t>Cliquez pour modifier les styles du texte du masque</a:t>
            </a:r>
          </a:p>
        </p:txBody>
      </p:sp>
      <p:sp>
        <p:nvSpPr>
          <p:cNvPr id="8" name="Espace réservé du contenu 7"/>
          <p:cNvSpPr>
            <a:spLocks noGrp="1"/>
          </p:cNvSpPr>
          <p:nvPr>
            <p:ph sz="quarter" idx="14"/>
          </p:nvPr>
        </p:nvSpPr>
        <p:spPr>
          <a:xfrm>
            <a:off x="539750" y="5461000"/>
            <a:ext cx="8064248" cy="622300"/>
          </a:xfrm>
        </p:spPr>
        <p:txBody>
          <a:bodyPr anchor="b"/>
          <a:lstStyle>
            <a:lvl1pPr marL="6350" indent="0" algn="just">
              <a:buNone/>
              <a:defRPr sz="800">
                <a:solidFill>
                  <a:schemeClr val="tx2"/>
                </a:solidFill>
              </a:defRPr>
            </a:lvl1pPr>
          </a:lstStyle>
          <a:p>
            <a:pPr lvl="0"/>
            <a:r>
              <a:rPr lang="fr-FR" dirty="0"/>
              <a:t>Cliquez pour modifier les styles du texte du masqu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sp>
        <p:nvSpPr>
          <p:cNvPr id="13" name="Rectangle 12"/>
          <p:cNvSpPr/>
          <p:nvPr userDrawn="1"/>
        </p:nvSpPr>
        <p:spPr>
          <a:xfrm>
            <a:off x="540000" y="438400"/>
            <a:ext cx="9648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8" name="Rectangle 7"/>
          <p:cNvSpPr/>
          <p:nvPr userDrawn="1"/>
        </p:nvSpPr>
        <p:spPr>
          <a:xfrm>
            <a:off x="540000" y="6224400"/>
            <a:ext cx="964800" cy="396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3" name="Espace réservé du pied de page 2"/>
          <p:cNvSpPr>
            <a:spLocks noGrp="1"/>
          </p:cNvSpPr>
          <p:nvPr>
            <p:ph type="ftr" sz="quarter" idx="10"/>
          </p:nvPr>
        </p:nvSpPr>
        <p:spPr/>
        <p:txBody>
          <a:bodyPr/>
          <a:lstStyle>
            <a:lvl1pPr>
              <a:defRPr/>
            </a:lvl1pPr>
          </a:lstStyle>
          <a:p>
            <a:r>
              <a:rPr lang="en-US" smtClean="0"/>
              <a:t>Smart Beta - Investment Solutions</a:t>
            </a:r>
            <a:endParaRPr lang="fr-FR" dirty="0"/>
          </a:p>
        </p:txBody>
      </p:sp>
      <p:sp>
        <p:nvSpPr>
          <p:cNvPr id="4" name="Espace réservé du numéro de diapositive 3"/>
          <p:cNvSpPr>
            <a:spLocks noGrp="1"/>
          </p:cNvSpPr>
          <p:nvPr>
            <p:ph type="sldNum" sz="quarter" idx="11"/>
          </p:nvPr>
        </p:nvSpPr>
        <p:spPr/>
        <p:txBody>
          <a:bodyPr/>
          <a:lstStyle/>
          <a:p>
            <a:fld id="{2B1C6FFC-D040-034F-8B69-20295064E64D}" type="slidenum">
              <a:rPr lang="fr-FR" smtClean="0"/>
              <a:pPr/>
              <a:t>‹#›</a:t>
            </a:fld>
            <a:endParaRPr lang="fr-FR" dirty="0"/>
          </a:p>
        </p:txBody>
      </p:sp>
      <p:sp>
        <p:nvSpPr>
          <p:cNvPr id="7" name="Espace réservé du texte 6"/>
          <p:cNvSpPr>
            <a:spLocks noGrp="1"/>
          </p:cNvSpPr>
          <p:nvPr>
            <p:ph type="body" sz="quarter" idx="12"/>
          </p:nvPr>
        </p:nvSpPr>
        <p:spPr>
          <a:xfrm>
            <a:off x="539998" y="1368055"/>
            <a:ext cx="8063999" cy="4462645"/>
          </a:xfrm>
        </p:spPr>
        <p:txBody>
          <a:bodyPr anchor="b"/>
          <a:lstStyle>
            <a:lvl1pPr marL="177800" indent="-171450">
              <a:tabLst/>
              <a:defRPr sz="1000">
                <a:solidFill>
                  <a:schemeClr val="accent1"/>
                </a:solidFill>
              </a:defRPr>
            </a:lvl1pPr>
            <a:lvl2pPr marL="177800" indent="0" algn="just">
              <a:buNone/>
              <a:tabLst/>
              <a:defRPr sz="800">
                <a:solidFill>
                  <a:schemeClr val="tx2"/>
                </a:solidFill>
              </a:defRPr>
            </a:lvl2pPr>
          </a:lstStyle>
          <a:p>
            <a:pPr lvl="0"/>
            <a:r>
              <a:rPr lang="fr-FR" dirty="0"/>
              <a:t>Cliquez pour modifier les styles du texte du masque</a:t>
            </a:r>
          </a:p>
          <a:p>
            <a:pPr lvl="1"/>
            <a:r>
              <a:rPr lang="fr-FR" dirty="0"/>
              <a:t>Deuxième niveau</a:t>
            </a:r>
          </a:p>
        </p:txBody>
      </p:sp>
      <p:cxnSp>
        <p:nvCxnSpPr>
          <p:cNvPr id="10" name="Connecteur droit 9"/>
          <p:cNvCxnSpPr/>
          <p:nvPr userDrawn="1"/>
        </p:nvCxnSpPr>
        <p:spPr>
          <a:xfrm>
            <a:off x="719288" y="6482819"/>
            <a:ext cx="0" cy="1176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descr="Description : Description : Amundi_compact"/>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8203" y="5912137"/>
            <a:ext cx="1653339" cy="749300"/>
          </a:xfrm>
          <a:prstGeom prst="rect">
            <a:avLst/>
          </a:prstGeom>
          <a:noFill/>
          <a:ln>
            <a:noFill/>
          </a:ln>
        </p:spPr>
      </p:pic>
    </p:spTree>
    <p:extLst>
      <p:ext uri="{BB962C8B-B14F-4D97-AF65-F5344CB8AC3E}">
        <p14:creationId xmlns:p14="http://schemas.microsoft.com/office/powerpoint/2010/main" val="21372932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539999" y="799865"/>
            <a:ext cx="8063999" cy="387493"/>
          </a:xfrm>
        </p:spPr>
        <p:txBody>
          <a:bodyPr/>
          <a:lstStyle/>
          <a:p>
            <a:r>
              <a:rPr lang="fr-FR" smtClean="0"/>
              <a:t>Cliquez et modifiez le titre</a:t>
            </a:r>
            <a:endParaRPr lang="en-US" dirty="0"/>
          </a:p>
        </p:txBody>
      </p:sp>
      <p:sp>
        <p:nvSpPr>
          <p:cNvPr id="3" name="Content Placeholder 2"/>
          <p:cNvSpPr>
            <a:spLocks noGrp="1"/>
          </p:cNvSpPr>
          <p:nvPr>
            <p:ph idx="1"/>
          </p:nvPr>
        </p:nvSpPr>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5" name="Footer Placeholder 4"/>
          <p:cNvSpPr>
            <a:spLocks noGrp="1"/>
          </p:cNvSpPr>
          <p:nvPr>
            <p:ph type="ftr" sz="quarter" idx="11"/>
          </p:nvPr>
        </p:nvSpPr>
        <p:spPr/>
        <p:txBody>
          <a:bodyPr/>
          <a:lstStyle/>
          <a:p>
            <a:r>
              <a:rPr lang="fr-FR" smtClean="0"/>
              <a:t>Smart Beta - Investment Solutions</a:t>
            </a:r>
            <a:endParaRPr lang="fr-FR" dirty="0"/>
          </a:p>
        </p:txBody>
      </p:sp>
      <p:sp>
        <p:nvSpPr>
          <p:cNvPr id="6" name="Slide Number Placeholder 5"/>
          <p:cNvSpPr>
            <a:spLocks noGrp="1"/>
          </p:cNvSpPr>
          <p:nvPr>
            <p:ph type="sldNum" sz="quarter" idx="12"/>
          </p:nvPr>
        </p:nvSpPr>
        <p:spPr/>
        <p:txBody>
          <a:bodyPr/>
          <a:lstStyle/>
          <a:p>
            <a:fld id="{2B1C6FFC-D040-034F-8B69-20295064E64D}" type="slidenum">
              <a:rPr lang="fr-FR" smtClean="0"/>
              <a:t>‹#›</a:t>
            </a:fld>
            <a:endParaRPr lang="fr-FR" dirty="0"/>
          </a:p>
        </p:txBody>
      </p:sp>
      <p:sp>
        <p:nvSpPr>
          <p:cNvPr id="8" name="Espace réservé du texte 7"/>
          <p:cNvSpPr>
            <a:spLocks noGrp="1"/>
          </p:cNvSpPr>
          <p:nvPr>
            <p:ph type="body" sz="quarter" idx="13"/>
          </p:nvPr>
        </p:nvSpPr>
        <p:spPr>
          <a:xfrm>
            <a:off x="539750" y="1187358"/>
            <a:ext cx="8064248" cy="304482"/>
          </a:xfrm>
        </p:spPr>
        <p:txBody>
          <a:bodyPr>
            <a:normAutofit/>
          </a:bodyPr>
          <a:lstStyle>
            <a:lvl1pPr marL="0" indent="0">
              <a:buNone/>
              <a:defRPr sz="1600">
                <a:solidFill>
                  <a:schemeClr val="tx1"/>
                </a:solidFill>
              </a:defRPr>
            </a:lvl1pPr>
          </a:lstStyle>
          <a:p>
            <a:pPr lvl="0"/>
            <a:r>
              <a:rPr lang="fr-FR" dirty="0" smtClean="0"/>
              <a:t>Cliquez pour modifier les styles du texte du masque</a:t>
            </a:r>
            <a:endParaRPr lang="fr-FR" dirty="0"/>
          </a:p>
        </p:txBody>
      </p:sp>
    </p:spTree>
    <p:extLst>
      <p:ext uri="{BB962C8B-B14F-4D97-AF65-F5344CB8AC3E}">
        <p14:creationId xmlns:p14="http://schemas.microsoft.com/office/powerpoint/2010/main" val="249825724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1.png"/><Relationship Id="rId5" Type="http://schemas.openxmlformats.org/officeDocument/2006/relationships/slideLayout" Target="../slideLayouts/slideLayout20.xml"/><Relationship Id="rId10"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999" y="698265"/>
            <a:ext cx="8063999" cy="466228"/>
          </a:xfrm>
          <a:prstGeom prst="rect">
            <a:avLst/>
          </a:prstGeom>
        </p:spPr>
        <p:txBody>
          <a:bodyPr vert="horz" lIns="0" tIns="0" rIns="0" bIns="0" rtlCol="0" anchor="t" anchorCtr="0">
            <a:normAutofit/>
          </a:bodyPr>
          <a:lstStyle/>
          <a:p>
            <a:r>
              <a:rPr lang="fr-FR" dirty="0"/>
              <a:t>Cliquez et modifiez le titre</a:t>
            </a:r>
            <a:endParaRPr lang="en-US" dirty="0"/>
          </a:p>
        </p:txBody>
      </p:sp>
      <p:sp>
        <p:nvSpPr>
          <p:cNvPr id="3" name="Text Placeholder 2"/>
          <p:cNvSpPr>
            <a:spLocks noGrp="1"/>
          </p:cNvSpPr>
          <p:nvPr>
            <p:ph type="body" idx="1"/>
          </p:nvPr>
        </p:nvSpPr>
        <p:spPr>
          <a:xfrm>
            <a:off x="540000" y="1548000"/>
            <a:ext cx="8063998" cy="4461181"/>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Footer Placeholder 4"/>
          <p:cNvSpPr>
            <a:spLocks noGrp="1"/>
          </p:cNvSpPr>
          <p:nvPr>
            <p:ph type="ftr" sz="quarter" idx="3"/>
          </p:nvPr>
        </p:nvSpPr>
        <p:spPr>
          <a:xfrm>
            <a:off x="796719" y="6480000"/>
            <a:ext cx="5212196" cy="180000"/>
          </a:xfrm>
          <a:prstGeom prst="rect">
            <a:avLst/>
          </a:prstGeom>
        </p:spPr>
        <p:txBody>
          <a:bodyPr vert="horz" lIns="0" tIns="0" rIns="0" bIns="0" rtlCol="0" anchor="t" anchorCtr="0"/>
          <a:lstStyle>
            <a:lvl1pPr algn="l">
              <a:defRPr sz="800" spc="30" baseline="0">
                <a:solidFill>
                  <a:schemeClr val="tx1"/>
                </a:solidFill>
              </a:defRPr>
            </a:lvl1pPr>
          </a:lstStyle>
          <a:p>
            <a:r>
              <a:rPr lang="en-US" smtClean="0"/>
              <a:t>Smart Beta - Investment Solutions</a:t>
            </a:r>
            <a:endParaRPr lang="fr-FR" dirty="0"/>
          </a:p>
        </p:txBody>
      </p:sp>
      <p:sp>
        <p:nvSpPr>
          <p:cNvPr id="6" name="Slide Number Placeholder 5"/>
          <p:cNvSpPr>
            <a:spLocks noGrp="1"/>
          </p:cNvSpPr>
          <p:nvPr>
            <p:ph type="sldNum" sz="quarter" idx="4"/>
          </p:nvPr>
        </p:nvSpPr>
        <p:spPr>
          <a:xfrm>
            <a:off x="540000" y="6480000"/>
            <a:ext cx="180000" cy="180000"/>
          </a:xfrm>
          <a:prstGeom prst="rect">
            <a:avLst/>
          </a:prstGeom>
        </p:spPr>
        <p:txBody>
          <a:bodyPr vert="horz" lIns="0" tIns="0" rIns="0" bIns="0" rtlCol="0" anchor="t" anchorCtr="0"/>
          <a:lstStyle>
            <a:lvl1pPr algn="l">
              <a:defRPr sz="800">
                <a:solidFill>
                  <a:schemeClr val="tx1"/>
                </a:solidFill>
              </a:defRPr>
            </a:lvl1pPr>
          </a:lstStyle>
          <a:p>
            <a:fld id="{2B1C6FFC-D040-034F-8B69-20295064E64D}" type="slidenum">
              <a:rPr lang="fr-FR" smtClean="0"/>
              <a:pPr/>
              <a:t>‹#›</a:t>
            </a:fld>
            <a:endParaRPr lang="fr-FR" dirty="0"/>
          </a:p>
        </p:txBody>
      </p:sp>
      <p:sp>
        <p:nvSpPr>
          <p:cNvPr id="7" name="Rectangle 6"/>
          <p:cNvSpPr/>
          <p:nvPr userDrawn="1"/>
        </p:nvSpPr>
        <p:spPr>
          <a:xfrm>
            <a:off x="540000" y="438400"/>
            <a:ext cx="504000" cy="36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cxnSp>
        <p:nvCxnSpPr>
          <p:cNvPr id="9" name="Connecteur droit 8"/>
          <p:cNvCxnSpPr/>
          <p:nvPr userDrawn="1"/>
        </p:nvCxnSpPr>
        <p:spPr>
          <a:xfrm>
            <a:off x="719288" y="6482819"/>
            <a:ext cx="0" cy="1176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540000" y="6228000"/>
            <a:ext cx="504000" cy="36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pic>
        <p:nvPicPr>
          <p:cNvPr id="11" name="Image 10" descr="Description : Description : Amundi_compact"/>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7593495" y="6105240"/>
            <a:ext cx="1158169" cy="524887"/>
          </a:xfrm>
          <a:prstGeom prst="rect">
            <a:avLst/>
          </a:prstGeom>
          <a:noFill/>
          <a:ln>
            <a:noFill/>
          </a:ln>
        </p:spPr>
      </p:pic>
    </p:spTree>
    <p:extLst>
      <p:ext uri="{BB962C8B-B14F-4D97-AF65-F5344CB8AC3E}">
        <p14:creationId xmlns:p14="http://schemas.microsoft.com/office/powerpoint/2010/main" val="972276278"/>
      </p:ext>
    </p:extLst>
  </p:cSld>
  <p:clrMap bg1="lt1" tx1="dk1" bg2="lt2" tx2="dk2" accent1="accent1" accent2="accent2" accent3="accent3" accent4="accent4" accent5="accent5" accent6="accent6" hlink="hlink" folHlink="folHlink"/>
  <p:sldLayoutIdLst>
    <p:sldLayoutId id="2147483673" r:id="rId1"/>
    <p:sldLayoutId id="2147483679" r:id="rId2"/>
    <p:sldLayoutId id="2147483662" r:id="rId3"/>
    <p:sldLayoutId id="2147483672" r:id="rId4"/>
    <p:sldLayoutId id="2147483663" r:id="rId5"/>
    <p:sldLayoutId id="2147483678" r:id="rId6"/>
    <p:sldLayoutId id="2147483664" r:id="rId7"/>
    <p:sldLayoutId id="2147483677" r:id="rId8"/>
    <p:sldLayoutId id="2147483680" r:id="rId9"/>
    <p:sldLayoutId id="2147483681" r:id="rId10"/>
    <p:sldLayoutId id="2147483682" r:id="rId11"/>
    <p:sldLayoutId id="2147483683" r:id="rId12"/>
    <p:sldLayoutId id="2147483684" r:id="rId13"/>
    <p:sldLayoutId id="2147483686" r:id="rId14"/>
    <p:sldLayoutId id="2147483687" r:id="rId15"/>
  </p:sldLayoutIdLst>
  <p:hf hdr="0" dt="0"/>
  <p:txStyles>
    <p:titleStyle>
      <a:lvl1pPr algn="l" defTabSz="914400" rtl="0" eaLnBrk="1" latinLnBrk="0" hangingPunct="1">
        <a:lnSpc>
          <a:spcPct val="90000"/>
        </a:lnSpc>
        <a:spcBef>
          <a:spcPct val="0"/>
        </a:spcBef>
        <a:buNone/>
        <a:defRPr sz="2400" b="1" kern="1200" spc="50" baseline="0">
          <a:solidFill>
            <a:schemeClr val="tx1"/>
          </a:solidFill>
          <a:latin typeface="+mj-lt"/>
          <a:ea typeface="+mj-ea"/>
          <a:cs typeface="+mj-cs"/>
        </a:defRPr>
      </a:lvl1pPr>
    </p:titleStyle>
    <p:body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2"/>
          </a:solidFill>
          <a:latin typeface="+mn-lt"/>
          <a:ea typeface="+mn-ea"/>
          <a:cs typeface="+mn-cs"/>
        </a:defRPr>
      </a:lvl1pPr>
      <a:lvl2pPr marL="401638" indent="-177800" algn="l" defTabSz="914400" rtl="0" eaLnBrk="1" latinLnBrk="0" hangingPunct="1">
        <a:lnSpc>
          <a:spcPct val="100000"/>
        </a:lnSpc>
        <a:spcBef>
          <a:spcPts val="500"/>
        </a:spcBef>
        <a:buClr>
          <a:schemeClr val="accent2"/>
        </a:buClr>
        <a:buFont typeface="CambriaMath" charset="0"/>
        <a:buChar char="⎯"/>
        <a:tabLst/>
        <a:defRPr sz="1400" kern="1200">
          <a:solidFill>
            <a:schemeClr val="tx2"/>
          </a:solidFill>
          <a:latin typeface="+mn-lt"/>
          <a:ea typeface="+mn-ea"/>
          <a:cs typeface="+mn-cs"/>
        </a:defRPr>
      </a:lvl2pPr>
      <a:lvl3pPr marL="579438" indent="-131763" algn="l" defTabSz="914400" rtl="0" eaLnBrk="1" latinLnBrk="0" hangingPunct="1">
        <a:lnSpc>
          <a:spcPct val="100000"/>
        </a:lnSpc>
        <a:spcBef>
          <a:spcPts val="500"/>
        </a:spcBef>
        <a:buClr>
          <a:schemeClr val="accent2"/>
        </a:buClr>
        <a:buFont typeface="LucidaGrande-Bold" charset="0"/>
        <a:buChar char="⁃"/>
        <a:tabLst/>
        <a:defRPr sz="1200" kern="1200">
          <a:solidFill>
            <a:schemeClr val="tx2"/>
          </a:solidFill>
          <a:latin typeface="+mn-lt"/>
          <a:ea typeface="+mn-ea"/>
          <a:cs typeface="+mn-cs"/>
        </a:defRPr>
      </a:lvl3pPr>
      <a:lvl4pPr marL="7938" indent="0" algn="l" defTabSz="914400" rtl="0" eaLnBrk="1" latinLnBrk="0" hangingPunct="1">
        <a:lnSpc>
          <a:spcPct val="100000"/>
        </a:lnSpc>
        <a:spcBef>
          <a:spcPts val="500"/>
        </a:spcBef>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sz="12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999" y="698265"/>
            <a:ext cx="8063999" cy="466228"/>
          </a:xfrm>
          <a:prstGeom prst="rect">
            <a:avLst/>
          </a:prstGeom>
        </p:spPr>
        <p:txBody>
          <a:bodyPr vert="horz" lIns="0" tIns="0" rIns="0" bIns="0" rtlCol="0" anchor="t" anchorCtr="0">
            <a:normAutofit/>
          </a:bodyPr>
          <a:lstStyle/>
          <a:p>
            <a:r>
              <a:rPr lang="fr-FR" dirty="0"/>
              <a:t>Cliquez et modifiez le titre</a:t>
            </a:r>
            <a:endParaRPr lang="en-US" dirty="0"/>
          </a:p>
        </p:txBody>
      </p:sp>
      <p:sp>
        <p:nvSpPr>
          <p:cNvPr id="3" name="Text Placeholder 2"/>
          <p:cNvSpPr>
            <a:spLocks noGrp="1"/>
          </p:cNvSpPr>
          <p:nvPr>
            <p:ph type="body" idx="1"/>
          </p:nvPr>
        </p:nvSpPr>
        <p:spPr>
          <a:xfrm>
            <a:off x="540000" y="1548000"/>
            <a:ext cx="8063998" cy="4461181"/>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Footer Placeholder 4"/>
          <p:cNvSpPr>
            <a:spLocks noGrp="1"/>
          </p:cNvSpPr>
          <p:nvPr>
            <p:ph type="ftr" sz="quarter" idx="3"/>
          </p:nvPr>
        </p:nvSpPr>
        <p:spPr>
          <a:xfrm>
            <a:off x="796719" y="6480000"/>
            <a:ext cx="5212196" cy="180000"/>
          </a:xfrm>
          <a:prstGeom prst="rect">
            <a:avLst/>
          </a:prstGeom>
        </p:spPr>
        <p:txBody>
          <a:bodyPr vert="horz" lIns="0" tIns="0" rIns="0" bIns="0" rtlCol="0" anchor="t" anchorCtr="0"/>
          <a:lstStyle>
            <a:lvl1pPr algn="l">
              <a:defRPr sz="800" spc="30" baseline="0">
                <a:solidFill>
                  <a:schemeClr val="tx1"/>
                </a:solidFill>
              </a:defRPr>
            </a:lvl1pPr>
          </a:lstStyle>
          <a:p>
            <a:r>
              <a:rPr lang="it-IT" smtClean="0">
                <a:solidFill>
                  <a:srgbClr val="003C64"/>
                </a:solidFill>
              </a:rPr>
              <a:t>Amundi Conservative Strategy  l  February 2018 </a:t>
            </a:r>
            <a:endParaRPr lang="fr-FR" dirty="0">
              <a:solidFill>
                <a:srgbClr val="003C64"/>
              </a:solidFill>
            </a:endParaRPr>
          </a:p>
        </p:txBody>
      </p:sp>
      <p:sp>
        <p:nvSpPr>
          <p:cNvPr id="6" name="Slide Number Placeholder 5"/>
          <p:cNvSpPr>
            <a:spLocks noGrp="1"/>
          </p:cNvSpPr>
          <p:nvPr>
            <p:ph type="sldNum" sz="quarter" idx="4"/>
          </p:nvPr>
        </p:nvSpPr>
        <p:spPr>
          <a:xfrm>
            <a:off x="540000" y="6480000"/>
            <a:ext cx="180000" cy="180000"/>
          </a:xfrm>
          <a:prstGeom prst="rect">
            <a:avLst/>
          </a:prstGeom>
        </p:spPr>
        <p:txBody>
          <a:bodyPr vert="horz" lIns="0" tIns="0" rIns="0" bIns="0" rtlCol="0" anchor="t" anchorCtr="0"/>
          <a:lstStyle>
            <a:lvl1pPr algn="l">
              <a:defRPr sz="800">
                <a:solidFill>
                  <a:schemeClr val="tx1"/>
                </a:solidFill>
              </a:defRPr>
            </a:lvl1pPr>
          </a:lstStyle>
          <a:p>
            <a:fld id="{2B1C6FFC-D040-034F-8B69-20295064E64D}" type="slidenum">
              <a:rPr lang="fr-FR" smtClean="0">
                <a:solidFill>
                  <a:srgbClr val="003C64"/>
                </a:solidFill>
              </a:rPr>
              <a:pPr/>
              <a:t>‹#›</a:t>
            </a:fld>
            <a:endParaRPr lang="fr-FR" dirty="0">
              <a:solidFill>
                <a:srgbClr val="003C64"/>
              </a:solidFill>
            </a:endParaRPr>
          </a:p>
        </p:txBody>
      </p:sp>
      <p:sp>
        <p:nvSpPr>
          <p:cNvPr id="7" name="Rectangle 6"/>
          <p:cNvSpPr/>
          <p:nvPr userDrawn="1"/>
        </p:nvSpPr>
        <p:spPr>
          <a:xfrm>
            <a:off x="540000" y="438400"/>
            <a:ext cx="504000" cy="36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solidFill>
                <a:srgbClr val="FFFFFF"/>
              </a:solidFill>
            </a:endParaRPr>
          </a:p>
        </p:txBody>
      </p:sp>
      <p:cxnSp>
        <p:nvCxnSpPr>
          <p:cNvPr id="9" name="Connecteur droit 8"/>
          <p:cNvCxnSpPr/>
          <p:nvPr userDrawn="1"/>
        </p:nvCxnSpPr>
        <p:spPr>
          <a:xfrm>
            <a:off x="719288" y="6482819"/>
            <a:ext cx="0" cy="1176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540000" y="6228000"/>
            <a:ext cx="504000" cy="36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solidFill>
                <a:srgbClr val="FFFFFF"/>
              </a:solidFill>
            </a:endParaRPr>
          </a:p>
        </p:txBody>
      </p:sp>
      <p:pic>
        <p:nvPicPr>
          <p:cNvPr id="11" name="Image 10" descr="Description : Description : Amundi_compact"/>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7593495" y="6105240"/>
            <a:ext cx="1158169" cy="524887"/>
          </a:xfrm>
          <a:prstGeom prst="rect">
            <a:avLst/>
          </a:prstGeom>
          <a:noFill/>
          <a:ln>
            <a:noFill/>
          </a:ln>
        </p:spPr>
      </p:pic>
    </p:spTree>
    <p:extLst>
      <p:ext uri="{BB962C8B-B14F-4D97-AF65-F5344CB8AC3E}">
        <p14:creationId xmlns:p14="http://schemas.microsoft.com/office/powerpoint/2010/main" val="279427638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2400" b="1" kern="1200" spc="50" baseline="0">
          <a:solidFill>
            <a:schemeClr val="tx1"/>
          </a:solidFill>
          <a:latin typeface="+mj-lt"/>
          <a:ea typeface="+mj-ea"/>
          <a:cs typeface="+mj-cs"/>
        </a:defRPr>
      </a:lvl1pPr>
    </p:titleStyle>
    <p:body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2"/>
          </a:solidFill>
          <a:latin typeface="+mn-lt"/>
          <a:ea typeface="+mn-ea"/>
          <a:cs typeface="+mn-cs"/>
        </a:defRPr>
      </a:lvl1pPr>
      <a:lvl2pPr marL="401638" indent="-177800" algn="l" defTabSz="914400" rtl="0" eaLnBrk="1" latinLnBrk="0" hangingPunct="1">
        <a:lnSpc>
          <a:spcPct val="100000"/>
        </a:lnSpc>
        <a:spcBef>
          <a:spcPts val="500"/>
        </a:spcBef>
        <a:buClr>
          <a:schemeClr val="accent2"/>
        </a:buClr>
        <a:buFont typeface="CambriaMath" charset="0"/>
        <a:buChar char="⎯"/>
        <a:tabLst/>
        <a:defRPr sz="1400" kern="1200">
          <a:solidFill>
            <a:schemeClr val="tx2"/>
          </a:solidFill>
          <a:latin typeface="+mn-lt"/>
          <a:ea typeface="+mn-ea"/>
          <a:cs typeface="+mn-cs"/>
        </a:defRPr>
      </a:lvl2pPr>
      <a:lvl3pPr marL="579438" indent="-131763" algn="l" defTabSz="914400" rtl="0" eaLnBrk="1" latinLnBrk="0" hangingPunct="1">
        <a:lnSpc>
          <a:spcPct val="100000"/>
        </a:lnSpc>
        <a:spcBef>
          <a:spcPts val="500"/>
        </a:spcBef>
        <a:buClr>
          <a:schemeClr val="accent2"/>
        </a:buClr>
        <a:buFont typeface="LucidaGrande-Bold" charset="0"/>
        <a:buChar char="⁃"/>
        <a:tabLst/>
        <a:defRPr sz="1200" kern="1200">
          <a:solidFill>
            <a:schemeClr val="tx2"/>
          </a:solidFill>
          <a:latin typeface="+mn-lt"/>
          <a:ea typeface="+mn-ea"/>
          <a:cs typeface="+mn-cs"/>
        </a:defRPr>
      </a:lvl3pPr>
      <a:lvl4pPr marL="7938" indent="0" algn="l" defTabSz="914400" rtl="0" eaLnBrk="1" latinLnBrk="0" hangingPunct="1">
        <a:lnSpc>
          <a:spcPct val="100000"/>
        </a:lnSpc>
        <a:spcBef>
          <a:spcPts val="500"/>
        </a:spcBef>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sz="12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7.jpeg"/><Relationship Id="rId18" Type="http://schemas.openxmlformats.org/officeDocument/2006/relationships/image" Target="../media/image32.jpeg"/><Relationship Id="rId3" Type="http://schemas.openxmlformats.org/officeDocument/2006/relationships/image" Target="../media/image17.jpeg"/><Relationship Id="rId7" Type="http://schemas.openxmlformats.org/officeDocument/2006/relationships/image" Target="../media/image21.jpeg"/><Relationship Id="rId12" Type="http://schemas.openxmlformats.org/officeDocument/2006/relationships/image" Target="../media/image26.jpeg"/><Relationship Id="rId17" Type="http://schemas.openxmlformats.org/officeDocument/2006/relationships/image" Target="../media/image31.jpeg"/><Relationship Id="rId2" Type="http://schemas.openxmlformats.org/officeDocument/2006/relationships/notesSlide" Target="../notesSlides/notesSlide2.xml"/><Relationship Id="rId16" Type="http://schemas.openxmlformats.org/officeDocument/2006/relationships/image" Target="../media/image30.png"/><Relationship Id="rId1" Type="http://schemas.openxmlformats.org/officeDocument/2006/relationships/slideLayout" Target="../slideLayouts/slideLayout3.xml"/><Relationship Id="rId6" Type="http://schemas.openxmlformats.org/officeDocument/2006/relationships/image" Target="../media/image20.jpeg"/><Relationship Id="rId11" Type="http://schemas.openxmlformats.org/officeDocument/2006/relationships/image" Target="../media/image25.jpeg"/><Relationship Id="rId5" Type="http://schemas.openxmlformats.org/officeDocument/2006/relationships/image" Target="../media/image19.jpeg"/><Relationship Id="rId15" Type="http://schemas.openxmlformats.org/officeDocument/2006/relationships/image" Target="../media/image29.png"/><Relationship Id="rId10" Type="http://schemas.openxmlformats.org/officeDocument/2006/relationships/image" Target="../media/image24.jpeg"/><Relationship Id="rId4" Type="http://schemas.openxmlformats.org/officeDocument/2006/relationships/image" Target="../media/image18.jpeg"/><Relationship Id="rId9" Type="http://schemas.openxmlformats.org/officeDocument/2006/relationships/image" Target="../media/image23.jpeg"/><Relationship Id="rId14" Type="http://schemas.openxmlformats.org/officeDocument/2006/relationships/image" Target="../media/image2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3.xml"/><Relationship Id="rId5" Type="http://schemas.openxmlformats.org/officeDocument/2006/relationships/chart" Target="../charts/chart10.xml"/><Relationship Id="rId4" Type="http://schemas.openxmlformats.org/officeDocument/2006/relationships/chart" Target="../charts/char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chart" Target="../charts/chart17.xml"/></Relationships>
</file>

<file path=ppt/slides/_rels/slide2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chart" Target="../charts/char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10.xml"/><Relationship Id="rId1" Type="http://schemas.openxmlformats.org/officeDocument/2006/relationships/tags" Target="../tags/tag3.xml"/></Relationships>
</file>

<file path=ppt/slides/_rels/slide40.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 Id="rId5" Type="http://schemas.openxmlformats.org/officeDocument/2006/relationships/image" Target="../media/image38.png"/><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3.xml"/><Relationship Id="rId4" Type="http://schemas.openxmlformats.org/officeDocument/2006/relationships/image" Target="../media/image41.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slideLayout" Target="../slideLayouts/slideLayout17.xml"/><Relationship Id="rId1" Type="http://schemas.openxmlformats.org/officeDocument/2006/relationships/tags" Target="../tags/tag4.xml"/><Relationship Id="rId4" Type="http://schemas.openxmlformats.org/officeDocument/2006/relationships/chart" Target="../charts/chart28.xml"/></Relationships>
</file>

<file path=ppt/slides/_rels/slide5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17.xml"/><Relationship Id="rId4" Type="http://schemas.openxmlformats.org/officeDocument/2006/relationships/image" Target="../media/image47.jpeg"/></Relationships>
</file>

<file path=ppt/slides/_rels/slide58.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slideLayout" Target="../slideLayouts/slideLayout17.xml"/><Relationship Id="rId1" Type="http://schemas.openxmlformats.org/officeDocument/2006/relationships/tags" Target="../tags/tag5.xml"/><Relationship Id="rId4" Type="http://schemas.openxmlformats.org/officeDocument/2006/relationships/chart" Target="../charts/chart32.xml"/></Relationships>
</file>

<file path=ppt/slides/_rels/slide5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17.xml"/><Relationship Id="rId4" Type="http://schemas.openxmlformats.org/officeDocument/2006/relationships/image" Target="../media/image47.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slideLayout" Target="../slideLayouts/slideLayout17.xml"/><Relationship Id="rId1" Type="http://schemas.openxmlformats.org/officeDocument/2006/relationships/tags" Target="../tags/tag6.xml"/><Relationship Id="rId4" Type="http://schemas.openxmlformats.org/officeDocument/2006/relationships/chart" Target="../charts/chart36.xml"/></Relationships>
</file>

<file path=ppt/slides/_rels/slide6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3.xml"/><Relationship Id="rId4" Type="http://schemas.openxmlformats.org/officeDocument/2006/relationships/image" Target="../media/image47.jpe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a:t>Smart Beta </a:t>
            </a:r>
            <a:br>
              <a:rPr lang="fr-FR" dirty="0"/>
            </a:br>
            <a:r>
              <a:rPr lang="fr-FR" dirty="0"/>
              <a:t>Investment Solutions</a:t>
            </a:r>
          </a:p>
        </p:txBody>
      </p:sp>
      <p:sp>
        <p:nvSpPr>
          <p:cNvPr id="3" name="Sous-titre 2"/>
          <p:cNvSpPr>
            <a:spLocks noGrp="1"/>
          </p:cNvSpPr>
          <p:nvPr>
            <p:ph type="subTitle" idx="1"/>
          </p:nvPr>
        </p:nvSpPr>
        <p:spPr/>
        <p:txBody>
          <a:bodyPr/>
          <a:lstStyle/>
          <a:p>
            <a:r>
              <a:rPr lang="fr-FR" b="1" dirty="0" err="1" smtClean="0"/>
              <a:t>February</a:t>
            </a:r>
            <a:r>
              <a:rPr lang="fr-FR" b="1" dirty="0" smtClean="0"/>
              <a:t> 2018 </a:t>
            </a:r>
            <a:r>
              <a:rPr lang="fr-FR" dirty="0" smtClean="0"/>
              <a:t>– Data as of </a:t>
            </a:r>
            <a:r>
              <a:rPr lang="fr-FR" dirty="0"/>
              <a:t> </a:t>
            </a:r>
            <a:r>
              <a:rPr lang="fr-FR" dirty="0" err="1" smtClean="0"/>
              <a:t>January</a:t>
            </a:r>
            <a:r>
              <a:rPr lang="fr-FR" dirty="0" smtClean="0"/>
              <a:t> 2017</a:t>
            </a:r>
            <a:endParaRPr lang="fr-FR" dirty="0"/>
          </a:p>
          <a:p>
            <a:endParaRPr lang="fr-FR"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9766" y="5280211"/>
            <a:ext cx="826534" cy="8358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828000" y="6105243"/>
            <a:ext cx="6841766" cy="492443"/>
          </a:xfrm>
          <a:prstGeom prst="rect">
            <a:avLst/>
          </a:prstGeom>
        </p:spPr>
        <p:txBody>
          <a:bodyPr wrap="square" lIns="0" tIns="0" rIns="0" bIns="0">
            <a:spAutoFit/>
          </a:bodyPr>
          <a:lstStyle/>
          <a:p>
            <a:pPr marL="6350"/>
            <a:r>
              <a:rPr lang="en-US" sz="800" dirty="0">
                <a:solidFill>
                  <a:schemeClr val="tx2">
                    <a:lumMod val="60000"/>
                    <a:lumOff val="40000"/>
                  </a:schemeClr>
                </a:solidFill>
              </a:rPr>
              <a:t>Document intended exclusively for Professional Investors and Eligible Counterparties within the meaning of European Directive 2014/65/EU of 15 May 2014 (the “MiFID Directive”) or Institutional investors acting as principal</a:t>
            </a:r>
            <a:r>
              <a:rPr lang="en-US" sz="800" dirty="0" smtClean="0">
                <a:solidFill>
                  <a:schemeClr val="tx2">
                    <a:lumMod val="60000"/>
                    <a:lumOff val="40000"/>
                  </a:schemeClr>
                </a:solidFill>
              </a:rPr>
              <a:t>.</a:t>
            </a:r>
            <a:endParaRPr lang="fr-FR" sz="800" dirty="0">
              <a:solidFill>
                <a:schemeClr val="tx2">
                  <a:lumMod val="60000"/>
                  <a:lumOff val="40000"/>
                </a:schemeClr>
              </a:solidFill>
            </a:endParaRPr>
          </a:p>
          <a:p>
            <a:pPr marL="6350"/>
            <a:r>
              <a:rPr lang="en-US" sz="800" dirty="0">
                <a:solidFill>
                  <a:schemeClr val="tx2">
                    <a:lumMod val="60000"/>
                    <a:lumOff val="40000"/>
                  </a:schemeClr>
                </a:solidFill>
              </a:rPr>
              <a:t> </a:t>
            </a:r>
            <a:endParaRPr lang="fr-FR" sz="800" dirty="0">
              <a:solidFill>
                <a:schemeClr val="tx2">
                  <a:lumMod val="60000"/>
                  <a:lumOff val="40000"/>
                </a:schemeClr>
              </a:solidFill>
            </a:endParaRPr>
          </a:p>
          <a:p>
            <a:pPr marL="6350"/>
            <a:r>
              <a:rPr lang="en-US" sz="800" dirty="0" smtClean="0">
                <a:solidFill>
                  <a:schemeClr val="tx2">
                    <a:lumMod val="60000"/>
                    <a:lumOff val="40000"/>
                  </a:schemeClr>
                </a:solidFill>
              </a:rPr>
              <a:t>n </a:t>
            </a:r>
            <a:r>
              <a:rPr lang="en-US" sz="800" dirty="0">
                <a:solidFill>
                  <a:schemeClr val="tx2">
                    <a:lumMod val="60000"/>
                    <a:lumOff val="40000"/>
                  </a:schemeClr>
                </a:solidFill>
              </a:rPr>
              <a:t>Switzerland, it is solely for the attention of qualified investors, as defined in Swiss applicable laws and regulations.</a:t>
            </a:r>
            <a:endParaRPr lang="fr-FR" sz="800" dirty="0">
              <a:solidFill>
                <a:schemeClr val="tx2">
                  <a:lumMod val="60000"/>
                  <a:lumOff val="40000"/>
                </a:schemeClr>
              </a:solidFill>
            </a:endParaRPr>
          </a:p>
        </p:txBody>
      </p:sp>
    </p:spTree>
    <p:extLst>
      <p:ext uri="{BB962C8B-B14F-4D97-AF65-F5344CB8AC3E}">
        <p14:creationId xmlns:p14="http://schemas.microsoft.com/office/powerpoint/2010/main" val="14523806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xmlns="" id="{A025B148-FB78-4A34-9005-3FC874D93767}"/>
              </a:ext>
            </a:extLst>
          </p:cNvPr>
          <p:cNvSpPr/>
          <p:nvPr/>
        </p:nvSpPr>
        <p:spPr>
          <a:xfrm>
            <a:off x="6822000" y="1508400"/>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79" name="Rectangle 78">
            <a:extLst>
              <a:ext uri="{FF2B5EF4-FFF2-40B4-BE49-F238E27FC236}">
                <a16:creationId xmlns:a16="http://schemas.microsoft.com/office/drawing/2014/main" xmlns="" id="{A025B148-FB78-4A34-9005-3FC874D93767}"/>
              </a:ext>
            </a:extLst>
          </p:cNvPr>
          <p:cNvSpPr/>
          <p:nvPr/>
        </p:nvSpPr>
        <p:spPr>
          <a:xfrm>
            <a:off x="4705200" y="1508400"/>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85" name="Rectangle 84">
            <a:extLst>
              <a:ext uri="{FF2B5EF4-FFF2-40B4-BE49-F238E27FC236}">
                <a16:creationId xmlns:a16="http://schemas.microsoft.com/office/drawing/2014/main" xmlns="" id="{38965CE2-16D4-4C9C-BA4E-7B391B2BCDE5}"/>
              </a:ext>
            </a:extLst>
          </p:cNvPr>
          <p:cNvSpPr/>
          <p:nvPr/>
        </p:nvSpPr>
        <p:spPr>
          <a:xfrm>
            <a:off x="4705784" y="3056400"/>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86" name="Rectangle 85">
            <a:extLst>
              <a:ext uri="{FF2B5EF4-FFF2-40B4-BE49-F238E27FC236}">
                <a16:creationId xmlns:a16="http://schemas.microsoft.com/office/drawing/2014/main" xmlns="" id="{3E9FDDDE-E642-467E-BC18-A80B2F80B256}"/>
              </a:ext>
            </a:extLst>
          </p:cNvPr>
          <p:cNvSpPr/>
          <p:nvPr/>
        </p:nvSpPr>
        <p:spPr>
          <a:xfrm>
            <a:off x="4705200" y="3826800"/>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82" name="Rectangle 81">
            <a:extLst>
              <a:ext uri="{FF2B5EF4-FFF2-40B4-BE49-F238E27FC236}">
                <a16:creationId xmlns:a16="http://schemas.microsoft.com/office/drawing/2014/main" xmlns="" id="{EA4D632D-DBA6-414E-B394-F91435CF247B}"/>
              </a:ext>
            </a:extLst>
          </p:cNvPr>
          <p:cNvSpPr/>
          <p:nvPr/>
        </p:nvSpPr>
        <p:spPr>
          <a:xfrm>
            <a:off x="6822000" y="3056400"/>
            <a:ext cx="1927225" cy="75240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75" name="Rectangle 74">
            <a:extLst>
              <a:ext uri="{FF2B5EF4-FFF2-40B4-BE49-F238E27FC236}">
                <a16:creationId xmlns:a16="http://schemas.microsoft.com/office/drawing/2014/main" xmlns="" id="{DDED2640-D67C-48AF-B0B5-4D6F77FE4C73}"/>
              </a:ext>
            </a:extLst>
          </p:cNvPr>
          <p:cNvSpPr/>
          <p:nvPr/>
        </p:nvSpPr>
        <p:spPr>
          <a:xfrm>
            <a:off x="2464157" y="2285097"/>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76" name="Rectangle 75">
            <a:extLst>
              <a:ext uri="{FF2B5EF4-FFF2-40B4-BE49-F238E27FC236}">
                <a16:creationId xmlns:a16="http://schemas.microsoft.com/office/drawing/2014/main" xmlns="" id="{F63D33D7-8A5F-4D12-B706-812437C1C102}"/>
              </a:ext>
            </a:extLst>
          </p:cNvPr>
          <p:cNvSpPr/>
          <p:nvPr/>
        </p:nvSpPr>
        <p:spPr>
          <a:xfrm>
            <a:off x="2464157" y="3056400"/>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77" name="Rectangle 76">
            <a:extLst>
              <a:ext uri="{FF2B5EF4-FFF2-40B4-BE49-F238E27FC236}">
                <a16:creationId xmlns:a16="http://schemas.microsoft.com/office/drawing/2014/main" xmlns="" id="{9CA2E0C8-B2FD-4A39-B657-AB766CB84009}"/>
              </a:ext>
            </a:extLst>
          </p:cNvPr>
          <p:cNvSpPr/>
          <p:nvPr/>
        </p:nvSpPr>
        <p:spPr>
          <a:xfrm>
            <a:off x="2466000" y="4597200"/>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74" name="Rectangle 73">
            <a:extLst>
              <a:ext uri="{FF2B5EF4-FFF2-40B4-BE49-F238E27FC236}">
                <a16:creationId xmlns:a16="http://schemas.microsoft.com/office/drawing/2014/main" xmlns="" id="{A025B148-FB78-4A34-9005-3FC874D93767}"/>
              </a:ext>
            </a:extLst>
          </p:cNvPr>
          <p:cNvSpPr/>
          <p:nvPr/>
        </p:nvSpPr>
        <p:spPr>
          <a:xfrm>
            <a:off x="2464157" y="1509225"/>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73" name="Rectangle 72">
            <a:extLst>
              <a:ext uri="{FF2B5EF4-FFF2-40B4-BE49-F238E27FC236}">
                <a16:creationId xmlns:a16="http://schemas.microsoft.com/office/drawing/2014/main" xmlns="" id="{24BBC16E-17D9-437E-9159-3A4453A07B63}"/>
              </a:ext>
            </a:extLst>
          </p:cNvPr>
          <p:cNvSpPr/>
          <p:nvPr/>
        </p:nvSpPr>
        <p:spPr>
          <a:xfrm>
            <a:off x="479743" y="4597200"/>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72" name="Rectangle 71">
            <a:extLst>
              <a:ext uri="{FF2B5EF4-FFF2-40B4-BE49-F238E27FC236}">
                <a16:creationId xmlns:a16="http://schemas.microsoft.com/office/drawing/2014/main" xmlns="" id="{040E742E-FB0E-41FA-ABA8-C055380D9A0D}"/>
              </a:ext>
            </a:extLst>
          </p:cNvPr>
          <p:cNvSpPr/>
          <p:nvPr/>
        </p:nvSpPr>
        <p:spPr>
          <a:xfrm>
            <a:off x="2466000" y="3826800"/>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66" name="Rectangle 65">
            <a:extLst>
              <a:ext uri="{FF2B5EF4-FFF2-40B4-BE49-F238E27FC236}">
                <a16:creationId xmlns:a16="http://schemas.microsoft.com/office/drawing/2014/main" xmlns="" id="{82A49B2D-91A6-4592-A06A-6E0CB304243B}"/>
              </a:ext>
            </a:extLst>
          </p:cNvPr>
          <p:cNvSpPr/>
          <p:nvPr/>
        </p:nvSpPr>
        <p:spPr>
          <a:xfrm>
            <a:off x="477840" y="2285097"/>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65" name="Rectangle 64">
            <a:extLst>
              <a:ext uri="{FF2B5EF4-FFF2-40B4-BE49-F238E27FC236}">
                <a16:creationId xmlns:a16="http://schemas.microsoft.com/office/drawing/2014/main" xmlns="" id="{AD2DB9B6-8562-4077-8F61-8688489D7648}"/>
              </a:ext>
            </a:extLst>
          </p:cNvPr>
          <p:cNvSpPr/>
          <p:nvPr/>
        </p:nvSpPr>
        <p:spPr>
          <a:xfrm>
            <a:off x="4705200" y="2760681"/>
            <a:ext cx="1927223" cy="2325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t>Investment </a:t>
            </a:r>
            <a:r>
              <a:rPr lang="fr-FR" sz="1100" dirty="0" err="1"/>
              <a:t>Specialists</a:t>
            </a:r>
            <a:endParaRPr lang="fr-FR" sz="1100" dirty="0"/>
          </a:p>
        </p:txBody>
      </p:sp>
      <p:sp>
        <p:nvSpPr>
          <p:cNvPr id="61" name="Rectangle 60">
            <a:extLst>
              <a:ext uri="{FF2B5EF4-FFF2-40B4-BE49-F238E27FC236}">
                <a16:creationId xmlns:a16="http://schemas.microsoft.com/office/drawing/2014/main" xmlns="" id="{FAAB5F48-0E29-4EFA-AF0B-1B5301EDEAB6}"/>
              </a:ext>
            </a:extLst>
          </p:cNvPr>
          <p:cNvSpPr/>
          <p:nvPr/>
        </p:nvSpPr>
        <p:spPr>
          <a:xfrm>
            <a:off x="6822652" y="1242000"/>
            <a:ext cx="1927538" cy="2325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t>Quantitative </a:t>
            </a:r>
            <a:r>
              <a:rPr lang="fr-FR" sz="1100" dirty="0" err="1"/>
              <a:t>Research</a:t>
            </a:r>
            <a:endParaRPr lang="fr-FR" sz="1100" dirty="0"/>
          </a:p>
        </p:txBody>
      </p:sp>
      <p:sp>
        <p:nvSpPr>
          <p:cNvPr id="54" name="Rectangle 53">
            <a:extLst>
              <a:ext uri="{FF2B5EF4-FFF2-40B4-BE49-F238E27FC236}">
                <a16:creationId xmlns:a16="http://schemas.microsoft.com/office/drawing/2014/main" xmlns="" id="{EB18059F-10AE-4F56-8219-E103B740C8E5}"/>
              </a:ext>
            </a:extLst>
          </p:cNvPr>
          <p:cNvSpPr/>
          <p:nvPr/>
        </p:nvSpPr>
        <p:spPr>
          <a:xfrm>
            <a:off x="477840" y="1509225"/>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2" name="Titre 1">
            <a:extLst>
              <a:ext uri="{FF2B5EF4-FFF2-40B4-BE49-F238E27FC236}">
                <a16:creationId xmlns:a16="http://schemas.microsoft.com/office/drawing/2014/main" xmlns="" id="{58594955-3928-407F-BE78-51DFE8B6FDB2}"/>
              </a:ext>
            </a:extLst>
          </p:cNvPr>
          <p:cNvSpPr>
            <a:spLocks noGrp="1"/>
          </p:cNvSpPr>
          <p:nvPr>
            <p:ph type="title"/>
          </p:nvPr>
        </p:nvSpPr>
        <p:spPr/>
        <p:txBody>
          <a:bodyPr/>
          <a:lstStyle/>
          <a:p>
            <a:r>
              <a:rPr lang="en-US" dirty="0"/>
              <a:t>Smart Beta at </a:t>
            </a:r>
            <a:r>
              <a:rPr lang="en-US" dirty="0" err="1"/>
              <a:t>Amundi</a:t>
            </a:r>
            <a:r>
              <a:rPr lang="en-US" dirty="0"/>
              <a:t> - </a:t>
            </a:r>
            <a:r>
              <a:rPr lang="en-US" dirty="0">
                <a:solidFill>
                  <a:schemeClr val="accent1"/>
                </a:solidFill>
              </a:rPr>
              <a:t>A dedicated set-up</a:t>
            </a:r>
            <a:endParaRPr lang="fr-FR" dirty="0">
              <a:solidFill>
                <a:schemeClr val="accent1"/>
              </a:solidFill>
            </a:endParaRPr>
          </a:p>
        </p:txBody>
      </p:sp>
      <p:sp>
        <p:nvSpPr>
          <p:cNvPr id="5" name="Espace réservé du numéro de diapositive 4">
            <a:extLst>
              <a:ext uri="{FF2B5EF4-FFF2-40B4-BE49-F238E27FC236}">
                <a16:creationId xmlns:a16="http://schemas.microsoft.com/office/drawing/2014/main" xmlns="" id="{00927381-8389-4EE0-92A4-0CB307D1B999}"/>
              </a:ext>
            </a:extLst>
          </p:cNvPr>
          <p:cNvSpPr>
            <a:spLocks noGrp="1"/>
          </p:cNvSpPr>
          <p:nvPr>
            <p:ph type="sldNum" sz="quarter" idx="12"/>
          </p:nvPr>
        </p:nvSpPr>
        <p:spPr/>
        <p:txBody>
          <a:bodyPr/>
          <a:lstStyle/>
          <a:p>
            <a:fld id="{2B1C6FFC-D040-034F-8B69-20295064E64D}" type="slidenum">
              <a:rPr lang="fr-FR" smtClean="0"/>
              <a:t>10</a:t>
            </a:fld>
            <a:endParaRPr lang="fr-FR" dirty="0"/>
          </a:p>
        </p:txBody>
      </p:sp>
      <p:pic>
        <p:nvPicPr>
          <p:cNvPr id="16" name="Picture 4" descr="P:\IDT\EAP\INVESTMENT SPECIALISTS\SMART BETA\Virginie\pres équipe\photos\Hoogveld Frederic_01_pp.jpg">
            <a:extLst>
              <a:ext uri="{FF2B5EF4-FFF2-40B4-BE49-F238E27FC236}">
                <a16:creationId xmlns:a16="http://schemas.microsoft.com/office/drawing/2014/main" xmlns="" id="{48A19DD6-897F-4743-8350-6DAEBF6BA1BD}"/>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26755" b="26755"/>
          <a:stretch/>
        </p:blipFill>
        <p:spPr bwMode="auto">
          <a:xfrm>
            <a:off x="4705200" y="3060219"/>
            <a:ext cx="475015" cy="720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P:\IDT\EAP\INVESTMENT SPECIALISTS\SMART BETA\Virginie\pres équipe\photos\Ferreira Ludovic_01_pp.jpg">
            <a:extLst>
              <a:ext uri="{FF2B5EF4-FFF2-40B4-BE49-F238E27FC236}">
                <a16:creationId xmlns:a16="http://schemas.microsoft.com/office/drawing/2014/main" xmlns="" id="{8751E58F-C314-4447-936D-CA2AE2E1D79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705200" y="3831189"/>
            <a:ext cx="478800" cy="73169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 descr="P:\GESTION_RPSE\Core\RFP, Etudes et Présentations\Organigramme\photos\autres\Sorange Antoine_01_pp.jpg">
            <a:extLst>
              <a:ext uri="{FF2B5EF4-FFF2-40B4-BE49-F238E27FC236}">
                <a16:creationId xmlns:a16="http://schemas.microsoft.com/office/drawing/2014/main" xmlns="" id="{C0AC8141-F056-4ADB-8AAF-578B9CEB565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6822000" y="3056400"/>
            <a:ext cx="48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P:\GESTION_RPSE\Core\RFP, Etudes et Présentations\Organigramme\photos\Smart Beta\Taillardat Bruno_01_pp.jpg">
            <a:extLst>
              <a:ext uri="{FF2B5EF4-FFF2-40B4-BE49-F238E27FC236}">
                <a16:creationId xmlns:a16="http://schemas.microsoft.com/office/drawing/2014/main" xmlns="" id="{5396864C-9914-47C2-AAC1-969A3E51605F}"/>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l="2223" r="2223"/>
          <a:stretch/>
        </p:blipFill>
        <p:spPr bwMode="auto">
          <a:xfrm>
            <a:off x="478800" y="1509225"/>
            <a:ext cx="4824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a:extLst>
              <a:ext uri="{FF2B5EF4-FFF2-40B4-BE49-F238E27FC236}">
                <a16:creationId xmlns:a16="http://schemas.microsoft.com/office/drawing/2014/main" xmlns="" id="{091B8C76-2BA1-403F-8D83-2807B3F4EE4B}"/>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466000" y="1508400"/>
            <a:ext cx="480909"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Box 63">
            <a:extLst>
              <a:ext uri="{FF2B5EF4-FFF2-40B4-BE49-F238E27FC236}">
                <a16:creationId xmlns:a16="http://schemas.microsoft.com/office/drawing/2014/main" xmlns="" id="{A6CC7045-AA76-4F32-957A-435E30B37D1B}"/>
              </a:ext>
            </a:extLst>
          </p:cNvPr>
          <p:cNvSpPr txBox="1"/>
          <p:nvPr/>
        </p:nvSpPr>
        <p:spPr>
          <a:xfrm>
            <a:off x="999421" y="1524987"/>
            <a:ext cx="1298166" cy="720000"/>
          </a:xfrm>
          <a:prstGeom prst="rect">
            <a:avLst/>
          </a:prstGeom>
          <a:noFill/>
        </p:spPr>
        <p:txBody>
          <a:bodyPr wrap="square" rtlCol="0">
            <a:spAutoFit/>
          </a:bodyPr>
          <a:lstStyle/>
          <a:p>
            <a:pPr>
              <a:lnSpc>
                <a:spcPts val="800"/>
              </a:lnSpc>
            </a:pPr>
            <a:r>
              <a:rPr lang="en-US" sz="800" b="1" dirty="0"/>
              <a:t>Bruno Taillardat</a:t>
            </a:r>
          </a:p>
          <a:p>
            <a:pPr>
              <a:lnSpc>
                <a:spcPts val="800"/>
              </a:lnSpc>
            </a:pPr>
            <a:endParaRPr lang="en-US" sz="800" dirty="0"/>
          </a:p>
          <a:p>
            <a:pPr>
              <a:lnSpc>
                <a:spcPts val="800"/>
              </a:lnSpc>
            </a:pPr>
            <a:r>
              <a:rPr lang="en-US" sz="800" dirty="0"/>
              <a:t>Global Head of Smart Beta &amp; Factor Investing</a:t>
            </a:r>
          </a:p>
          <a:p>
            <a:pPr>
              <a:lnSpc>
                <a:spcPts val="800"/>
              </a:lnSpc>
            </a:pPr>
            <a:endParaRPr lang="en-US" sz="800" dirty="0">
              <a:solidFill>
                <a:schemeClr val="tx2"/>
              </a:solidFill>
            </a:endParaRPr>
          </a:p>
          <a:p>
            <a:pPr>
              <a:lnSpc>
                <a:spcPts val="800"/>
              </a:lnSpc>
            </a:pPr>
            <a:r>
              <a:rPr lang="en-US" sz="800" dirty="0" smtClean="0">
                <a:solidFill>
                  <a:schemeClr val="tx2"/>
                </a:solidFill>
              </a:rPr>
              <a:t>21 </a:t>
            </a:r>
            <a:r>
              <a:rPr lang="en-US" sz="800" dirty="0">
                <a:solidFill>
                  <a:schemeClr val="tx2"/>
                </a:solidFill>
              </a:rPr>
              <a:t>years’ experience</a:t>
            </a:r>
          </a:p>
        </p:txBody>
      </p:sp>
      <p:sp>
        <p:nvSpPr>
          <p:cNvPr id="31" name="TextBox 67">
            <a:extLst>
              <a:ext uri="{FF2B5EF4-FFF2-40B4-BE49-F238E27FC236}">
                <a16:creationId xmlns:a16="http://schemas.microsoft.com/office/drawing/2014/main" xmlns="" id="{37FCFEC7-B99B-45BA-945E-830E1869F5E7}"/>
              </a:ext>
            </a:extLst>
          </p:cNvPr>
          <p:cNvSpPr txBox="1"/>
          <p:nvPr/>
        </p:nvSpPr>
        <p:spPr>
          <a:xfrm>
            <a:off x="2969527" y="1524987"/>
            <a:ext cx="1299600" cy="720000"/>
          </a:xfrm>
          <a:prstGeom prst="rect">
            <a:avLst/>
          </a:prstGeom>
          <a:noFill/>
        </p:spPr>
        <p:txBody>
          <a:bodyPr wrap="square" rtlCol="0">
            <a:spAutoFit/>
          </a:bodyPr>
          <a:lstStyle/>
          <a:p>
            <a:pPr>
              <a:lnSpc>
                <a:spcPts val="800"/>
              </a:lnSpc>
            </a:pPr>
            <a:r>
              <a:rPr lang="en-US" sz="800" b="1" dirty="0"/>
              <a:t>Melchior Dechelette</a:t>
            </a:r>
          </a:p>
          <a:p>
            <a:pPr>
              <a:lnSpc>
                <a:spcPts val="800"/>
              </a:lnSpc>
            </a:pPr>
            <a:endParaRPr lang="en-US" sz="800" dirty="0"/>
          </a:p>
          <a:p>
            <a:pPr>
              <a:lnSpc>
                <a:spcPts val="800"/>
              </a:lnSpc>
            </a:pPr>
            <a:r>
              <a:rPr lang="en-US" sz="800" dirty="0"/>
              <a:t>Head of Risk Efficient Solutions </a:t>
            </a:r>
          </a:p>
          <a:p>
            <a:pPr>
              <a:lnSpc>
                <a:spcPts val="800"/>
              </a:lnSpc>
            </a:pPr>
            <a:endParaRPr lang="en-US" sz="800" dirty="0">
              <a:solidFill>
                <a:schemeClr val="tx2"/>
              </a:solidFill>
            </a:endParaRPr>
          </a:p>
          <a:p>
            <a:pPr>
              <a:lnSpc>
                <a:spcPts val="800"/>
              </a:lnSpc>
            </a:pPr>
            <a:r>
              <a:rPr lang="en-US" sz="800" dirty="0" smtClean="0">
                <a:solidFill>
                  <a:schemeClr val="tx2"/>
                </a:solidFill>
              </a:rPr>
              <a:t>21 </a:t>
            </a:r>
            <a:r>
              <a:rPr lang="en-US" sz="800" dirty="0">
                <a:solidFill>
                  <a:schemeClr val="tx2"/>
                </a:solidFill>
              </a:rPr>
              <a:t>years’ experience</a:t>
            </a:r>
          </a:p>
        </p:txBody>
      </p:sp>
      <p:pic>
        <p:nvPicPr>
          <p:cNvPr id="13" name="Picture 2" descr="C:\Users\somsouth\AppData\Local\Microsoft\Windows\Temporary Internet Files\Content.Outlook\R808NEB2\Avertin Olivier_01_pp (2).jpg">
            <a:extLst>
              <a:ext uri="{FF2B5EF4-FFF2-40B4-BE49-F238E27FC236}">
                <a16:creationId xmlns:a16="http://schemas.microsoft.com/office/drawing/2014/main" xmlns="" id="{4689A719-3290-4744-9D61-FBD8C4EA1A3E}"/>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466000" y="2286000"/>
            <a:ext cx="48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9">
            <a:extLst>
              <a:ext uri="{FF2B5EF4-FFF2-40B4-BE49-F238E27FC236}">
                <a16:creationId xmlns:a16="http://schemas.microsoft.com/office/drawing/2014/main" xmlns="" id="{8607B2D9-23C7-4168-A2ED-D5BE62650F68}"/>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478800" y="2286000"/>
            <a:ext cx="480608"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TextBox 66">
            <a:extLst>
              <a:ext uri="{FF2B5EF4-FFF2-40B4-BE49-F238E27FC236}">
                <a16:creationId xmlns:a16="http://schemas.microsoft.com/office/drawing/2014/main" xmlns="" id="{311B94E0-90C1-46E6-A4AD-ED165EAEDBBB}"/>
              </a:ext>
            </a:extLst>
          </p:cNvPr>
          <p:cNvSpPr txBox="1"/>
          <p:nvPr/>
        </p:nvSpPr>
        <p:spPr>
          <a:xfrm>
            <a:off x="2969527" y="2302087"/>
            <a:ext cx="1299600" cy="720000"/>
          </a:xfrm>
          <a:prstGeom prst="rect">
            <a:avLst/>
          </a:prstGeom>
          <a:noFill/>
        </p:spPr>
        <p:txBody>
          <a:bodyPr wrap="square" rtlCol="0">
            <a:spAutoFit/>
          </a:bodyPr>
          <a:lstStyle>
            <a:defPPr>
              <a:defRPr lang="fr-FR"/>
            </a:defPPr>
            <a:lvl1pPr>
              <a:lnSpc>
                <a:spcPts val="800"/>
              </a:lnSpc>
              <a:defRPr sz="800" b="1">
                <a:solidFill>
                  <a:srgbClr val="001C4B"/>
                </a:solidFill>
              </a:defRPr>
            </a:lvl1pPr>
          </a:lstStyle>
          <a:p>
            <a:r>
              <a:rPr lang="en-US" dirty="0">
                <a:solidFill>
                  <a:schemeClr val="tx1"/>
                </a:solidFill>
              </a:rPr>
              <a:t>Olivier Avertin</a:t>
            </a:r>
          </a:p>
          <a:p>
            <a:endParaRPr lang="en-US" dirty="0">
              <a:solidFill>
                <a:schemeClr val="tx1"/>
              </a:solidFill>
            </a:endParaRPr>
          </a:p>
          <a:p>
            <a:r>
              <a:rPr lang="en-US" b="0" dirty="0">
                <a:solidFill>
                  <a:schemeClr val="tx1"/>
                </a:solidFill>
              </a:rPr>
              <a:t>Portfolio </a:t>
            </a:r>
            <a:r>
              <a:rPr lang="en-US" b="0" dirty="0" smtClean="0">
                <a:solidFill>
                  <a:schemeClr val="tx1"/>
                </a:solidFill>
              </a:rPr>
              <a:t>Manager. </a:t>
            </a:r>
            <a:r>
              <a:rPr lang="en-US" b="0" dirty="0">
                <a:solidFill>
                  <a:schemeClr val="tx1"/>
                </a:solidFill>
              </a:rPr>
              <a:t>Paris</a:t>
            </a:r>
          </a:p>
          <a:p>
            <a:endParaRPr lang="en-US" b="0" dirty="0">
              <a:solidFill>
                <a:schemeClr val="tx2"/>
              </a:solidFill>
            </a:endParaRPr>
          </a:p>
          <a:p>
            <a:endParaRPr lang="en-US" b="0" dirty="0">
              <a:solidFill>
                <a:schemeClr val="tx2"/>
              </a:solidFill>
            </a:endParaRPr>
          </a:p>
          <a:p>
            <a:r>
              <a:rPr lang="en-US" b="0" dirty="0" smtClean="0">
                <a:solidFill>
                  <a:schemeClr val="tx2"/>
                </a:solidFill>
              </a:rPr>
              <a:t>23 </a:t>
            </a:r>
            <a:r>
              <a:rPr lang="en-US" b="0" dirty="0">
                <a:solidFill>
                  <a:schemeClr val="tx2"/>
                </a:solidFill>
              </a:rPr>
              <a:t>years’ experience</a:t>
            </a:r>
          </a:p>
        </p:txBody>
      </p:sp>
      <p:sp>
        <p:nvSpPr>
          <p:cNvPr id="32" name="TextBox 68">
            <a:extLst>
              <a:ext uri="{FF2B5EF4-FFF2-40B4-BE49-F238E27FC236}">
                <a16:creationId xmlns:a16="http://schemas.microsoft.com/office/drawing/2014/main" xmlns="" id="{F35D5E70-CB85-474B-AC93-056FE0EA1D44}"/>
              </a:ext>
            </a:extLst>
          </p:cNvPr>
          <p:cNvSpPr txBox="1"/>
          <p:nvPr/>
        </p:nvSpPr>
        <p:spPr>
          <a:xfrm>
            <a:off x="999421" y="2302087"/>
            <a:ext cx="1299600" cy="720000"/>
          </a:xfrm>
          <a:prstGeom prst="rect">
            <a:avLst/>
          </a:prstGeom>
          <a:noFill/>
        </p:spPr>
        <p:txBody>
          <a:bodyPr wrap="square" rtlCol="0">
            <a:spAutoFit/>
          </a:bodyPr>
          <a:lstStyle>
            <a:defPPr>
              <a:defRPr lang="fr-FR"/>
            </a:defPPr>
            <a:lvl1pPr>
              <a:lnSpc>
                <a:spcPts val="800"/>
              </a:lnSpc>
              <a:defRPr sz="800" b="1">
                <a:solidFill>
                  <a:srgbClr val="001C4B"/>
                </a:solidFill>
              </a:defRPr>
            </a:lvl1pPr>
          </a:lstStyle>
          <a:p>
            <a:r>
              <a:rPr lang="en-US" dirty="0">
                <a:solidFill>
                  <a:schemeClr val="tx1"/>
                </a:solidFill>
              </a:rPr>
              <a:t>Alessandro </a:t>
            </a:r>
            <a:r>
              <a:rPr lang="en-US" dirty="0" smtClean="0">
                <a:solidFill>
                  <a:schemeClr val="tx1"/>
                </a:solidFill>
              </a:rPr>
              <a:t>Russo. </a:t>
            </a:r>
            <a:r>
              <a:rPr lang="en-US" dirty="0">
                <a:solidFill>
                  <a:schemeClr val="tx1"/>
                </a:solidFill>
              </a:rPr>
              <a:t>CFA</a:t>
            </a:r>
          </a:p>
          <a:p>
            <a:endParaRPr lang="en-US" dirty="0">
              <a:solidFill>
                <a:schemeClr val="tx1"/>
              </a:solidFill>
            </a:endParaRPr>
          </a:p>
          <a:p>
            <a:r>
              <a:rPr lang="en-US" b="0" dirty="0">
                <a:solidFill>
                  <a:schemeClr val="tx1"/>
                </a:solidFill>
              </a:rPr>
              <a:t>Head of Factor Investing</a:t>
            </a:r>
          </a:p>
          <a:p>
            <a:endParaRPr lang="en-US" b="0" dirty="0">
              <a:solidFill>
                <a:schemeClr val="tx2"/>
              </a:solidFill>
            </a:endParaRPr>
          </a:p>
          <a:p>
            <a:r>
              <a:rPr lang="en-US" b="0" dirty="0" smtClean="0">
                <a:solidFill>
                  <a:schemeClr val="tx2"/>
                </a:solidFill>
              </a:rPr>
              <a:t>17 </a:t>
            </a:r>
            <a:r>
              <a:rPr lang="en-US" b="0" dirty="0">
                <a:solidFill>
                  <a:schemeClr val="tx2"/>
                </a:solidFill>
              </a:rPr>
              <a:t>years’ experience</a:t>
            </a:r>
          </a:p>
        </p:txBody>
      </p:sp>
      <p:pic>
        <p:nvPicPr>
          <p:cNvPr id="18" name="Picture 2" descr="C:\Users\somsouth\AppData\Local\Microsoft\Windows\Temporary Internet Files\Content.Outlook\4T6PL8DT\Aourir Hiba_04_pp.jpg">
            <a:extLst>
              <a:ext uri="{FF2B5EF4-FFF2-40B4-BE49-F238E27FC236}">
                <a16:creationId xmlns:a16="http://schemas.microsoft.com/office/drawing/2014/main" xmlns="" id="{B79331F6-D4E0-4EBD-B38D-20C45CB6A001}"/>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66000" y="3056400"/>
            <a:ext cx="480049" cy="7200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P:\GESTION_RPSE\Core\RFP, Etudes et Présentations\Organigramme\photos\Smart Beta\Lahbabi Hicham.jpg">
            <a:extLst>
              <a:ext uri="{FF2B5EF4-FFF2-40B4-BE49-F238E27FC236}">
                <a16:creationId xmlns:a16="http://schemas.microsoft.com/office/drawing/2014/main" xmlns="" id="{637F961E-4268-4883-A1E4-F9C6E487967D}"/>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2466000" y="3826800"/>
            <a:ext cx="48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65">
            <a:extLst>
              <a:ext uri="{FF2B5EF4-FFF2-40B4-BE49-F238E27FC236}">
                <a16:creationId xmlns:a16="http://schemas.microsoft.com/office/drawing/2014/main" xmlns="" id="{7730358D-4323-4E12-8C97-AEBA1BE7CC7F}"/>
              </a:ext>
            </a:extLst>
          </p:cNvPr>
          <p:cNvSpPr txBox="1"/>
          <p:nvPr/>
        </p:nvSpPr>
        <p:spPr>
          <a:xfrm>
            <a:off x="2981434" y="3873277"/>
            <a:ext cx="1299600" cy="720000"/>
          </a:xfrm>
          <a:prstGeom prst="rect">
            <a:avLst/>
          </a:prstGeom>
          <a:noFill/>
        </p:spPr>
        <p:txBody>
          <a:bodyPr wrap="square" rtlCol="0">
            <a:spAutoFit/>
          </a:bodyPr>
          <a:lstStyle>
            <a:defPPr>
              <a:defRPr lang="fr-FR"/>
            </a:defPPr>
            <a:lvl1pPr>
              <a:lnSpc>
                <a:spcPts val="800"/>
              </a:lnSpc>
              <a:defRPr sz="800" b="1">
                <a:solidFill>
                  <a:srgbClr val="001C4B"/>
                </a:solidFill>
              </a:defRPr>
            </a:lvl1pPr>
          </a:lstStyle>
          <a:p>
            <a:r>
              <a:rPr lang="en-US" dirty="0">
                <a:solidFill>
                  <a:schemeClr val="tx1"/>
                </a:solidFill>
              </a:rPr>
              <a:t>Hicham Lahbabi</a:t>
            </a:r>
          </a:p>
          <a:p>
            <a:endParaRPr lang="en-US" b="0" dirty="0">
              <a:solidFill>
                <a:schemeClr val="tx1"/>
              </a:solidFill>
            </a:endParaRPr>
          </a:p>
          <a:p>
            <a:r>
              <a:rPr lang="en-US" b="0" dirty="0">
                <a:solidFill>
                  <a:schemeClr val="tx1"/>
                </a:solidFill>
              </a:rPr>
              <a:t>Portfolio </a:t>
            </a:r>
            <a:r>
              <a:rPr lang="en-US" b="0" dirty="0" smtClean="0">
                <a:solidFill>
                  <a:schemeClr val="tx1"/>
                </a:solidFill>
              </a:rPr>
              <a:t>Manager. </a:t>
            </a:r>
            <a:r>
              <a:rPr lang="en-US" b="0" dirty="0">
                <a:solidFill>
                  <a:schemeClr val="tx1"/>
                </a:solidFill>
              </a:rPr>
              <a:t>Hong-Kong</a:t>
            </a:r>
          </a:p>
          <a:p>
            <a:endParaRPr lang="en-US" b="0" dirty="0">
              <a:solidFill>
                <a:schemeClr val="tx2"/>
              </a:solidFill>
            </a:endParaRPr>
          </a:p>
          <a:p>
            <a:r>
              <a:rPr lang="en-US" b="0" dirty="0" smtClean="0">
                <a:solidFill>
                  <a:schemeClr val="tx2"/>
                </a:solidFill>
              </a:rPr>
              <a:t>17 </a:t>
            </a:r>
            <a:r>
              <a:rPr lang="en-US" b="0" dirty="0">
                <a:solidFill>
                  <a:schemeClr val="tx2"/>
                </a:solidFill>
              </a:rPr>
              <a:t>years’ experience</a:t>
            </a:r>
          </a:p>
        </p:txBody>
      </p:sp>
      <p:sp>
        <p:nvSpPr>
          <p:cNvPr id="34" name="TextBox 70">
            <a:extLst>
              <a:ext uri="{FF2B5EF4-FFF2-40B4-BE49-F238E27FC236}">
                <a16:creationId xmlns:a16="http://schemas.microsoft.com/office/drawing/2014/main" xmlns="" id="{E9B204F5-FF14-4F92-8594-248C389217CE}"/>
              </a:ext>
            </a:extLst>
          </p:cNvPr>
          <p:cNvSpPr txBox="1"/>
          <p:nvPr/>
        </p:nvSpPr>
        <p:spPr>
          <a:xfrm>
            <a:off x="2969527" y="3079187"/>
            <a:ext cx="1299600" cy="720000"/>
          </a:xfrm>
          <a:prstGeom prst="rect">
            <a:avLst/>
          </a:prstGeom>
          <a:noFill/>
        </p:spPr>
        <p:txBody>
          <a:bodyPr wrap="square" rtlCol="0">
            <a:spAutoFit/>
          </a:bodyPr>
          <a:lstStyle>
            <a:defPPr>
              <a:defRPr lang="fr-FR"/>
            </a:defPPr>
            <a:lvl1pPr>
              <a:lnSpc>
                <a:spcPts val="800"/>
              </a:lnSpc>
              <a:defRPr sz="800" b="1">
                <a:solidFill>
                  <a:srgbClr val="001C4B"/>
                </a:solidFill>
              </a:defRPr>
            </a:lvl1pPr>
          </a:lstStyle>
          <a:p>
            <a:r>
              <a:rPr lang="en-US" dirty="0">
                <a:solidFill>
                  <a:schemeClr val="tx1"/>
                </a:solidFill>
              </a:rPr>
              <a:t>Hiba Aourir</a:t>
            </a:r>
          </a:p>
          <a:p>
            <a:endParaRPr lang="en-US" dirty="0">
              <a:solidFill>
                <a:schemeClr val="tx1"/>
              </a:solidFill>
            </a:endParaRPr>
          </a:p>
          <a:p>
            <a:r>
              <a:rPr lang="en-US" b="0" dirty="0">
                <a:solidFill>
                  <a:schemeClr val="tx1"/>
                </a:solidFill>
              </a:rPr>
              <a:t>Junior Portfolio </a:t>
            </a:r>
            <a:r>
              <a:rPr lang="en-US" b="0" dirty="0" smtClean="0">
                <a:solidFill>
                  <a:schemeClr val="tx1"/>
                </a:solidFill>
              </a:rPr>
              <a:t>Manager. </a:t>
            </a:r>
            <a:r>
              <a:rPr lang="en-US" b="0" dirty="0">
                <a:solidFill>
                  <a:schemeClr val="tx1"/>
                </a:solidFill>
              </a:rPr>
              <a:t>Paris</a:t>
            </a:r>
          </a:p>
          <a:p>
            <a:endParaRPr lang="en-US" b="0" dirty="0">
              <a:solidFill>
                <a:schemeClr val="tx2"/>
              </a:solidFill>
            </a:endParaRPr>
          </a:p>
          <a:p>
            <a:r>
              <a:rPr lang="en-US" b="0" dirty="0">
                <a:solidFill>
                  <a:schemeClr val="tx2"/>
                </a:solidFill>
              </a:rPr>
              <a:t>4</a:t>
            </a:r>
            <a:r>
              <a:rPr lang="en-US" b="0" dirty="0" smtClean="0">
                <a:solidFill>
                  <a:schemeClr val="tx2"/>
                </a:solidFill>
              </a:rPr>
              <a:t> </a:t>
            </a:r>
            <a:r>
              <a:rPr lang="en-US" b="0" dirty="0">
                <a:solidFill>
                  <a:schemeClr val="tx2"/>
                </a:solidFill>
              </a:rPr>
              <a:t>years’ experience</a:t>
            </a:r>
          </a:p>
        </p:txBody>
      </p:sp>
      <p:sp>
        <p:nvSpPr>
          <p:cNvPr id="39" name="TextBox 76">
            <a:extLst>
              <a:ext uri="{FF2B5EF4-FFF2-40B4-BE49-F238E27FC236}">
                <a16:creationId xmlns:a16="http://schemas.microsoft.com/office/drawing/2014/main" xmlns="" id="{F49AEA6E-B3F8-4D71-BA02-637C22911574}"/>
              </a:ext>
            </a:extLst>
          </p:cNvPr>
          <p:cNvSpPr txBox="1"/>
          <p:nvPr/>
        </p:nvSpPr>
        <p:spPr>
          <a:xfrm>
            <a:off x="5180799" y="3028451"/>
            <a:ext cx="1307987" cy="810478"/>
          </a:xfrm>
          <a:prstGeom prst="rect">
            <a:avLst/>
          </a:prstGeom>
          <a:noFill/>
        </p:spPr>
        <p:txBody>
          <a:bodyPr wrap="square" rtlCol="0">
            <a:spAutoFit/>
          </a:bodyPr>
          <a:lstStyle>
            <a:defPPr>
              <a:defRPr lang="fr-FR"/>
            </a:defPPr>
            <a:lvl1pPr>
              <a:lnSpc>
                <a:spcPts val="800"/>
              </a:lnSpc>
              <a:defRPr sz="800" b="1">
                <a:solidFill>
                  <a:srgbClr val="001C4B"/>
                </a:solidFill>
              </a:defRPr>
            </a:lvl1pPr>
          </a:lstStyle>
          <a:p>
            <a:r>
              <a:rPr lang="en-US" dirty="0">
                <a:solidFill>
                  <a:schemeClr val="tx1"/>
                </a:solidFill>
              </a:rPr>
              <a:t>Frederic </a:t>
            </a:r>
            <a:r>
              <a:rPr lang="en-US" dirty="0" smtClean="0">
                <a:solidFill>
                  <a:schemeClr val="tx1"/>
                </a:solidFill>
              </a:rPr>
              <a:t>Hoogveld. </a:t>
            </a:r>
            <a:endParaRPr lang="en-US" dirty="0">
              <a:solidFill>
                <a:schemeClr val="tx1"/>
              </a:solidFill>
            </a:endParaRPr>
          </a:p>
          <a:p>
            <a:r>
              <a:rPr lang="en-US" dirty="0" smtClean="0">
                <a:solidFill>
                  <a:schemeClr val="tx1"/>
                </a:solidFill>
              </a:rPr>
              <a:t>CFA. </a:t>
            </a:r>
            <a:r>
              <a:rPr lang="en-US" dirty="0">
                <a:solidFill>
                  <a:schemeClr val="tx1"/>
                </a:solidFill>
              </a:rPr>
              <a:t>CAIA</a:t>
            </a:r>
          </a:p>
          <a:p>
            <a:endParaRPr lang="en-US" dirty="0">
              <a:solidFill>
                <a:schemeClr val="tx1"/>
              </a:solidFill>
            </a:endParaRPr>
          </a:p>
          <a:p>
            <a:r>
              <a:rPr lang="en-US" b="0" dirty="0">
                <a:solidFill>
                  <a:schemeClr val="tx1"/>
                </a:solidFill>
              </a:rPr>
              <a:t>Head of Investment  </a:t>
            </a:r>
            <a:r>
              <a:rPr lang="en-US" b="0" dirty="0" smtClean="0">
                <a:solidFill>
                  <a:schemeClr val="tx1"/>
                </a:solidFill>
              </a:rPr>
              <a:t>Specialists. </a:t>
            </a:r>
            <a:r>
              <a:rPr lang="en-US" b="0" dirty="0">
                <a:solidFill>
                  <a:schemeClr val="tx1"/>
                </a:solidFill>
              </a:rPr>
              <a:t>Index and Smart Beta </a:t>
            </a:r>
            <a:endParaRPr lang="en-US" b="0" dirty="0">
              <a:solidFill>
                <a:schemeClr val="tx2"/>
              </a:solidFill>
            </a:endParaRPr>
          </a:p>
          <a:p>
            <a:r>
              <a:rPr lang="en-US" b="0" dirty="0" smtClean="0">
                <a:solidFill>
                  <a:schemeClr val="tx2"/>
                </a:solidFill>
              </a:rPr>
              <a:t>15 </a:t>
            </a:r>
            <a:r>
              <a:rPr lang="en-US" b="0" dirty="0">
                <a:solidFill>
                  <a:schemeClr val="tx2"/>
                </a:solidFill>
              </a:rPr>
              <a:t>years’ experience</a:t>
            </a:r>
          </a:p>
        </p:txBody>
      </p:sp>
      <p:sp>
        <p:nvSpPr>
          <p:cNvPr id="40" name="TextBox 77">
            <a:extLst>
              <a:ext uri="{FF2B5EF4-FFF2-40B4-BE49-F238E27FC236}">
                <a16:creationId xmlns:a16="http://schemas.microsoft.com/office/drawing/2014/main" xmlns="" id="{276F2228-6AB0-42E7-8047-AFB3B31D7F2C}"/>
              </a:ext>
            </a:extLst>
          </p:cNvPr>
          <p:cNvSpPr txBox="1"/>
          <p:nvPr/>
        </p:nvSpPr>
        <p:spPr>
          <a:xfrm>
            <a:off x="5189186" y="3816822"/>
            <a:ext cx="1299600" cy="720000"/>
          </a:xfrm>
          <a:prstGeom prst="rect">
            <a:avLst/>
          </a:prstGeom>
          <a:noFill/>
        </p:spPr>
        <p:txBody>
          <a:bodyPr wrap="square" rtlCol="0">
            <a:spAutoFit/>
          </a:bodyPr>
          <a:lstStyle>
            <a:defPPr>
              <a:defRPr lang="fr-FR"/>
            </a:defPPr>
            <a:lvl1pPr>
              <a:lnSpc>
                <a:spcPts val="800"/>
              </a:lnSpc>
              <a:defRPr sz="800" b="1">
                <a:solidFill>
                  <a:srgbClr val="001C4B"/>
                </a:solidFill>
              </a:defRPr>
            </a:lvl1pPr>
          </a:lstStyle>
          <a:p>
            <a:r>
              <a:rPr lang="en-US" dirty="0">
                <a:solidFill>
                  <a:schemeClr val="tx1"/>
                </a:solidFill>
              </a:rPr>
              <a:t>Ludovic Ferreira</a:t>
            </a:r>
          </a:p>
          <a:p>
            <a:endParaRPr lang="en-US" dirty="0">
              <a:solidFill>
                <a:schemeClr val="tx1"/>
              </a:solidFill>
            </a:endParaRPr>
          </a:p>
          <a:p>
            <a:r>
              <a:rPr lang="en-US" b="0" dirty="0">
                <a:solidFill>
                  <a:schemeClr val="tx1"/>
                </a:solidFill>
              </a:rPr>
              <a:t>Investment </a:t>
            </a:r>
            <a:r>
              <a:rPr lang="en-US" b="0" dirty="0" smtClean="0">
                <a:solidFill>
                  <a:schemeClr val="tx1"/>
                </a:solidFill>
              </a:rPr>
              <a:t>Specialist. </a:t>
            </a:r>
            <a:r>
              <a:rPr lang="en-US" b="0" dirty="0">
                <a:solidFill>
                  <a:schemeClr val="tx1"/>
                </a:solidFill>
              </a:rPr>
              <a:t>Paris</a:t>
            </a:r>
          </a:p>
          <a:p>
            <a:endParaRPr lang="en-US" b="0" dirty="0">
              <a:solidFill>
                <a:schemeClr val="tx2"/>
              </a:solidFill>
            </a:endParaRPr>
          </a:p>
          <a:p>
            <a:r>
              <a:rPr lang="en-US" b="0" dirty="0">
                <a:solidFill>
                  <a:schemeClr val="tx2"/>
                </a:solidFill>
              </a:rPr>
              <a:t>7</a:t>
            </a:r>
            <a:r>
              <a:rPr lang="en-US" b="0" dirty="0" smtClean="0">
                <a:solidFill>
                  <a:schemeClr val="tx2"/>
                </a:solidFill>
              </a:rPr>
              <a:t> </a:t>
            </a:r>
            <a:r>
              <a:rPr lang="en-US" b="0" dirty="0">
                <a:solidFill>
                  <a:schemeClr val="tx2"/>
                </a:solidFill>
              </a:rPr>
              <a:t>years’ experience</a:t>
            </a:r>
          </a:p>
        </p:txBody>
      </p:sp>
      <p:sp>
        <p:nvSpPr>
          <p:cNvPr id="42" name="TextBox 79">
            <a:extLst>
              <a:ext uri="{FF2B5EF4-FFF2-40B4-BE49-F238E27FC236}">
                <a16:creationId xmlns:a16="http://schemas.microsoft.com/office/drawing/2014/main" xmlns="" id="{57720C67-2F08-4700-95B0-7D45BB5B93B5}"/>
              </a:ext>
            </a:extLst>
          </p:cNvPr>
          <p:cNvSpPr txBox="1"/>
          <p:nvPr/>
        </p:nvSpPr>
        <p:spPr>
          <a:xfrm>
            <a:off x="7304398" y="3085019"/>
            <a:ext cx="1299600" cy="720000"/>
          </a:xfrm>
          <a:prstGeom prst="rect">
            <a:avLst/>
          </a:prstGeom>
          <a:noFill/>
        </p:spPr>
        <p:txBody>
          <a:bodyPr wrap="square" rtlCol="0">
            <a:spAutoFit/>
          </a:bodyPr>
          <a:lstStyle>
            <a:defPPr>
              <a:defRPr lang="fr-FR"/>
            </a:defPPr>
            <a:lvl1pPr>
              <a:lnSpc>
                <a:spcPts val="800"/>
              </a:lnSpc>
              <a:defRPr sz="800" b="1">
                <a:solidFill>
                  <a:srgbClr val="001C4B"/>
                </a:solidFill>
              </a:defRPr>
            </a:lvl1pPr>
          </a:lstStyle>
          <a:p>
            <a:r>
              <a:rPr lang="en-US" dirty="0">
                <a:solidFill>
                  <a:schemeClr val="tx1"/>
                </a:solidFill>
              </a:rPr>
              <a:t>Antoine </a:t>
            </a:r>
            <a:r>
              <a:rPr lang="en-US" dirty="0" err="1">
                <a:solidFill>
                  <a:schemeClr val="tx1"/>
                </a:solidFill>
              </a:rPr>
              <a:t>Sorange</a:t>
            </a:r>
            <a:endParaRPr lang="en-US" dirty="0">
              <a:solidFill>
                <a:schemeClr val="tx1"/>
              </a:solidFill>
            </a:endParaRPr>
          </a:p>
          <a:p>
            <a:endParaRPr lang="en-US" dirty="0">
              <a:solidFill>
                <a:schemeClr val="tx1"/>
              </a:solidFill>
            </a:endParaRPr>
          </a:p>
          <a:p>
            <a:r>
              <a:rPr lang="en-US" b="0" dirty="0">
                <a:solidFill>
                  <a:schemeClr val="tx1"/>
                </a:solidFill>
              </a:rPr>
              <a:t>Head of </a:t>
            </a:r>
            <a:r>
              <a:rPr lang="en-US" b="0" dirty="0" err="1">
                <a:solidFill>
                  <a:schemeClr val="tx1"/>
                </a:solidFill>
              </a:rPr>
              <a:t>ESG</a:t>
            </a:r>
            <a:r>
              <a:rPr lang="en-US" b="0" dirty="0">
                <a:solidFill>
                  <a:schemeClr val="tx1"/>
                </a:solidFill>
              </a:rPr>
              <a:t> Research</a:t>
            </a:r>
          </a:p>
          <a:p>
            <a:endParaRPr lang="en-US" b="0" dirty="0">
              <a:solidFill>
                <a:schemeClr val="tx2"/>
              </a:solidFill>
            </a:endParaRPr>
          </a:p>
          <a:p>
            <a:endParaRPr lang="en-US" b="0" dirty="0">
              <a:solidFill>
                <a:schemeClr val="tx2"/>
              </a:solidFill>
            </a:endParaRPr>
          </a:p>
          <a:p>
            <a:r>
              <a:rPr lang="en-US" b="0" dirty="0" smtClean="0">
                <a:solidFill>
                  <a:schemeClr val="tx2"/>
                </a:solidFill>
              </a:rPr>
              <a:t>17 </a:t>
            </a:r>
            <a:r>
              <a:rPr lang="en-US" b="0" dirty="0">
                <a:solidFill>
                  <a:schemeClr val="tx2"/>
                </a:solidFill>
              </a:rPr>
              <a:t>years’ experience</a:t>
            </a:r>
          </a:p>
        </p:txBody>
      </p:sp>
      <p:sp>
        <p:nvSpPr>
          <p:cNvPr id="45" name="TextBox 52">
            <a:extLst>
              <a:ext uri="{FF2B5EF4-FFF2-40B4-BE49-F238E27FC236}">
                <a16:creationId xmlns:a16="http://schemas.microsoft.com/office/drawing/2014/main" xmlns="" id="{6E45DC3E-33C2-4F13-9E32-5ED4D48C7D5C}"/>
              </a:ext>
            </a:extLst>
          </p:cNvPr>
          <p:cNvSpPr txBox="1"/>
          <p:nvPr/>
        </p:nvSpPr>
        <p:spPr>
          <a:xfrm>
            <a:off x="6822000" y="3943430"/>
            <a:ext cx="1927538" cy="230832"/>
          </a:xfrm>
          <a:prstGeom prst="rect">
            <a:avLst/>
          </a:prstGeom>
          <a:solidFill>
            <a:schemeClr val="accent1"/>
          </a:solid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900" b="1" dirty="0">
                <a:solidFill>
                  <a:schemeClr val="bg1"/>
                </a:solidFill>
              </a:rPr>
              <a:t>+ 16 analysts</a:t>
            </a:r>
          </a:p>
        </p:txBody>
      </p:sp>
      <p:pic>
        <p:nvPicPr>
          <p:cNvPr id="46" name="Picture 2">
            <a:extLst>
              <a:ext uri="{FF2B5EF4-FFF2-40B4-BE49-F238E27FC236}">
                <a16:creationId xmlns:a16="http://schemas.microsoft.com/office/drawing/2014/main" xmlns="" id="{0E238E1B-0ED6-4211-AD89-797CA0B3BA2F}"/>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6822652" y="1525743"/>
            <a:ext cx="480022"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 descr="P:\GESTION_RPSE\Core\RFP, Etudes et Présentations\Organigramme\photos\Index\Masson Vincent_01_pp.JPG">
            <a:extLst>
              <a:ext uri="{FF2B5EF4-FFF2-40B4-BE49-F238E27FC236}">
                <a16:creationId xmlns:a16="http://schemas.microsoft.com/office/drawing/2014/main" xmlns="" id="{9E7B0F85-4D77-4DFB-9A58-18E90EB90BDE}"/>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2466000" y="4597200"/>
            <a:ext cx="480909" cy="720000"/>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69">
            <a:extLst>
              <a:ext uri="{FF2B5EF4-FFF2-40B4-BE49-F238E27FC236}">
                <a16:creationId xmlns:a16="http://schemas.microsoft.com/office/drawing/2014/main" xmlns="" id="{7D179E25-B898-47B6-B3CA-960F1F80874D}"/>
              </a:ext>
            </a:extLst>
          </p:cNvPr>
          <p:cNvSpPr txBox="1"/>
          <p:nvPr/>
        </p:nvSpPr>
        <p:spPr>
          <a:xfrm>
            <a:off x="2981434" y="4629630"/>
            <a:ext cx="1299600" cy="720000"/>
          </a:xfrm>
          <a:prstGeom prst="rect">
            <a:avLst/>
          </a:prstGeom>
          <a:noFill/>
        </p:spPr>
        <p:txBody>
          <a:bodyPr wrap="square" rtlCol="0">
            <a:spAutoFit/>
          </a:bodyPr>
          <a:lstStyle>
            <a:defPPr>
              <a:defRPr lang="fr-FR"/>
            </a:defPPr>
            <a:lvl1pPr>
              <a:lnSpc>
                <a:spcPts val="800"/>
              </a:lnSpc>
              <a:defRPr sz="800" b="1">
                <a:solidFill>
                  <a:srgbClr val="001C4B"/>
                </a:solidFill>
              </a:defRPr>
            </a:lvl1pPr>
          </a:lstStyle>
          <a:p>
            <a:r>
              <a:rPr lang="en-US" dirty="0">
                <a:solidFill>
                  <a:schemeClr val="tx1"/>
                </a:solidFill>
              </a:rPr>
              <a:t>Vincent Masson</a:t>
            </a:r>
          </a:p>
          <a:p>
            <a:endParaRPr lang="en-US" dirty="0">
              <a:solidFill>
                <a:schemeClr val="tx1"/>
              </a:solidFill>
            </a:endParaRPr>
          </a:p>
          <a:p>
            <a:r>
              <a:rPr lang="en-US" b="0" dirty="0">
                <a:solidFill>
                  <a:schemeClr val="tx1"/>
                </a:solidFill>
              </a:rPr>
              <a:t>Portfolio </a:t>
            </a:r>
            <a:r>
              <a:rPr lang="en-US" b="0" dirty="0" smtClean="0">
                <a:solidFill>
                  <a:schemeClr val="tx1"/>
                </a:solidFill>
              </a:rPr>
              <a:t>Manager. </a:t>
            </a:r>
            <a:r>
              <a:rPr lang="en-US" b="0" dirty="0">
                <a:solidFill>
                  <a:schemeClr val="tx1"/>
                </a:solidFill>
              </a:rPr>
              <a:t>Paris</a:t>
            </a:r>
          </a:p>
          <a:p>
            <a:endParaRPr lang="en-US" b="0" dirty="0">
              <a:solidFill>
                <a:schemeClr val="tx2"/>
              </a:solidFill>
            </a:endParaRPr>
          </a:p>
          <a:p>
            <a:endParaRPr lang="en-US" b="0" dirty="0">
              <a:solidFill>
                <a:schemeClr val="tx2"/>
              </a:solidFill>
            </a:endParaRPr>
          </a:p>
          <a:p>
            <a:r>
              <a:rPr lang="en-US" b="0" dirty="0" smtClean="0">
                <a:solidFill>
                  <a:schemeClr val="tx2"/>
                </a:solidFill>
              </a:rPr>
              <a:t>20 </a:t>
            </a:r>
            <a:r>
              <a:rPr lang="en-US" b="0" dirty="0">
                <a:solidFill>
                  <a:schemeClr val="tx2"/>
                </a:solidFill>
              </a:rPr>
              <a:t>years’ experience</a:t>
            </a:r>
          </a:p>
        </p:txBody>
      </p:sp>
      <p:sp>
        <p:nvSpPr>
          <p:cNvPr id="51" name="TextBox 64">
            <a:extLst>
              <a:ext uri="{FF2B5EF4-FFF2-40B4-BE49-F238E27FC236}">
                <a16:creationId xmlns:a16="http://schemas.microsoft.com/office/drawing/2014/main" xmlns="" id="{1DEA607D-7F84-431F-B82D-056F743DC88A}"/>
              </a:ext>
            </a:extLst>
          </p:cNvPr>
          <p:cNvSpPr txBox="1"/>
          <p:nvPr/>
        </p:nvSpPr>
        <p:spPr>
          <a:xfrm>
            <a:off x="1001325" y="4613782"/>
            <a:ext cx="1299600" cy="720000"/>
          </a:xfrm>
          <a:prstGeom prst="rect">
            <a:avLst/>
          </a:prstGeom>
          <a:noFill/>
        </p:spPr>
        <p:txBody>
          <a:bodyPr wrap="square" rtlCol="0">
            <a:spAutoFit/>
          </a:bodyPr>
          <a:lstStyle/>
          <a:p>
            <a:pPr>
              <a:lnSpc>
                <a:spcPts val="800"/>
              </a:lnSpc>
            </a:pPr>
            <a:r>
              <a:rPr lang="en-US" sz="800" b="1" dirty="0" smtClean="0"/>
              <a:t>Satoru Kobayashi</a:t>
            </a:r>
            <a:endParaRPr lang="en-US" sz="800" b="1" dirty="0"/>
          </a:p>
          <a:p>
            <a:pPr>
              <a:lnSpc>
                <a:spcPts val="800"/>
              </a:lnSpc>
            </a:pPr>
            <a:endParaRPr lang="en-US" sz="800" dirty="0"/>
          </a:p>
          <a:p>
            <a:pPr>
              <a:lnSpc>
                <a:spcPts val="800"/>
              </a:lnSpc>
            </a:pPr>
            <a:r>
              <a:rPr lang="en-US" sz="800" dirty="0"/>
              <a:t>Portfolio </a:t>
            </a:r>
            <a:r>
              <a:rPr lang="en-US" sz="800" dirty="0" smtClean="0"/>
              <a:t>manager. </a:t>
            </a:r>
            <a:r>
              <a:rPr lang="en-US" sz="800" dirty="0"/>
              <a:t>Tokyo</a:t>
            </a:r>
          </a:p>
          <a:p>
            <a:pPr>
              <a:lnSpc>
                <a:spcPts val="800"/>
              </a:lnSpc>
            </a:pPr>
            <a:endParaRPr lang="en-US" sz="800" dirty="0">
              <a:solidFill>
                <a:schemeClr val="tx2"/>
              </a:solidFill>
            </a:endParaRPr>
          </a:p>
          <a:p>
            <a:pPr>
              <a:lnSpc>
                <a:spcPts val="800"/>
              </a:lnSpc>
            </a:pPr>
            <a:r>
              <a:rPr lang="en-US" sz="800" dirty="0" smtClean="0">
                <a:solidFill>
                  <a:schemeClr val="tx2"/>
                </a:solidFill>
              </a:rPr>
              <a:t>19 </a:t>
            </a:r>
            <a:r>
              <a:rPr lang="en-US" sz="800" dirty="0">
                <a:solidFill>
                  <a:schemeClr val="tx2"/>
                </a:solidFill>
              </a:rPr>
              <a:t>years’ experience</a:t>
            </a:r>
          </a:p>
        </p:txBody>
      </p:sp>
      <p:sp>
        <p:nvSpPr>
          <p:cNvPr id="55" name="Rectangle 54">
            <a:extLst>
              <a:ext uri="{FF2B5EF4-FFF2-40B4-BE49-F238E27FC236}">
                <a16:creationId xmlns:a16="http://schemas.microsoft.com/office/drawing/2014/main" xmlns="" id="{6E9197CD-BF67-4353-AA35-473A51A59522}"/>
              </a:ext>
            </a:extLst>
          </p:cNvPr>
          <p:cNvSpPr/>
          <p:nvPr/>
        </p:nvSpPr>
        <p:spPr>
          <a:xfrm>
            <a:off x="479743" y="1242060"/>
            <a:ext cx="1925321" cy="2325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t>Portfolio Management</a:t>
            </a:r>
          </a:p>
        </p:txBody>
      </p:sp>
      <p:sp>
        <p:nvSpPr>
          <p:cNvPr id="67" name="TextBox 52">
            <a:extLst>
              <a:ext uri="{FF2B5EF4-FFF2-40B4-BE49-F238E27FC236}">
                <a16:creationId xmlns:a16="http://schemas.microsoft.com/office/drawing/2014/main" xmlns="" id="{6E45DC3E-33C2-4F13-9E32-5ED4D48C7D5C}"/>
              </a:ext>
            </a:extLst>
          </p:cNvPr>
          <p:cNvSpPr txBox="1"/>
          <p:nvPr/>
        </p:nvSpPr>
        <p:spPr>
          <a:xfrm>
            <a:off x="6822651" y="2405423"/>
            <a:ext cx="1929410" cy="230832"/>
          </a:xfrm>
          <a:prstGeom prst="rect">
            <a:avLst/>
          </a:prstGeom>
          <a:solidFill>
            <a:schemeClr val="accent1"/>
          </a:solid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900" b="1" dirty="0">
                <a:solidFill>
                  <a:schemeClr val="bg1"/>
                </a:solidFill>
              </a:rPr>
              <a:t>+ </a:t>
            </a:r>
            <a:r>
              <a:rPr lang="en-US" sz="900" b="1" dirty="0" smtClean="0">
                <a:solidFill>
                  <a:schemeClr val="bg1"/>
                </a:solidFill>
              </a:rPr>
              <a:t>15 </a:t>
            </a:r>
            <a:r>
              <a:rPr lang="en-US" sz="900" b="1" dirty="0">
                <a:solidFill>
                  <a:schemeClr val="bg1"/>
                </a:solidFill>
              </a:rPr>
              <a:t>analysts</a:t>
            </a:r>
          </a:p>
        </p:txBody>
      </p:sp>
      <p:sp>
        <p:nvSpPr>
          <p:cNvPr id="68" name="Rectangle 67">
            <a:extLst>
              <a:ext uri="{FF2B5EF4-FFF2-40B4-BE49-F238E27FC236}">
                <a16:creationId xmlns:a16="http://schemas.microsoft.com/office/drawing/2014/main" xmlns="" id="{82A49B2D-91A6-4592-A06A-6E0CB304243B}"/>
              </a:ext>
            </a:extLst>
          </p:cNvPr>
          <p:cNvSpPr/>
          <p:nvPr/>
        </p:nvSpPr>
        <p:spPr>
          <a:xfrm>
            <a:off x="479744" y="3054456"/>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70" name="TextBox 68">
            <a:extLst>
              <a:ext uri="{FF2B5EF4-FFF2-40B4-BE49-F238E27FC236}">
                <a16:creationId xmlns:a16="http://schemas.microsoft.com/office/drawing/2014/main" xmlns="" id="{F35D5E70-CB85-474B-AC93-056FE0EA1D44}"/>
              </a:ext>
            </a:extLst>
          </p:cNvPr>
          <p:cNvSpPr txBox="1"/>
          <p:nvPr/>
        </p:nvSpPr>
        <p:spPr>
          <a:xfrm>
            <a:off x="1001325" y="3071446"/>
            <a:ext cx="1299600" cy="605294"/>
          </a:xfrm>
          <a:prstGeom prst="rect">
            <a:avLst/>
          </a:prstGeom>
          <a:noFill/>
        </p:spPr>
        <p:txBody>
          <a:bodyPr wrap="square" rtlCol="0">
            <a:spAutoFit/>
          </a:bodyPr>
          <a:lstStyle>
            <a:defPPr>
              <a:defRPr lang="fr-FR"/>
            </a:defPPr>
            <a:lvl1pPr>
              <a:lnSpc>
                <a:spcPts val="800"/>
              </a:lnSpc>
              <a:defRPr sz="800" b="1">
                <a:solidFill>
                  <a:srgbClr val="001C4B"/>
                </a:solidFill>
              </a:defRPr>
            </a:lvl1pPr>
          </a:lstStyle>
          <a:p>
            <a:r>
              <a:rPr lang="en-US" dirty="0" smtClean="0">
                <a:solidFill>
                  <a:schemeClr val="tx1"/>
                </a:solidFill>
              </a:rPr>
              <a:t>David Liddell. </a:t>
            </a:r>
            <a:r>
              <a:rPr lang="en-US" dirty="0">
                <a:solidFill>
                  <a:schemeClr val="tx1"/>
                </a:solidFill>
              </a:rPr>
              <a:t>CFA</a:t>
            </a:r>
          </a:p>
          <a:p>
            <a:endParaRPr lang="en-US" dirty="0">
              <a:solidFill>
                <a:schemeClr val="tx1"/>
              </a:solidFill>
            </a:endParaRPr>
          </a:p>
          <a:p>
            <a:r>
              <a:rPr lang="en-US" b="0" dirty="0" smtClean="0">
                <a:solidFill>
                  <a:schemeClr val="tx1"/>
                </a:solidFill>
              </a:rPr>
              <a:t>PM Factor </a:t>
            </a:r>
            <a:r>
              <a:rPr lang="en-US" b="0" dirty="0">
                <a:solidFill>
                  <a:schemeClr val="tx1"/>
                </a:solidFill>
              </a:rPr>
              <a:t>Investing</a:t>
            </a:r>
          </a:p>
          <a:p>
            <a:endParaRPr lang="en-US" b="0" dirty="0">
              <a:solidFill>
                <a:schemeClr val="tx2"/>
              </a:solidFill>
            </a:endParaRPr>
          </a:p>
          <a:p>
            <a:r>
              <a:rPr lang="en-US" b="0" dirty="0" smtClean="0">
                <a:solidFill>
                  <a:schemeClr val="tx2"/>
                </a:solidFill>
              </a:rPr>
              <a:t>20 </a:t>
            </a:r>
            <a:r>
              <a:rPr lang="en-US" b="0" dirty="0">
                <a:solidFill>
                  <a:schemeClr val="tx2"/>
                </a:solidFill>
              </a:rPr>
              <a:t>years’ experience</a:t>
            </a:r>
          </a:p>
        </p:txBody>
      </p:sp>
      <p:sp>
        <p:nvSpPr>
          <p:cNvPr id="71" name="Rectangle 70">
            <a:extLst>
              <a:ext uri="{FF2B5EF4-FFF2-40B4-BE49-F238E27FC236}">
                <a16:creationId xmlns:a16="http://schemas.microsoft.com/office/drawing/2014/main" xmlns="" id="{82A49B2D-91A6-4592-A06A-6E0CB304243B}"/>
              </a:ext>
            </a:extLst>
          </p:cNvPr>
          <p:cNvSpPr/>
          <p:nvPr/>
        </p:nvSpPr>
        <p:spPr>
          <a:xfrm>
            <a:off x="478800" y="3826800"/>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sp>
        <p:nvSpPr>
          <p:cNvPr id="87" name="TextBox 68">
            <a:extLst>
              <a:ext uri="{FF2B5EF4-FFF2-40B4-BE49-F238E27FC236}">
                <a16:creationId xmlns:a16="http://schemas.microsoft.com/office/drawing/2014/main" xmlns="" id="{F35D5E70-CB85-474B-AC93-056FE0EA1D44}"/>
              </a:ext>
            </a:extLst>
          </p:cNvPr>
          <p:cNvSpPr txBox="1"/>
          <p:nvPr/>
        </p:nvSpPr>
        <p:spPr>
          <a:xfrm>
            <a:off x="1030296" y="3880463"/>
            <a:ext cx="1299600" cy="605294"/>
          </a:xfrm>
          <a:prstGeom prst="rect">
            <a:avLst/>
          </a:prstGeom>
          <a:noFill/>
        </p:spPr>
        <p:txBody>
          <a:bodyPr wrap="square" rtlCol="0">
            <a:spAutoFit/>
          </a:bodyPr>
          <a:lstStyle>
            <a:defPPr>
              <a:defRPr lang="fr-FR"/>
            </a:defPPr>
            <a:lvl1pPr>
              <a:lnSpc>
                <a:spcPts val="800"/>
              </a:lnSpc>
              <a:defRPr sz="800" b="1">
                <a:solidFill>
                  <a:srgbClr val="001C4B"/>
                </a:solidFill>
              </a:defRPr>
            </a:lvl1pPr>
          </a:lstStyle>
          <a:p>
            <a:r>
              <a:rPr lang="en-US" smtClean="0">
                <a:solidFill>
                  <a:schemeClr val="tx1"/>
                </a:solidFill>
              </a:rPr>
              <a:t>Giacomo Sarchioni</a:t>
            </a:r>
            <a:endParaRPr lang="en-US" dirty="0">
              <a:solidFill>
                <a:schemeClr val="tx1"/>
              </a:solidFill>
            </a:endParaRPr>
          </a:p>
          <a:p>
            <a:endParaRPr lang="en-US" dirty="0">
              <a:solidFill>
                <a:schemeClr val="tx1"/>
              </a:solidFill>
            </a:endParaRPr>
          </a:p>
          <a:p>
            <a:r>
              <a:rPr lang="en-US" b="0" dirty="0" smtClean="0">
                <a:solidFill>
                  <a:schemeClr val="tx1"/>
                </a:solidFill>
              </a:rPr>
              <a:t>Data Scientist</a:t>
            </a:r>
            <a:endParaRPr lang="en-US" b="0" dirty="0">
              <a:solidFill>
                <a:schemeClr val="tx1"/>
              </a:solidFill>
            </a:endParaRPr>
          </a:p>
          <a:p>
            <a:endParaRPr lang="en-US" b="0" dirty="0">
              <a:solidFill>
                <a:schemeClr val="tx2"/>
              </a:solidFill>
            </a:endParaRPr>
          </a:p>
          <a:p>
            <a:r>
              <a:rPr lang="en-US" b="0" dirty="0">
                <a:solidFill>
                  <a:schemeClr val="tx2"/>
                </a:solidFill>
              </a:rPr>
              <a:t>5</a:t>
            </a:r>
            <a:r>
              <a:rPr lang="en-US" b="0" dirty="0" smtClean="0">
                <a:solidFill>
                  <a:schemeClr val="tx2"/>
                </a:solidFill>
              </a:rPr>
              <a:t> </a:t>
            </a:r>
            <a:r>
              <a:rPr lang="en-US" b="0" dirty="0">
                <a:solidFill>
                  <a:schemeClr val="tx2"/>
                </a:solidFill>
              </a:rPr>
              <a:t>years’ experience</a:t>
            </a:r>
          </a:p>
        </p:txBody>
      </p:sp>
      <p:sp>
        <p:nvSpPr>
          <p:cNvPr id="56" name="Rectangle 55">
            <a:extLst>
              <a:ext uri="{FF2B5EF4-FFF2-40B4-BE49-F238E27FC236}">
                <a16:creationId xmlns:a16="http://schemas.microsoft.com/office/drawing/2014/main" xmlns="" id="{FAAB5F48-0E29-4EFA-AF0B-1B5301EDEAB6}"/>
              </a:ext>
            </a:extLst>
          </p:cNvPr>
          <p:cNvSpPr/>
          <p:nvPr/>
        </p:nvSpPr>
        <p:spPr>
          <a:xfrm>
            <a:off x="6822000" y="2760788"/>
            <a:ext cx="1911120" cy="2325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t>ESG </a:t>
            </a:r>
            <a:r>
              <a:rPr lang="fr-FR" sz="1100" dirty="0" err="1" smtClean="0"/>
              <a:t>Research</a:t>
            </a:r>
            <a:endParaRPr lang="fr-FR" sz="1100" dirty="0"/>
          </a:p>
        </p:txBody>
      </p:sp>
      <p:sp>
        <p:nvSpPr>
          <p:cNvPr id="59" name="Rectangle 58">
            <a:extLst>
              <a:ext uri="{FF2B5EF4-FFF2-40B4-BE49-F238E27FC236}">
                <a16:creationId xmlns:a16="http://schemas.microsoft.com/office/drawing/2014/main" xmlns="" id="{6E9197CD-BF67-4353-AA35-473A51A59522}"/>
              </a:ext>
            </a:extLst>
          </p:cNvPr>
          <p:cNvSpPr/>
          <p:nvPr/>
        </p:nvSpPr>
        <p:spPr>
          <a:xfrm>
            <a:off x="4699640" y="1242000"/>
            <a:ext cx="1920495" cy="2311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t>CPR</a:t>
            </a:r>
            <a:endParaRPr lang="fr-FR" sz="1100" dirty="0"/>
          </a:p>
        </p:txBody>
      </p:sp>
      <p:sp>
        <p:nvSpPr>
          <p:cNvPr id="60" name="TextBox 52">
            <a:extLst>
              <a:ext uri="{FF2B5EF4-FFF2-40B4-BE49-F238E27FC236}">
                <a16:creationId xmlns:a16="http://schemas.microsoft.com/office/drawing/2014/main" xmlns="" id="{6E45DC3E-33C2-4F13-9E32-5ED4D48C7D5C}"/>
              </a:ext>
            </a:extLst>
          </p:cNvPr>
          <p:cNvSpPr txBox="1"/>
          <p:nvPr/>
        </p:nvSpPr>
        <p:spPr>
          <a:xfrm>
            <a:off x="4705200" y="2405423"/>
            <a:ext cx="1914935" cy="230832"/>
          </a:xfrm>
          <a:prstGeom prst="rect">
            <a:avLst/>
          </a:prstGeom>
          <a:solidFill>
            <a:schemeClr val="accent1"/>
          </a:solid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900" b="1" dirty="0">
                <a:solidFill>
                  <a:schemeClr val="bg1"/>
                </a:solidFill>
              </a:rPr>
              <a:t>+ 8 analysts/PMs</a:t>
            </a:r>
          </a:p>
        </p:txBody>
      </p:sp>
      <p:pic>
        <p:nvPicPr>
          <p:cNvPr id="57" name="Picture 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78800" y="3056400"/>
            <a:ext cx="484616"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2" name="Picture 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8800" y="4597200"/>
            <a:ext cx="506245" cy="7242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 name="Picture 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78800" y="3826867"/>
            <a:ext cx="490002"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0" name="Rectangle 89">
            <a:extLst>
              <a:ext uri="{FF2B5EF4-FFF2-40B4-BE49-F238E27FC236}">
                <a16:creationId xmlns:a16="http://schemas.microsoft.com/office/drawing/2014/main" xmlns="" id="{3E9FDDDE-E642-467E-BC18-A80B2F80B256}"/>
              </a:ext>
            </a:extLst>
          </p:cNvPr>
          <p:cNvSpPr/>
          <p:nvPr/>
        </p:nvSpPr>
        <p:spPr>
          <a:xfrm>
            <a:off x="4705200" y="4597200"/>
            <a:ext cx="1927225" cy="752430"/>
          </a:xfrm>
          <a:prstGeom prst="rect">
            <a:avLst/>
          </a:prstGeom>
          <a:solidFill>
            <a:schemeClr val="bg1">
              <a:lumMod val="95000"/>
            </a:schemeClr>
          </a:solidFill>
        </p:spPr>
        <p:txBody>
          <a:bodyPr wrap="square" rtlCol="0">
            <a:noAutofit/>
          </a:bodyPr>
          <a:lstStyle/>
          <a:p>
            <a:pPr>
              <a:lnSpc>
                <a:spcPts val="800"/>
              </a:lnSpc>
            </a:pPr>
            <a:endParaRPr lang="fr-FR" sz="800" b="1">
              <a:solidFill>
                <a:schemeClr val="tx1"/>
              </a:solidFill>
            </a:endParaRPr>
          </a:p>
        </p:txBody>
      </p:sp>
      <p:pic>
        <p:nvPicPr>
          <p:cNvPr id="69" name="Picture 3" descr="P:\CPRAM\COMMUN\BIBLIOTHEQUE\10- LOGOS - VISUELS - PHOTOS - MASQUES - DISCLAIMER\PHOTOS\Photos Corporate CPR AM - 2014-2015\Basse Définition\GESTION\ACTIONS\COLLET Cyrille 1.jpg"/>
          <p:cNvPicPr>
            <a:picLocks noChangeAspect="1" noChangeArrowheads="1"/>
          </p:cNvPicPr>
          <p:nvPr/>
        </p:nvPicPr>
        <p:blipFill rotWithShape="1">
          <a:blip r:embed="rId17"/>
          <a:srcRect l="20120" t="6727" r="18752" b="39294"/>
          <a:stretch/>
        </p:blipFill>
        <p:spPr bwMode="auto">
          <a:xfrm>
            <a:off x="4699640" y="1520343"/>
            <a:ext cx="459515" cy="730800"/>
          </a:xfrm>
          <a:prstGeom prst="rect">
            <a:avLst/>
          </a:prstGeom>
          <a:solidFill>
            <a:schemeClr val="accent3">
              <a:lumMod val="50000"/>
            </a:schemeClr>
          </a:solidFill>
          <a:ln>
            <a:noFill/>
          </a:ln>
          <a:effectLst/>
          <a:extLst/>
        </p:spPr>
      </p:pic>
      <p:sp>
        <p:nvSpPr>
          <p:cNvPr id="92" name="TextBox 64">
            <a:extLst>
              <a:ext uri="{FF2B5EF4-FFF2-40B4-BE49-F238E27FC236}">
                <a16:creationId xmlns:a16="http://schemas.microsoft.com/office/drawing/2014/main" xmlns="" id="{3914348D-ECF9-4E6F-A4EA-D32C25C95E72}"/>
              </a:ext>
            </a:extLst>
          </p:cNvPr>
          <p:cNvSpPr txBox="1"/>
          <p:nvPr/>
        </p:nvSpPr>
        <p:spPr>
          <a:xfrm>
            <a:off x="5185784" y="4587222"/>
            <a:ext cx="1190258" cy="720000"/>
          </a:xfrm>
          <a:prstGeom prst="rect">
            <a:avLst/>
          </a:prstGeom>
          <a:noFill/>
        </p:spPr>
        <p:txBody>
          <a:bodyPr wrap="square" rtlCol="0">
            <a:spAutoFit/>
          </a:bodyPr>
          <a:lstStyle>
            <a:defPPr>
              <a:defRPr lang="fr-FR"/>
            </a:defPPr>
            <a:lvl1pPr>
              <a:lnSpc>
                <a:spcPts val="800"/>
              </a:lnSpc>
              <a:defRPr sz="800" b="1">
                <a:solidFill>
                  <a:srgbClr val="001C4B"/>
                </a:solidFill>
              </a:defRPr>
            </a:lvl1pPr>
          </a:lstStyle>
          <a:p>
            <a:r>
              <a:rPr lang="en-US" dirty="0">
                <a:solidFill>
                  <a:schemeClr val="tx1"/>
                </a:solidFill>
              </a:rPr>
              <a:t>Hugo Sperry</a:t>
            </a:r>
          </a:p>
          <a:p>
            <a:endParaRPr lang="en-US" dirty="0">
              <a:solidFill>
                <a:schemeClr val="tx1"/>
              </a:solidFill>
            </a:endParaRPr>
          </a:p>
          <a:p>
            <a:r>
              <a:rPr lang="en-US" b="0" dirty="0">
                <a:solidFill>
                  <a:schemeClr val="tx1"/>
                </a:solidFill>
              </a:rPr>
              <a:t>Investment </a:t>
            </a:r>
            <a:r>
              <a:rPr lang="en-US" b="0" dirty="0" smtClean="0">
                <a:solidFill>
                  <a:schemeClr val="tx1"/>
                </a:solidFill>
              </a:rPr>
              <a:t>Specialist. </a:t>
            </a:r>
            <a:r>
              <a:rPr lang="en-US" b="0" dirty="0">
                <a:solidFill>
                  <a:schemeClr val="tx1"/>
                </a:solidFill>
              </a:rPr>
              <a:t>Paris</a:t>
            </a:r>
          </a:p>
          <a:p>
            <a:endParaRPr lang="en-US" b="0" dirty="0">
              <a:solidFill>
                <a:schemeClr val="tx2"/>
              </a:solidFill>
            </a:endParaRPr>
          </a:p>
          <a:p>
            <a:r>
              <a:rPr lang="en-US" b="0" dirty="0">
                <a:solidFill>
                  <a:schemeClr val="tx2"/>
                </a:solidFill>
              </a:rPr>
              <a:t>7</a:t>
            </a:r>
            <a:r>
              <a:rPr lang="en-US" b="0" dirty="0" smtClean="0">
                <a:solidFill>
                  <a:schemeClr val="tx2"/>
                </a:solidFill>
              </a:rPr>
              <a:t> </a:t>
            </a:r>
            <a:r>
              <a:rPr lang="en-US" b="0" dirty="0">
                <a:solidFill>
                  <a:schemeClr val="tx2"/>
                </a:solidFill>
              </a:rPr>
              <a:t>years’ experience</a:t>
            </a:r>
          </a:p>
        </p:txBody>
      </p:sp>
      <p:sp>
        <p:nvSpPr>
          <p:cNvPr id="80" name="TextBox 63">
            <a:extLst>
              <a:ext uri="{FF2B5EF4-FFF2-40B4-BE49-F238E27FC236}">
                <a16:creationId xmlns:a16="http://schemas.microsoft.com/office/drawing/2014/main" xmlns="" id="{A6CC7045-AA76-4F32-957A-435E30B37D1B}"/>
              </a:ext>
            </a:extLst>
          </p:cNvPr>
          <p:cNvSpPr txBox="1"/>
          <p:nvPr/>
        </p:nvSpPr>
        <p:spPr>
          <a:xfrm>
            <a:off x="5174657" y="1524987"/>
            <a:ext cx="1445478" cy="707886"/>
          </a:xfrm>
          <a:prstGeom prst="rect">
            <a:avLst/>
          </a:prstGeom>
          <a:noFill/>
        </p:spPr>
        <p:txBody>
          <a:bodyPr wrap="square" rtlCol="0">
            <a:spAutoFit/>
          </a:bodyPr>
          <a:lstStyle/>
          <a:p>
            <a:pPr>
              <a:lnSpc>
                <a:spcPts val="800"/>
              </a:lnSpc>
            </a:pPr>
            <a:r>
              <a:rPr lang="en-US" sz="800" b="1" dirty="0" smtClean="0"/>
              <a:t>Cyrille Collet. CFA. SFAF</a:t>
            </a:r>
            <a:endParaRPr lang="en-US" sz="800" b="1" dirty="0"/>
          </a:p>
          <a:p>
            <a:pPr>
              <a:lnSpc>
                <a:spcPts val="800"/>
              </a:lnSpc>
            </a:pPr>
            <a:endParaRPr lang="en-US" sz="800" dirty="0"/>
          </a:p>
          <a:p>
            <a:pPr>
              <a:lnSpc>
                <a:spcPts val="800"/>
              </a:lnSpc>
            </a:pPr>
            <a:r>
              <a:rPr lang="en-US" sz="800" dirty="0" smtClean="0"/>
              <a:t>Head of Quantitative portfolio management</a:t>
            </a:r>
            <a:endParaRPr lang="en-US" sz="800" dirty="0"/>
          </a:p>
          <a:p>
            <a:pPr>
              <a:lnSpc>
                <a:spcPts val="800"/>
              </a:lnSpc>
            </a:pPr>
            <a:endParaRPr lang="en-US" sz="800" dirty="0">
              <a:solidFill>
                <a:schemeClr val="tx2"/>
              </a:solidFill>
            </a:endParaRPr>
          </a:p>
          <a:p>
            <a:pPr>
              <a:lnSpc>
                <a:spcPts val="800"/>
              </a:lnSpc>
            </a:pPr>
            <a:r>
              <a:rPr lang="en-US" sz="800" dirty="0" smtClean="0">
                <a:solidFill>
                  <a:schemeClr val="tx2"/>
                </a:solidFill>
              </a:rPr>
              <a:t>21 </a:t>
            </a:r>
            <a:r>
              <a:rPr lang="en-US" sz="800" dirty="0">
                <a:solidFill>
                  <a:schemeClr val="tx2"/>
                </a:solidFill>
              </a:rPr>
              <a:t>years’ experience</a:t>
            </a:r>
          </a:p>
        </p:txBody>
      </p:sp>
      <p:sp>
        <p:nvSpPr>
          <p:cNvPr id="83" name="TextBox 74">
            <a:extLst>
              <a:ext uri="{FF2B5EF4-FFF2-40B4-BE49-F238E27FC236}">
                <a16:creationId xmlns:a16="http://schemas.microsoft.com/office/drawing/2014/main" xmlns="" id="{B463FF2B-C6F6-4E60-9CDB-67C7F13EF8F1}"/>
              </a:ext>
            </a:extLst>
          </p:cNvPr>
          <p:cNvSpPr txBox="1"/>
          <p:nvPr/>
        </p:nvSpPr>
        <p:spPr>
          <a:xfrm>
            <a:off x="7304398" y="1524615"/>
            <a:ext cx="1299600" cy="720000"/>
          </a:xfrm>
          <a:prstGeom prst="rect">
            <a:avLst/>
          </a:prstGeom>
          <a:noFill/>
        </p:spPr>
        <p:txBody>
          <a:bodyPr wrap="square" rtlCol="0">
            <a:spAutoFit/>
          </a:bodyPr>
          <a:lstStyle>
            <a:defPPr>
              <a:defRPr lang="fr-FR"/>
            </a:defPPr>
            <a:lvl1pPr>
              <a:lnSpc>
                <a:spcPts val="800"/>
              </a:lnSpc>
              <a:defRPr sz="800" b="1">
                <a:solidFill>
                  <a:srgbClr val="001C4B"/>
                </a:solidFill>
              </a:defRPr>
            </a:lvl1pPr>
          </a:lstStyle>
          <a:p>
            <a:r>
              <a:rPr lang="en-US" dirty="0">
                <a:solidFill>
                  <a:schemeClr val="tx1"/>
                </a:solidFill>
              </a:rPr>
              <a:t>Thierry </a:t>
            </a:r>
            <a:r>
              <a:rPr lang="en-US" dirty="0" err="1">
                <a:solidFill>
                  <a:schemeClr val="tx1"/>
                </a:solidFill>
              </a:rPr>
              <a:t>Roncalli</a:t>
            </a:r>
            <a:endParaRPr lang="en-US" dirty="0">
              <a:solidFill>
                <a:schemeClr val="tx1"/>
              </a:solidFill>
            </a:endParaRPr>
          </a:p>
          <a:p>
            <a:endParaRPr lang="en-US" dirty="0">
              <a:solidFill>
                <a:schemeClr val="tx1"/>
              </a:solidFill>
            </a:endParaRPr>
          </a:p>
          <a:p>
            <a:r>
              <a:rPr lang="en-US" b="0" dirty="0" smtClean="0">
                <a:solidFill>
                  <a:schemeClr val="tx1"/>
                </a:solidFill>
              </a:rPr>
              <a:t>Head </a:t>
            </a:r>
            <a:r>
              <a:rPr lang="en-US" b="0" dirty="0">
                <a:solidFill>
                  <a:schemeClr val="tx1"/>
                </a:solidFill>
              </a:rPr>
              <a:t>of Quantitative Research</a:t>
            </a:r>
          </a:p>
          <a:p>
            <a:endParaRPr lang="en-US" b="0" dirty="0">
              <a:solidFill>
                <a:schemeClr val="tx2"/>
              </a:solidFill>
            </a:endParaRPr>
          </a:p>
          <a:p>
            <a:r>
              <a:rPr lang="en-US" b="0" dirty="0" smtClean="0">
                <a:solidFill>
                  <a:schemeClr val="tx2"/>
                </a:solidFill>
              </a:rPr>
              <a:t>20 </a:t>
            </a:r>
            <a:r>
              <a:rPr lang="en-US" b="0" dirty="0">
                <a:solidFill>
                  <a:schemeClr val="tx2"/>
                </a:solidFill>
              </a:rPr>
              <a:t>years’ experience</a:t>
            </a:r>
          </a:p>
        </p:txBody>
      </p:sp>
      <p:sp>
        <p:nvSpPr>
          <p:cNvPr id="4" name="Espace réservé du pied de page 3"/>
          <p:cNvSpPr>
            <a:spLocks noGrp="1"/>
          </p:cNvSpPr>
          <p:nvPr>
            <p:ph type="ftr" sz="quarter" idx="11"/>
          </p:nvPr>
        </p:nvSpPr>
        <p:spPr/>
        <p:txBody>
          <a:bodyPr/>
          <a:lstStyle/>
          <a:p>
            <a:r>
              <a:rPr lang="en-US" dirty="0" smtClean="0"/>
              <a:t>Smart Beta - Investment Solutions</a:t>
            </a:r>
            <a:endParaRPr lang="fr-FR" dirty="0"/>
          </a:p>
        </p:txBody>
      </p:sp>
      <p:pic>
        <p:nvPicPr>
          <p:cNvPr id="1026" name="Picture 2" descr="C:\Users\sperry\AppData\Local\Microsoft\Windows\Temporary Internet Files\Content.Outlook\A62KNUHB\SPERRY Hugo-3378.jpg"/>
          <p:cNvPicPr preferRelativeResize="0">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710386" y="4608015"/>
            <a:ext cx="478800" cy="73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48970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7">
            <a:extLst>
              <a:ext uri="{FF2B5EF4-FFF2-40B4-BE49-F238E27FC236}">
                <a16:creationId xmlns="" xmlns:a16="http://schemas.microsoft.com/office/drawing/2014/main" id="{E26272D1-DA7B-448D-9C96-A33C84E8FB23}"/>
              </a:ext>
            </a:extLst>
          </p:cNvPr>
          <p:cNvSpPr>
            <a:spLocks noGrp="1"/>
          </p:cNvSpPr>
          <p:nvPr>
            <p:ph type="body" sz="quarter" idx="13"/>
          </p:nvPr>
        </p:nvSpPr>
        <p:spPr/>
        <p:txBody>
          <a:bodyPr/>
          <a:lstStyle/>
          <a:p>
            <a:r>
              <a:rPr lang="fr-BE"/>
              <a:t>01</a:t>
            </a:r>
          </a:p>
          <a:p>
            <a:endParaRPr lang="fr-BE" dirty="0"/>
          </a:p>
        </p:txBody>
      </p:sp>
      <p:sp>
        <p:nvSpPr>
          <p:cNvPr id="7" name="Titre 6">
            <a:extLst>
              <a:ext uri="{FF2B5EF4-FFF2-40B4-BE49-F238E27FC236}">
                <a16:creationId xmlns="" xmlns:a16="http://schemas.microsoft.com/office/drawing/2014/main" id="{DA5CA6E9-8A86-471A-90B4-750CAD6563D2}"/>
              </a:ext>
            </a:extLst>
          </p:cNvPr>
          <p:cNvSpPr>
            <a:spLocks noGrp="1"/>
          </p:cNvSpPr>
          <p:nvPr>
            <p:ph type="title"/>
          </p:nvPr>
        </p:nvSpPr>
        <p:spPr/>
        <p:txBody>
          <a:bodyPr/>
          <a:lstStyle/>
          <a:p>
            <a:r>
              <a:rPr lang="fr-BE" dirty="0"/>
              <a:t>Risk-efficient solutions </a:t>
            </a:r>
          </a:p>
        </p:txBody>
      </p:sp>
      <p:sp>
        <p:nvSpPr>
          <p:cNvPr id="2" name="Text Placeholder 1"/>
          <p:cNvSpPr>
            <a:spLocks noGrp="1"/>
          </p:cNvSpPr>
          <p:nvPr>
            <p:ph type="body" idx="1"/>
          </p:nvPr>
        </p:nvSpPr>
        <p:spPr/>
        <p:txBody>
          <a:bodyPr/>
          <a:lstStyle/>
          <a:p>
            <a:r>
              <a:rPr lang="en-US" dirty="0"/>
              <a:t>Minimum Variance</a:t>
            </a:r>
            <a:br>
              <a:rPr lang="en-US" dirty="0"/>
            </a:br>
            <a:r>
              <a:rPr lang="en-US" dirty="0"/>
              <a:t>"Avoid unrewarded risks with reduced drawdowns"</a:t>
            </a:r>
          </a:p>
        </p:txBody>
      </p:sp>
      <p:sp>
        <p:nvSpPr>
          <p:cNvPr id="20" name="Espace réservé du numéro de diapositive 4">
            <a:extLst>
              <a:ext uri="{FF2B5EF4-FFF2-40B4-BE49-F238E27FC236}">
                <a16:creationId xmlns="" xmlns:a16="http://schemas.microsoft.com/office/drawing/2014/main" id="{1525FDB3-4D6A-4970-97BB-DB49570F5E91}"/>
              </a:ext>
            </a:extLst>
          </p:cNvPr>
          <p:cNvSpPr>
            <a:spLocks noGrp="1"/>
          </p:cNvSpPr>
          <p:nvPr>
            <p:ph type="sldNum" sz="quarter" idx="12"/>
          </p:nvPr>
        </p:nvSpPr>
        <p:spPr>
          <a:xfrm>
            <a:off x="540000" y="6480000"/>
            <a:ext cx="180000" cy="180000"/>
          </a:xfrm>
        </p:spPr>
        <p:txBody>
          <a:bodyPr/>
          <a:lstStyle/>
          <a:p>
            <a:fld id="{2B1C6FFC-D040-034F-8B69-20295064E64D}" type="slidenum">
              <a:rPr lang="fr-FR" smtClean="0"/>
              <a:t>11</a:t>
            </a:fld>
            <a:endParaRPr lang="fr-FR" dirty="0"/>
          </a:p>
        </p:txBody>
      </p:sp>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108605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0A98F899-D908-42B6-BB2E-8A4ACEEB03CB}"/>
              </a:ext>
            </a:extLst>
          </p:cNvPr>
          <p:cNvSpPr>
            <a:spLocks noGrp="1"/>
          </p:cNvSpPr>
          <p:nvPr>
            <p:ph type="title"/>
          </p:nvPr>
        </p:nvSpPr>
        <p:spPr/>
        <p:txBody>
          <a:bodyPr/>
          <a:lstStyle/>
          <a:p>
            <a:r>
              <a:rPr lang="fr-FR" dirty="0"/>
              <a:t>The Conservative </a:t>
            </a:r>
            <a:r>
              <a:rPr lang="fr-FR" dirty="0" err="1"/>
              <a:t>Equities</a:t>
            </a:r>
            <a:r>
              <a:rPr lang="fr-FR" dirty="0"/>
              <a:t> Range</a:t>
            </a:r>
          </a:p>
        </p:txBody>
      </p:sp>
      <p:sp>
        <p:nvSpPr>
          <p:cNvPr id="5" name="Espace réservé du numéro de diapositive 4">
            <a:extLst>
              <a:ext uri="{FF2B5EF4-FFF2-40B4-BE49-F238E27FC236}">
                <a16:creationId xmlns="" xmlns:a16="http://schemas.microsoft.com/office/drawing/2014/main" id="{E48F6D56-4B39-462E-94B3-2E3E47DE693A}"/>
              </a:ext>
            </a:extLst>
          </p:cNvPr>
          <p:cNvSpPr>
            <a:spLocks noGrp="1"/>
          </p:cNvSpPr>
          <p:nvPr>
            <p:ph type="sldNum" sz="quarter" idx="12"/>
          </p:nvPr>
        </p:nvSpPr>
        <p:spPr/>
        <p:txBody>
          <a:bodyPr/>
          <a:lstStyle/>
          <a:p>
            <a:fld id="{2B1C6FFC-D040-034F-8B69-20295064E64D}" type="slidenum">
              <a:rPr lang="fr-FR" smtClean="0"/>
              <a:t>12</a:t>
            </a:fld>
            <a:endParaRPr lang="fr-FR" dirty="0"/>
          </a:p>
        </p:txBody>
      </p:sp>
      <p:sp>
        <p:nvSpPr>
          <p:cNvPr id="8" name="Rectangle 7">
            <a:extLst>
              <a:ext uri="{FF2B5EF4-FFF2-40B4-BE49-F238E27FC236}">
                <a16:creationId xmlns="" xmlns:a16="http://schemas.microsoft.com/office/drawing/2014/main" id="{4871AAC6-D0EE-4CC7-8ACE-7C0F97762984}"/>
              </a:ext>
            </a:extLst>
          </p:cNvPr>
          <p:cNvSpPr/>
          <p:nvPr/>
        </p:nvSpPr>
        <p:spPr bwMode="auto">
          <a:xfrm>
            <a:off x="634275" y="1503954"/>
            <a:ext cx="3619956" cy="756688"/>
          </a:xfrm>
          <a:prstGeom prst="rect">
            <a:avLst/>
          </a:prstGeom>
          <a:noFill/>
          <a:ln w="19050">
            <a:noFill/>
          </a:ln>
        </p:spPr>
        <p:txBody>
          <a:bodyPr vert="horz" wrap="square" lIns="91440" tIns="45720" rIns="91440" bIns="45720" numCol="1" anchor="ctr" anchorCtr="0" compatLnSpc="1">
            <a:prstTxWarp prst="textNoShape">
              <a:avLst/>
            </a:prstTxWarp>
            <a:noAutofit/>
          </a:bodyPr>
          <a:lstStyle/>
          <a:p>
            <a:pPr marL="3175" indent="-3175" algn="ctr" defTabSz="914400" eaLnBrk="0" fontAlgn="base" hangingPunct="0">
              <a:spcBef>
                <a:spcPct val="0"/>
              </a:spcBef>
              <a:spcAft>
                <a:spcPct val="60000"/>
              </a:spcAft>
            </a:pPr>
            <a:r>
              <a:rPr lang="en-GB" b="1" kern="0" dirty="0"/>
              <a:t>Europe</a:t>
            </a:r>
          </a:p>
        </p:txBody>
      </p:sp>
      <p:graphicFrame>
        <p:nvGraphicFramePr>
          <p:cNvPr id="12" name="Espace réservé du contenu 1">
            <a:extLst>
              <a:ext uri="{FF2B5EF4-FFF2-40B4-BE49-F238E27FC236}">
                <a16:creationId xmlns="" xmlns:a16="http://schemas.microsoft.com/office/drawing/2014/main" id="{F9D323CC-7A37-462C-AED6-402126C712B6}"/>
              </a:ext>
            </a:extLst>
          </p:cNvPr>
          <p:cNvGraphicFramePr>
            <a:graphicFrameLocks noGrp="1"/>
          </p:cNvGraphicFramePr>
          <p:nvPr>
            <p:ph idx="1"/>
            <p:extLst>
              <p:ext uri="{D42A27DB-BD31-4B8C-83A1-F6EECF244321}">
                <p14:modId xmlns:p14="http://schemas.microsoft.com/office/powerpoint/2010/main" val="835429955"/>
              </p:ext>
            </p:extLst>
          </p:nvPr>
        </p:nvGraphicFramePr>
        <p:xfrm>
          <a:off x="502297" y="2137507"/>
          <a:ext cx="3619956" cy="1332949"/>
        </p:xfrm>
        <a:graphic>
          <a:graphicData uri="http://schemas.openxmlformats.org/drawingml/2006/table">
            <a:tbl>
              <a:tblPr firstRow="1">
                <a:tableStyleId>{C083E6E3-FA7D-4D7B-A595-EF9225AFEA82}</a:tableStyleId>
              </a:tblPr>
              <a:tblGrid>
                <a:gridCol w="1809978">
                  <a:extLst>
                    <a:ext uri="{9D8B030D-6E8A-4147-A177-3AD203B41FA5}">
                      <a16:colId xmlns="" xmlns:a16="http://schemas.microsoft.com/office/drawing/2014/main" val="20000"/>
                    </a:ext>
                  </a:extLst>
                </a:gridCol>
                <a:gridCol w="1809978">
                  <a:extLst>
                    <a:ext uri="{9D8B030D-6E8A-4147-A177-3AD203B41FA5}">
                      <a16:colId xmlns="" xmlns:a16="http://schemas.microsoft.com/office/drawing/2014/main" val="20001"/>
                    </a:ext>
                  </a:extLst>
                </a:gridCol>
              </a:tblGrid>
              <a:tr h="631852">
                <a:tc>
                  <a:txBody>
                    <a:bodyPr/>
                    <a:lstStyle/>
                    <a:p>
                      <a:r>
                        <a:rPr lang="fr-FR" sz="1200" b="1" dirty="0" err="1">
                          <a:solidFill>
                            <a:schemeClr val="bg1"/>
                          </a:solidFill>
                        </a:rPr>
                        <a:t>Launch</a:t>
                      </a:r>
                      <a:r>
                        <a:rPr lang="fr-FR" sz="1200" b="1" dirty="0">
                          <a:solidFill>
                            <a:schemeClr val="bg1"/>
                          </a:solidFill>
                        </a:rPr>
                        <a:t> date</a:t>
                      </a:r>
                      <a:r>
                        <a:rPr lang="fr-FR" sz="1200" b="1" baseline="0" dirty="0">
                          <a:solidFill>
                            <a:schemeClr val="bg1"/>
                          </a:solidFill>
                        </a:rPr>
                        <a:t> </a:t>
                      </a:r>
                      <a:endParaRPr lang="en-US" sz="1200" b="1"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fr-FR" sz="1200" dirty="0">
                          <a:solidFill>
                            <a:schemeClr val="bg1"/>
                          </a:solidFill>
                        </a:rPr>
                        <a:t>April 2009</a:t>
                      </a:r>
                      <a:endParaRPr lang="en-US" sz="12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 xmlns:a16="http://schemas.microsoft.com/office/drawing/2014/main" val="10000"/>
                  </a:ext>
                </a:extLst>
              </a:tr>
              <a:tr h="701097">
                <a:tc>
                  <a:txBody>
                    <a:bodyPr/>
                    <a:lstStyle/>
                    <a:p>
                      <a:r>
                        <a:rPr lang="fr-FR" sz="1200" b="1" dirty="0">
                          <a:solidFill>
                            <a:schemeClr val="tx1"/>
                          </a:solidFill>
                        </a:rPr>
                        <a:t>Domicile</a:t>
                      </a:r>
                      <a:r>
                        <a:rPr lang="fr-FR" sz="1200" b="1" dirty="0">
                          <a:solidFill>
                            <a:schemeClr val="accent2"/>
                          </a:solidFill>
                        </a:rPr>
                        <a:t> </a:t>
                      </a:r>
                      <a:endParaRPr lang="en-US" sz="1200" b="1" dirty="0">
                        <a:solidFill>
                          <a:schemeClr val="accent2"/>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fr-FR" sz="1200" dirty="0">
                          <a:solidFill>
                            <a:schemeClr val="tx2"/>
                          </a:solidFill>
                        </a:rPr>
                        <a:t>Amundi</a:t>
                      </a:r>
                      <a:r>
                        <a:rPr lang="fr-FR" sz="1200" baseline="0" dirty="0">
                          <a:solidFill>
                            <a:schemeClr val="tx2"/>
                          </a:solidFill>
                        </a:rPr>
                        <a:t> Funds Luxembourg Sicav</a:t>
                      </a:r>
                      <a:endParaRPr lang="en-US" sz="1200" dirty="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1"/>
                  </a:ext>
                </a:extLst>
              </a:tr>
            </a:tbl>
          </a:graphicData>
        </a:graphic>
      </p:graphicFrame>
      <p:sp>
        <p:nvSpPr>
          <p:cNvPr id="18" name="Rectangle 17">
            <a:extLst>
              <a:ext uri="{FF2B5EF4-FFF2-40B4-BE49-F238E27FC236}">
                <a16:creationId xmlns="" xmlns:a16="http://schemas.microsoft.com/office/drawing/2014/main" id="{2B99B309-9753-4866-A3B5-D12CF5264A7A}"/>
              </a:ext>
            </a:extLst>
          </p:cNvPr>
          <p:cNvSpPr/>
          <p:nvPr/>
        </p:nvSpPr>
        <p:spPr bwMode="auto">
          <a:xfrm>
            <a:off x="4989173" y="1503954"/>
            <a:ext cx="3619956" cy="756688"/>
          </a:xfrm>
          <a:prstGeom prst="rect">
            <a:avLst/>
          </a:prstGeom>
          <a:noFill/>
          <a:ln w="19050">
            <a:noFill/>
          </a:ln>
        </p:spPr>
        <p:txBody>
          <a:bodyPr vert="horz" wrap="square" lIns="91440" tIns="45720" rIns="91440" bIns="45720" numCol="1" anchor="ctr" anchorCtr="0" compatLnSpc="1">
            <a:prstTxWarp prst="textNoShape">
              <a:avLst/>
            </a:prstTxWarp>
            <a:noAutofit/>
          </a:bodyPr>
          <a:lstStyle/>
          <a:p>
            <a:pPr marL="3175" indent="-3175" algn="ctr" eaLnBrk="0" fontAlgn="base" hangingPunct="0">
              <a:spcBef>
                <a:spcPct val="0"/>
              </a:spcBef>
              <a:spcAft>
                <a:spcPct val="60000"/>
              </a:spcAft>
            </a:pPr>
            <a:r>
              <a:rPr lang="en-GB" b="1" kern="0" dirty="0">
                <a:solidFill>
                  <a:schemeClr val="accent3"/>
                </a:solidFill>
              </a:rPr>
              <a:t>Global</a:t>
            </a:r>
          </a:p>
        </p:txBody>
      </p:sp>
      <p:graphicFrame>
        <p:nvGraphicFramePr>
          <p:cNvPr id="19" name="Espace réservé du contenu 1">
            <a:extLst>
              <a:ext uri="{FF2B5EF4-FFF2-40B4-BE49-F238E27FC236}">
                <a16:creationId xmlns="" xmlns:a16="http://schemas.microsoft.com/office/drawing/2014/main" id="{4430C9B6-14F6-49D2-86C1-0B59A3C7C8E7}"/>
              </a:ext>
            </a:extLst>
          </p:cNvPr>
          <p:cNvGraphicFramePr>
            <a:graphicFrameLocks/>
          </p:cNvGraphicFramePr>
          <p:nvPr>
            <p:extLst>
              <p:ext uri="{D42A27DB-BD31-4B8C-83A1-F6EECF244321}">
                <p14:modId xmlns:p14="http://schemas.microsoft.com/office/powerpoint/2010/main" val="1797066217"/>
              </p:ext>
            </p:extLst>
          </p:nvPr>
        </p:nvGraphicFramePr>
        <p:xfrm>
          <a:off x="4989173" y="2137507"/>
          <a:ext cx="3619956" cy="1332949"/>
        </p:xfrm>
        <a:graphic>
          <a:graphicData uri="http://schemas.openxmlformats.org/drawingml/2006/table">
            <a:tbl>
              <a:tblPr firstRow="1">
                <a:tableStyleId>{C083E6E3-FA7D-4D7B-A595-EF9225AFEA82}</a:tableStyleId>
              </a:tblPr>
              <a:tblGrid>
                <a:gridCol w="1809978">
                  <a:extLst>
                    <a:ext uri="{9D8B030D-6E8A-4147-A177-3AD203B41FA5}">
                      <a16:colId xmlns="" xmlns:a16="http://schemas.microsoft.com/office/drawing/2014/main" val="20000"/>
                    </a:ext>
                  </a:extLst>
                </a:gridCol>
                <a:gridCol w="1809978">
                  <a:extLst>
                    <a:ext uri="{9D8B030D-6E8A-4147-A177-3AD203B41FA5}">
                      <a16:colId xmlns="" xmlns:a16="http://schemas.microsoft.com/office/drawing/2014/main" val="20001"/>
                    </a:ext>
                  </a:extLst>
                </a:gridCol>
              </a:tblGrid>
              <a:tr h="631852">
                <a:tc>
                  <a:txBody>
                    <a:bodyPr/>
                    <a:lstStyle/>
                    <a:p>
                      <a:r>
                        <a:rPr lang="fr-FR" sz="1200" b="1" dirty="0" err="1">
                          <a:solidFill>
                            <a:schemeClr val="bg1"/>
                          </a:solidFill>
                        </a:rPr>
                        <a:t>Launch</a:t>
                      </a:r>
                      <a:r>
                        <a:rPr lang="fr-FR" sz="1200" b="1" dirty="0">
                          <a:solidFill>
                            <a:schemeClr val="bg1"/>
                          </a:solidFill>
                        </a:rPr>
                        <a:t> date</a:t>
                      </a:r>
                      <a:r>
                        <a:rPr lang="fr-FR" sz="1200" b="1" baseline="0" dirty="0">
                          <a:solidFill>
                            <a:schemeClr val="bg1"/>
                          </a:solidFill>
                        </a:rPr>
                        <a:t> </a:t>
                      </a:r>
                      <a:endParaRPr lang="en-US" sz="1200" b="1"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fr-FR" sz="1200" dirty="0">
                          <a:solidFill>
                            <a:schemeClr val="bg1"/>
                          </a:solidFill>
                        </a:rPr>
                        <a:t>July 2012</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 xmlns:a16="http://schemas.microsoft.com/office/drawing/2014/main" val="10000"/>
                  </a:ext>
                </a:extLst>
              </a:tr>
              <a:tr h="701097">
                <a:tc>
                  <a:txBody>
                    <a:bodyPr/>
                    <a:lstStyle/>
                    <a:p>
                      <a:r>
                        <a:rPr lang="fr-FR" sz="1200" b="1" dirty="0">
                          <a:solidFill>
                            <a:schemeClr val="accent3"/>
                          </a:solidFill>
                        </a:rPr>
                        <a:t>Domicile</a:t>
                      </a:r>
                      <a:r>
                        <a:rPr lang="fr-FR" sz="1200" b="1" dirty="0">
                          <a:solidFill>
                            <a:schemeClr val="accent2"/>
                          </a:solidFill>
                        </a:rPr>
                        <a:t> </a:t>
                      </a:r>
                      <a:endParaRPr lang="en-US" sz="1200" b="1" dirty="0">
                        <a:solidFill>
                          <a:schemeClr val="accent2"/>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fr-FR" sz="1200" dirty="0">
                          <a:solidFill>
                            <a:schemeClr val="tx2"/>
                          </a:solidFill>
                        </a:rPr>
                        <a:t>Amundi</a:t>
                      </a:r>
                      <a:r>
                        <a:rPr lang="fr-FR" sz="1200" baseline="0" dirty="0">
                          <a:solidFill>
                            <a:schemeClr val="tx2"/>
                          </a:solidFill>
                        </a:rPr>
                        <a:t> Funds Luxembourg Sicav</a:t>
                      </a:r>
                      <a:endParaRPr lang="en-US" sz="1200" dirty="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1"/>
                  </a:ext>
                </a:extLst>
              </a:tr>
            </a:tbl>
          </a:graphicData>
        </a:graphic>
      </p:graphicFrame>
      <p:sp>
        <p:nvSpPr>
          <p:cNvPr id="21" name="Rectangle 20">
            <a:extLst>
              <a:ext uri="{FF2B5EF4-FFF2-40B4-BE49-F238E27FC236}">
                <a16:creationId xmlns="" xmlns:a16="http://schemas.microsoft.com/office/drawing/2014/main" id="{7D9174E2-406F-489E-BBCD-1B4D787005D7}"/>
              </a:ext>
            </a:extLst>
          </p:cNvPr>
          <p:cNvSpPr/>
          <p:nvPr/>
        </p:nvSpPr>
        <p:spPr bwMode="auto">
          <a:xfrm>
            <a:off x="502297" y="3580645"/>
            <a:ext cx="3619956" cy="756688"/>
          </a:xfrm>
          <a:prstGeom prst="rect">
            <a:avLst/>
          </a:prstGeom>
          <a:noFill/>
          <a:ln w="19050">
            <a:noFill/>
          </a:ln>
        </p:spPr>
        <p:txBody>
          <a:bodyPr vert="horz" wrap="square" lIns="91440" tIns="45720" rIns="91440" bIns="45720" numCol="1" anchor="ctr" anchorCtr="0" compatLnSpc="1">
            <a:prstTxWarp prst="textNoShape">
              <a:avLst/>
            </a:prstTxWarp>
            <a:noAutofit/>
          </a:bodyPr>
          <a:lstStyle/>
          <a:p>
            <a:pPr marL="3175" indent="-3175" algn="ctr" eaLnBrk="0" fontAlgn="base" hangingPunct="0">
              <a:spcBef>
                <a:spcPct val="0"/>
              </a:spcBef>
              <a:spcAft>
                <a:spcPct val="60000"/>
              </a:spcAft>
            </a:pPr>
            <a:r>
              <a:rPr lang="en-GB" b="1" kern="0" dirty="0">
                <a:solidFill>
                  <a:schemeClr val="accent2"/>
                </a:solidFill>
              </a:rPr>
              <a:t>Emerging</a:t>
            </a:r>
          </a:p>
        </p:txBody>
      </p:sp>
      <p:graphicFrame>
        <p:nvGraphicFramePr>
          <p:cNvPr id="22" name="Espace réservé du contenu 1">
            <a:extLst>
              <a:ext uri="{FF2B5EF4-FFF2-40B4-BE49-F238E27FC236}">
                <a16:creationId xmlns="" xmlns:a16="http://schemas.microsoft.com/office/drawing/2014/main" id="{F38D22B7-BD6D-486C-BAC6-09B80760774D}"/>
              </a:ext>
            </a:extLst>
          </p:cNvPr>
          <p:cNvGraphicFramePr>
            <a:graphicFrameLocks/>
          </p:cNvGraphicFramePr>
          <p:nvPr>
            <p:extLst>
              <p:ext uri="{D42A27DB-BD31-4B8C-83A1-F6EECF244321}">
                <p14:modId xmlns:p14="http://schemas.microsoft.com/office/powerpoint/2010/main" val="2637965604"/>
              </p:ext>
            </p:extLst>
          </p:nvPr>
        </p:nvGraphicFramePr>
        <p:xfrm>
          <a:off x="502297" y="4214198"/>
          <a:ext cx="3619956" cy="1332949"/>
        </p:xfrm>
        <a:graphic>
          <a:graphicData uri="http://schemas.openxmlformats.org/drawingml/2006/table">
            <a:tbl>
              <a:tblPr firstRow="1">
                <a:tableStyleId>{C083E6E3-FA7D-4D7B-A595-EF9225AFEA82}</a:tableStyleId>
              </a:tblPr>
              <a:tblGrid>
                <a:gridCol w="1809978">
                  <a:extLst>
                    <a:ext uri="{9D8B030D-6E8A-4147-A177-3AD203B41FA5}">
                      <a16:colId xmlns="" xmlns:a16="http://schemas.microsoft.com/office/drawing/2014/main" val="20000"/>
                    </a:ext>
                  </a:extLst>
                </a:gridCol>
                <a:gridCol w="1809978">
                  <a:extLst>
                    <a:ext uri="{9D8B030D-6E8A-4147-A177-3AD203B41FA5}">
                      <a16:colId xmlns="" xmlns:a16="http://schemas.microsoft.com/office/drawing/2014/main" val="20001"/>
                    </a:ext>
                  </a:extLst>
                </a:gridCol>
              </a:tblGrid>
              <a:tr h="631852">
                <a:tc>
                  <a:txBody>
                    <a:bodyPr/>
                    <a:lstStyle/>
                    <a:p>
                      <a:r>
                        <a:rPr lang="fr-FR" sz="1200" b="1" dirty="0" err="1">
                          <a:solidFill>
                            <a:schemeClr val="bg1"/>
                          </a:solidFill>
                        </a:rPr>
                        <a:t>Launch</a:t>
                      </a:r>
                      <a:r>
                        <a:rPr lang="fr-FR" sz="1200" b="1" dirty="0">
                          <a:solidFill>
                            <a:schemeClr val="bg1"/>
                          </a:solidFill>
                        </a:rPr>
                        <a:t> date</a:t>
                      </a:r>
                      <a:r>
                        <a:rPr lang="fr-FR" sz="1200" b="1" baseline="0" dirty="0">
                          <a:solidFill>
                            <a:schemeClr val="bg1"/>
                          </a:solidFill>
                        </a:rPr>
                        <a:t> </a:t>
                      </a:r>
                      <a:endParaRPr lang="en-US" sz="1200" b="1"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fr-FR" sz="1200" dirty="0" err="1">
                          <a:solidFill>
                            <a:schemeClr val="bg1"/>
                          </a:solidFill>
                        </a:rPr>
                        <a:t>September</a:t>
                      </a:r>
                      <a:r>
                        <a:rPr lang="fr-FR" sz="1200" dirty="0">
                          <a:solidFill>
                            <a:schemeClr val="bg1"/>
                          </a:solidFill>
                        </a:rPr>
                        <a:t> 2013</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 xmlns:a16="http://schemas.microsoft.com/office/drawing/2014/main" val="10000"/>
                  </a:ext>
                </a:extLst>
              </a:tr>
              <a:tr h="701097">
                <a:tc>
                  <a:txBody>
                    <a:bodyPr/>
                    <a:lstStyle/>
                    <a:p>
                      <a:r>
                        <a:rPr lang="fr-FR" sz="1200" b="1" dirty="0">
                          <a:solidFill>
                            <a:schemeClr val="accent2"/>
                          </a:solidFill>
                        </a:rPr>
                        <a:t>Domicile </a:t>
                      </a:r>
                      <a:endParaRPr lang="en-US" sz="1200" b="1" dirty="0">
                        <a:solidFill>
                          <a:schemeClr val="accent2"/>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fr-FR" sz="1200" dirty="0">
                          <a:solidFill>
                            <a:schemeClr val="tx2"/>
                          </a:solidFill>
                        </a:rPr>
                        <a:t>Amundi</a:t>
                      </a:r>
                      <a:r>
                        <a:rPr lang="fr-FR" sz="1200" baseline="0" dirty="0">
                          <a:solidFill>
                            <a:schemeClr val="tx2"/>
                          </a:solidFill>
                        </a:rPr>
                        <a:t> Funds Luxembourg Sicav</a:t>
                      </a:r>
                      <a:endParaRPr lang="en-US" sz="1200" dirty="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1"/>
                  </a:ext>
                </a:extLst>
              </a:tr>
            </a:tbl>
          </a:graphicData>
        </a:graphic>
      </p:graphicFrame>
      <p:sp>
        <p:nvSpPr>
          <p:cNvPr id="23" name="Rectangle 22">
            <a:extLst>
              <a:ext uri="{FF2B5EF4-FFF2-40B4-BE49-F238E27FC236}">
                <a16:creationId xmlns="" xmlns:a16="http://schemas.microsoft.com/office/drawing/2014/main" id="{390C6DC1-4735-4E99-876F-ACA6431DFC08}"/>
              </a:ext>
            </a:extLst>
          </p:cNvPr>
          <p:cNvSpPr/>
          <p:nvPr/>
        </p:nvSpPr>
        <p:spPr bwMode="auto">
          <a:xfrm>
            <a:off x="4989173" y="3580645"/>
            <a:ext cx="3619956" cy="756688"/>
          </a:xfrm>
          <a:prstGeom prst="rect">
            <a:avLst/>
          </a:prstGeom>
          <a:noFill/>
          <a:ln w="19050">
            <a:noFill/>
          </a:ln>
        </p:spPr>
        <p:txBody>
          <a:bodyPr vert="horz" wrap="square" lIns="91440" tIns="45720" rIns="91440" bIns="45720" numCol="1" anchor="ctr" anchorCtr="0" compatLnSpc="1">
            <a:prstTxWarp prst="textNoShape">
              <a:avLst/>
            </a:prstTxWarp>
            <a:noAutofit/>
          </a:bodyPr>
          <a:lstStyle/>
          <a:p>
            <a:pPr marL="3175" indent="-3175" algn="ctr" eaLnBrk="0" fontAlgn="base" hangingPunct="0">
              <a:spcBef>
                <a:spcPct val="0"/>
              </a:spcBef>
              <a:spcAft>
                <a:spcPct val="60000"/>
              </a:spcAft>
            </a:pPr>
            <a:r>
              <a:rPr lang="en-GB" b="1" kern="0" dirty="0">
                <a:solidFill>
                  <a:schemeClr val="accent1"/>
                </a:solidFill>
              </a:rPr>
              <a:t>Euro</a:t>
            </a:r>
          </a:p>
        </p:txBody>
      </p:sp>
      <p:graphicFrame>
        <p:nvGraphicFramePr>
          <p:cNvPr id="24" name="Espace réservé du contenu 1">
            <a:extLst>
              <a:ext uri="{FF2B5EF4-FFF2-40B4-BE49-F238E27FC236}">
                <a16:creationId xmlns="" xmlns:a16="http://schemas.microsoft.com/office/drawing/2014/main" id="{2297F52B-F74A-4835-B4DB-D4515EE55DB6}"/>
              </a:ext>
            </a:extLst>
          </p:cNvPr>
          <p:cNvGraphicFramePr>
            <a:graphicFrameLocks/>
          </p:cNvGraphicFramePr>
          <p:nvPr>
            <p:extLst>
              <p:ext uri="{D42A27DB-BD31-4B8C-83A1-F6EECF244321}">
                <p14:modId xmlns:p14="http://schemas.microsoft.com/office/powerpoint/2010/main" val="3309191051"/>
              </p:ext>
            </p:extLst>
          </p:nvPr>
        </p:nvGraphicFramePr>
        <p:xfrm>
          <a:off x="4989173" y="4214198"/>
          <a:ext cx="3619956" cy="1332950"/>
        </p:xfrm>
        <a:graphic>
          <a:graphicData uri="http://schemas.openxmlformats.org/drawingml/2006/table">
            <a:tbl>
              <a:tblPr firstRow="1">
                <a:tableStyleId>{C083E6E3-FA7D-4D7B-A595-EF9225AFEA82}</a:tableStyleId>
              </a:tblPr>
              <a:tblGrid>
                <a:gridCol w="1809978">
                  <a:extLst>
                    <a:ext uri="{9D8B030D-6E8A-4147-A177-3AD203B41FA5}">
                      <a16:colId xmlns="" xmlns:a16="http://schemas.microsoft.com/office/drawing/2014/main" val="20000"/>
                    </a:ext>
                  </a:extLst>
                </a:gridCol>
                <a:gridCol w="1809978">
                  <a:extLst>
                    <a:ext uri="{9D8B030D-6E8A-4147-A177-3AD203B41FA5}">
                      <a16:colId xmlns="" xmlns:a16="http://schemas.microsoft.com/office/drawing/2014/main" val="20001"/>
                    </a:ext>
                  </a:extLst>
                </a:gridCol>
              </a:tblGrid>
              <a:tr h="666475">
                <a:tc>
                  <a:txBody>
                    <a:bodyPr/>
                    <a:lstStyle/>
                    <a:p>
                      <a:r>
                        <a:rPr lang="fr-FR" sz="1200" b="1" dirty="0" err="1">
                          <a:solidFill>
                            <a:schemeClr val="bg1"/>
                          </a:solidFill>
                        </a:rPr>
                        <a:t>Launch</a:t>
                      </a:r>
                      <a:r>
                        <a:rPr lang="fr-FR" sz="1200" b="1" dirty="0">
                          <a:solidFill>
                            <a:schemeClr val="bg1"/>
                          </a:solidFill>
                        </a:rPr>
                        <a:t> date</a:t>
                      </a:r>
                      <a:r>
                        <a:rPr lang="fr-FR" sz="1200" b="1" baseline="0" dirty="0">
                          <a:solidFill>
                            <a:schemeClr val="bg1"/>
                          </a:solidFill>
                        </a:rPr>
                        <a:t> </a:t>
                      </a:r>
                      <a:endParaRPr lang="en-US" sz="1200" b="1"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fr-FR" sz="1200" dirty="0" err="1">
                          <a:solidFill>
                            <a:schemeClr val="bg1"/>
                          </a:solidFill>
                        </a:rPr>
                        <a:t>January</a:t>
                      </a:r>
                      <a:r>
                        <a:rPr lang="fr-FR" sz="1200" dirty="0">
                          <a:solidFill>
                            <a:schemeClr val="bg1"/>
                          </a:solidFill>
                        </a:rPr>
                        <a:t> 2017</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0"/>
                  </a:ext>
                </a:extLst>
              </a:tr>
              <a:tr h="666475">
                <a:tc>
                  <a:txBody>
                    <a:bodyPr/>
                    <a:lstStyle/>
                    <a:p>
                      <a:r>
                        <a:rPr lang="fr-FR" sz="1200" b="1" dirty="0">
                          <a:solidFill>
                            <a:schemeClr val="accent1"/>
                          </a:solidFill>
                        </a:rPr>
                        <a:t>Domicile</a:t>
                      </a:r>
                      <a:r>
                        <a:rPr lang="fr-FR" sz="1200" b="1" dirty="0">
                          <a:solidFill>
                            <a:schemeClr val="accent2"/>
                          </a:solidFill>
                        </a:rPr>
                        <a:t> </a:t>
                      </a:r>
                      <a:endParaRPr lang="en-US" sz="1200" b="1" dirty="0">
                        <a:solidFill>
                          <a:schemeClr val="accent2"/>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fr-FR" sz="1200" dirty="0">
                          <a:solidFill>
                            <a:schemeClr val="tx2"/>
                          </a:solidFill>
                        </a:rPr>
                        <a:t>French FCP</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1"/>
                  </a:ext>
                </a:extLst>
              </a:tr>
            </a:tbl>
          </a:graphicData>
        </a:graphic>
      </p:graphicFrame>
      <p:sp>
        <p:nvSpPr>
          <p:cNvPr id="14"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Tree>
    <p:extLst>
      <p:ext uri="{BB962C8B-B14F-4D97-AF65-F5344CB8AC3E}">
        <p14:creationId xmlns:p14="http://schemas.microsoft.com/office/powerpoint/2010/main" val="11522561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917D0409-3081-4845-881B-4CAE428557B5}"/>
              </a:ext>
            </a:extLst>
          </p:cNvPr>
          <p:cNvSpPr>
            <a:spLocks noGrp="1"/>
          </p:cNvSpPr>
          <p:nvPr>
            <p:ph type="title"/>
          </p:nvPr>
        </p:nvSpPr>
        <p:spPr/>
        <p:txBody>
          <a:bodyPr/>
          <a:lstStyle/>
          <a:p>
            <a:r>
              <a:rPr lang="en-US" dirty="0"/>
              <a:t>A risk-efficient approach </a:t>
            </a:r>
            <a:r>
              <a:rPr lang="en-US" dirty="0">
                <a:solidFill>
                  <a:schemeClr val="accent1"/>
                </a:solidFill>
              </a:rPr>
              <a:t>that reduces drawdowns</a:t>
            </a:r>
            <a:endParaRPr lang="fr-FR" dirty="0">
              <a:solidFill>
                <a:schemeClr val="accent1"/>
              </a:solidFill>
            </a:endParaRPr>
          </a:p>
        </p:txBody>
      </p:sp>
      <p:sp>
        <p:nvSpPr>
          <p:cNvPr id="5" name="Espace réservé du numéro de diapositive 4">
            <a:extLst>
              <a:ext uri="{FF2B5EF4-FFF2-40B4-BE49-F238E27FC236}">
                <a16:creationId xmlns:a16="http://schemas.microsoft.com/office/drawing/2014/main" xmlns="" id="{BF58C00A-9E66-42FE-B7E9-3EE948156851}"/>
              </a:ext>
            </a:extLst>
          </p:cNvPr>
          <p:cNvSpPr>
            <a:spLocks noGrp="1"/>
          </p:cNvSpPr>
          <p:nvPr>
            <p:ph type="sldNum" sz="quarter" idx="12"/>
          </p:nvPr>
        </p:nvSpPr>
        <p:spPr/>
        <p:txBody>
          <a:bodyPr/>
          <a:lstStyle/>
          <a:p>
            <a:fld id="{2B1C6FFC-D040-034F-8B69-20295064E64D}" type="slidenum">
              <a:rPr lang="fr-FR" smtClean="0">
                <a:solidFill>
                  <a:srgbClr val="003C64"/>
                </a:solidFill>
              </a:rPr>
              <a:pPr/>
              <a:t>13</a:t>
            </a:fld>
            <a:endParaRPr lang="fr-FR" dirty="0">
              <a:solidFill>
                <a:srgbClr val="003C64"/>
              </a:solidFill>
            </a:endParaRPr>
          </a:p>
        </p:txBody>
      </p:sp>
      <p:sp>
        <p:nvSpPr>
          <p:cNvPr id="6" name="Espace réservé du texte 5">
            <a:extLst>
              <a:ext uri="{FF2B5EF4-FFF2-40B4-BE49-F238E27FC236}">
                <a16:creationId xmlns:a16="http://schemas.microsoft.com/office/drawing/2014/main" xmlns="" id="{823C8F38-4CC8-418E-9B66-A2CCD1D833D4}"/>
              </a:ext>
            </a:extLst>
          </p:cNvPr>
          <p:cNvSpPr>
            <a:spLocks noGrp="1"/>
          </p:cNvSpPr>
          <p:nvPr>
            <p:ph type="body" sz="quarter" idx="13"/>
          </p:nvPr>
        </p:nvSpPr>
        <p:spPr/>
        <p:txBody>
          <a:bodyPr/>
          <a:lstStyle/>
          <a:p>
            <a:r>
              <a:rPr lang="en-US" dirty="0"/>
              <a:t>The </a:t>
            </a:r>
            <a:r>
              <a:rPr lang="en-US" dirty="0" smtClean="0"/>
              <a:t>Conservative </a:t>
            </a:r>
            <a:r>
              <a:rPr lang="en-US" dirty="0"/>
              <a:t>equity strategy can limit </a:t>
            </a:r>
            <a:r>
              <a:rPr lang="en-US" dirty="0" smtClean="0"/>
              <a:t>market drawdowns</a:t>
            </a:r>
            <a:endParaRPr lang="en-US" dirty="0"/>
          </a:p>
        </p:txBody>
      </p:sp>
      <p:sp>
        <p:nvSpPr>
          <p:cNvPr id="7" name="Espace réservé du texte 6">
            <a:extLst>
              <a:ext uri="{FF2B5EF4-FFF2-40B4-BE49-F238E27FC236}">
                <a16:creationId xmlns:a16="http://schemas.microsoft.com/office/drawing/2014/main" xmlns="" id="{C409522E-BCF8-466B-B45F-A5AAB2F95CFE}"/>
              </a:ext>
            </a:extLst>
          </p:cNvPr>
          <p:cNvSpPr>
            <a:spLocks noGrp="1"/>
          </p:cNvSpPr>
          <p:nvPr>
            <p:ph type="body" sz="quarter" idx="14"/>
          </p:nvPr>
        </p:nvSpPr>
        <p:spPr/>
        <p:txBody>
          <a:bodyPr/>
          <a:lstStyle/>
          <a:p>
            <a:pPr algn="l"/>
            <a:r>
              <a:rPr lang="en-US" dirty="0"/>
              <a:t>Source: </a:t>
            </a:r>
            <a:r>
              <a:rPr lang="en-US" dirty="0" err="1"/>
              <a:t>Amundi</a:t>
            </a:r>
            <a:r>
              <a:rPr lang="en-US" dirty="0"/>
              <a:t> </a:t>
            </a:r>
            <a:r>
              <a:rPr lang="en-US" dirty="0" smtClean="0"/>
              <a:t>AM. </a:t>
            </a:r>
            <a:r>
              <a:rPr lang="en-US" dirty="0"/>
              <a:t>Gross performance as of </a:t>
            </a:r>
            <a:r>
              <a:rPr lang="en-US" dirty="0" smtClean="0"/>
              <a:t>29/12/2017 </a:t>
            </a:r>
            <a:r>
              <a:rPr lang="en-US" dirty="0"/>
              <a:t>of the IE share class of AF Equity Europe Conservative</a:t>
            </a:r>
            <a:br>
              <a:rPr lang="en-US" dirty="0"/>
            </a:br>
            <a:r>
              <a:rPr lang="en-US" dirty="0"/>
              <a:t>Investors are reminded that the past performance cannot be regarded as a reliable indicator of future </a:t>
            </a:r>
            <a:r>
              <a:rPr lang="en-US" dirty="0" smtClean="0"/>
              <a:t>results. </a:t>
            </a:r>
            <a:r>
              <a:rPr lang="en-US" dirty="0"/>
              <a:t>nor can they guarantee expected return</a:t>
            </a:r>
          </a:p>
        </p:txBody>
      </p:sp>
      <p:sp>
        <p:nvSpPr>
          <p:cNvPr id="8" name="TextBox 4">
            <a:extLst>
              <a:ext uri="{FF2B5EF4-FFF2-40B4-BE49-F238E27FC236}">
                <a16:creationId xmlns:a16="http://schemas.microsoft.com/office/drawing/2014/main" xmlns="" id="{EFAA68F3-9DBC-43B8-9B0E-72295AF11E53}"/>
              </a:ext>
            </a:extLst>
          </p:cNvPr>
          <p:cNvSpPr txBox="1"/>
          <p:nvPr/>
        </p:nvSpPr>
        <p:spPr>
          <a:xfrm>
            <a:off x="2652188" y="1719551"/>
            <a:ext cx="4099199"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rgbClr val="FFFFFF"/>
                </a:solidFill>
              </a:rPr>
              <a:t>Europe Conservative strategy: Quarterly maximum drawdowns</a:t>
            </a:r>
          </a:p>
        </p:txBody>
      </p:sp>
      <p:sp>
        <p:nvSpPr>
          <p:cNvPr id="10" name="ZoneTexte 9">
            <a:extLst>
              <a:ext uri="{FF2B5EF4-FFF2-40B4-BE49-F238E27FC236}">
                <a16:creationId xmlns:a16="http://schemas.microsoft.com/office/drawing/2014/main" xmlns="" id="{DAB86200-499E-434F-B66A-F2DFDECBAC5A}"/>
              </a:ext>
            </a:extLst>
          </p:cNvPr>
          <p:cNvSpPr txBox="1"/>
          <p:nvPr/>
        </p:nvSpPr>
        <p:spPr>
          <a:xfrm>
            <a:off x="7210504" y="4961482"/>
            <a:ext cx="1272965" cy="215444"/>
          </a:xfrm>
          <a:prstGeom prst="rect">
            <a:avLst/>
          </a:prstGeom>
          <a:noFill/>
        </p:spPr>
        <p:txBody>
          <a:bodyPr wrap="square" rtlCol="0">
            <a:spAutoFit/>
          </a:bodyPr>
          <a:lstStyle/>
          <a:p>
            <a:pPr defTabSz="457200">
              <a:defRPr/>
            </a:pPr>
            <a:r>
              <a:rPr lang="fr-FR" sz="800" b="1" kern="0" dirty="0">
                <a:solidFill>
                  <a:srgbClr val="003C64"/>
                </a:solidFill>
              </a:rPr>
              <a:t>Europe conservative </a:t>
            </a:r>
          </a:p>
        </p:txBody>
      </p:sp>
      <p:sp>
        <p:nvSpPr>
          <p:cNvPr id="11" name="Rectangle 10">
            <a:extLst>
              <a:ext uri="{FF2B5EF4-FFF2-40B4-BE49-F238E27FC236}">
                <a16:creationId xmlns:a16="http://schemas.microsoft.com/office/drawing/2014/main" xmlns="" id="{D04255C2-EE4E-4A2F-AC28-FEBFC3D72B35}"/>
              </a:ext>
            </a:extLst>
          </p:cNvPr>
          <p:cNvSpPr/>
          <p:nvPr/>
        </p:nvSpPr>
        <p:spPr bwMode="auto">
          <a:xfrm>
            <a:off x="7140604" y="5009114"/>
            <a:ext cx="108000" cy="108000"/>
          </a:xfrm>
          <a:prstGeom prst="rect">
            <a:avLst/>
          </a:prstGeom>
          <a:solidFill>
            <a:srgbClr val="001C4B"/>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eaLnBrk="0" fontAlgn="base" hangingPunct="0">
              <a:lnSpc>
                <a:spcPct val="85000"/>
              </a:lnSpc>
              <a:spcBef>
                <a:spcPct val="0"/>
              </a:spcBef>
              <a:spcAft>
                <a:spcPct val="0"/>
              </a:spcAft>
              <a:defRPr/>
            </a:pPr>
            <a:endParaRPr lang="fr-FR" sz="800" kern="0">
              <a:solidFill>
                <a:srgbClr val="000000"/>
              </a:solidFill>
            </a:endParaRPr>
          </a:p>
        </p:txBody>
      </p:sp>
      <p:sp>
        <p:nvSpPr>
          <p:cNvPr id="12" name="ZoneTexte 11">
            <a:extLst>
              <a:ext uri="{FF2B5EF4-FFF2-40B4-BE49-F238E27FC236}">
                <a16:creationId xmlns:a16="http://schemas.microsoft.com/office/drawing/2014/main" xmlns="" id="{F9D58BDF-8A70-4923-99E2-A2A3799979A1}"/>
              </a:ext>
            </a:extLst>
          </p:cNvPr>
          <p:cNvSpPr txBox="1"/>
          <p:nvPr/>
        </p:nvSpPr>
        <p:spPr>
          <a:xfrm>
            <a:off x="7210504" y="5155666"/>
            <a:ext cx="1272965" cy="215444"/>
          </a:xfrm>
          <a:prstGeom prst="rect">
            <a:avLst/>
          </a:prstGeom>
          <a:noFill/>
        </p:spPr>
        <p:txBody>
          <a:bodyPr wrap="square" rtlCol="0">
            <a:spAutoFit/>
          </a:bodyPr>
          <a:lstStyle/>
          <a:p>
            <a:pPr defTabSz="457200"/>
            <a:r>
              <a:rPr lang="fr-FR" sz="800" b="1" kern="0" dirty="0">
                <a:solidFill>
                  <a:srgbClr val="00A0E3"/>
                </a:solidFill>
              </a:rPr>
              <a:t>MSCI Europe Index</a:t>
            </a:r>
          </a:p>
        </p:txBody>
      </p:sp>
      <p:sp>
        <p:nvSpPr>
          <p:cNvPr id="13" name="Rectangle 12">
            <a:extLst>
              <a:ext uri="{FF2B5EF4-FFF2-40B4-BE49-F238E27FC236}">
                <a16:creationId xmlns:a16="http://schemas.microsoft.com/office/drawing/2014/main" xmlns="" id="{9585BAC3-F5D9-4EAB-A005-3BE7B514BFA9}"/>
              </a:ext>
            </a:extLst>
          </p:cNvPr>
          <p:cNvSpPr/>
          <p:nvPr/>
        </p:nvSpPr>
        <p:spPr bwMode="auto">
          <a:xfrm>
            <a:off x="7140604" y="5203298"/>
            <a:ext cx="108000" cy="10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eaLnBrk="0" fontAlgn="base" hangingPunct="0">
              <a:lnSpc>
                <a:spcPct val="85000"/>
              </a:lnSpc>
              <a:spcBef>
                <a:spcPct val="0"/>
              </a:spcBef>
              <a:spcAft>
                <a:spcPct val="0"/>
              </a:spcAft>
              <a:defRPr/>
            </a:pPr>
            <a:endParaRPr lang="fr-FR" sz="800" kern="0">
              <a:solidFill>
                <a:srgbClr val="000000"/>
              </a:solidFill>
            </a:endParaRPr>
          </a:p>
        </p:txBody>
      </p:sp>
      <p:graphicFrame>
        <p:nvGraphicFramePr>
          <p:cNvPr id="14" name="Chart 12"/>
          <p:cNvGraphicFramePr>
            <a:graphicFrameLocks/>
          </p:cNvGraphicFramePr>
          <p:nvPr>
            <p:extLst>
              <p:ext uri="{D42A27DB-BD31-4B8C-83A1-F6EECF244321}">
                <p14:modId xmlns:p14="http://schemas.microsoft.com/office/powerpoint/2010/main" val="4276740417"/>
              </p:ext>
            </p:extLst>
          </p:nvPr>
        </p:nvGraphicFramePr>
        <p:xfrm>
          <a:off x="590425" y="1576676"/>
          <a:ext cx="8013573" cy="4211955"/>
        </p:xfrm>
        <a:graphic>
          <a:graphicData uri="http://schemas.openxmlformats.org/drawingml/2006/chart">
            <c:chart xmlns:c="http://schemas.openxmlformats.org/drawingml/2006/chart" xmlns:r="http://schemas.openxmlformats.org/officeDocument/2006/relationships" r:id="rId2"/>
          </a:graphicData>
        </a:graphic>
      </p:graphicFrame>
      <p:sp>
        <p:nvSpPr>
          <p:cNvPr id="9" name="Espace réservé du pied de page 8"/>
          <p:cNvSpPr>
            <a:spLocks noGrp="1"/>
          </p:cNvSpPr>
          <p:nvPr>
            <p:ph type="ftr" sz="quarter" idx="11"/>
          </p:nvPr>
        </p:nvSpPr>
        <p:spPr/>
        <p:txBody>
          <a:bodyPr/>
          <a:lstStyle/>
          <a:p>
            <a:r>
              <a:rPr lang="en-US" smtClean="0"/>
              <a:t>Smart Beta - Investment Solutions</a:t>
            </a:r>
            <a:endParaRPr lang="fr-FR" dirty="0"/>
          </a:p>
        </p:txBody>
      </p:sp>
      <p:sp>
        <p:nvSpPr>
          <p:cNvPr id="3" name="Ellipse 2"/>
          <p:cNvSpPr/>
          <p:nvPr/>
        </p:nvSpPr>
        <p:spPr>
          <a:xfrm>
            <a:off x="2647950" y="3686175"/>
            <a:ext cx="438150" cy="1412348"/>
          </a:xfrm>
          <a:prstGeom prst="ellipse">
            <a:avLst/>
          </a:prstGeom>
          <a:no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7867901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198B0CC4-9E92-4CB5-A6CB-53347653E2DC}"/>
              </a:ext>
            </a:extLst>
          </p:cNvPr>
          <p:cNvSpPr>
            <a:spLocks noGrp="1"/>
          </p:cNvSpPr>
          <p:nvPr>
            <p:ph type="title"/>
          </p:nvPr>
        </p:nvSpPr>
        <p:spPr/>
        <p:txBody>
          <a:bodyPr>
            <a:normAutofit/>
          </a:bodyPr>
          <a:lstStyle/>
          <a:p>
            <a:r>
              <a:rPr lang="en-US" sz="2200" dirty="0"/>
              <a:t>A risk-efficient approach </a:t>
            </a:r>
            <a:r>
              <a:rPr lang="en-US" sz="2200" dirty="0">
                <a:solidFill>
                  <a:schemeClr val="accent1"/>
                </a:solidFill>
              </a:rPr>
              <a:t>that delivers return asymmetry </a:t>
            </a:r>
            <a:endParaRPr lang="fr-FR" sz="2200" dirty="0">
              <a:solidFill>
                <a:schemeClr val="accent1"/>
              </a:solidFill>
            </a:endParaRPr>
          </a:p>
        </p:txBody>
      </p:sp>
      <p:sp>
        <p:nvSpPr>
          <p:cNvPr id="5" name="Espace réservé du numéro de diapositive 4">
            <a:extLst>
              <a:ext uri="{FF2B5EF4-FFF2-40B4-BE49-F238E27FC236}">
                <a16:creationId xmlns:a16="http://schemas.microsoft.com/office/drawing/2014/main" xmlns="" id="{12E89797-2A70-437D-BEBB-DB77468747C8}"/>
              </a:ext>
            </a:extLst>
          </p:cNvPr>
          <p:cNvSpPr>
            <a:spLocks noGrp="1"/>
          </p:cNvSpPr>
          <p:nvPr>
            <p:ph type="sldNum" sz="quarter" idx="12"/>
          </p:nvPr>
        </p:nvSpPr>
        <p:spPr/>
        <p:txBody>
          <a:bodyPr/>
          <a:lstStyle/>
          <a:p>
            <a:fld id="{2B1C6FFC-D040-034F-8B69-20295064E64D}" type="slidenum">
              <a:rPr lang="fr-FR" smtClean="0">
                <a:solidFill>
                  <a:srgbClr val="003C64"/>
                </a:solidFill>
              </a:rPr>
              <a:pPr/>
              <a:t>14</a:t>
            </a:fld>
            <a:endParaRPr lang="fr-FR" dirty="0">
              <a:solidFill>
                <a:srgbClr val="003C64"/>
              </a:solidFill>
            </a:endParaRPr>
          </a:p>
        </p:txBody>
      </p:sp>
      <p:sp>
        <p:nvSpPr>
          <p:cNvPr id="6" name="Espace réservé du texte 5">
            <a:extLst>
              <a:ext uri="{FF2B5EF4-FFF2-40B4-BE49-F238E27FC236}">
                <a16:creationId xmlns:a16="http://schemas.microsoft.com/office/drawing/2014/main" xmlns="" id="{75F0F542-331C-4287-980B-BF7F44F39B86}"/>
              </a:ext>
            </a:extLst>
          </p:cNvPr>
          <p:cNvSpPr>
            <a:spLocks noGrp="1"/>
          </p:cNvSpPr>
          <p:nvPr>
            <p:ph type="body" sz="quarter" idx="13"/>
          </p:nvPr>
        </p:nvSpPr>
        <p:spPr/>
        <p:txBody>
          <a:bodyPr>
            <a:noAutofit/>
          </a:bodyPr>
          <a:lstStyle/>
          <a:p>
            <a:r>
              <a:rPr lang="en-US" dirty="0"/>
              <a:t>A Minimum Variance approach on a European Equity universe can enable clients </a:t>
            </a:r>
            <a:br>
              <a:rPr lang="en-US" dirty="0"/>
            </a:br>
            <a:r>
              <a:rPr lang="en-US" dirty="0"/>
              <a:t>to participate in market gains (</a:t>
            </a:r>
            <a:r>
              <a:rPr lang="en-US" dirty="0" smtClean="0"/>
              <a:t>83%) </a:t>
            </a:r>
            <a:r>
              <a:rPr lang="en-US" dirty="0"/>
              <a:t>while limiting exposure to drawdowns </a:t>
            </a:r>
            <a:r>
              <a:rPr lang="en-US" dirty="0" smtClean="0"/>
              <a:t>(53%)</a:t>
            </a:r>
            <a:endParaRPr lang="en-US" dirty="0"/>
          </a:p>
        </p:txBody>
      </p:sp>
      <p:sp>
        <p:nvSpPr>
          <p:cNvPr id="13" name="Espace réservé du texte 12">
            <a:extLst>
              <a:ext uri="{FF2B5EF4-FFF2-40B4-BE49-F238E27FC236}">
                <a16:creationId xmlns:a16="http://schemas.microsoft.com/office/drawing/2014/main" xmlns="" id="{3A12688A-BFC3-4962-A3EC-8F41EFF974A6}"/>
              </a:ext>
            </a:extLst>
          </p:cNvPr>
          <p:cNvSpPr>
            <a:spLocks noGrp="1"/>
          </p:cNvSpPr>
          <p:nvPr>
            <p:ph type="body" sz="quarter" idx="14"/>
          </p:nvPr>
        </p:nvSpPr>
        <p:spPr/>
        <p:txBody>
          <a:bodyPr/>
          <a:lstStyle/>
          <a:p>
            <a:r>
              <a:rPr lang="en-US" dirty="0"/>
              <a:t>Source: </a:t>
            </a:r>
            <a:r>
              <a:rPr lang="en-US" dirty="0" err="1"/>
              <a:t>Amundi</a:t>
            </a:r>
            <a:r>
              <a:rPr lang="en-US" dirty="0"/>
              <a:t> </a:t>
            </a:r>
            <a:r>
              <a:rPr lang="en-US" dirty="0" smtClean="0"/>
              <a:t>AM. </a:t>
            </a:r>
            <a:r>
              <a:rPr lang="en-US" dirty="0"/>
              <a:t>Gross performance as of </a:t>
            </a:r>
            <a:r>
              <a:rPr lang="en-US" dirty="0" smtClean="0"/>
              <a:t>31/01/2018 </a:t>
            </a:r>
            <a:r>
              <a:rPr lang="en-US" dirty="0"/>
              <a:t>of the IE share class of AF Equity Europe Conservative. Compared with reference indicator (MSCI Europe NR Close). Based on monthly data: performance of strategy in up markets (months when index performance is positive) and down markets (months when index performance is positive). Past performance is not a reliable indicator of future results or a guarantee of future returns.</a:t>
            </a:r>
          </a:p>
        </p:txBody>
      </p:sp>
      <p:sp>
        <p:nvSpPr>
          <p:cNvPr id="14" name="TextBox 4">
            <a:extLst>
              <a:ext uri="{FF2B5EF4-FFF2-40B4-BE49-F238E27FC236}">
                <a16:creationId xmlns:a16="http://schemas.microsoft.com/office/drawing/2014/main" xmlns="" id="{B7A620F3-8A51-42CD-BBCE-2638F5159C39}"/>
              </a:ext>
            </a:extLst>
          </p:cNvPr>
          <p:cNvSpPr txBox="1"/>
          <p:nvPr/>
        </p:nvSpPr>
        <p:spPr>
          <a:xfrm>
            <a:off x="3014632" y="1769349"/>
            <a:ext cx="3129383"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rgbClr val="FFFFFF"/>
                </a:solidFill>
              </a:rPr>
              <a:t>Europe Conservative Strategy</a:t>
            </a:r>
            <a:br>
              <a:rPr lang="en-US" dirty="0">
                <a:solidFill>
                  <a:srgbClr val="FFFFFF"/>
                </a:solidFill>
              </a:rPr>
            </a:br>
            <a:r>
              <a:rPr lang="en-US" dirty="0">
                <a:solidFill>
                  <a:srgbClr val="FFFFFF"/>
                </a:solidFill>
              </a:rPr>
              <a:t>Participation profile to monthly calendar returns</a:t>
            </a:r>
          </a:p>
        </p:txBody>
      </p:sp>
      <p:graphicFrame>
        <p:nvGraphicFramePr>
          <p:cNvPr id="10" name="Chart 14"/>
          <p:cNvGraphicFramePr>
            <a:graphicFrameLocks/>
          </p:cNvGraphicFramePr>
          <p:nvPr>
            <p:extLst>
              <p:ext uri="{D42A27DB-BD31-4B8C-83A1-F6EECF244321}">
                <p14:modId xmlns:p14="http://schemas.microsoft.com/office/powerpoint/2010/main" val="1916032930"/>
              </p:ext>
            </p:extLst>
          </p:nvPr>
        </p:nvGraphicFramePr>
        <p:xfrm>
          <a:off x="863999" y="2351314"/>
          <a:ext cx="7115229" cy="3360257"/>
        </p:xfrm>
        <a:graphic>
          <a:graphicData uri="http://schemas.openxmlformats.org/drawingml/2006/chart">
            <c:chart xmlns:c="http://schemas.openxmlformats.org/drawingml/2006/chart" xmlns:r="http://schemas.openxmlformats.org/officeDocument/2006/relationships" r:id="rId2"/>
          </a:graphicData>
        </a:graphic>
      </p:graphicFrame>
      <p:sp>
        <p:nvSpPr>
          <p:cNvPr id="7" name="Espace réservé du pied de page 6"/>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372296112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0CB9C8D9-3762-48E5-874C-2AFE715784BD}"/>
              </a:ext>
            </a:extLst>
          </p:cNvPr>
          <p:cNvSpPr>
            <a:spLocks noGrp="1"/>
          </p:cNvSpPr>
          <p:nvPr>
            <p:ph type="title"/>
          </p:nvPr>
        </p:nvSpPr>
        <p:spPr/>
        <p:txBody>
          <a:bodyPr>
            <a:noAutofit/>
          </a:bodyPr>
          <a:lstStyle/>
          <a:p>
            <a:r>
              <a:rPr lang="en-US" sz="2000"/>
              <a:t>A risk-efficient approach </a:t>
            </a:r>
            <a:r>
              <a:rPr lang="en-US" sz="2000">
                <a:solidFill>
                  <a:schemeClr val="accent1"/>
                </a:solidFill>
              </a:rPr>
              <a:t>to get better risk-adjusted returns</a:t>
            </a:r>
            <a:endParaRPr lang="fr-FR" sz="2000" dirty="0">
              <a:solidFill>
                <a:schemeClr val="accent1"/>
              </a:solidFill>
            </a:endParaRPr>
          </a:p>
        </p:txBody>
      </p:sp>
      <p:sp>
        <p:nvSpPr>
          <p:cNvPr id="5" name="Espace réservé du numéro de diapositive 4">
            <a:extLst>
              <a:ext uri="{FF2B5EF4-FFF2-40B4-BE49-F238E27FC236}">
                <a16:creationId xmlns="" xmlns:a16="http://schemas.microsoft.com/office/drawing/2014/main" id="{D101696B-C037-4CDD-A96A-741B2BC1275F}"/>
              </a:ext>
            </a:extLst>
          </p:cNvPr>
          <p:cNvSpPr>
            <a:spLocks noGrp="1"/>
          </p:cNvSpPr>
          <p:nvPr>
            <p:ph type="sldNum" sz="quarter" idx="12"/>
          </p:nvPr>
        </p:nvSpPr>
        <p:spPr/>
        <p:txBody>
          <a:bodyPr/>
          <a:lstStyle/>
          <a:p>
            <a:fld id="{2B1C6FFC-D040-034F-8B69-20295064E64D}" type="slidenum">
              <a:rPr lang="fr-FR" smtClean="0"/>
              <a:t>15</a:t>
            </a:fld>
            <a:endParaRPr lang="fr-FR" dirty="0"/>
          </a:p>
        </p:txBody>
      </p:sp>
      <p:sp>
        <p:nvSpPr>
          <p:cNvPr id="7" name="Espace réservé du texte 6">
            <a:extLst>
              <a:ext uri="{FF2B5EF4-FFF2-40B4-BE49-F238E27FC236}">
                <a16:creationId xmlns="" xmlns:a16="http://schemas.microsoft.com/office/drawing/2014/main" id="{774BA736-1A1A-4AB1-9ED5-03497FFEDB4B}"/>
              </a:ext>
            </a:extLst>
          </p:cNvPr>
          <p:cNvSpPr>
            <a:spLocks noGrp="1"/>
          </p:cNvSpPr>
          <p:nvPr>
            <p:ph type="body" sz="quarter" idx="14"/>
          </p:nvPr>
        </p:nvSpPr>
        <p:spPr/>
        <p:txBody>
          <a:bodyPr/>
          <a:lstStyle/>
          <a:p>
            <a:pPr algn="l"/>
            <a:r>
              <a:rPr lang="en-US" dirty="0"/>
              <a:t>Source: Amundi AM, Gross performance as of </a:t>
            </a:r>
            <a:r>
              <a:rPr lang="en-US" dirty="0" smtClean="0"/>
              <a:t>31/01/2018 </a:t>
            </a:r>
            <a:r>
              <a:rPr lang="en-US" dirty="0"/>
              <a:t>of the IE share class of AF Equity Europe Conservative</a:t>
            </a:r>
            <a:br>
              <a:rPr lang="en-US" dirty="0"/>
            </a:br>
            <a:r>
              <a:rPr lang="en-US" dirty="0"/>
              <a:t>Investors are reminded that the past performance cannot be regarded as a reliable indicator of future results, nor can they guarantee expected return. </a:t>
            </a:r>
          </a:p>
        </p:txBody>
      </p:sp>
      <p:sp>
        <p:nvSpPr>
          <p:cNvPr id="8" name="TextBox 4">
            <a:extLst>
              <a:ext uri="{FF2B5EF4-FFF2-40B4-BE49-F238E27FC236}">
                <a16:creationId xmlns="" xmlns:a16="http://schemas.microsoft.com/office/drawing/2014/main" id="{BE594E6C-47CF-464B-976A-AA19C378D8F5}"/>
              </a:ext>
            </a:extLst>
          </p:cNvPr>
          <p:cNvSpPr txBox="1"/>
          <p:nvPr/>
        </p:nvSpPr>
        <p:spPr>
          <a:xfrm>
            <a:off x="3330424" y="1277114"/>
            <a:ext cx="2497799"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Europe Conservative Strategy</a:t>
            </a:r>
            <a:br>
              <a:rPr lang="en-US" dirty="0"/>
            </a:br>
            <a:r>
              <a:rPr lang="en-US" dirty="0"/>
              <a:t>Annualized Performance comparison</a:t>
            </a:r>
          </a:p>
        </p:txBody>
      </p:sp>
      <p:sp>
        <p:nvSpPr>
          <p:cNvPr id="10" name="ZoneTexte 13">
            <a:extLst>
              <a:ext uri="{FF2B5EF4-FFF2-40B4-BE49-F238E27FC236}">
                <a16:creationId xmlns="" xmlns:a16="http://schemas.microsoft.com/office/drawing/2014/main" id="{B1C79F3F-ED97-4F49-80C2-2F60E8735FAF}"/>
              </a:ext>
            </a:extLst>
          </p:cNvPr>
          <p:cNvSpPr txBox="1"/>
          <p:nvPr/>
        </p:nvSpPr>
        <p:spPr>
          <a:xfrm>
            <a:off x="7695171" y="1989827"/>
            <a:ext cx="1049809" cy="60016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100" b="1" dirty="0" err="1">
                <a:solidFill>
                  <a:srgbClr val="002060"/>
                </a:solidFill>
              </a:rPr>
              <a:t>Annualized</a:t>
            </a:r>
            <a:r>
              <a:rPr lang="fr-FR" sz="1100" b="1" dirty="0">
                <a:solidFill>
                  <a:srgbClr val="002060"/>
                </a:solidFill>
              </a:rPr>
              <a:t> Performance +</a:t>
            </a:r>
            <a:r>
              <a:rPr lang="fr-FR" sz="1100" b="1" dirty="0" smtClean="0">
                <a:solidFill>
                  <a:srgbClr val="002060"/>
                </a:solidFill>
              </a:rPr>
              <a:t>13.0%</a:t>
            </a:r>
            <a:endParaRPr lang="fr-FR" sz="1100" b="1" dirty="0">
              <a:solidFill>
                <a:srgbClr val="002060"/>
              </a:solidFill>
            </a:endParaRPr>
          </a:p>
        </p:txBody>
      </p:sp>
      <p:sp>
        <p:nvSpPr>
          <p:cNvPr id="11" name="ZoneTexte 14">
            <a:extLst>
              <a:ext uri="{FF2B5EF4-FFF2-40B4-BE49-F238E27FC236}">
                <a16:creationId xmlns="" xmlns:a16="http://schemas.microsoft.com/office/drawing/2014/main" id="{CF182DC5-7A52-42F2-9AEB-4C4CC624370E}"/>
              </a:ext>
            </a:extLst>
          </p:cNvPr>
          <p:cNvSpPr txBox="1"/>
          <p:nvPr/>
        </p:nvSpPr>
        <p:spPr>
          <a:xfrm>
            <a:off x="7695171" y="2756638"/>
            <a:ext cx="1049809" cy="60016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100" b="1" dirty="0">
                <a:solidFill>
                  <a:srgbClr val="00B0F0"/>
                </a:solidFill>
              </a:rPr>
              <a:t>Annualized Performance +</a:t>
            </a:r>
            <a:r>
              <a:rPr lang="fr-FR" sz="1100" b="1" dirty="0" smtClean="0">
                <a:solidFill>
                  <a:srgbClr val="00B0F0"/>
                </a:solidFill>
              </a:rPr>
              <a:t>10.8%</a:t>
            </a:r>
            <a:endParaRPr lang="fr-FR" sz="1100" b="1" dirty="0">
              <a:solidFill>
                <a:srgbClr val="00B0F0"/>
              </a:solidFill>
            </a:endParaRPr>
          </a:p>
        </p:txBody>
      </p:sp>
      <p:sp>
        <p:nvSpPr>
          <p:cNvPr id="21" name="ZoneTexte 20">
            <a:extLst>
              <a:ext uri="{FF2B5EF4-FFF2-40B4-BE49-F238E27FC236}">
                <a16:creationId xmlns="" xmlns:a16="http://schemas.microsoft.com/office/drawing/2014/main" id="{5E05EBFE-1473-4E8B-A350-DBF5DB7184C3}"/>
              </a:ext>
            </a:extLst>
          </p:cNvPr>
          <p:cNvSpPr txBox="1"/>
          <p:nvPr/>
        </p:nvSpPr>
        <p:spPr>
          <a:xfrm>
            <a:off x="7734379" y="4342357"/>
            <a:ext cx="1272965" cy="3385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err="1" smtClean="0">
                <a:ln>
                  <a:noFill/>
                </a:ln>
                <a:effectLst/>
                <a:uLnTx/>
                <a:uFillTx/>
              </a:rPr>
              <a:t>Amundi</a:t>
            </a:r>
            <a:r>
              <a:rPr kumimoji="0" lang="fr-FR" sz="800" b="1" i="0" u="none" strike="noStrike" kern="0" cap="none" spc="0" normalizeH="0" noProof="0" dirty="0" smtClean="0">
                <a:ln>
                  <a:noFill/>
                </a:ln>
                <a:effectLst/>
                <a:uLnTx/>
                <a:uFillTx/>
              </a:rPr>
              <a:t> Fds</a:t>
            </a:r>
            <a:r>
              <a:rPr kumimoji="0" lang="fr-FR" sz="800" b="1" i="0" u="none" strike="noStrike" kern="0" cap="none" spc="0" normalizeH="0" baseline="0" noProof="0" dirty="0">
                <a:ln>
                  <a:noFill/>
                </a:ln>
                <a:effectLst/>
                <a:uLnTx/>
                <a:uFillTx/>
              </a:rPr>
              <a:t/>
            </a:r>
            <a:br>
              <a:rPr kumimoji="0" lang="fr-FR" sz="800" b="1" i="0" u="none" strike="noStrike" kern="0" cap="none" spc="0" normalizeH="0" baseline="0" noProof="0" dirty="0">
                <a:ln>
                  <a:noFill/>
                </a:ln>
                <a:effectLst/>
                <a:uLnTx/>
                <a:uFillTx/>
              </a:rPr>
            </a:br>
            <a:r>
              <a:rPr kumimoji="0" lang="fr-FR" sz="800" b="1" i="0" u="none" strike="noStrike" kern="0" cap="none" spc="0" normalizeH="0" baseline="0" noProof="0" dirty="0">
                <a:ln>
                  <a:noFill/>
                </a:ln>
                <a:effectLst/>
                <a:uLnTx/>
                <a:uFillTx/>
              </a:rPr>
              <a:t>Europe </a:t>
            </a:r>
            <a:r>
              <a:rPr kumimoji="0" lang="fr-FR" sz="800" b="1" i="0" u="none" strike="noStrike" kern="0" cap="none" spc="0" normalizeH="0" baseline="0" noProof="0" dirty="0" smtClean="0">
                <a:ln>
                  <a:noFill/>
                </a:ln>
                <a:effectLst/>
                <a:uLnTx/>
                <a:uFillTx/>
              </a:rPr>
              <a:t>Conservative </a:t>
            </a:r>
            <a:endParaRPr kumimoji="0" lang="fr-FR" sz="800" b="1" i="0" u="none" strike="noStrike" kern="0" cap="none" spc="0" normalizeH="0" baseline="0" noProof="0" dirty="0">
              <a:ln>
                <a:noFill/>
              </a:ln>
              <a:effectLst/>
              <a:uLnTx/>
              <a:uFillTx/>
            </a:endParaRPr>
          </a:p>
        </p:txBody>
      </p:sp>
      <p:sp>
        <p:nvSpPr>
          <p:cNvPr id="22" name="Rectangle 21">
            <a:extLst>
              <a:ext uri="{FF2B5EF4-FFF2-40B4-BE49-F238E27FC236}">
                <a16:creationId xmlns="" xmlns:a16="http://schemas.microsoft.com/office/drawing/2014/main" id="{E46DC9A0-D5CE-4582-9850-F1785EB7B6AE}"/>
              </a:ext>
            </a:extLst>
          </p:cNvPr>
          <p:cNvSpPr/>
          <p:nvPr/>
        </p:nvSpPr>
        <p:spPr bwMode="auto">
          <a:xfrm>
            <a:off x="7664479" y="4389989"/>
            <a:ext cx="108000" cy="108000"/>
          </a:xfrm>
          <a:prstGeom prst="rect">
            <a:avLst/>
          </a:prstGeom>
          <a:solidFill>
            <a:srgbClr val="001C4B"/>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sp>
        <p:nvSpPr>
          <p:cNvPr id="31" name="ZoneTexte 30">
            <a:extLst>
              <a:ext uri="{FF2B5EF4-FFF2-40B4-BE49-F238E27FC236}">
                <a16:creationId xmlns="" xmlns:a16="http://schemas.microsoft.com/office/drawing/2014/main" id="{8549C678-5657-4296-A7FC-73E678DDA2DB}"/>
              </a:ext>
            </a:extLst>
          </p:cNvPr>
          <p:cNvSpPr txBox="1"/>
          <p:nvPr/>
        </p:nvSpPr>
        <p:spPr>
          <a:xfrm>
            <a:off x="7734379" y="4688941"/>
            <a:ext cx="1272965" cy="215444"/>
          </a:xfrm>
          <a:prstGeom prst="rect">
            <a:avLst/>
          </a:prstGeom>
          <a:noFill/>
        </p:spPr>
        <p:txBody>
          <a:bodyPr wrap="square" rtlCol="0">
            <a:spAutoFit/>
          </a:bodyPr>
          <a:lstStyle/>
          <a:p>
            <a:pPr lvl="0" defTabSz="457200"/>
            <a:r>
              <a:rPr lang="fr-FR" sz="800" b="1" kern="0" dirty="0">
                <a:solidFill>
                  <a:schemeClr val="accent1"/>
                </a:solidFill>
              </a:rPr>
              <a:t>MSCI </a:t>
            </a:r>
            <a:r>
              <a:rPr lang="fr-FR" sz="800" b="1" kern="0" dirty="0" smtClean="0">
                <a:solidFill>
                  <a:schemeClr val="accent1"/>
                </a:solidFill>
              </a:rPr>
              <a:t>Europe</a:t>
            </a:r>
            <a:endParaRPr lang="fr-FR" sz="800" b="1" kern="0" dirty="0">
              <a:solidFill>
                <a:schemeClr val="accent1"/>
              </a:solidFill>
            </a:endParaRPr>
          </a:p>
        </p:txBody>
      </p:sp>
      <p:sp>
        <p:nvSpPr>
          <p:cNvPr id="32" name="Rectangle 31">
            <a:extLst>
              <a:ext uri="{FF2B5EF4-FFF2-40B4-BE49-F238E27FC236}">
                <a16:creationId xmlns="" xmlns:a16="http://schemas.microsoft.com/office/drawing/2014/main" id="{20C0B5C8-4284-4E4D-BF6C-AC4817DE86C3}"/>
              </a:ext>
            </a:extLst>
          </p:cNvPr>
          <p:cNvSpPr/>
          <p:nvPr/>
        </p:nvSpPr>
        <p:spPr bwMode="auto">
          <a:xfrm>
            <a:off x="7664479" y="4736573"/>
            <a:ext cx="108000" cy="10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graphicFrame>
        <p:nvGraphicFramePr>
          <p:cNvPr id="15" name="Chart 2"/>
          <p:cNvGraphicFramePr>
            <a:graphicFrameLocks/>
          </p:cNvGraphicFramePr>
          <p:nvPr>
            <p:extLst>
              <p:ext uri="{D42A27DB-BD31-4B8C-83A1-F6EECF244321}">
                <p14:modId xmlns:p14="http://schemas.microsoft.com/office/powerpoint/2010/main" val="3405740118"/>
              </p:ext>
            </p:extLst>
          </p:nvPr>
        </p:nvGraphicFramePr>
        <p:xfrm>
          <a:off x="540000" y="1594756"/>
          <a:ext cx="7124479" cy="4070063"/>
        </p:xfrm>
        <a:graphic>
          <a:graphicData uri="http://schemas.openxmlformats.org/drawingml/2006/chart">
            <c:chart xmlns:c="http://schemas.openxmlformats.org/drawingml/2006/chart" xmlns:r="http://schemas.openxmlformats.org/officeDocument/2006/relationships" r:id="rId3"/>
          </a:graphicData>
        </a:graphic>
      </p:graphicFrame>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41312041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483A06C1-0022-48BA-8592-EE963DD28611}"/>
              </a:ext>
            </a:extLst>
          </p:cNvPr>
          <p:cNvSpPr>
            <a:spLocks noGrp="1"/>
          </p:cNvSpPr>
          <p:nvPr>
            <p:ph type="title"/>
          </p:nvPr>
        </p:nvSpPr>
        <p:spPr/>
        <p:txBody>
          <a:bodyPr>
            <a:noAutofit/>
          </a:bodyPr>
          <a:lstStyle/>
          <a:p>
            <a:r>
              <a:rPr lang="en-US" sz="2000" dirty="0"/>
              <a:t>A risk-efficient approach </a:t>
            </a:r>
            <a:r>
              <a:rPr lang="en-US" sz="2000" dirty="0">
                <a:solidFill>
                  <a:schemeClr val="accent1"/>
                </a:solidFill>
              </a:rPr>
              <a:t>to get better risk-adjusted returns</a:t>
            </a:r>
            <a:endParaRPr lang="fr-FR" sz="2000" dirty="0">
              <a:solidFill>
                <a:schemeClr val="accent1"/>
              </a:solidFill>
            </a:endParaRPr>
          </a:p>
        </p:txBody>
      </p:sp>
      <p:sp>
        <p:nvSpPr>
          <p:cNvPr id="5" name="Espace réservé du numéro de diapositive 4">
            <a:extLst>
              <a:ext uri="{FF2B5EF4-FFF2-40B4-BE49-F238E27FC236}">
                <a16:creationId xmlns="" xmlns:a16="http://schemas.microsoft.com/office/drawing/2014/main" id="{C77C9CC5-98AD-4D9F-9E22-9AC485AB34C9}"/>
              </a:ext>
            </a:extLst>
          </p:cNvPr>
          <p:cNvSpPr>
            <a:spLocks noGrp="1"/>
          </p:cNvSpPr>
          <p:nvPr>
            <p:ph type="sldNum" sz="quarter" idx="12"/>
          </p:nvPr>
        </p:nvSpPr>
        <p:spPr/>
        <p:txBody>
          <a:bodyPr/>
          <a:lstStyle/>
          <a:p>
            <a:fld id="{2B1C6FFC-D040-034F-8B69-20295064E64D}" type="slidenum">
              <a:rPr lang="fr-FR" smtClean="0"/>
              <a:t>16</a:t>
            </a:fld>
            <a:endParaRPr lang="fr-FR" dirty="0"/>
          </a:p>
        </p:txBody>
      </p:sp>
      <p:sp>
        <p:nvSpPr>
          <p:cNvPr id="7" name="Espace réservé du texte 6">
            <a:extLst>
              <a:ext uri="{FF2B5EF4-FFF2-40B4-BE49-F238E27FC236}">
                <a16:creationId xmlns="" xmlns:a16="http://schemas.microsoft.com/office/drawing/2014/main" id="{01430E53-61A3-4AE1-9802-E7BB401B7C99}"/>
              </a:ext>
            </a:extLst>
          </p:cNvPr>
          <p:cNvSpPr>
            <a:spLocks noGrp="1"/>
          </p:cNvSpPr>
          <p:nvPr>
            <p:ph type="body" sz="quarter" idx="14"/>
          </p:nvPr>
        </p:nvSpPr>
        <p:spPr/>
        <p:txBody>
          <a:bodyPr/>
          <a:lstStyle/>
          <a:p>
            <a:pPr algn="l"/>
            <a:r>
              <a:rPr lang="en-US" dirty="0"/>
              <a:t>Source: Amundi AM, Gross performance as of </a:t>
            </a:r>
            <a:r>
              <a:rPr lang="en-US" dirty="0" smtClean="0"/>
              <a:t>31/01/2018 </a:t>
            </a:r>
            <a:r>
              <a:rPr lang="en-US" dirty="0"/>
              <a:t>of the IE share class of AFE Europe Conservative</a:t>
            </a:r>
            <a:br>
              <a:rPr lang="en-US" dirty="0"/>
            </a:br>
            <a:r>
              <a:rPr lang="en-US" dirty="0"/>
              <a:t>Amundi Funds Equity Europe Conservative was launched on 4/29/2009.</a:t>
            </a:r>
            <a:br>
              <a:rPr lang="en-US" dirty="0"/>
            </a:br>
            <a:r>
              <a:rPr lang="en-US" dirty="0"/>
              <a:t>Investors are reminded that the past performance cannot be regarded as a reliable indicator of future results, nor can they guarantee expected return. </a:t>
            </a:r>
          </a:p>
        </p:txBody>
      </p:sp>
      <p:sp>
        <p:nvSpPr>
          <p:cNvPr id="8" name="TextBox 4">
            <a:extLst>
              <a:ext uri="{FF2B5EF4-FFF2-40B4-BE49-F238E27FC236}">
                <a16:creationId xmlns="" xmlns:a16="http://schemas.microsoft.com/office/drawing/2014/main" id="{CEF6333A-6FFC-478C-8CC6-A5CCC9A30D6E}"/>
              </a:ext>
            </a:extLst>
          </p:cNvPr>
          <p:cNvSpPr txBox="1"/>
          <p:nvPr/>
        </p:nvSpPr>
        <p:spPr>
          <a:xfrm>
            <a:off x="3245464" y="1277114"/>
            <a:ext cx="2667718"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lvl1pPr>
          </a:lstStyle>
          <a:p>
            <a:r>
              <a:rPr lang="en-US" dirty="0"/>
              <a:t>Europe Conservative Strategy</a:t>
            </a:r>
            <a:br>
              <a:rPr lang="en-US" dirty="0"/>
            </a:br>
            <a:r>
              <a:rPr lang="en-US" dirty="0"/>
              <a:t>Calendar year performance comparison</a:t>
            </a:r>
          </a:p>
        </p:txBody>
      </p:sp>
      <p:sp>
        <p:nvSpPr>
          <p:cNvPr id="10" name="ZoneTexte 9">
            <a:extLst>
              <a:ext uri="{FF2B5EF4-FFF2-40B4-BE49-F238E27FC236}">
                <a16:creationId xmlns="" xmlns:a16="http://schemas.microsoft.com/office/drawing/2014/main" id="{02F11BB0-13B6-47E2-833C-48F1EBC0ACEA}"/>
              </a:ext>
            </a:extLst>
          </p:cNvPr>
          <p:cNvSpPr txBox="1"/>
          <p:nvPr/>
        </p:nvSpPr>
        <p:spPr>
          <a:xfrm>
            <a:off x="7599093" y="3530265"/>
            <a:ext cx="1272965" cy="3385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err="1" smtClean="0">
                <a:ln>
                  <a:noFill/>
                </a:ln>
                <a:solidFill>
                  <a:srgbClr val="003C64"/>
                </a:solidFill>
                <a:effectLst/>
                <a:uLnTx/>
                <a:uFillTx/>
              </a:rPr>
              <a:t>Amundi</a:t>
            </a:r>
            <a:r>
              <a:rPr kumimoji="0" lang="fr-FR" sz="800" b="1" i="0" u="none" strike="noStrike" kern="0" cap="none" spc="0" normalizeH="0" baseline="0" noProof="0" dirty="0" smtClean="0">
                <a:ln>
                  <a:noFill/>
                </a:ln>
                <a:solidFill>
                  <a:srgbClr val="003C64"/>
                </a:solidFill>
                <a:effectLst/>
                <a:uLnTx/>
                <a:uFillTx/>
              </a:rPr>
              <a:t> Fds</a:t>
            </a:r>
            <a:r>
              <a:rPr kumimoji="0" lang="fr-FR" sz="800" b="1" i="0" u="none" strike="noStrike" kern="0" cap="none" spc="0" normalizeH="0" baseline="0" noProof="0" dirty="0">
                <a:ln>
                  <a:noFill/>
                </a:ln>
                <a:solidFill>
                  <a:srgbClr val="003C64"/>
                </a:solidFill>
                <a:effectLst/>
                <a:uLnTx/>
                <a:uFillTx/>
              </a:rPr>
              <a:t/>
            </a:r>
            <a:br>
              <a:rPr kumimoji="0" lang="fr-FR" sz="800" b="1" i="0" u="none" strike="noStrike" kern="0" cap="none" spc="0" normalizeH="0" baseline="0" noProof="0" dirty="0">
                <a:ln>
                  <a:noFill/>
                </a:ln>
                <a:solidFill>
                  <a:srgbClr val="003C64"/>
                </a:solidFill>
                <a:effectLst/>
                <a:uLnTx/>
                <a:uFillTx/>
              </a:rPr>
            </a:br>
            <a:r>
              <a:rPr kumimoji="0" lang="fr-FR" sz="800" b="1" i="0" u="none" strike="noStrike" kern="0" cap="none" spc="0" normalizeH="0" baseline="0" noProof="0" dirty="0">
                <a:ln>
                  <a:noFill/>
                </a:ln>
                <a:solidFill>
                  <a:srgbClr val="003C64"/>
                </a:solidFill>
                <a:effectLst/>
                <a:uLnTx/>
                <a:uFillTx/>
              </a:rPr>
              <a:t>Europe </a:t>
            </a:r>
            <a:r>
              <a:rPr kumimoji="0" lang="fr-FR" sz="800" b="1" i="0" u="none" strike="noStrike" kern="0" cap="none" spc="0" normalizeH="0" baseline="0" noProof="0" dirty="0" smtClean="0">
                <a:ln>
                  <a:noFill/>
                </a:ln>
                <a:solidFill>
                  <a:srgbClr val="003C64"/>
                </a:solidFill>
                <a:effectLst/>
                <a:uLnTx/>
                <a:uFillTx/>
              </a:rPr>
              <a:t>Conservative </a:t>
            </a:r>
            <a:endParaRPr kumimoji="0" lang="fr-FR" sz="800" b="1" i="0" u="none" strike="noStrike" kern="0" cap="none" spc="0" normalizeH="0" baseline="0" noProof="0" dirty="0">
              <a:ln>
                <a:noFill/>
              </a:ln>
              <a:solidFill>
                <a:srgbClr val="003C64"/>
              </a:solidFill>
              <a:effectLst/>
              <a:uLnTx/>
              <a:uFillTx/>
            </a:endParaRPr>
          </a:p>
        </p:txBody>
      </p:sp>
      <p:sp>
        <p:nvSpPr>
          <p:cNvPr id="11" name="Rectangle 10">
            <a:extLst>
              <a:ext uri="{FF2B5EF4-FFF2-40B4-BE49-F238E27FC236}">
                <a16:creationId xmlns="" xmlns:a16="http://schemas.microsoft.com/office/drawing/2014/main" id="{0F33C313-9FA8-4C81-93BA-593D2A7A69B6}"/>
              </a:ext>
            </a:extLst>
          </p:cNvPr>
          <p:cNvSpPr/>
          <p:nvPr/>
        </p:nvSpPr>
        <p:spPr bwMode="auto">
          <a:xfrm>
            <a:off x="7529193" y="3577897"/>
            <a:ext cx="108000" cy="108000"/>
          </a:xfrm>
          <a:prstGeom prst="rect">
            <a:avLst/>
          </a:prstGeom>
          <a:solidFill>
            <a:srgbClr val="001C4B"/>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sp>
        <p:nvSpPr>
          <p:cNvPr id="12" name="ZoneTexte 11">
            <a:extLst>
              <a:ext uri="{FF2B5EF4-FFF2-40B4-BE49-F238E27FC236}">
                <a16:creationId xmlns="" xmlns:a16="http://schemas.microsoft.com/office/drawing/2014/main" id="{ADBAAD1F-F064-47ED-A681-5D12A2956646}"/>
              </a:ext>
            </a:extLst>
          </p:cNvPr>
          <p:cNvSpPr txBox="1"/>
          <p:nvPr/>
        </p:nvSpPr>
        <p:spPr>
          <a:xfrm>
            <a:off x="7599093" y="3832245"/>
            <a:ext cx="1272965" cy="215444"/>
          </a:xfrm>
          <a:prstGeom prst="rect">
            <a:avLst/>
          </a:prstGeom>
          <a:noFill/>
        </p:spPr>
        <p:txBody>
          <a:bodyPr wrap="square" rtlCol="0">
            <a:spAutoFit/>
          </a:bodyPr>
          <a:lstStyle/>
          <a:p>
            <a:pPr lvl="0" defTabSz="457200"/>
            <a:r>
              <a:rPr lang="fr-FR" sz="800" b="1" kern="0" dirty="0">
                <a:solidFill>
                  <a:schemeClr val="accent1"/>
                </a:solidFill>
              </a:rPr>
              <a:t>MSCI </a:t>
            </a:r>
            <a:r>
              <a:rPr lang="fr-FR" sz="800" b="1" kern="0" dirty="0" smtClean="0">
                <a:solidFill>
                  <a:schemeClr val="accent1"/>
                </a:solidFill>
              </a:rPr>
              <a:t>Europe</a:t>
            </a:r>
            <a:endParaRPr lang="fr-FR" sz="800" b="1" kern="0" dirty="0">
              <a:solidFill>
                <a:schemeClr val="accent1"/>
              </a:solidFill>
            </a:endParaRPr>
          </a:p>
        </p:txBody>
      </p:sp>
      <p:sp>
        <p:nvSpPr>
          <p:cNvPr id="13" name="Rectangle 12">
            <a:extLst>
              <a:ext uri="{FF2B5EF4-FFF2-40B4-BE49-F238E27FC236}">
                <a16:creationId xmlns="" xmlns:a16="http://schemas.microsoft.com/office/drawing/2014/main" id="{23A75C2B-4DEF-43FE-8C0C-4EEA664BFC6E}"/>
              </a:ext>
            </a:extLst>
          </p:cNvPr>
          <p:cNvSpPr/>
          <p:nvPr/>
        </p:nvSpPr>
        <p:spPr bwMode="auto">
          <a:xfrm>
            <a:off x="7529193" y="3879877"/>
            <a:ext cx="108000" cy="10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graphicFrame>
        <p:nvGraphicFramePr>
          <p:cNvPr id="15" name="Chart 8"/>
          <p:cNvGraphicFramePr>
            <a:graphicFrameLocks/>
          </p:cNvGraphicFramePr>
          <p:nvPr>
            <p:extLst>
              <p:ext uri="{D42A27DB-BD31-4B8C-83A1-F6EECF244321}">
                <p14:modId xmlns:p14="http://schemas.microsoft.com/office/powerpoint/2010/main" val="4076007143"/>
              </p:ext>
            </p:extLst>
          </p:nvPr>
        </p:nvGraphicFramePr>
        <p:xfrm>
          <a:off x="731014" y="1736757"/>
          <a:ext cx="6631812" cy="3912911"/>
        </p:xfrm>
        <a:graphic>
          <a:graphicData uri="http://schemas.openxmlformats.org/drawingml/2006/chart">
            <c:chart xmlns:c="http://schemas.openxmlformats.org/drawingml/2006/chart" xmlns:r="http://schemas.openxmlformats.org/officeDocument/2006/relationships" r:id="rId2"/>
          </a:graphicData>
        </a:graphic>
      </p:graphicFrame>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8697924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6C8A50DB-99C6-4C79-B6A9-1B1F065CE1A0}"/>
              </a:ext>
            </a:extLst>
          </p:cNvPr>
          <p:cNvSpPr>
            <a:spLocks noGrp="1"/>
          </p:cNvSpPr>
          <p:nvPr>
            <p:ph type="title"/>
          </p:nvPr>
        </p:nvSpPr>
        <p:spPr>
          <a:xfrm>
            <a:off x="539999" y="698265"/>
            <a:ext cx="8346826" cy="387493"/>
          </a:xfrm>
        </p:spPr>
        <p:txBody>
          <a:bodyPr>
            <a:noAutofit/>
          </a:bodyPr>
          <a:lstStyle/>
          <a:p>
            <a:r>
              <a:rPr lang="en-US" sz="2200" dirty="0"/>
              <a:t>A risk-efficient approach </a:t>
            </a:r>
            <a:r>
              <a:rPr lang="en-US" sz="2200" dirty="0">
                <a:solidFill>
                  <a:schemeClr val="accent1"/>
                </a:solidFill>
              </a:rPr>
              <a:t>to deliver consistent performance</a:t>
            </a:r>
            <a:endParaRPr lang="fr-FR" sz="2200" dirty="0">
              <a:solidFill>
                <a:schemeClr val="accent1"/>
              </a:solidFill>
            </a:endParaRPr>
          </a:p>
        </p:txBody>
      </p:sp>
      <p:sp>
        <p:nvSpPr>
          <p:cNvPr id="5" name="Espace réservé du numéro de diapositive 4">
            <a:extLst>
              <a:ext uri="{FF2B5EF4-FFF2-40B4-BE49-F238E27FC236}">
                <a16:creationId xmlns="" xmlns:a16="http://schemas.microsoft.com/office/drawing/2014/main" id="{5CEBDD93-5943-4464-A270-F835DCD8AF2A}"/>
              </a:ext>
            </a:extLst>
          </p:cNvPr>
          <p:cNvSpPr>
            <a:spLocks noGrp="1"/>
          </p:cNvSpPr>
          <p:nvPr>
            <p:ph type="sldNum" sz="quarter" idx="12"/>
          </p:nvPr>
        </p:nvSpPr>
        <p:spPr/>
        <p:txBody>
          <a:bodyPr/>
          <a:lstStyle/>
          <a:p>
            <a:fld id="{2B1C6FFC-D040-034F-8B69-20295064E64D}" type="slidenum">
              <a:rPr lang="fr-FR" smtClean="0"/>
              <a:t>17</a:t>
            </a:fld>
            <a:endParaRPr lang="fr-FR" dirty="0"/>
          </a:p>
        </p:txBody>
      </p:sp>
      <p:sp>
        <p:nvSpPr>
          <p:cNvPr id="7" name="Espace réservé du texte 6">
            <a:extLst>
              <a:ext uri="{FF2B5EF4-FFF2-40B4-BE49-F238E27FC236}">
                <a16:creationId xmlns="" xmlns:a16="http://schemas.microsoft.com/office/drawing/2014/main" id="{CCAC79A1-50D5-4A04-8F81-49897FF83E1F}"/>
              </a:ext>
            </a:extLst>
          </p:cNvPr>
          <p:cNvSpPr>
            <a:spLocks noGrp="1"/>
          </p:cNvSpPr>
          <p:nvPr>
            <p:ph type="body" sz="quarter" idx="14"/>
          </p:nvPr>
        </p:nvSpPr>
        <p:spPr/>
        <p:txBody>
          <a:bodyPr/>
          <a:lstStyle/>
          <a:p>
            <a:pPr algn="l"/>
            <a:r>
              <a:rPr lang="en-US" dirty="0"/>
              <a:t>Source: </a:t>
            </a:r>
            <a:r>
              <a:rPr lang="en-US" dirty="0" err="1"/>
              <a:t>Amundi</a:t>
            </a:r>
            <a:r>
              <a:rPr lang="en-US" dirty="0"/>
              <a:t> AM, Gross performance of the IE share class of </a:t>
            </a:r>
            <a:r>
              <a:rPr lang="en-US" dirty="0" err="1"/>
              <a:t>Amundi</a:t>
            </a:r>
            <a:r>
              <a:rPr lang="en-US" dirty="0"/>
              <a:t> Funds Equity Europe Conservative</a:t>
            </a:r>
            <a:br>
              <a:rPr lang="en-US" dirty="0"/>
            </a:br>
            <a:r>
              <a:rPr lang="en-US" dirty="0"/>
              <a:t>Past performance is not a reliable indicator of future results or a guarantee of future returns.</a:t>
            </a:r>
          </a:p>
        </p:txBody>
      </p:sp>
      <p:graphicFrame>
        <p:nvGraphicFramePr>
          <p:cNvPr id="8" name="Chart 41">
            <a:extLst>
              <a:ext uri="{FF2B5EF4-FFF2-40B4-BE49-F238E27FC236}">
                <a16:creationId xmlns="" xmlns:a16="http://schemas.microsoft.com/office/drawing/2014/main" id="{A266F134-71E0-413C-AB48-6A2ED2E4B599}"/>
              </a:ext>
            </a:extLst>
          </p:cNvPr>
          <p:cNvGraphicFramePr>
            <a:graphicFrameLocks/>
          </p:cNvGraphicFramePr>
          <p:nvPr>
            <p:extLst>
              <p:ext uri="{D42A27DB-BD31-4B8C-83A1-F6EECF244321}">
                <p14:modId xmlns:p14="http://schemas.microsoft.com/office/powerpoint/2010/main" val="1647133046"/>
              </p:ext>
            </p:extLst>
          </p:nvPr>
        </p:nvGraphicFramePr>
        <p:xfrm>
          <a:off x="454385" y="1253087"/>
          <a:ext cx="3618521" cy="221780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42">
            <a:extLst>
              <a:ext uri="{FF2B5EF4-FFF2-40B4-BE49-F238E27FC236}">
                <a16:creationId xmlns="" xmlns:a16="http://schemas.microsoft.com/office/drawing/2014/main" id="{D3255DDA-6E9B-4DF3-A645-A8F67E3A6EDB}"/>
              </a:ext>
            </a:extLst>
          </p:cNvPr>
          <p:cNvGraphicFramePr>
            <a:graphicFrameLocks/>
          </p:cNvGraphicFramePr>
          <p:nvPr>
            <p:extLst>
              <p:ext uri="{D42A27DB-BD31-4B8C-83A1-F6EECF244321}">
                <p14:modId xmlns:p14="http://schemas.microsoft.com/office/powerpoint/2010/main" val="3900985525"/>
              </p:ext>
            </p:extLst>
          </p:nvPr>
        </p:nvGraphicFramePr>
        <p:xfrm>
          <a:off x="454384" y="3435216"/>
          <a:ext cx="3723357" cy="221780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43">
            <a:extLst>
              <a:ext uri="{FF2B5EF4-FFF2-40B4-BE49-F238E27FC236}">
                <a16:creationId xmlns="" xmlns:a16="http://schemas.microsoft.com/office/drawing/2014/main" id="{B3AB8520-C66E-4989-808B-93C59A8893DA}"/>
              </a:ext>
            </a:extLst>
          </p:cNvPr>
          <p:cNvSpPr txBox="1"/>
          <p:nvPr/>
        </p:nvSpPr>
        <p:spPr>
          <a:xfrm>
            <a:off x="794008" y="4352310"/>
            <a:ext cx="1885089" cy="721342"/>
          </a:xfrm>
          <a:prstGeom prst="rect">
            <a:avLst/>
          </a:prstGeom>
          <a:noFill/>
        </p:spPr>
        <p:txBody>
          <a:bodyPr wrap="square" rtlCol="0">
            <a:spAutoFit/>
          </a:bodyPr>
          <a:lstStyle/>
          <a:p>
            <a:r>
              <a:rPr lang="en-US" sz="900" dirty="0"/>
              <a:t>From 17/02/2011 to 22/09/2011</a:t>
            </a:r>
          </a:p>
          <a:p>
            <a:endParaRPr lang="en-US" sz="900" dirty="0"/>
          </a:p>
          <a:p>
            <a:r>
              <a:rPr lang="fr-FR" sz="900" dirty="0"/>
              <a:t>Portfolio: -13.1%</a:t>
            </a:r>
          </a:p>
          <a:p>
            <a:r>
              <a:rPr lang="fr-FR" sz="900" dirty="0"/>
              <a:t>Benchmark: -24.3%</a:t>
            </a:r>
          </a:p>
          <a:p>
            <a:r>
              <a:rPr lang="fr-FR" sz="900" b="1" i="1" dirty="0"/>
              <a:t>Excess return: +11.2%</a:t>
            </a:r>
            <a:endParaRPr lang="en-US" sz="900" b="1" i="1" dirty="0"/>
          </a:p>
        </p:txBody>
      </p:sp>
      <p:sp>
        <p:nvSpPr>
          <p:cNvPr id="11" name="TextBox 44">
            <a:extLst>
              <a:ext uri="{FF2B5EF4-FFF2-40B4-BE49-F238E27FC236}">
                <a16:creationId xmlns="" xmlns:a16="http://schemas.microsoft.com/office/drawing/2014/main" id="{87B10A1B-ACF0-44E8-BA9D-D143B2630D55}"/>
              </a:ext>
            </a:extLst>
          </p:cNvPr>
          <p:cNvSpPr txBox="1"/>
          <p:nvPr/>
        </p:nvSpPr>
        <p:spPr>
          <a:xfrm>
            <a:off x="759789" y="1633406"/>
            <a:ext cx="1919307" cy="721342"/>
          </a:xfrm>
          <a:prstGeom prst="rect">
            <a:avLst/>
          </a:prstGeom>
          <a:noFill/>
        </p:spPr>
        <p:txBody>
          <a:bodyPr wrap="square" rtlCol="0">
            <a:spAutoFit/>
          </a:bodyPr>
          <a:lstStyle/>
          <a:p>
            <a:r>
              <a:rPr lang="en-US" sz="900" dirty="0"/>
              <a:t>From 29/04/2009 to 15/11/2009</a:t>
            </a:r>
          </a:p>
          <a:p>
            <a:endParaRPr lang="en-US" sz="900" dirty="0"/>
          </a:p>
          <a:p>
            <a:r>
              <a:rPr lang="fr-FR" sz="900" dirty="0"/>
              <a:t>Portfolio: +14.8%</a:t>
            </a:r>
          </a:p>
          <a:p>
            <a:r>
              <a:rPr lang="fr-FR" sz="900" dirty="0"/>
              <a:t>Benchmark: +25.5%</a:t>
            </a:r>
          </a:p>
          <a:p>
            <a:r>
              <a:rPr lang="fr-FR" sz="900" b="1" i="1" dirty="0"/>
              <a:t>Excess return: -10.7%</a:t>
            </a:r>
            <a:endParaRPr lang="en-US" sz="900" b="1" i="1" dirty="0"/>
          </a:p>
        </p:txBody>
      </p:sp>
      <p:graphicFrame>
        <p:nvGraphicFramePr>
          <p:cNvPr id="12" name="Chart 45">
            <a:extLst>
              <a:ext uri="{FF2B5EF4-FFF2-40B4-BE49-F238E27FC236}">
                <a16:creationId xmlns="" xmlns:a16="http://schemas.microsoft.com/office/drawing/2014/main" id="{037113AB-1B38-4660-A225-8E37AB470466}"/>
              </a:ext>
            </a:extLst>
          </p:cNvPr>
          <p:cNvGraphicFramePr>
            <a:graphicFrameLocks/>
          </p:cNvGraphicFramePr>
          <p:nvPr>
            <p:extLst>
              <p:ext uri="{D42A27DB-BD31-4B8C-83A1-F6EECF244321}">
                <p14:modId xmlns:p14="http://schemas.microsoft.com/office/powerpoint/2010/main" val="542032913"/>
              </p:ext>
            </p:extLst>
          </p:nvPr>
        </p:nvGraphicFramePr>
        <p:xfrm>
          <a:off x="4996763" y="1253087"/>
          <a:ext cx="3618521" cy="2217803"/>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46">
            <a:extLst>
              <a:ext uri="{FF2B5EF4-FFF2-40B4-BE49-F238E27FC236}">
                <a16:creationId xmlns="" xmlns:a16="http://schemas.microsoft.com/office/drawing/2014/main" id="{8EEAFBBC-F840-4855-823C-B51A8DEC7AE4}"/>
              </a:ext>
            </a:extLst>
          </p:cNvPr>
          <p:cNvSpPr txBox="1"/>
          <p:nvPr/>
        </p:nvSpPr>
        <p:spPr>
          <a:xfrm>
            <a:off x="5318709" y="1498067"/>
            <a:ext cx="1986607" cy="784830"/>
          </a:xfrm>
          <a:prstGeom prst="rect">
            <a:avLst/>
          </a:prstGeom>
          <a:noFill/>
        </p:spPr>
        <p:txBody>
          <a:bodyPr wrap="square" rtlCol="0">
            <a:spAutoFit/>
          </a:bodyPr>
          <a:lstStyle/>
          <a:p>
            <a:r>
              <a:rPr lang="en-US" sz="900" dirty="0"/>
              <a:t>From 15/10/2014 to 15/04/2015</a:t>
            </a:r>
          </a:p>
          <a:p>
            <a:endParaRPr lang="en-US" sz="900" dirty="0"/>
          </a:p>
          <a:p>
            <a:r>
              <a:rPr lang="fr-FR" sz="900" dirty="0"/>
              <a:t>Portfolio: +40.4%</a:t>
            </a:r>
          </a:p>
          <a:p>
            <a:r>
              <a:rPr lang="fr-FR" sz="900" dirty="0"/>
              <a:t>Benchmark: +33.7%</a:t>
            </a:r>
          </a:p>
          <a:p>
            <a:r>
              <a:rPr lang="fr-FR" sz="900" b="1" i="1" dirty="0"/>
              <a:t>Excess return: +6.7%</a:t>
            </a:r>
            <a:endParaRPr lang="en-US" sz="900" b="1" i="1" dirty="0"/>
          </a:p>
        </p:txBody>
      </p:sp>
      <p:graphicFrame>
        <p:nvGraphicFramePr>
          <p:cNvPr id="14" name="Chart 47">
            <a:extLst>
              <a:ext uri="{FF2B5EF4-FFF2-40B4-BE49-F238E27FC236}">
                <a16:creationId xmlns="" xmlns:a16="http://schemas.microsoft.com/office/drawing/2014/main" id="{E8DA9045-6FEC-414D-9CF2-7376EBD93613}"/>
              </a:ext>
            </a:extLst>
          </p:cNvPr>
          <p:cNvGraphicFramePr>
            <a:graphicFrameLocks/>
          </p:cNvGraphicFramePr>
          <p:nvPr>
            <p:extLst>
              <p:ext uri="{D42A27DB-BD31-4B8C-83A1-F6EECF244321}">
                <p14:modId xmlns:p14="http://schemas.microsoft.com/office/powerpoint/2010/main" val="2439536296"/>
              </p:ext>
            </p:extLst>
          </p:nvPr>
        </p:nvGraphicFramePr>
        <p:xfrm>
          <a:off x="4996763" y="3435216"/>
          <a:ext cx="3618521" cy="2217803"/>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Box 48">
            <a:extLst>
              <a:ext uri="{FF2B5EF4-FFF2-40B4-BE49-F238E27FC236}">
                <a16:creationId xmlns="" xmlns:a16="http://schemas.microsoft.com/office/drawing/2014/main" id="{1E625F16-D35C-411C-8538-F5F867144D68}"/>
              </a:ext>
            </a:extLst>
          </p:cNvPr>
          <p:cNvSpPr txBox="1"/>
          <p:nvPr/>
        </p:nvSpPr>
        <p:spPr>
          <a:xfrm>
            <a:off x="5318709" y="4429222"/>
            <a:ext cx="1797077" cy="784830"/>
          </a:xfrm>
          <a:prstGeom prst="rect">
            <a:avLst/>
          </a:prstGeom>
          <a:noFill/>
        </p:spPr>
        <p:txBody>
          <a:bodyPr wrap="square" rtlCol="0">
            <a:spAutoFit/>
          </a:bodyPr>
          <a:lstStyle/>
          <a:p>
            <a:r>
              <a:rPr lang="en-US" sz="900" dirty="0"/>
              <a:t>From 30/04/2015 to 24/07/2015</a:t>
            </a:r>
          </a:p>
          <a:p>
            <a:endParaRPr lang="en-US" sz="900" dirty="0"/>
          </a:p>
          <a:p>
            <a:r>
              <a:rPr lang="fr-FR" sz="900" dirty="0"/>
              <a:t>Portfolio: +2.7%</a:t>
            </a:r>
          </a:p>
          <a:p>
            <a:r>
              <a:rPr lang="fr-FR" sz="900" dirty="0"/>
              <a:t>Benchmark: +0.1%</a:t>
            </a:r>
          </a:p>
          <a:p>
            <a:r>
              <a:rPr lang="fr-FR" sz="900" b="1" i="1" dirty="0"/>
              <a:t>Excess return: +2.6%</a:t>
            </a:r>
            <a:endParaRPr lang="en-US" sz="900" b="1" i="1" dirty="0"/>
          </a:p>
        </p:txBody>
      </p:sp>
      <p:sp>
        <p:nvSpPr>
          <p:cNvPr id="33" name="TextBox 4">
            <a:extLst>
              <a:ext uri="{FF2B5EF4-FFF2-40B4-BE49-F238E27FC236}">
                <a16:creationId xmlns="" xmlns:a16="http://schemas.microsoft.com/office/drawing/2014/main" id="{563A1060-9713-4E44-AC14-76E0F7B6FBE3}"/>
              </a:ext>
            </a:extLst>
          </p:cNvPr>
          <p:cNvSpPr txBox="1"/>
          <p:nvPr/>
        </p:nvSpPr>
        <p:spPr>
          <a:xfrm>
            <a:off x="1645491" y="1260781"/>
            <a:ext cx="1584087"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Mono-thematic market</a:t>
            </a:r>
          </a:p>
        </p:txBody>
      </p:sp>
      <p:sp>
        <p:nvSpPr>
          <p:cNvPr id="34" name="TextBox 4">
            <a:extLst>
              <a:ext uri="{FF2B5EF4-FFF2-40B4-BE49-F238E27FC236}">
                <a16:creationId xmlns="" xmlns:a16="http://schemas.microsoft.com/office/drawing/2014/main" id="{D1CA2E1B-9CBF-4F0E-9EE3-73B54D8B7069}"/>
              </a:ext>
            </a:extLst>
          </p:cNvPr>
          <p:cNvSpPr txBox="1"/>
          <p:nvPr/>
        </p:nvSpPr>
        <p:spPr>
          <a:xfrm>
            <a:off x="6393319" y="1260781"/>
            <a:ext cx="1351652"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teady bull market</a:t>
            </a:r>
          </a:p>
        </p:txBody>
      </p:sp>
      <p:sp>
        <p:nvSpPr>
          <p:cNvPr id="35" name="TextBox 4">
            <a:extLst>
              <a:ext uri="{FF2B5EF4-FFF2-40B4-BE49-F238E27FC236}">
                <a16:creationId xmlns="" xmlns:a16="http://schemas.microsoft.com/office/drawing/2014/main" id="{50E441B7-B44C-47C5-9692-A49E22950931}"/>
              </a:ext>
            </a:extLst>
          </p:cNvPr>
          <p:cNvSpPr txBox="1"/>
          <p:nvPr/>
        </p:nvSpPr>
        <p:spPr>
          <a:xfrm>
            <a:off x="1899572" y="3412271"/>
            <a:ext cx="1075936"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Market turmoil</a:t>
            </a:r>
          </a:p>
        </p:txBody>
      </p:sp>
      <p:sp>
        <p:nvSpPr>
          <p:cNvPr id="36" name="TextBox 4">
            <a:extLst>
              <a:ext uri="{FF2B5EF4-FFF2-40B4-BE49-F238E27FC236}">
                <a16:creationId xmlns="" xmlns:a16="http://schemas.microsoft.com/office/drawing/2014/main" id="{22F89413-5DBB-4C1C-AE20-DF0F749AF65E}"/>
              </a:ext>
            </a:extLst>
          </p:cNvPr>
          <p:cNvSpPr txBox="1"/>
          <p:nvPr/>
        </p:nvSpPr>
        <p:spPr>
          <a:xfrm>
            <a:off x="6299547" y="3412271"/>
            <a:ext cx="1539203"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Range trading market</a:t>
            </a:r>
          </a:p>
        </p:txBody>
      </p:sp>
      <p:grpSp>
        <p:nvGrpSpPr>
          <p:cNvPr id="42" name="Groupe 41">
            <a:extLst>
              <a:ext uri="{FF2B5EF4-FFF2-40B4-BE49-F238E27FC236}">
                <a16:creationId xmlns="" xmlns:a16="http://schemas.microsoft.com/office/drawing/2014/main" id="{285CD169-319B-4D4A-B445-5D483B7568E7}"/>
              </a:ext>
            </a:extLst>
          </p:cNvPr>
          <p:cNvGrpSpPr/>
          <p:nvPr/>
        </p:nvGrpSpPr>
        <p:grpSpPr>
          <a:xfrm>
            <a:off x="3116835" y="5527694"/>
            <a:ext cx="1837477" cy="215444"/>
            <a:chOff x="8437617" y="4009404"/>
            <a:chExt cx="1837477" cy="215444"/>
          </a:xfrm>
        </p:grpSpPr>
        <p:sp>
          <p:nvSpPr>
            <p:cNvPr id="37" name="ZoneTexte 36">
              <a:extLst>
                <a:ext uri="{FF2B5EF4-FFF2-40B4-BE49-F238E27FC236}">
                  <a16:creationId xmlns="" xmlns:a16="http://schemas.microsoft.com/office/drawing/2014/main" id="{5B02F8DF-7ED6-4B3A-B0C4-AC5802A1F6A1}"/>
                </a:ext>
              </a:extLst>
            </p:cNvPr>
            <p:cNvSpPr txBox="1"/>
            <p:nvPr/>
          </p:nvSpPr>
          <p:spPr>
            <a:xfrm>
              <a:off x="8507518" y="4009404"/>
              <a:ext cx="1767576" cy="21544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effectLst/>
                  <a:uLnTx/>
                  <a:uFillTx/>
                </a:rPr>
                <a:t>AF </a:t>
              </a:r>
              <a:r>
                <a:rPr kumimoji="0" lang="fr-FR" sz="800" b="1" i="0" u="none" strike="noStrike" kern="0" cap="none" spc="0" normalizeH="0" baseline="0" noProof="0" dirty="0" err="1">
                  <a:ln>
                    <a:noFill/>
                  </a:ln>
                  <a:effectLst/>
                  <a:uLnTx/>
                  <a:uFillTx/>
                </a:rPr>
                <a:t>Equity</a:t>
              </a:r>
              <a:r>
                <a:rPr kumimoji="0" lang="fr-FR" sz="800" b="1" i="0" u="none" strike="noStrike" kern="0" cap="none" spc="0" normalizeH="0" baseline="0" noProof="0" dirty="0">
                  <a:ln>
                    <a:noFill/>
                  </a:ln>
                  <a:effectLst/>
                  <a:uLnTx/>
                  <a:uFillTx/>
                </a:rPr>
                <a:t> Europe </a:t>
              </a:r>
              <a:r>
                <a:rPr kumimoji="0" lang="fr-FR" sz="800" b="1" i="0" u="none" strike="noStrike" kern="0" cap="none" spc="0" normalizeH="0" baseline="0" noProof="0" dirty="0" smtClean="0">
                  <a:ln>
                    <a:noFill/>
                  </a:ln>
                  <a:effectLst/>
                  <a:uLnTx/>
                  <a:uFillTx/>
                </a:rPr>
                <a:t>Conservative </a:t>
              </a:r>
              <a:endParaRPr kumimoji="0" lang="fr-FR" sz="800" b="1" i="0" u="none" strike="noStrike" kern="0" cap="none" spc="0" normalizeH="0" baseline="0" noProof="0" dirty="0">
                <a:ln>
                  <a:noFill/>
                </a:ln>
                <a:effectLst/>
                <a:uLnTx/>
                <a:uFillTx/>
              </a:endParaRPr>
            </a:p>
          </p:txBody>
        </p:sp>
        <p:sp>
          <p:nvSpPr>
            <p:cNvPr id="38" name="Rectangle 37">
              <a:extLst>
                <a:ext uri="{FF2B5EF4-FFF2-40B4-BE49-F238E27FC236}">
                  <a16:creationId xmlns="" xmlns:a16="http://schemas.microsoft.com/office/drawing/2014/main" id="{9F9D742D-7763-4174-9B77-2326A7609904}"/>
                </a:ext>
              </a:extLst>
            </p:cNvPr>
            <p:cNvSpPr/>
            <p:nvPr/>
          </p:nvSpPr>
          <p:spPr bwMode="auto">
            <a:xfrm>
              <a:off x="8437617" y="4057036"/>
              <a:ext cx="108000" cy="108000"/>
            </a:xfrm>
            <a:prstGeom prst="rect">
              <a:avLst/>
            </a:prstGeom>
            <a:solidFill>
              <a:srgbClr val="001C4B"/>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grpSp>
      <p:grpSp>
        <p:nvGrpSpPr>
          <p:cNvPr id="41" name="Groupe 40">
            <a:extLst>
              <a:ext uri="{FF2B5EF4-FFF2-40B4-BE49-F238E27FC236}">
                <a16:creationId xmlns="" xmlns:a16="http://schemas.microsoft.com/office/drawing/2014/main" id="{925D9813-CBE9-4F6E-BF9F-6B4CB9545D13}"/>
              </a:ext>
            </a:extLst>
          </p:cNvPr>
          <p:cNvGrpSpPr/>
          <p:nvPr/>
        </p:nvGrpSpPr>
        <p:grpSpPr>
          <a:xfrm>
            <a:off x="4892295" y="5527694"/>
            <a:ext cx="1342865" cy="215444"/>
            <a:chOff x="8437617" y="4355988"/>
            <a:chExt cx="1342865" cy="215444"/>
          </a:xfrm>
        </p:grpSpPr>
        <p:sp>
          <p:nvSpPr>
            <p:cNvPr id="39" name="ZoneTexte 38">
              <a:extLst>
                <a:ext uri="{FF2B5EF4-FFF2-40B4-BE49-F238E27FC236}">
                  <a16:creationId xmlns="" xmlns:a16="http://schemas.microsoft.com/office/drawing/2014/main" id="{AEE57855-0B44-44D4-9B28-EC8C1FEDD559}"/>
                </a:ext>
              </a:extLst>
            </p:cNvPr>
            <p:cNvSpPr txBox="1"/>
            <p:nvPr/>
          </p:nvSpPr>
          <p:spPr>
            <a:xfrm>
              <a:off x="8507517" y="4355988"/>
              <a:ext cx="1272965" cy="215444"/>
            </a:xfrm>
            <a:prstGeom prst="rect">
              <a:avLst/>
            </a:prstGeom>
            <a:noFill/>
          </p:spPr>
          <p:txBody>
            <a:bodyPr wrap="square" rtlCol="0">
              <a:spAutoFit/>
            </a:bodyPr>
            <a:lstStyle/>
            <a:p>
              <a:pPr lvl="0" defTabSz="457200"/>
              <a:r>
                <a:rPr lang="fr-FR" sz="800" b="1" kern="0" dirty="0">
                  <a:solidFill>
                    <a:schemeClr val="accent1"/>
                  </a:solidFill>
                </a:rPr>
                <a:t>MSCI Europe Index</a:t>
              </a:r>
            </a:p>
          </p:txBody>
        </p:sp>
        <p:sp>
          <p:nvSpPr>
            <p:cNvPr id="40" name="Rectangle 39">
              <a:extLst>
                <a:ext uri="{FF2B5EF4-FFF2-40B4-BE49-F238E27FC236}">
                  <a16:creationId xmlns="" xmlns:a16="http://schemas.microsoft.com/office/drawing/2014/main" id="{6213652A-C877-4CFD-A0CC-EE2392CEF412}"/>
                </a:ext>
              </a:extLst>
            </p:cNvPr>
            <p:cNvSpPr/>
            <p:nvPr/>
          </p:nvSpPr>
          <p:spPr bwMode="auto">
            <a:xfrm>
              <a:off x="8437617" y="4403620"/>
              <a:ext cx="108000" cy="10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grpSp>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32788327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lèche vers le bas 2"/>
          <p:cNvSpPr/>
          <p:nvPr/>
        </p:nvSpPr>
        <p:spPr>
          <a:xfrm>
            <a:off x="5619942" y="1704916"/>
            <a:ext cx="1677971" cy="3779838"/>
          </a:xfrm>
          <a:prstGeom prst="downArrow">
            <a:avLst>
              <a:gd name="adj1" fmla="val 50000"/>
              <a:gd name="adj2" fmla="val 3258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Flèche vers le bas 2"/>
          <p:cNvSpPr/>
          <p:nvPr/>
        </p:nvSpPr>
        <p:spPr>
          <a:xfrm rot="10800000">
            <a:off x="2036185" y="1701329"/>
            <a:ext cx="1677971" cy="3813357"/>
          </a:xfrm>
          <a:prstGeom prst="downArrow">
            <a:avLst>
              <a:gd name="adj1" fmla="val 50000"/>
              <a:gd name="adj2" fmla="val 3258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 xmlns:a16="http://schemas.microsoft.com/office/drawing/2014/main" id="{4988B770-ED34-4120-92DB-02E52E2CAE1B}"/>
              </a:ext>
            </a:extLst>
          </p:cNvPr>
          <p:cNvSpPr>
            <a:spLocks noGrp="1"/>
          </p:cNvSpPr>
          <p:nvPr>
            <p:ph type="title"/>
          </p:nvPr>
        </p:nvSpPr>
        <p:spPr/>
        <p:txBody>
          <a:bodyPr>
            <a:noAutofit/>
          </a:bodyPr>
          <a:lstStyle/>
          <a:p>
            <a:r>
              <a:rPr lang="en-US" sz="1800" dirty="0"/>
              <a:t>A disciplined investment process </a:t>
            </a:r>
            <a:r>
              <a:rPr lang="en-US" sz="1800" dirty="0">
                <a:solidFill>
                  <a:schemeClr val="accent1"/>
                </a:solidFill>
              </a:rPr>
              <a:t>to address a wide spectrum of risks</a:t>
            </a:r>
            <a:endParaRPr lang="fr-FR" sz="1800" dirty="0">
              <a:solidFill>
                <a:schemeClr val="accent1"/>
              </a:solidFill>
            </a:endParaRPr>
          </a:p>
        </p:txBody>
      </p:sp>
      <p:sp>
        <p:nvSpPr>
          <p:cNvPr id="5" name="Espace réservé du numéro de diapositive 4">
            <a:extLst>
              <a:ext uri="{FF2B5EF4-FFF2-40B4-BE49-F238E27FC236}">
                <a16:creationId xmlns="" xmlns:a16="http://schemas.microsoft.com/office/drawing/2014/main" id="{BB8D9D19-DCF2-45EA-A205-6C8FD9BAA90C}"/>
              </a:ext>
            </a:extLst>
          </p:cNvPr>
          <p:cNvSpPr>
            <a:spLocks noGrp="1"/>
          </p:cNvSpPr>
          <p:nvPr>
            <p:ph type="sldNum" sz="quarter" idx="12"/>
          </p:nvPr>
        </p:nvSpPr>
        <p:spPr/>
        <p:txBody>
          <a:bodyPr/>
          <a:lstStyle/>
          <a:p>
            <a:fld id="{2B1C6FFC-D040-034F-8B69-20295064E64D}" type="slidenum">
              <a:rPr lang="fr-FR" smtClean="0"/>
              <a:t>18</a:t>
            </a:fld>
            <a:endParaRPr lang="fr-FR" dirty="0"/>
          </a:p>
        </p:txBody>
      </p:sp>
      <p:sp>
        <p:nvSpPr>
          <p:cNvPr id="6" name="Espace réservé du texte 5">
            <a:extLst>
              <a:ext uri="{FF2B5EF4-FFF2-40B4-BE49-F238E27FC236}">
                <a16:creationId xmlns="" xmlns:a16="http://schemas.microsoft.com/office/drawing/2014/main" id="{5FC70EDD-B6DD-4924-A00E-6DD98C5FB6B3}"/>
              </a:ext>
            </a:extLst>
          </p:cNvPr>
          <p:cNvSpPr>
            <a:spLocks noGrp="1"/>
          </p:cNvSpPr>
          <p:nvPr>
            <p:ph type="body" sz="quarter" idx="13"/>
          </p:nvPr>
        </p:nvSpPr>
        <p:spPr/>
        <p:txBody>
          <a:bodyPr/>
          <a:lstStyle/>
          <a:p>
            <a:r>
              <a:rPr lang="en-US" dirty="0"/>
              <a:t>Multifaceted and challenging risk framework implies a rigorous and structured portfolio construction process</a:t>
            </a:r>
          </a:p>
        </p:txBody>
      </p:sp>
      <p:sp>
        <p:nvSpPr>
          <p:cNvPr id="7" name="Espace réservé du texte 6">
            <a:extLst>
              <a:ext uri="{FF2B5EF4-FFF2-40B4-BE49-F238E27FC236}">
                <a16:creationId xmlns="" xmlns:a16="http://schemas.microsoft.com/office/drawing/2014/main" id="{583C918F-E591-4A7E-A35C-E6153E5DDF56}"/>
              </a:ext>
            </a:extLst>
          </p:cNvPr>
          <p:cNvSpPr>
            <a:spLocks noGrp="1"/>
          </p:cNvSpPr>
          <p:nvPr>
            <p:ph type="body" sz="quarter" idx="14"/>
          </p:nvPr>
        </p:nvSpPr>
        <p:spPr/>
        <p:txBody>
          <a:bodyPr/>
          <a:lstStyle/>
          <a:p>
            <a:r>
              <a:rPr lang="fr-FR" dirty="0"/>
              <a:t>Source: Amundi AM</a:t>
            </a:r>
          </a:p>
        </p:txBody>
      </p:sp>
      <p:sp>
        <p:nvSpPr>
          <p:cNvPr id="18" name="Rectangle 17">
            <a:extLst>
              <a:ext uri="{FF2B5EF4-FFF2-40B4-BE49-F238E27FC236}">
                <a16:creationId xmlns="" xmlns:a16="http://schemas.microsoft.com/office/drawing/2014/main" id="{7699FCF9-A728-4108-A79F-94061B5355C9}"/>
              </a:ext>
            </a:extLst>
          </p:cNvPr>
          <p:cNvSpPr/>
          <p:nvPr/>
        </p:nvSpPr>
        <p:spPr bwMode="auto">
          <a:xfrm>
            <a:off x="4739487" y="2310576"/>
            <a:ext cx="3146092" cy="540371"/>
          </a:xfrm>
          <a:prstGeom prst="rect">
            <a:avLst/>
          </a:prstGeom>
          <a:no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fr-FR" b="1" dirty="0">
                <a:solidFill>
                  <a:schemeClr val="accent1"/>
                </a:solidFill>
                <a:latin typeface="Arial" charset="0"/>
              </a:rPr>
              <a:t>Top down </a:t>
            </a:r>
            <a:r>
              <a:rPr lang="fr-FR" b="1" dirty="0" err="1">
                <a:solidFill>
                  <a:schemeClr val="accent1"/>
                </a:solidFill>
                <a:latin typeface="Arial" charset="0"/>
              </a:rPr>
              <a:t>Risks</a:t>
            </a:r>
            <a:endParaRPr lang="fr-FR" b="1" dirty="0">
              <a:solidFill>
                <a:schemeClr val="accent1"/>
              </a:solidFill>
              <a:latin typeface="Arial" charset="0"/>
            </a:endParaRPr>
          </a:p>
        </p:txBody>
      </p:sp>
      <p:sp>
        <p:nvSpPr>
          <p:cNvPr id="21" name="Flèche : chevron 9">
            <a:extLst>
              <a:ext uri="{FF2B5EF4-FFF2-40B4-BE49-F238E27FC236}">
                <a16:creationId xmlns="" xmlns:a16="http://schemas.microsoft.com/office/drawing/2014/main" id="{E9161EB6-2BAA-492A-A0DC-AB1DD78BF998}"/>
              </a:ext>
            </a:extLst>
          </p:cNvPr>
          <p:cNvSpPr/>
          <p:nvPr/>
        </p:nvSpPr>
        <p:spPr>
          <a:xfrm>
            <a:off x="4739486" y="3718009"/>
            <a:ext cx="3146092" cy="6563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t>Valuation</a:t>
            </a:r>
            <a:endParaRPr lang="fr-FR" dirty="0"/>
          </a:p>
        </p:txBody>
      </p:sp>
      <p:sp>
        <p:nvSpPr>
          <p:cNvPr id="22" name="Flèche : chevron 9">
            <a:extLst>
              <a:ext uri="{FF2B5EF4-FFF2-40B4-BE49-F238E27FC236}">
                <a16:creationId xmlns="" xmlns:a16="http://schemas.microsoft.com/office/drawing/2014/main" id="{E9161EB6-2BAA-492A-A0DC-AB1DD78BF998}"/>
              </a:ext>
            </a:extLst>
          </p:cNvPr>
          <p:cNvSpPr/>
          <p:nvPr/>
        </p:nvSpPr>
        <p:spPr>
          <a:xfrm>
            <a:off x="4739486" y="2958829"/>
            <a:ext cx="3146092" cy="6563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t>Macro </a:t>
            </a:r>
            <a:r>
              <a:rPr lang="fr-FR" dirty="0" err="1" smtClean="0"/>
              <a:t>risks</a:t>
            </a:r>
            <a:endParaRPr lang="fr-FR" dirty="0"/>
          </a:p>
        </p:txBody>
      </p:sp>
      <p:sp>
        <p:nvSpPr>
          <p:cNvPr id="24" name="Flèche : chevron 9">
            <a:extLst>
              <a:ext uri="{FF2B5EF4-FFF2-40B4-BE49-F238E27FC236}">
                <a16:creationId xmlns="" xmlns:a16="http://schemas.microsoft.com/office/drawing/2014/main" id="{E9161EB6-2BAA-492A-A0DC-AB1DD78BF998}"/>
              </a:ext>
            </a:extLst>
          </p:cNvPr>
          <p:cNvSpPr/>
          <p:nvPr/>
        </p:nvSpPr>
        <p:spPr>
          <a:xfrm>
            <a:off x="1329535" y="3046117"/>
            <a:ext cx="3146092" cy="6563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t>Correlation</a:t>
            </a:r>
            <a:endParaRPr lang="fr-FR" dirty="0"/>
          </a:p>
        </p:txBody>
      </p:sp>
      <p:sp>
        <p:nvSpPr>
          <p:cNvPr id="25" name="Rectangle 24">
            <a:extLst>
              <a:ext uri="{FF2B5EF4-FFF2-40B4-BE49-F238E27FC236}">
                <a16:creationId xmlns="" xmlns:a16="http://schemas.microsoft.com/office/drawing/2014/main" id="{6ED75512-A9C3-4924-BF05-163F392AF4B4}"/>
              </a:ext>
            </a:extLst>
          </p:cNvPr>
          <p:cNvSpPr/>
          <p:nvPr/>
        </p:nvSpPr>
        <p:spPr bwMode="auto">
          <a:xfrm>
            <a:off x="1338130" y="5536620"/>
            <a:ext cx="3128903" cy="540371"/>
          </a:xfrm>
          <a:prstGeom prst="rect">
            <a:avLst/>
          </a:prstGeom>
          <a:noFill/>
          <a:ln w="9525"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fr-FR" b="1" dirty="0" err="1">
                <a:solidFill>
                  <a:schemeClr val="accent2"/>
                </a:solidFill>
                <a:latin typeface="Arial" charset="0"/>
              </a:rPr>
              <a:t>Bottom</a:t>
            </a:r>
            <a:r>
              <a:rPr lang="fr-FR" b="1" dirty="0">
                <a:solidFill>
                  <a:schemeClr val="accent2"/>
                </a:solidFill>
                <a:latin typeface="Arial" charset="0"/>
              </a:rPr>
              <a:t> up </a:t>
            </a:r>
            <a:r>
              <a:rPr lang="fr-FR" b="1" dirty="0" err="1">
                <a:solidFill>
                  <a:schemeClr val="accent2"/>
                </a:solidFill>
                <a:latin typeface="Arial" charset="0"/>
              </a:rPr>
              <a:t>Risks</a:t>
            </a:r>
            <a:endParaRPr lang="fr-FR" b="1" dirty="0">
              <a:solidFill>
                <a:schemeClr val="accent2"/>
              </a:solidFill>
              <a:latin typeface="Arial" charset="0"/>
            </a:endParaRPr>
          </a:p>
        </p:txBody>
      </p:sp>
      <p:sp>
        <p:nvSpPr>
          <p:cNvPr id="26" name="Flèche : chevron 9">
            <a:extLst>
              <a:ext uri="{FF2B5EF4-FFF2-40B4-BE49-F238E27FC236}">
                <a16:creationId xmlns="" xmlns:a16="http://schemas.microsoft.com/office/drawing/2014/main" id="{E9161EB6-2BAA-492A-A0DC-AB1DD78BF998}"/>
              </a:ext>
            </a:extLst>
          </p:cNvPr>
          <p:cNvSpPr/>
          <p:nvPr/>
        </p:nvSpPr>
        <p:spPr>
          <a:xfrm>
            <a:off x="1329535" y="2305987"/>
            <a:ext cx="3146092" cy="6563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t>Volatility</a:t>
            </a:r>
            <a:endParaRPr lang="fr-FR" dirty="0"/>
          </a:p>
        </p:txBody>
      </p:sp>
      <p:sp>
        <p:nvSpPr>
          <p:cNvPr id="27" name="Flèche : chevron 9">
            <a:extLst>
              <a:ext uri="{FF2B5EF4-FFF2-40B4-BE49-F238E27FC236}">
                <a16:creationId xmlns="" xmlns:a16="http://schemas.microsoft.com/office/drawing/2014/main" id="{E9161EB6-2BAA-492A-A0DC-AB1DD78BF998}"/>
              </a:ext>
            </a:extLst>
          </p:cNvPr>
          <p:cNvSpPr/>
          <p:nvPr/>
        </p:nvSpPr>
        <p:spPr>
          <a:xfrm>
            <a:off x="1329535" y="3854876"/>
            <a:ext cx="3146092" cy="6563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t>Stock </a:t>
            </a:r>
            <a:r>
              <a:rPr lang="fr-FR" dirty="0" err="1" smtClean="0"/>
              <a:t>specific</a:t>
            </a:r>
            <a:r>
              <a:rPr lang="fr-FR" dirty="0" smtClean="0"/>
              <a:t> </a:t>
            </a:r>
            <a:r>
              <a:rPr lang="fr-FR" dirty="0" err="1" smtClean="0"/>
              <a:t>risks</a:t>
            </a:r>
            <a:r>
              <a:rPr lang="fr-FR" dirty="0" smtClean="0"/>
              <a:t> </a:t>
            </a:r>
          </a:p>
          <a:p>
            <a:pPr algn="ctr"/>
            <a:r>
              <a:rPr lang="fr-FR" sz="1100" dirty="0" smtClean="0"/>
              <a:t>(ESG </a:t>
            </a:r>
            <a:r>
              <a:rPr lang="fr-FR" sz="1100" dirty="0" err="1" smtClean="0"/>
              <a:t>risks</a:t>
            </a:r>
            <a:r>
              <a:rPr lang="fr-FR" sz="1100" dirty="0" smtClean="0"/>
              <a:t>, </a:t>
            </a:r>
            <a:r>
              <a:rPr lang="fr-FR" sz="1100" dirty="0" err="1" smtClean="0"/>
              <a:t>fundamental</a:t>
            </a:r>
            <a:r>
              <a:rPr lang="fr-FR" sz="1100" dirty="0" smtClean="0"/>
              <a:t> </a:t>
            </a:r>
            <a:r>
              <a:rPr lang="fr-FR" sz="1100" dirty="0" err="1" smtClean="0"/>
              <a:t>risks</a:t>
            </a:r>
            <a:r>
              <a:rPr lang="fr-FR" sz="1100" dirty="0" smtClean="0"/>
              <a:t>, etc.)</a:t>
            </a:r>
            <a:endParaRPr lang="fr-FR" sz="1100" dirty="0"/>
          </a:p>
        </p:txBody>
      </p:sp>
      <p:sp>
        <p:nvSpPr>
          <p:cNvPr id="28" name="Flèche : chevron 9">
            <a:extLst>
              <a:ext uri="{FF2B5EF4-FFF2-40B4-BE49-F238E27FC236}">
                <a16:creationId xmlns="" xmlns:a16="http://schemas.microsoft.com/office/drawing/2014/main" id="{E9161EB6-2BAA-492A-A0DC-AB1DD78BF998}"/>
              </a:ext>
            </a:extLst>
          </p:cNvPr>
          <p:cNvSpPr/>
          <p:nvPr/>
        </p:nvSpPr>
        <p:spPr>
          <a:xfrm>
            <a:off x="1329535" y="4663635"/>
            <a:ext cx="3146092" cy="6563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t>Liquidity</a:t>
            </a:r>
            <a:endParaRPr lang="fr-FR" dirty="0" smtClean="0"/>
          </a:p>
        </p:txBody>
      </p:sp>
      <p:sp>
        <p:nvSpPr>
          <p:cNvPr id="4" name="Espace réservé du pied de page 3"/>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131038787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273725F2-2BAA-4602-9D6E-B208B5DD80D2}"/>
              </a:ext>
            </a:extLst>
          </p:cNvPr>
          <p:cNvSpPr>
            <a:spLocks noGrp="1"/>
          </p:cNvSpPr>
          <p:nvPr>
            <p:ph type="title"/>
          </p:nvPr>
        </p:nvSpPr>
        <p:spPr/>
        <p:txBody>
          <a:bodyPr>
            <a:noAutofit/>
          </a:bodyPr>
          <a:lstStyle/>
          <a:p>
            <a:r>
              <a:rPr lang="en-US" sz="1800" dirty="0"/>
              <a:t>A disciplined investment process </a:t>
            </a:r>
            <a:r>
              <a:rPr lang="en-US" sz="1800" dirty="0">
                <a:solidFill>
                  <a:schemeClr val="accent1"/>
                </a:solidFill>
              </a:rPr>
              <a:t>to address a wide spectrum of risks</a:t>
            </a:r>
            <a:endParaRPr lang="fr-FR" sz="1800" dirty="0">
              <a:solidFill>
                <a:schemeClr val="accent1"/>
              </a:solidFill>
            </a:endParaRPr>
          </a:p>
        </p:txBody>
      </p:sp>
      <p:sp>
        <p:nvSpPr>
          <p:cNvPr id="5" name="Espace réservé du numéro de diapositive 4">
            <a:extLst>
              <a:ext uri="{FF2B5EF4-FFF2-40B4-BE49-F238E27FC236}">
                <a16:creationId xmlns="" xmlns:a16="http://schemas.microsoft.com/office/drawing/2014/main" id="{A25B1A6E-BB32-4716-9A42-6F777E858D54}"/>
              </a:ext>
            </a:extLst>
          </p:cNvPr>
          <p:cNvSpPr>
            <a:spLocks noGrp="1"/>
          </p:cNvSpPr>
          <p:nvPr>
            <p:ph type="sldNum" sz="quarter" idx="12"/>
          </p:nvPr>
        </p:nvSpPr>
        <p:spPr/>
        <p:txBody>
          <a:bodyPr/>
          <a:lstStyle/>
          <a:p>
            <a:fld id="{2B1C6FFC-D040-034F-8B69-20295064E64D}" type="slidenum">
              <a:rPr lang="fr-FR" smtClean="0"/>
              <a:t>19</a:t>
            </a:fld>
            <a:endParaRPr lang="fr-FR" dirty="0"/>
          </a:p>
        </p:txBody>
      </p:sp>
      <p:sp>
        <p:nvSpPr>
          <p:cNvPr id="7" name="Espace réservé du texte 6">
            <a:extLst>
              <a:ext uri="{FF2B5EF4-FFF2-40B4-BE49-F238E27FC236}">
                <a16:creationId xmlns="" xmlns:a16="http://schemas.microsoft.com/office/drawing/2014/main" id="{45BDC987-F345-4EDF-853D-1656E24F7FC2}"/>
              </a:ext>
            </a:extLst>
          </p:cNvPr>
          <p:cNvSpPr>
            <a:spLocks noGrp="1"/>
          </p:cNvSpPr>
          <p:nvPr>
            <p:ph type="body" sz="quarter" idx="14"/>
          </p:nvPr>
        </p:nvSpPr>
        <p:spPr>
          <a:xfrm>
            <a:off x="539750" y="5583751"/>
            <a:ext cx="8064248" cy="612000"/>
          </a:xfrm>
        </p:spPr>
        <p:txBody>
          <a:bodyPr/>
          <a:lstStyle/>
          <a:p>
            <a:pPr algn="l"/>
            <a:r>
              <a:rPr lang="en-US" dirty="0"/>
              <a:t>Source: </a:t>
            </a:r>
            <a:r>
              <a:rPr lang="en-US" dirty="0" err="1"/>
              <a:t>Amundi</a:t>
            </a:r>
            <a:r>
              <a:rPr lang="en-US" dirty="0"/>
              <a:t> AM</a:t>
            </a:r>
            <a:br>
              <a:rPr lang="en-US" dirty="0"/>
            </a:br>
            <a:r>
              <a:rPr lang="en-US" dirty="0"/>
              <a:t>Investment in emerging markets carries an above average degree of risk due to the less developed nature of securities markets in those countries</a:t>
            </a:r>
          </a:p>
        </p:txBody>
      </p:sp>
      <p:sp>
        <p:nvSpPr>
          <p:cNvPr id="37" name="AutoShape 2"/>
          <p:cNvSpPr>
            <a:spLocks noChangeArrowheads="1"/>
          </p:cNvSpPr>
          <p:nvPr/>
        </p:nvSpPr>
        <p:spPr bwMode="auto">
          <a:xfrm>
            <a:off x="1541056" y="1478341"/>
            <a:ext cx="5062423" cy="3497843"/>
          </a:xfrm>
          <a:prstGeom prst="downArrow">
            <a:avLst>
              <a:gd name="adj1" fmla="val 81704"/>
              <a:gd name="adj2" fmla="val 9968"/>
            </a:avLst>
          </a:prstGeom>
          <a:solidFill>
            <a:srgbClr val="E7E6E6"/>
          </a:solidFill>
          <a:ln>
            <a:noFill/>
          </a:ln>
          <a:effectLst/>
          <a:extLst/>
        </p:spPr>
        <p:txBody>
          <a:bodyPr wrap="none" lIns="71862" tIns="71862" rIns="71862" bIns="71862" anchor="ctr"/>
          <a:lstStyle>
            <a:lvl1pPr>
              <a:defRPr sz="800">
                <a:solidFill>
                  <a:schemeClr val="tx1"/>
                </a:solidFill>
                <a:latin typeface="Arial" pitchFamily="34" charset="0"/>
              </a:defRPr>
            </a:lvl1pPr>
            <a:lvl2pPr marL="742950" indent="-285750">
              <a:defRPr sz="800">
                <a:solidFill>
                  <a:schemeClr val="tx1"/>
                </a:solidFill>
                <a:latin typeface="Arial" pitchFamily="34" charset="0"/>
              </a:defRPr>
            </a:lvl2pPr>
            <a:lvl3pPr marL="1143000" indent="-228600">
              <a:defRPr sz="800">
                <a:solidFill>
                  <a:schemeClr val="tx1"/>
                </a:solidFill>
                <a:latin typeface="Arial" pitchFamily="34" charset="0"/>
              </a:defRPr>
            </a:lvl3pPr>
            <a:lvl4pPr marL="1600200" indent="-228600">
              <a:defRPr sz="800">
                <a:solidFill>
                  <a:schemeClr val="tx1"/>
                </a:solidFill>
                <a:latin typeface="Arial" pitchFamily="34" charset="0"/>
              </a:defRPr>
            </a:lvl4pPr>
            <a:lvl5pPr marL="2057400" indent="-228600">
              <a:defRPr sz="800">
                <a:solidFill>
                  <a:schemeClr val="tx1"/>
                </a:solidFill>
                <a:latin typeface="Arial" pitchFamily="34" charset="0"/>
              </a:defRPr>
            </a:lvl5pPr>
            <a:lvl6pPr marL="2514600" indent="-228600" eaLnBrk="0" fontAlgn="base" hangingPunct="0">
              <a:lnSpc>
                <a:spcPct val="85000"/>
              </a:lnSpc>
              <a:spcBef>
                <a:spcPct val="0"/>
              </a:spcBef>
              <a:spcAft>
                <a:spcPct val="0"/>
              </a:spcAft>
              <a:defRPr sz="800">
                <a:solidFill>
                  <a:schemeClr val="tx1"/>
                </a:solidFill>
                <a:latin typeface="Arial" pitchFamily="34" charset="0"/>
              </a:defRPr>
            </a:lvl6pPr>
            <a:lvl7pPr marL="2971800" indent="-228600" eaLnBrk="0" fontAlgn="base" hangingPunct="0">
              <a:lnSpc>
                <a:spcPct val="85000"/>
              </a:lnSpc>
              <a:spcBef>
                <a:spcPct val="0"/>
              </a:spcBef>
              <a:spcAft>
                <a:spcPct val="0"/>
              </a:spcAft>
              <a:defRPr sz="800">
                <a:solidFill>
                  <a:schemeClr val="tx1"/>
                </a:solidFill>
                <a:latin typeface="Arial" pitchFamily="34" charset="0"/>
              </a:defRPr>
            </a:lvl7pPr>
            <a:lvl8pPr marL="3429000" indent="-228600" eaLnBrk="0" fontAlgn="base" hangingPunct="0">
              <a:lnSpc>
                <a:spcPct val="85000"/>
              </a:lnSpc>
              <a:spcBef>
                <a:spcPct val="0"/>
              </a:spcBef>
              <a:spcAft>
                <a:spcPct val="0"/>
              </a:spcAft>
              <a:defRPr sz="800">
                <a:solidFill>
                  <a:schemeClr val="tx1"/>
                </a:solidFill>
                <a:latin typeface="Arial" pitchFamily="34" charset="0"/>
              </a:defRPr>
            </a:lvl8pPr>
            <a:lvl9pPr marL="3886200" indent="-228600" eaLnBrk="0" fontAlgn="base" hangingPunct="0">
              <a:lnSpc>
                <a:spcPct val="85000"/>
              </a:lnSpc>
              <a:spcBef>
                <a:spcPct val="0"/>
              </a:spcBef>
              <a:spcAft>
                <a:spcPct val="0"/>
              </a:spcAft>
              <a:defRPr sz="800">
                <a:solidFill>
                  <a:schemeClr val="tx1"/>
                </a:solidFill>
                <a:latin typeface="Arial" pitchFamily="34" charset="0"/>
              </a:defRPr>
            </a:lvl9pPr>
          </a:lstStyle>
          <a:p>
            <a:pPr marL="0" marR="0" lvl="0" indent="0" defTabSz="456331" eaLnBrk="1" fontAlgn="auto" latinLnBrk="0" hangingPunct="1">
              <a:lnSpc>
                <a:spcPct val="100000"/>
              </a:lnSpc>
              <a:spcBef>
                <a:spcPts val="0"/>
              </a:spcBef>
              <a:spcAft>
                <a:spcPts val="0"/>
              </a:spcAft>
              <a:buClrTx/>
              <a:buSzTx/>
              <a:buFontTx/>
              <a:buNone/>
              <a:tabLst/>
              <a:defRPr/>
            </a:pPr>
            <a:endParaRPr kumimoji="0" lang="fr-FR" altLang="en-US" sz="800" b="0" i="0" u="none" strike="noStrike" kern="0" cap="none" spc="0" normalizeH="0" baseline="0" noProof="0">
              <a:ln>
                <a:noFill/>
              </a:ln>
              <a:solidFill>
                <a:srgbClr val="000000"/>
              </a:solidFill>
              <a:effectLst/>
              <a:uLnTx/>
              <a:uFillTx/>
              <a:latin typeface="Arial" pitchFamily="34" charset="0"/>
            </a:endParaRPr>
          </a:p>
        </p:txBody>
      </p:sp>
      <p:sp>
        <p:nvSpPr>
          <p:cNvPr id="39" name="AutoShape 11"/>
          <p:cNvSpPr>
            <a:spLocks noChangeArrowheads="1"/>
          </p:cNvSpPr>
          <p:nvPr/>
        </p:nvSpPr>
        <p:spPr bwMode="auto">
          <a:xfrm>
            <a:off x="2694773" y="4928793"/>
            <a:ext cx="3495435" cy="475945"/>
          </a:xfrm>
          <a:prstGeom prst="roundRect">
            <a:avLst>
              <a:gd name="adj"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969696"/>
                </a:solidFill>
                <a:prstDash val="dash"/>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007" tIns="48281" rIns="19007" bIns="48281"/>
          <a:lstStyle>
            <a:lvl1pPr defTabSz="966788">
              <a:defRPr sz="800">
                <a:solidFill>
                  <a:schemeClr val="tx1"/>
                </a:solidFill>
                <a:latin typeface="Arial" pitchFamily="34" charset="0"/>
              </a:defRPr>
            </a:lvl1pPr>
            <a:lvl2pPr marL="742950" indent="-285750" defTabSz="966788">
              <a:defRPr sz="800">
                <a:solidFill>
                  <a:schemeClr val="tx1"/>
                </a:solidFill>
                <a:latin typeface="Arial" pitchFamily="34" charset="0"/>
              </a:defRPr>
            </a:lvl2pPr>
            <a:lvl3pPr marL="1143000" indent="-228600" defTabSz="966788">
              <a:defRPr sz="800">
                <a:solidFill>
                  <a:schemeClr val="tx1"/>
                </a:solidFill>
                <a:latin typeface="Arial" pitchFamily="34" charset="0"/>
              </a:defRPr>
            </a:lvl3pPr>
            <a:lvl4pPr marL="1600200" indent="-228600" defTabSz="966788">
              <a:defRPr sz="800">
                <a:solidFill>
                  <a:schemeClr val="tx1"/>
                </a:solidFill>
                <a:latin typeface="Arial" pitchFamily="34" charset="0"/>
              </a:defRPr>
            </a:lvl4pPr>
            <a:lvl5pPr marL="2057400" indent="-228600" defTabSz="966788">
              <a:defRPr sz="800">
                <a:solidFill>
                  <a:schemeClr val="tx1"/>
                </a:solidFill>
                <a:latin typeface="Arial" pitchFamily="34" charset="0"/>
              </a:defRPr>
            </a:lvl5pPr>
            <a:lvl6pPr marL="2514600" indent="-228600" defTabSz="966788"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966788"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966788"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966788" eaLnBrk="0" fontAlgn="base" hangingPunct="0">
              <a:lnSpc>
                <a:spcPct val="85000"/>
              </a:lnSpc>
              <a:spcBef>
                <a:spcPct val="0"/>
              </a:spcBef>
              <a:spcAft>
                <a:spcPct val="0"/>
              </a:spcAft>
              <a:defRPr sz="800">
                <a:solidFill>
                  <a:schemeClr val="tx1"/>
                </a:solidFill>
                <a:latin typeface="Arial" pitchFamily="34" charset="0"/>
              </a:defRPr>
            </a:lvl9pPr>
          </a:lstStyle>
          <a:p>
            <a:pPr marL="285206" indent="-285206">
              <a:buFont typeface="Arial" panose="020B0604020202020204" pitchFamily="34" charset="0"/>
              <a:buChar char="•"/>
            </a:pPr>
            <a:r>
              <a:rPr lang="en-GB" altLang="en-US" sz="1100" b="1" dirty="0" smtClean="0">
                <a:solidFill>
                  <a:srgbClr val="646464"/>
                </a:solidFill>
                <a:ea typeface="MS PGothic" pitchFamily="34" charset="-128"/>
                <a:cs typeface="Arial" pitchFamily="34" charset="0"/>
              </a:rPr>
              <a:t>Between 80 and 130 stocks</a:t>
            </a:r>
            <a:endParaRPr lang="en-GB" altLang="en-US" sz="1100" b="1" dirty="0">
              <a:solidFill>
                <a:srgbClr val="646464"/>
              </a:solidFill>
              <a:ea typeface="MS PGothic" pitchFamily="34" charset="-128"/>
              <a:cs typeface="Arial" pitchFamily="34" charset="0"/>
            </a:endParaRPr>
          </a:p>
          <a:p>
            <a:pPr marL="285206" indent="-285206">
              <a:buFont typeface="Arial" panose="020B0604020202020204" pitchFamily="34" charset="0"/>
              <a:buChar char="•"/>
            </a:pPr>
            <a:r>
              <a:rPr lang="en-US" altLang="en-US" sz="1100" b="1" dirty="0">
                <a:solidFill>
                  <a:srgbClr val="646464"/>
                </a:solidFill>
                <a:ea typeface="MS PGothic" pitchFamily="34" charset="-128"/>
                <a:cs typeface="Arial" pitchFamily="34" charset="0"/>
              </a:rPr>
              <a:t>Fully exposed to Equities</a:t>
            </a:r>
          </a:p>
        </p:txBody>
      </p:sp>
      <p:sp>
        <p:nvSpPr>
          <p:cNvPr id="40" name="Rectangle 3"/>
          <p:cNvSpPr>
            <a:spLocks noChangeArrowheads="1"/>
          </p:cNvSpPr>
          <p:nvPr/>
        </p:nvSpPr>
        <p:spPr bwMode="auto">
          <a:xfrm>
            <a:off x="2246220" y="1563744"/>
            <a:ext cx="3678907" cy="1008000"/>
          </a:xfrm>
          <a:prstGeom prst="rect">
            <a:avLst/>
          </a:prstGeom>
          <a:noFill/>
          <a:ln w="12700">
            <a:solidFill>
              <a:srgbClr val="00B0F0"/>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7022" tIns="51077" rIns="20107" bIns="51077"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marL="0" marR="0" lvl="0" indent="0" defTabSz="1022350" eaLnBrk="1" fontAlgn="auto" latinLnBrk="0" hangingPunct="1">
              <a:lnSpc>
                <a:spcPct val="100000"/>
              </a:lnSpc>
              <a:spcBef>
                <a:spcPct val="50000"/>
              </a:spcBef>
              <a:spcAft>
                <a:spcPts val="0"/>
              </a:spcAft>
              <a:buClrTx/>
              <a:buSzTx/>
              <a:buFontTx/>
              <a:buNone/>
              <a:tabLst/>
              <a:defRPr/>
            </a:pPr>
            <a:endParaRPr kumimoji="0" lang="en-GB" altLang="en-US" sz="1200" b="1" i="0" u="sng" strike="noStrike" kern="0" cap="none" spc="0" normalizeH="0" baseline="0" noProof="0">
              <a:ln>
                <a:noFill/>
              </a:ln>
              <a:solidFill>
                <a:srgbClr val="000000"/>
              </a:solidFill>
              <a:effectLst/>
              <a:uLnTx/>
              <a:uFillTx/>
              <a:latin typeface="Arial" pitchFamily="34" charset="0"/>
              <a:ea typeface="MS PGothic" pitchFamily="34" charset="-128"/>
            </a:endParaRPr>
          </a:p>
          <a:p>
            <a:pPr marL="0" marR="0" lvl="0" indent="0" defTabSz="1022350" eaLnBrk="1" fontAlgn="auto" latinLnBrk="0" hangingPunct="1">
              <a:lnSpc>
                <a:spcPct val="100000"/>
              </a:lnSpc>
              <a:spcBef>
                <a:spcPct val="50000"/>
              </a:spcBef>
              <a:spcAft>
                <a:spcPts val="0"/>
              </a:spcAft>
              <a:buClrTx/>
              <a:buSzTx/>
              <a:buFontTx/>
              <a:buNone/>
              <a:tabLst/>
              <a:defRPr/>
            </a:pPr>
            <a:endParaRPr kumimoji="0" lang="en-GB" altLang="en-US" sz="1600" b="1" i="0" u="none" strike="noStrike" kern="0" cap="none" spc="0" normalizeH="0" baseline="0" noProof="0">
              <a:ln>
                <a:noFill/>
              </a:ln>
              <a:solidFill>
                <a:srgbClr val="001C4B"/>
              </a:solidFill>
              <a:effectLst/>
              <a:uLnTx/>
              <a:uFillTx/>
              <a:latin typeface="Arial" pitchFamily="34" charset="0"/>
              <a:ea typeface="MS PGothic" pitchFamily="34" charset="-128"/>
              <a:sym typeface="Wingdings" pitchFamily="2" charset="2"/>
            </a:endParaRPr>
          </a:p>
          <a:p>
            <a:pPr marL="0" marR="0" lvl="0" indent="0" defTabSz="1022350" eaLnBrk="1" fontAlgn="auto" latinLnBrk="0" hangingPunct="1">
              <a:lnSpc>
                <a:spcPct val="100000"/>
              </a:lnSpc>
              <a:spcBef>
                <a:spcPct val="50000"/>
              </a:spcBef>
              <a:spcAft>
                <a:spcPts val="0"/>
              </a:spcAft>
              <a:buClrTx/>
              <a:buSzTx/>
              <a:buFontTx/>
              <a:buNone/>
              <a:tabLst/>
              <a:defRPr/>
            </a:pPr>
            <a:endParaRPr kumimoji="0" lang="en-GB" altLang="en-US" sz="1200" b="1" i="0" u="none" strike="noStrike" kern="0" cap="none" spc="0" normalizeH="0" baseline="0" noProof="0">
              <a:ln>
                <a:noFill/>
              </a:ln>
              <a:solidFill>
                <a:srgbClr val="006A82"/>
              </a:solidFill>
              <a:effectLst/>
              <a:uLnTx/>
              <a:uFillTx/>
              <a:latin typeface="Arial" pitchFamily="34" charset="0"/>
              <a:ea typeface="MS PGothic" pitchFamily="34" charset="-128"/>
            </a:endParaRPr>
          </a:p>
          <a:p>
            <a:pPr marL="0" marR="0" lvl="0" indent="0" defTabSz="1022350" eaLnBrk="1" fontAlgn="auto" latinLnBrk="0" hangingPunct="1">
              <a:lnSpc>
                <a:spcPct val="100000"/>
              </a:lnSpc>
              <a:spcBef>
                <a:spcPct val="50000"/>
              </a:spcBef>
              <a:spcAft>
                <a:spcPts val="0"/>
              </a:spcAft>
              <a:buClrTx/>
              <a:buSzTx/>
              <a:buFontTx/>
              <a:buNone/>
              <a:tabLst/>
              <a:defRPr/>
            </a:pPr>
            <a:endParaRPr kumimoji="0" lang="en-GB" altLang="en-US" sz="1200" b="1" i="0" u="none" strike="noStrike" kern="0" cap="none" spc="0" normalizeH="0" baseline="0" noProof="0">
              <a:ln>
                <a:noFill/>
              </a:ln>
              <a:solidFill>
                <a:srgbClr val="000000"/>
              </a:solidFill>
              <a:effectLst/>
              <a:uLnTx/>
              <a:uFillTx/>
              <a:latin typeface="Arial" pitchFamily="34" charset="0"/>
              <a:ea typeface="MS PGothic" pitchFamily="34" charset="-128"/>
            </a:endParaRPr>
          </a:p>
        </p:txBody>
      </p:sp>
      <p:sp>
        <p:nvSpPr>
          <p:cNvPr id="41" name="Parenthèses 16"/>
          <p:cNvSpPr>
            <a:spLocks noChangeArrowheads="1"/>
          </p:cNvSpPr>
          <p:nvPr/>
        </p:nvSpPr>
        <p:spPr bwMode="auto">
          <a:xfrm>
            <a:off x="2377485" y="1563746"/>
            <a:ext cx="3452451" cy="302790"/>
          </a:xfrm>
          <a:prstGeom prst="rect">
            <a:avLst/>
          </a:prstGeom>
          <a:solidFill>
            <a:srgbClr val="003C64"/>
          </a:solidFill>
          <a:ln>
            <a:noFill/>
          </a:ln>
          <a:effectLst/>
          <a:extLst/>
        </p:spPr>
        <p:txBody>
          <a:bodyPr lIns="100543" tIns="51077" rIns="20107" bIns="51077"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marL="0" marR="0" lvl="0" indent="0" algn="ctr" defTabSz="102235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srgbClr val="FFFFFF"/>
                </a:solidFill>
                <a:effectLst/>
                <a:uLnTx/>
                <a:uFillTx/>
                <a:latin typeface="Arial" pitchFamily="34" charset="0"/>
                <a:ea typeface="MS PGothic" pitchFamily="34" charset="-128"/>
                <a:cs typeface="Arial" pitchFamily="34" charset="0"/>
              </a:rPr>
              <a:t>1. Eligible Universe definition </a:t>
            </a:r>
          </a:p>
        </p:txBody>
      </p:sp>
      <p:sp>
        <p:nvSpPr>
          <p:cNvPr id="42" name="Text Box 6"/>
          <p:cNvSpPr txBox="1">
            <a:spLocks noChangeArrowheads="1"/>
          </p:cNvSpPr>
          <p:nvPr/>
        </p:nvSpPr>
        <p:spPr bwMode="auto">
          <a:xfrm>
            <a:off x="2237785" y="1898572"/>
            <a:ext cx="3677308" cy="545237"/>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862" tIns="71862" rIns="71862" bIns="71862">
            <a:spAutoFit/>
          </a:bodyPr>
          <a:lstStyle>
            <a:lvl1pPr marL="85725" indent="-85725">
              <a:defRPr sz="800">
                <a:solidFill>
                  <a:schemeClr val="tx1"/>
                </a:solidFill>
                <a:latin typeface="Arial" pitchFamily="34" charset="0"/>
              </a:defRPr>
            </a:lvl1pPr>
            <a:lvl2pPr marL="742950" indent="-285750">
              <a:defRPr sz="800">
                <a:solidFill>
                  <a:schemeClr val="tx1"/>
                </a:solidFill>
                <a:latin typeface="Arial" pitchFamily="34" charset="0"/>
              </a:defRPr>
            </a:lvl2pPr>
            <a:lvl3pPr marL="1143000" indent="-228600">
              <a:defRPr sz="800">
                <a:solidFill>
                  <a:schemeClr val="tx1"/>
                </a:solidFill>
                <a:latin typeface="Arial" pitchFamily="34" charset="0"/>
              </a:defRPr>
            </a:lvl3pPr>
            <a:lvl4pPr marL="1600200" indent="-228600">
              <a:defRPr sz="800">
                <a:solidFill>
                  <a:schemeClr val="tx1"/>
                </a:solidFill>
                <a:latin typeface="Arial" pitchFamily="34" charset="0"/>
              </a:defRPr>
            </a:lvl4pPr>
            <a:lvl5pPr marL="2057400" indent="-228600">
              <a:defRPr sz="800">
                <a:solidFill>
                  <a:schemeClr val="tx1"/>
                </a:solidFill>
                <a:latin typeface="Arial" pitchFamily="34" charset="0"/>
              </a:defRPr>
            </a:lvl5pPr>
            <a:lvl6pPr marL="2514600" indent="-228600" eaLnBrk="0" fontAlgn="base" hangingPunct="0">
              <a:lnSpc>
                <a:spcPct val="85000"/>
              </a:lnSpc>
              <a:spcBef>
                <a:spcPct val="0"/>
              </a:spcBef>
              <a:spcAft>
                <a:spcPct val="0"/>
              </a:spcAft>
              <a:defRPr sz="800">
                <a:solidFill>
                  <a:schemeClr val="tx1"/>
                </a:solidFill>
                <a:latin typeface="Arial" pitchFamily="34" charset="0"/>
              </a:defRPr>
            </a:lvl6pPr>
            <a:lvl7pPr marL="2971800" indent="-228600" eaLnBrk="0" fontAlgn="base" hangingPunct="0">
              <a:lnSpc>
                <a:spcPct val="85000"/>
              </a:lnSpc>
              <a:spcBef>
                <a:spcPct val="0"/>
              </a:spcBef>
              <a:spcAft>
                <a:spcPct val="0"/>
              </a:spcAft>
              <a:defRPr sz="800">
                <a:solidFill>
                  <a:schemeClr val="tx1"/>
                </a:solidFill>
                <a:latin typeface="Arial" pitchFamily="34" charset="0"/>
              </a:defRPr>
            </a:lvl7pPr>
            <a:lvl8pPr marL="3429000" indent="-228600" eaLnBrk="0" fontAlgn="base" hangingPunct="0">
              <a:lnSpc>
                <a:spcPct val="85000"/>
              </a:lnSpc>
              <a:spcBef>
                <a:spcPct val="0"/>
              </a:spcBef>
              <a:spcAft>
                <a:spcPct val="0"/>
              </a:spcAft>
              <a:defRPr sz="800">
                <a:solidFill>
                  <a:schemeClr val="tx1"/>
                </a:solidFill>
                <a:latin typeface="Arial" pitchFamily="34" charset="0"/>
              </a:defRPr>
            </a:lvl8pPr>
            <a:lvl9pPr marL="3886200" indent="-228600" eaLnBrk="0" fontAlgn="base" hangingPunct="0">
              <a:lnSpc>
                <a:spcPct val="85000"/>
              </a:lnSpc>
              <a:spcBef>
                <a:spcPct val="0"/>
              </a:spcBef>
              <a:spcAft>
                <a:spcPct val="0"/>
              </a:spcAft>
              <a:defRPr sz="800">
                <a:solidFill>
                  <a:schemeClr val="tx1"/>
                </a:solidFill>
                <a:latin typeface="Arial" pitchFamily="34" charset="0"/>
              </a:defRPr>
            </a:lvl9pPr>
          </a:lstStyle>
          <a:p>
            <a:pPr marL="174625" indent="-174625" defTabSz="456331">
              <a:spcBef>
                <a:spcPts val="600"/>
              </a:spcBef>
              <a:buFont typeface="Wingdings" pitchFamily="2" charset="2"/>
              <a:buChar char="§"/>
            </a:pPr>
            <a:r>
              <a:rPr lang="en-GB" altLang="en-US" sz="1050" b="1" dirty="0" smtClean="0">
                <a:solidFill>
                  <a:srgbClr val="646464"/>
                </a:solidFill>
                <a:ea typeface="MS PGothic" pitchFamily="34" charset="-128"/>
              </a:rPr>
              <a:t>Quality screening                   ESG risk</a:t>
            </a:r>
            <a:endParaRPr lang="en-GB" altLang="en-US" sz="1050" b="1" dirty="0">
              <a:solidFill>
                <a:srgbClr val="646464"/>
              </a:solidFill>
              <a:ea typeface="MS PGothic" pitchFamily="34" charset="-128"/>
            </a:endParaRPr>
          </a:p>
          <a:p>
            <a:pPr marL="174625" indent="-174625" defTabSz="456331">
              <a:spcBef>
                <a:spcPts val="600"/>
              </a:spcBef>
              <a:buFont typeface="Wingdings" pitchFamily="2" charset="2"/>
              <a:buChar char="§"/>
            </a:pPr>
            <a:r>
              <a:rPr lang="en-GB" altLang="en-US" sz="1050" b="1" dirty="0">
                <a:solidFill>
                  <a:srgbClr val="646464"/>
                </a:solidFill>
                <a:ea typeface="MS PGothic" pitchFamily="34" charset="-128"/>
              </a:rPr>
              <a:t>Liquidity </a:t>
            </a:r>
            <a:r>
              <a:rPr lang="en-GB" altLang="en-US" sz="1050" b="1" dirty="0" smtClean="0">
                <a:solidFill>
                  <a:srgbClr val="646464"/>
                </a:solidFill>
                <a:ea typeface="MS PGothic" pitchFamily="34" charset="-128"/>
              </a:rPr>
              <a:t>risk                           Specific risk</a:t>
            </a:r>
            <a:endParaRPr lang="en-GB" altLang="en-US" sz="1050" dirty="0">
              <a:solidFill>
                <a:srgbClr val="646464"/>
              </a:solidFill>
              <a:ea typeface="MS PGothic" pitchFamily="34" charset="-128"/>
            </a:endParaRPr>
          </a:p>
        </p:txBody>
      </p:sp>
      <p:sp>
        <p:nvSpPr>
          <p:cNvPr id="43" name="Rectangle 9"/>
          <p:cNvSpPr>
            <a:spLocks noChangeArrowheads="1"/>
          </p:cNvSpPr>
          <p:nvPr/>
        </p:nvSpPr>
        <p:spPr bwMode="auto">
          <a:xfrm>
            <a:off x="2244477" y="2610212"/>
            <a:ext cx="3678907" cy="1008000"/>
          </a:xfrm>
          <a:prstGeom prst="rect">
            <a:avLst/>
          </a:prstGeom>
          <a:noFill/>
          <a:ln w="12700">
            <a:solidFill>
              <a:srgbClr val="00B0F0"/>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7022" tIns="51077" rIns="20107" bIns="51077"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marL="0" marR="0" lvl="0" indent="0" defTabSz="1022350" eaLnBrk="1" fontAlgn="auto" latinLnBrk="0" hangingPunct="1">
              <a:lnSpc>
                <a:spcPct val="100000"/>
              </a:lnSpc>
              <a:spcBef>
                <a:spcPct val="20000"/>
              </a:spcBef>
              <a:spcAft>
                <a:spcPts val="0"/>
              </a:spcAft>
              <a:buClrTx/>
              <a:buSzTx/>
              <a:buFontTx/>
              <a:buNone/>
              <a:tabLst/>
              <a:defRPr/>
            </a:pPr>
            <a:endParaRPr kumimoji="0" lang="en-GB" altLang="en-US" sz="600" b="1" i="0" u="none" strike="noStrike" kern="0" cap="none" spc="0" normalizeH="0" baseline="0" noProof="0">
              <a:ln>
                <a:noFill/>
              </a:ln>
              <a:solidFill>
                <a:srgbClr val="009EE0"/>
              </a:solidFill>
              <a:effectLst/>
              <a:uLnTx/>
              <a:uFillTx/>
              <a:latin typeface="Arial" pitchFamily="34" charset="0"/>
            </a:endParaRPr>
          </a:p>
        </p:txBody>
      </p:sp>
      <p:sp>
        <p:nvSpPr>
          <p:cNvPr id="44" name="Parenthèses 16"/>
          <p:cNvSpPr>
            <a:spLocks noChangeArrowheads="1"/>
          </p:cNvSpPr>
          <p:nvPr/>
        </p:nvSpPr>
        <p:spPr bwMode="auto">
          <a:xfrm>
            <a:off x="2384171" y="2600375"/>
            <a:ext cx="3437940" cy="302400"/>
          </a:xfrm>
          <a:prstGeom prst="rect">
            <a:avLst/>
          </a:prstGeom>
          <a:solidFill>
            <a:srgbClr val="003C64"/>
          </a:solidFill>
          <a:ln>
            <a:noFill/>
          </a:ln>
          <a:effectLst/>
          <a:extLst/>
        </p:spPr>
        <p:txBody>
          <a:bodyPr lIns="100543" tIns="51077" rIns="20107" bIns="51077"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marL="0" marR="0" lvl="0" indent="0" algn="ctr" defTabSz="102235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srgbClr val="FFFFFF"/>
                </a:solidFill>
                <a:effectLst/>
                <a:uLnTx/>
                <a:uFillTx/>
                <a:latin typeface="Arial" pitchFamily="34" charset="0"/>
                <a:ea typeface="MS PGothic" pitchFamily="34" charset="-128"/>
                <a:cs typeface="Arial" pitchFamily="34" charset="0"/>
              </a:rPr>
              <a:t>2. Volatility </a:t>
            </a:r>
            <a:r>
              <a:rPr kumimoji="0" lang="en-GB" altLang="en-US" sz="1200" b="1" i="0" u="none" strike="noStrike" kern="0" cap="none" spc="0" normalizeH="0" baseline="0" noProof="0" dirty="0" smtClean="0">
                <a:ln>
                  <a:noFill/>
                </a:ln>
                <a:solidFill>
                  <a:srgbClr val="FFFFFF"/>
                </a:solidFill>
                <a:effectLst/>
                <a:uLnTx/>
                <a:uFillTx/>
                <a:latin typeface="Arial" pitchFamily="34" charset="0"/>
                <a:ea typeface="MS PGothic" pitchFamily="34" charset="-128"/>
                <a:cs typeface="Arial" pitchFamily="34" charset="0"/>
              </a:rPr>
              <a:t>reduction</a:t>
            </a:r>
            <a:endParaRPr kumimoji="0" lang="en-GB" altLang="en-US" sz="1200" b="1" i="0" u="none" strike="noStrike" kern="0" cap="none" spc="0" normalizeH="0" baseline="0" noProof="0" dirty="0">
              <a:ln>
                <a:noFill/>
              </a:ln>
              <a:solidFill>
                <a:srgbClr val="FFFFFF"/>
              </a:solidFill>
              <a:effectLst/>
              <a:uLnTx/>
              <a:uFillTx/>
              <a:latin typeface="Arial" pitchFamily="34" charset="0"/>
              <a:ea typeface="MS PGothic" pitchFamily="34" charset="-128"/>
              <a:cs typeface="Arial" pitchFamily="34" charset="0"/>
            </a:endParaRPr>
          </a:p>
        </p:txBody>
      </p:sp>
      <p:sp>
        <p:nvSpPr>
          <p:cNvPr id="45" name="Text Box 14"/>
          <p:cNvSpPr txBox="1">
            <a:spLocks noChangeArrowheads="1"/>
          </p:cNvSpPr>
          <p:nvPr/>
        </p:nvSpPr>
        <p:spPr bwMode="auto">
          <a:xfrm>
            <a:off x="2244477" y="2900111"/>
            <a:ext cx="3678907" cy="70682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862" tIns="71862" rIns="71862" bIns="71862">
            <a:spAutoFit/>
          </a:bodyPr>
          <a:lstStyle>
            <a:lvl1pPr marL="85725" indent="-85725">
              <a:defRPr sz="800">
                <a:solidFill>
                  <a:schemeClr val="tx1"/>
                </a:solidFill>
                <a:latin typeface="Arial" pitchFamily="34" charset="0"/>
              </a:defRPr>
            </a:lvl1pPr>
            <a:lvl2pPr marL="742950" indent="-285750">
              <a:defRPr sz="800">
                <a:solidFill>
                  <a:schemeClr val="tx1"/>
                </a:solidFill>
                <a:latin typeface="Arial" pitchFamily="34" charset="0"/>
              </a:defRPr>
            </a:lvl2pPr>
            <a:lvl3pPr marL="1143000" indent="-228600">
              <a:defRPr sz="800">
                <a:solidFill>
                  <a:schemeClr val="tx1"/>
                </a:solidFill>
                <a:latin typeface="Arial" pitchFamily="34" charset="0"/>
              </a:defRPr>
            </a:lvl3pPr>
            <a:lvl4pPr marL="1600200" indent="-228600">
              <a:defRPr sz="800">
                <a:solidFill>
                  <a:schemeClr val="tx1"/>
                </a:solidFill>
                <a:latin typeface="Arial" pitchFamily="34" charset="0"/>
              </a:defRPr>
            </a:lvl4pPr>
            <a:lvl5pPr marL="2057400" indent="-228600">
              <a:defRPr sz="800">
                <a:solidFill>
                  <a:schemeClr val="tx1"/>
                </a:solidFill>
                <a:latin typeface="Arial" pitchFamily="34" charset="0"/>
              </a:defRPr>
            </a:lvl5pPr>
            <a:lvl6pPr marL="2514600" indent="-228600" eaLnBrk="0" fontAlgn="base" hangingPunct="0">
              <a:lnSpc>
                <a:spcPct val="85000"/>
              </a:lnSpc>
              <a:spcBef>
                <a:spcPct val="0"/>
              </a:spcBef>
              <a:spcAft>
                <a:spcPct val="0"/>
              </a:spcAft>
              <a:defRPr sz="800">
                <a:solidFill>
                  <a:schemeClr val="tx1"/>
                </a:solidFill>
                <a:latin typeface="Arial" pitchFamily="34" charset="0"/>
              </a:defRPr>
            </a:lvl6pPr>
            <a:lvl7pPr marL="2971800" indent="-228600" eaLnBrk="0" fontAlgn="base" hangingPunct="0">
              <a:lnSpc>
                <a:spcPct val="85000"/>
              </a:lnSpc>
              <a:spcBef>
                <a:spcPct val="0"/>
              </a:spcBef>
              <a:spcAft>
                <a:spcPct val="0"/>
              </a:spcAft>
              <a:defRPr sz="800">
                <a:solidFill>
                  <a:schemeClr val="tx1"/>
                </a:solidFill>
                <a:latin typeface="Arial" pitchFamily="34" charset="0"/>
              </a:defRPr>
            </a:lvl7pPr>
            <a:lvl8pPr marL="3429000" indent="-228600" eaLnBrk="0" fontAlgn="base" hangingPunct="0">
              <a:lnSpc>
                <a:spcPct val="85000"/>
              </a:lnSpc>
              <a:spcBef>
                <a:spcPct val="0"/>
              </a:spcBef>
              <a:spcAft>
                <a:spcPct val="0"/>
              </a:spcAft>
              <a:defRPr sz="800">
                <a:solidFill>
                  <a:schemeClr val="tx1"/>
                </a:solidFill>
                <a:latin typeface="Arial" pitchFamily="34" charset="0"/>
              </a:defRPr>
            </a:lvl8pPr>
            <a:lvl9pPr marL="3886200" indent="-228600" eaLnBrk="0" fontAlgn="base" hangingPunct="0">
              <a:lnSpc>
                <a:spcPct val="85000"/>
              </a:lnSpc>
              <a:spcBef>
                <a:spcPct val="0"/>
              </a:spcBef>
              <a:spcAft>
                <a:spcPct val="0"/>
              </a:spcAft>
              <a:defRPr sz="800">
                <a:solidFill>
                  <a:schemeClr val="tx1"/>
                </a:solidFill>
                <a:latin typeface="Arial" pitchFamily="34" charset="0"/>
              </a:defRPr>
            </a:lvl9pPr>
          </a:lstStyle>
          <a:p>
            <a:pPr marL="174625" indent="-174625" defTabSz="456331">
              <a:spcBef>
                <a:spcPts val="600"/>
              </a:spcBef>
              <a:buFont typeface="Wingdings" pitchFamily="2" charset="2"/>
              <a:buChar char="§"/>
            </a:pPr>
            <a:r>
              <a:rPr lang="en-US" altLang="en-US" sz="1050" b="1" dirty="0">
                <a:solidFill>
                  <a:srgbClr val="646464"/>
                </a:solidFill>
                <a:ea typeface="MS PGothic" pitchFamily="34" charset="-128"/>
              </a:rPr>
              <a:t>A portfolio composed of stocks with lower volatility and high diversification properties</a:t>
            </a:r>
          </a:p>
          <a:p>
            <a:pPr marL="174625" indent="-174625" defTabSz="456331">
              <a:spcBef>
                <a:spcPts val="600"/>
              </a:spcBef>
              <a:buFont typeface="Wingdings" pitchFamily="2" charset="2"/>
              <a:buChar char="§"/>
            </a:pPr>
            <a:r>
              <a:rPr lang="en-US" altLang="en-US" sz="1050" b="1" dirty="0">
                <a:solidFill>
                  <a:srgbClr val="646464"/>
                </a:solidFill>
                <a:ea typeface="MS PGothic" pitchFamily="34" charset="-128"/>
              </a:rPr>
              <a:t>Limit stock concentration</a:t>
            </a:r>
          </a:p>
        </p:txBody>
      </p:sp>
      <p:sp>
        <p:nvSpPr>
          <p:cNvPr id="46" name="Rectangle 3"/>
          <p:cNvSpPr>
            <a:spLocks noChangeArrowheads="1"/>
          </p:cNvSpPr>
          <p:nvPr/>
        </p:nvSpPr>
        <p:spPr bwMode="auto">
          <a:xfrm>
            <a:off x="2244477" y="3653786"/>
            <a:ext cx="3678907" cy="1008000"/>
          </a:xfrm>
          <a:prstGeom prst="rect">
            <a:avLst/>
          </a:prstGeom>
          <a:noFill/>
          <a:ln w="12700">
            <a:solidFill>
              <a:srgbClr val="009EE0"/>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7022" tIns="51077" rIns="20107" bIns="51077"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marL="0" marR="0" lvl="0" indent="0" defTabSz="1022350" eaLnBrk="1" fontAlgn="auto" latinLnBrk="0" hangingPunct="1">
              <a:lnSpc>
                <a:spcPct val="100000"/>
              </a:lnSpc>
              <a:spcBef>
                <a:spcPct val="50000"/>
              </a:spcBef>
              <a:spcAft>
                <a:spcPts val="0"/>
              </a:spcAft>
              <a:buClrTx/>
              <a:buSzTx/>
              <a:buFontTx/>
              <a:buNone/>
              <a:tabLst/>
              <a:defRPr/>
            </a:pPr>
            <a:endParaRPr kumimoji="0" lang="en-GB" altLang="en-US" sz="900" b="1" i="0" u="sng" strike="noStrike" kern="0" cap="none" spc="0" normalizeH="0" baseline="0" noProof="0">
              <a:ln>
                <a:noFill/>
              </a:ln>
              <a:solidFill>
                <a:srgbClr val="000000"/>
              </a:solidFill>
              <a:effectLst/>
              <a:uLnTx/>
              <a:uFillTx/>
              <a:latin typeface="Arial" pitchFamily="34" charset="0"/>
              <a:ea typeface="MS PGothic" pitchFamily="34" charset="-128"/>
            </a:endParaRPr>
          </a:p>
          <a:p>
            <a:pPr marL="0" marR="0" lvl="0" indent="0" defTabSz="1022350" eaLnBrk="1" fontAlgn="auto" latinLnBrk="0" hangingPunct="1">
              <a:lnSpc>
                <a:spcPct val="100000"/>
              </a:lnSpc>
              <a:spcBef>
                <a:spcPct val="50000"/>
              </a:spcBef>
              <a:spcAft>
                <a:spcPts val="0"/>
              </a:spcAft>
              <a:buClrTx/>
              <a:buSzTx/>
              <a:buFontTx/>
              <a:buNone/>
              <a:tabLst/>
              <a:defRPr/>
            </a:pPr>
            <a:endParaRPr kumimoji="0" lang="en-GB" altLang="en-US" sz="900" b="1" i="0" u="none" strike="noStrike" kern="0" cap="none" spc="0" normalizeH="0" baseline="0" noProof="0">
              <a:ln>
                <a:noFill/>
              </a:ln>
              <a:solidFill>
                <a:srgbClr val="001C4B"/>
              </a:solidFill>
              <a:effectLst/>
              <a:uLnTx/>
              <a:uFillTx/>
              <a:latin typeface="Arial" pitchFamily="34" charset="0"/>
              <a:ea typeface="MS PGothic" pitchFamily="34" charset="-128"/>
              <a:sym typeface="Wingdings" pitchFamily="2" charset="2"/>
            </a:endParaRPr>
          </a:p>
          <a:p>
            <a:pPr marL="0" marR="0" lvl="0" indent="0" defTabSz="1022350" eaLnBrk="1" fontAlgn="auto" latinLnBrk="0" hangingPunct="1">
              <a:lnSpc>
                <a:spcPct val="100000"/>
              </a:lnSpc>
              <a:spcBef>
                <a:spcPct val="50000"/>
              </a:spcBef>
              <a:spcAft>
                <a:spcPts val="0"/>
              </a:spcAft>
              <a:buClrTx/>
              <a:buSzTx/>
              <a:buFontTx/>
              <a:buNone/>
              <a:tabLst/>
              <a:defRPr/>
            </a:pPr>
            <a:endParaRPr kumimoji="0" lang="en-GB" altLang="en-US" sz="900" b="1" i="0" u="none" strike="noStrike" kern="0" cap="none" spc="0" normalizeH="0" baseline="0" noProof="0">
              <a:ln>
                <a:noFill/>
              </a:ln>
              <a:solidFill>
                <a:srgbClr val="006A82"/>
              </a:solidFill>
              <a:effectLst/>
              <a:uLnTx/>
              <a:uFillTx/>
              <a:latin typeface="Arial" pitchFamily="34" charset="0"/>
              <a:ea typeface="MS PGothic" pitchFamily="34" charset="-128"/>
            </a:endParaRPr>
          </a:p>
          <a:p>
            <a:pPr marL="0" marR="0" lvl="0" indent="0" defTabSz="1022350" eaLnBrk="1" fontAlgn="auto" latinLnBrk="0" hangingPunct="1">
              <a:lnSpc>
                <a:spcPct val="100000"/>
              </a:lnSpc>
              <a:spcBef>
                <a:spcPct val="50000"/>
              </a:spcBef>
              <a:spcAft>
                <a:spcPts val="0"/>
              </a:spcAft>
              <a:buClrTx/>
              <a:buSzTx/>
              <a:buFontTx/>
              <a:buNone/>
              <a:tabLst/>
              <a:defRPr/>
            </a:pPr>
            <a:endParaRPr kumimoji="0" lang="en-GB" altLang="en-US" sz="1200" b="1" i="0" u="none" strike="noStrike" kern="0" cap="none" spc="0" normalizeH="0" baseline="0" noProof="0">
              <a:ln>
                <a:noFill/>
              </a:ln>
              <a:solidFill>
                <a:srgbClr val="000000"/>
              </a:solidFill>
              <a:effectLst/>
              <a:uLnTx/>
              <a:uFillTx/>
              <a:latin typeface="Arial" pitchFamily="34" charset="0"/>
              <a:ea typeface="MS PGothic" pitchFamily="34" charset="-128"/>
            </a:endParaRPr>
          </a:p>
        </p:txBody>
      </p:sp>
      <p:sp>
        <p:nvSpPr>
          <p:cNvPr id="47" name="Parenthèses 16"/>
          <p:cNvSpPr>
            <a:spLocks noChangeArrowheads="1"/>
          </p:cNvSpPr>
          <p:nvPr/>
        </p:nvSpPr>
        <p:spPr bwMode="auto">
          <a:xfrm>
            <a:off x="2384168" y="3650629"/>
            <a:ext cx="3440150" cy="302400"/>
          </a:xfrm>
          <a:prstGeom prst="rect">
            <a:avLst/>
          </a:prstGeom>
          <a:solidFill>
            <a:srgbClr val="003C64"/>
          </a:solidFill>
          <a:ln>
            <a:noFill/>
          </a:ln>
          <a:effectLst/>
          <a:extLst/>
        </p:spPr>
        <p:txBody>
          <a:bodyPr lIns="100543" tIns="51077" rIns="20107" bIns="51077"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marL="0" marR="0" lvl="0" indent="0" algn="ctr" defTabSz="102235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srgbClr val="FFFFFF"/>
                </a:solidFill>
                <a:effectLst/>
                <a:uLnTx/>
                <a:uFillTx/>
                <a:latin typeface="Arial" pitchFamily="34" charset="0"/>
                <a:ea typeface="MS PGothic" pitchFamily="34" charset="-128"/>
                <a:cs typeface="Arial" pitchFamily="34" charset="0"/>
              </a:rPr>
              <a:t>3. Active Risk Management</a:t>
            </a:r>
          </a:p>
        </p:txBody>
      </p:sp>
      <p:sp>
        <p:nvSpPr>
          <p:cNvPr id="48" name="Text Box 6"/>
          <p:cNvSpPr txBox="1">
            <a:spLocks noChangeArrowheads="1"/>
          </p:cNvSpPr>
          <p:nvPr/>
        </p:nvSpPr>
        <p:spPr bwMode="auto">
          <a:xfrm>
            <a:off x="2244477" y="3910198"/>
            <a:ext cx="3678907" cy="783764"/>
          </a:xfrm>
          <a:prstGeom prst="rect">
            <a:avLst/>
          </a:prstGeom>
          <a:noFill/>
          <a:ln w="9525" algn="ctr">
            <a:noFill/>
            <a:miter lim="800000"/>
            <a:headEnd/>
            <a:tailEnd/>
          </a:ln>
          <a:effectLst/>
          <a:extLst>
            <a:ext uri="{909E8E84-426E-40DD-AFC4-6F175D3DCCD1}">
              <a14:hiddenFill xmlns:a14="http://schemas.microsoft.com/office/drawing/2010/main">
                <a:solidFill>
                  <a:schemeClr val="bg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1862" tIns="71862" rIns="71862" bIns="71862">
            <a:spAutoFit/>
          </a:bodyPr>
          <a:lstStyle>
            <a:lvl1pPr marL="85725" indent="-85725">
              <a:defRPr sz="800">
                <a:solidFill>
                  <a:schemeClr val="tx1"/>
                </a:solidFill>
                <a:latin typeface="Arial" pitchFamily="34" charset="0"/>
              </a:defRPr>
            </a:lvl1pPr>
            <a:lvl2pPr marL="742950" indent="-285750">
              <a:defRPr sz="800">
                <a:solidFill>
                  <a:schemeClr val="tx1"/>
                </a:solidFill>
                <a:latin typeface="Arial" pitchFamily="34" charset="0"/>
              </a:defRPr>
            </a:lvl2pPr>
            <a:lvl3pPr marL="1143000" indent="-228600">
              <a:defRPr sz="800">
                <a:solidFill>
                  <a:schemeClr val="tx1"/>
                </a:solidFill>
                <a:latin typeface="Arial" pitchFamily="34" charset="0"/>
              </a:defRPr>
            </a:lvl3pPr>
            <a:lvl4pPr marL="1600200" indent="-228600">
              <a:defRPr sz="800">
                <a:solidFill>
                  <a:schemeClr val="tx1"/>
                </a:solidFill>
                <a:latin typeface="Arial" pitchFamily="34" charset="0"/>
              </a:defRPr>
            </a:lvl4pPr>
            <a:lvl5pPr marL="2057400" indent="-228600">
              <a:defRPr sz="800">
                <a:solidFill>
                  <a:schemeClr val="tx1"/>
                </a:solidFill>
                <a:latin typeface="Arial" pitchFamily="34" charset="0"/>
              </a:defRPr>
            </a:lvl5pPr>
            <a:lvl6pPr marL="2514600" indent="-228600" eaLnBrk="0" fontAlgn="base" hangingPunct="0">
              <a:lnSpc>
                <a:spcPct val="85000"/>
              </a:lnSpc>
              <a:spcBef>
                <a:spcPct val="0"/>
              </a:spcBef>
              <a:spcAft>
                <a:spcPct val="0"/>
              </a:spcAft>
              <a:defRPr sz="800">
                <a:solidFill>
                  <a:schemeClr val="tx1"/>
                </a:solidFill>
                <a:latin typeface="Arial" pitchFamily="34" charset="0"/>
              </a:defRPr>
            </a:lvl6pPr>
            <a:lvl7pPr marL="2971800" indent="-228600" eaLnBrk="0" fontAlgn="base" hangingPunct="0">
              <a:lnSpc>
                <a:spcPct val="85000"/>
              </a:lnSpc>
              <a:spcBef>
                <a:spcPct val="0"/>
              </a:spcBef>
              <a:spcAft>
                <a:spcPct val="0"/>
              </a:spcAft>
              <a:defRPr sz="800">
                <a:solidFill>
                  <a:schemeClr val="tx1"/>
                </a:solidFill>
                <a:latin typeface="Arial" pitchFamily="34" charset="0"/>
              </a:defRPr>
            </a:lvl7pPr>
            <a:lvl8pPr marL="3429000" indent="-228600" eaLnBrk="0" fontAlgn="base" hangingPunct="0">
              <a:lnSpc>
                <a:spcPct val="85000"/>
              </a:lnSpc>
              <a:spcBef>
                <a:spcPct val="0"/>
              </a:spcBef>
              <a:spcAft>
                <a:spcPct val="0"/>
              </a:spcAft>
              <a:defRPr sz="800">
                <a:solidFill>
                  <a:schemeClr val="tx1"/>
                </a:solidFill>
                <a:latin typeface="Arial" pitchFamily="34" charset="0"/>
              </a:defRPr>
            </a:lvl8pPr>
            <a:lvl9pPr marL="3886200" indent="-228600" eaLnBrk="0" fontAlgn="base" hangingPunct="0">
              <a:lnSpc>
                <a:spcPct val="85000"/>
              </a:lnSpc>
              <a:spcBef>
                <a:spcPct val="0"/>
              </a:spcBef>
              <a:spcAft>
                <a:spcPct val="0"/>
              </a:spcAft>
              <a:defRPr sz="800">
                <a:solidFill>
                  <a:schemeClr val="tx1"/>
                </a:solidFill>
                <a:latin typeface="Arial" pitchFamily="34" charset="0"/>
              </a:defRPr>
            </a:lvl9pPr>
          </a:lstStyle>
          <a:p>
            <a:pPr marL="174625" indent="-174625" defTabSz="456331">
              <a:spcBef>
                <a:spcPts val="600"/>
              </a:spcBef>
              <a:buFont typeface="Wingdings" pitchFamily="2" charset="2"/>
              <a:buChar char="§"/>
            </a:pPr>
            <a:r>
              <a:rPr lang="en-US" altLang="en-US" sz="1050" b="1" dirty="0">
                <a:solidFill>
                  <a:srgbClr val="646464"/>
                </a:solidFill>
                <a:ea typeface="MS PGothic" pitchFamily="34" charset="-128"/>
              </a:rPr>
              <a:t>Macro risk (country </a:t>
            </a:r>
            <a:r>
              <a:rPr lang="en-US" altLang="en-US" sz="1050" b="1" dirty="0" smtClean="0">
                <a:solidFill>
                  <a:srgbClr val="646464"/>
                </a:solidFill>
                <a:ea typeface="MS PGothic" pitchFamily="34" charset="-128"/>
              </a:rPr>
              <a:t>or </a:t>
            </a:r>
            <a:r>
              <a:rPr lang="en-US" altLang="en-US" sz="1050" b="1" dirty="0">
                <a:solidFill>
                  <a:srgbClr val="646464"/>
                </a:solidFill>
                <a:ea typeface="MS PGothic" pitchFamily="34" charset="-128"/>
              </a:rPr>
              <a:t>macro-economic risk)</a:t>
            </a:r>
          </a:p>
          <a:p>
            <a:pPr marL="174625" indent="-174625" defTabSz="456331">
              <a:spcBef>
                <a:spcPts val="600"/>
              </a:spcBef>
              <a:buFont typeface="Wingdings" pitchFamily="2" charset="2"/>
              <a:buChar char="§"/>
            </a:pPr>
            <a:r>
              <a:rPr lang="en-US" altLang="en-US" sz="1050" b="1" dirty="0">
                <a:solidFill>
                  <a:srgbClr val="646464"/>
                </a:solidFill>
                <a:ea typeface="MS PGothic" pitchFamily="34" charset="-128"/>
              </a:rPr>
              <a:t>Valuation risk</a:t>
            </a:r>
          </a:p>
          <a:p>
            <a:pPr marL="174625" indent="-174625" defTabSz="456331">
              <a:spcBef>
                <a:spcPts val="600"/>
              </a:spcBef>
              <a:buFont typeface="Wingdings" pitchFamily="2" charset="2"/>
              <a:buChar char="§"/>
            </a:pPr>
            <a:r>
              <a:rPr lang="en-US" altLang="en-US" sz="1050" b="1" dirty="0" smtClean="0">
                <a:solidFill>
                  <a:srgbClr val="646464"/>
                </a:solidFill>
                <a:ea typeface="MS PGothic" pitchFamily="34" charset="-128"/>
              </a:rPr>
              <a:t>Portfolio guidelines</a:t>
            </a:r>
            <a:endParaRPr lang="en-US" altLang="en-US" sz="1050" b="1" dirty="0">
              <a:solidFill>
                <a:srgbClr val="646464"/>
              </a:solidFill>
              <a:ea typeface="MS PGothic" pitchFamily="34" charset="-128"/>
            </a:endParaRPr>
          </a:p>
        </p:txBody>
      </p:sp>
      <p:sp>
        <p:nvSpPr>
          <p:cNvPr id="49" name="Rectangle 85"/>
          <p:cNvSpPr>
            <a:spLocks noChangeArrowheads="1"/>
          </p:cNvSpPr>
          <p:nvPr/>
        </p:nvSpPr>
        <p:spPr bwMode="auto">
          <a:xfrm>
            <a:off x="833120" y="5419255"/>
            <a:ext cx="2163600" cy="298800"/>
          </a:xfrm>
          <a:prstGeom prst="rect">
            <a:avLst/>
          </a:prstGeom>
          <a:solidFill>
            <a:schemeClr val="accent1"/>
          </a:solidFill>
          <a:ln w="9525" algn="ctr">
            <a:noFill/>
            <a:miter lim="800000"/>
            <a:headEnd/>
            <a:tailEnd/>
          </a:ln>
          <a:effectLst/>
          <a:extLst/>
        </p:spPr>
        <p:txBody>
          <a:bodyPr lIns="96560" tIns="48281" rIns="96560" bIns="48281" anchor="ctr"/>
          <a:lstStyle>
            <a:lvl1pPr defTabSz="966788" eaLnBrk="0" hangingPunct="0">
              <a:spcBef>
                <a:spcPct val="20000"/>
              </a:spcBef>
              <a:buClr>
                <a:srgbClr val="009EE0"/>
              </a:buClr>
              <a:buSzPct val="25000"/>
              <a:buFont typeface="Arial" charset="0"/>
              <a:buChar char=" "/>
              <a:defRPr sz="1600">
                <a:solidFill>
                  <a:schemeClr val="tx1"/>
                </a:solidFill>
                <a:latin typeface="Arial" charset="0"/>
              </a:defRPr>
            </a:lvl1pPr>
            <a:lvl2pPr marL="742950" indent="-285750" defTabSz="966788" eaLnBrk="0" hangingPunct="0">
              <a:spcBef>
                <a:spcPct val="20000"/>
              </a:spcBef>
              <a:buClr>
                <a:srgbClr val="009EE0"/>
              </a:buClr>
              <a:buFont typeface="Wingdings" pitchFamily="2" charset="2"/>
              <a:buChar char="n"/>
              <a:defRPr sz="1600">
                <a:solidFill>
                  <a:schemeClr val="tx1"/>
                </a:solidFill>
                <a:latin typeface="Arial" charset="0"/>
              </a:defRPr>
            </a:lvl2pPr>
            <a:lvl3pPr marL="1143000" indent="-228600" defTabSz="966788" eaLnBrk="0" hangingPunct="0">
              <a:spcBef>
                <a:spcPct val="20000"/>
              </a:spcBef>
              <a:buClr>
                <a:srgbClr val="009EE0"/>
              </a:buClr>
              <a:buFont typeface="Arial" charset="0"/>
              <a:buChar char="–"/>
              <a:defRPr sz="1400">
                <a:solidFill>
                  <a:schemeClr val="tx1"/>
                </a:solidFill>
                <a:latin typeface="Arial" charset="0"/>
              </a:defRPr>
            </a:lvl3pPr>
            <a:lvl4pPr marL="1600200" indent="-228600" defTabSz="966788" eaLnBrk="0" hangingPunct="0">
              <a:spcBef>
                <a:spcPct val="20000"/>
              </a:spcBef>
              <a:buSzPct val="25000"/>
              <a:buFont typeface="Arial" charset="0"/>
              <a:buChar char=" "/>
              <a:defRPr sz="1200">
                <a:solidFill>
                  <a:schemeClr val="tx1"/>
                </a:solidFill>
                <a:latin typeface="Arial" charset="0"/>
              </a:defRPr>
            </a:lvl4pPr>
            <a:lvl5pPr marL="2057400" indent="-228600" defTabSz="966788" eaLnBrk="0" hangingPunct="0">
              <a:spcBef>
                <a:spcPct val="20000"/>
              </a:spcBef>
              <a:buSzPct val="25000"/>
              <a:buFont typeface="Arial" charset="0"/>
              <a:buChar char=" "/>
              <a:defRPr sz="1100">
                <a:solidFill>
                  <a:schemeClr val="tx1"/>
                </a:solidFill>
                <a:latin typeface="Arial" charset="0"/>
              </a:defRPr>
            </a:lvl5pPr>
            <a:lvl6pPr marL="25146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6pPr>
            <a:lvl7pPr marL="29718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7pPr>
            <a:lvl8pPr marL="34290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8pPr>
            <a:lvl9pPr marL="38862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9pPr>
          </a:lstStyle>
          <a:p>
            <a:pPr marL="0" marR="0" lvl="0" indent="0" algn="ctr" defTabSz="966788" eaLnBrk="1" fontAlgn="auto" latinLnBrk="0" hangingPunct="1">
              <a:lnSpc>
                <a:spcPct val="100000"/>
              </a:lnSpc>
              <a:spcBef>
                <a:spcPct val="0"/>
              </a:spcBef>
              <a:spcAft>
                <a:spcPts val="0"/>
              </a:spcAft>
              <a:buClrTx/>
              <a:buSzTx/>
              <a:buFontTx/>
              <a:buNone/>
              <a:tabLst/>
              <a:defRPr/>
            </a:pPr>
            <a:r>
              <a:rPr kumimoji="0" lang="en-US" altLang="fr-FR" sz="1200" b="1" i="0" u="none" strike="noStrike" kern="0" cap="none" spc="0" normalizeH="0" baseline="0" noProof="0" dirty="0">
                <a:ln>
                  <a:noFill/>
                </a:ln>
                <a:solidFill>
                  <a:srgbClr val="FFFFFF"/>
                </a:solidFill>
                <a:effectLst/>
                <a:uLnTx/>
                <a:uFillTx/>
                <a:latin typeface="Arial" charset="0"/>
              </a:rPr>
              <a:t>Quality stock investing</a:t>
            </a:r>
          </a:p>
        </p:txBody>
      </p:sp>
      <p:sp>
        <p:nvSpPr>
          <p:cNvPr id="50" name="Rectangle 95"/>
          <p:cNvSpPr>
            <a:spLocks noChangeArrowheads="1"/>
          </p:cNvSpPr>
          <p:nvPr/>
        </p:nvSpPr>
        <p:spPr bwMode="auto">
          <a:xfrm>
            <a:off x="3073941" y="5418165"/>
            <a:ext cx="2163600" cy="298800"/>
          </a:xfrm>
          <a:prstGeom prst="rect">
            <a:avLst/>
          </a:prstGeom>
          <a:solidFill>
            <a:schemeClr val="accent1"/>
          </a:solidFill>
          <a:ln w="9525" algn="ctr">
            <a:noFill/>
            <a:miter lim="800000"/>
            <a:headEnd/>
            <a:tailEnd/>
          </a:ln>
          <a:effectLst/>
          <a:extLst/>
        </p:spPr>
        <p:txBody>
          <a:bodyPr lIns="96560" tIns="48281" rIns="96560" bIns="48281" anchor="ctr"/>
          <a:lstStyle>
            <a:lvl1pPr defTabSz="966788" eaLnBrk="0" hangingPunct="0">
              <a:spcBef>
                <a:spcPct val="20000"/>
              </a:spcBef>
              <a:buClr>
                <a:srgbClr val="009EE0"/>
              </a:buClr>
              <a:buSzPct val="25000"/>
              <a:buFont typeface="Arial" charset="0"/>
              <a:buChar char=" "/>
              <a:defRPr sz="1600">
                <a:solidFill>
                  <a:schemeClr val="tx1"/>
                </a:solidFill>
                <a:latin typeface="Arial" charset="0"/>
              </a:defRPr>
            </a:lvl1pPr>
            <a:lvl2pPr marL="742950" indent="-285750" defTabSz="966788" eaLnBrk="0" hangingPunct="0">
              <a:spcBef>
                <a:spcPct val="20000"/>
              </a:spcBef>
              <a:buClr>
                <a:srgbClr val="009EE0"/>
              </a:buClr>
              <a:buFont typeface="Wingdings" pitchFamily="2" charset="2"/>
              <a:buChar char="n"/>
              <a:defRPr sz="1600">
                <a:solidFill>
                  <a:schemeClr val="tx1"/>
                </a:solidFill>
                <a:latin typeface="Arial" charset="0"/>
              </a:defRPr>
            </a:lvl2pPr>
            <a:lvl3pPr marL="1143000" indent="-228600" defTabSz="966788" eaLnBrk="0" hangingPunct="0">
              <a:spcBef>
                <a:spcPct val="20000"/>
              </a:spcBef>
              <a:buClr>
                <a:srgbClr val="009EE0"/>
              </a:buClr>
              <a:buFont typeface="Arial" charset="0"/>
              <a:buChar char="–"/>
              <a:defRPr sz="1400">
                <a:solidFill>
                  <a:schemeClr val="tx1"/>
                </a:solidFill>
                <a:latin typeface="Arial" charset="0"/>
              </a:defRPr>
            </a:lvl3pPr>
            <a:lvl4pPr marL="1600200" indent="-228600" defTabSz="966788" eaLnBrk="0" hangingPunct="0">
              <a:spcBef>
                <a:spcPct val="20000"/>
              </a:spcBef>
              <a:buSzPct val="25000"/>
              <a:buFont typeface="Arial" charset="0"/>
              <a:buChar char=" "/>
              <a:defRPr sz="1200">
                <a:solidFill>
                  <a:schemeClr val="tx1"/>
                </a:solidFill>
                <a:latin typeface="Arial" charset="0"/>
              </a:defRPr>
            </a:lvl4pPr>
            <a:lvl5pPr marL="2057400" indent="-228600" defTabSz="966788" eaLnBrk="0" hangingPunct="0">
              <a:spcBef>
                <a:spcPct val="20000"/>
              </a:spcBef>
              <a:buSzPct val="25000"/>
              <a:buFont typeface="Arial" charset="0"/>
              <a:buChar char=" "/>
              <a:defRPr sz="1100">
                <a:solidFill>
                  <a:schemeClr val="tx1"/>
                </a:solidFill>
                <a:latin typeface="Arial" charset="0"/>
              </a:defRPr>
            </a:lvl5pPr>
            <a:lvl6pPr marL="25146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6pPr>
            <a:lvl7pPr marL="29718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7pPr>
            <a:lvl8pPr marL="34290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8pPr>
            <a:lvl9pPr marL="38862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9pPr>
          </a:lstStyle>
          <a:p>
            <a:pPr marL="0" marR="0" lvl="0" indent="0" algn="ctr" defTabSz="966788" eaLnBrk="1" fontAlgn="auto" latinLnBrk="0" hangingPunct="1">
              <a:lnSpc>
                <a:spcPct val="100000"/>
              </a:lnSpc>
              <a:spcBef>
                <a:spcPct val="0"/>
              </a:spcBef>
              <a:spcAft>
                <a:spcPts val="0"/>
              </a:spcAft>
              <a:buClrTx/>
              <a:buSzTx/>
              <a:buFontTx/>
              <a:buNone/>
              <a:tabLst/>
              <a:defRPr/>
            </a:pPr>
            <a:r>
              <a:rPr kumimoji="0" lang="fr-FR" altLang="fr-FR" sz="1200" b="1" i="0" u="none" strike="noStrike" kern="0" cap="none" spc="0" normalizeH="0" baseline="0" noProof="0" dirty="0">
                <a:ln>
                  <a:noFill/>
                </a:ln>
                <a:solidFill>
                  <a:srgbClr val="FFFFFF"/>
                </a:solidFill>
                <a:effectLst/>
                <a:uLnTx/>
                <a:uFillTx/>
                <a:latin typeface="Arial" charset="0"/>
              </a:rPr>
              <a:t>Low beta exposure</a:t>
            </a:r>
            <a:endParaRPr kumimoji="0" lang="en-US" altLang="fr-FR" sz="1200" b="1" i="0" u="none" strike="noStrike" kern="0" cap="none" spc="0" normalizeH="0" baseline="0" noProof="0" dirty="0">
              <a:ln>
                <a:noFill/>
              </a:ln>
              <a:solidFill>
                <a:srgbClr val="FFFFFF"/>
              </a:solidFill>
              <a:effectLst/>
              <a:uLnTx/>
              <a:uFillTx/>
              <a:latin typeface="Arial" charset="0"/>
            </a:endParaRPr>
          </a:p>
        </p:txBody>
      </p:sp>
      <p:sp>
        <p:nvSpPr>
          <p:cNvPr id="51" name="Rectangle 84"/>
          <p:cNvSpPr>
            <a:spLocks noChangeArrowheads="1"/>
          </p:cNvSpPr>
          <p:nvPr/>
        </p:nvSpPr>
        <p:spPr bwMode="auto">
          <a:xfrm>
            <a:off x="5314762" y="5426105"/>
            <a:ext cx="2162998" cy="299929"/>
          </a:xfrm>
          <a:prstGeom prst="rect">
            <a:avLst/>
          </a:prstGeom>
          <a:solidFill>
            <a:schemeClr val="accent1"/>
          </a:solidFill>
          <a:ln w="9525" algn="ctr">
            <a:noFill/>
            <a:miter lim="800000"/>
            <a:headEnd/>
            <a:tailEnd/>
          </a:ln>
          <a:effectLst/>
          <a:extLst/>
        </p:spPr>
        <p:txBody>
          <a:bodyPr lIns="36000" tIns="48281" rIns="36000" bIns="48281" anchor="ctr"/>
          <a:lstStyle>
            <a:lvl1pPr defTabSz="966788" eaLnBrk="0" hangingPunct="0">
              <a:spcBef>
                <a:spcPct val="20000"/>
              </a:spcBef>
              <a:buClr>
                <a:srgbClr val="009EE0"/>
              </a:buClr>
              <a:buSzPct val="25000"/>
              <a:buFont typeface="Arial" charset="0"/>
              <a:buChar char=" "/>
              <a:defRPr sz="1600">
                <a:solidFill>
                  <a:schemeClr val="tx1"/>
                </a:solidFill>
                <a:latin typeface="Arial" charset="0"/>
              </a:defRPr>
            </a:lvl1pPr>
            <a:lvl2pPr marL="742950" indent="-285750" defTabSz="966788" eaLnBrk="0" hangingPunct="0">
              <a:spcBef>
                <a:spcPct val="20000"/>
              </a:spcBef>
              <a:buClr>
                <a:srgbClr val="009EE0"/>
              </a:buClr>
              <a:buFont typeface="Wingdings" pitchFamily="2" charset="2"/>
              <a:buChar char="n"/>
              <a:defRPr sz="1600">
                <a:solidFill>
                  <a:schemeClr val="tx1"/>
                </a:solidFill>
                <a:latin typeface="Arial" charset="0"/>
              </a:defRPr>
            </a:lvl2pPr>
            <a:lvl3pPr marL="1143000" indent="-228600" defTabSz="966788" eaLnBrk="0" hangingPunct="0">
              <a:spcBef>
                <a:spcPct val="20000"/>
              </a:spcBef>
              <a:buClr>
                <a:srgbClr val="009EE0"/>
              </a:buClr>
              <a:buFont typeface="Arial" charset="0"/>
              <a:buChar char="–"/>
              <a:defRPr sz="1400">
                <a:solidFill>
                  <a:schemeClr val="tx1"/>
                </a:solidFill>
                <a:latin typeface="Arial" charset="0"/>
              </a:defRPr>
            </a:lvl3pPr>
            <a:lvl4pPr marL="1600200" indent="-228600" defTabSz="966788" eaLnBrk="0" hangingPunct="0">
              <a:spcBef>
                <a:spcPct val="20000"/>
              </a:spcBef>
              <a:buSzPct val="25000"/>
              <a:buFont typeface="Arial" charset="0"/>
              <a:buChar char=" "/>
              <a:defRPr sz="1200">
                <a:solidFill>
                  <a:schemeClr val="tx1"/>
                </a:solidFill>
                <a:latin typeface="Arial" charset="0"/>
              </a:defRPr>
            </a:lvl4pPr>
            <a:lvl5pPr marL="2057400" indent="-228600" defTabSz="966788" eaLnBrk="0" hangingPunct="0">
              <a:spcBef>
                <a:spcPct val="20000"/>
              </a:spcBef>
              <a:buSzPct val="25000"/>
              <a:buFont typeface="Arial" charset="0"/>
              <a:buChar char=" "/>
              <a:defRPr sz="1100">
                <a:solidFill>
                  <a:schemeClr val="tx1"/>
                </a:solidFill>
                <a:latin typeface="Arial" charset="0"/>
              </a:defRPr>
            </a:lvl5pPr>
            <a:lvl6pPr marL="25146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6pPr>
            <a:lvl7pPr marL="29718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7pPr>
            <a:lvl8pPr marL="34290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8pPr>
            <a:lvl9pPr marL="38862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9pPr>
          </a:lstStyle>
          <a:p>
            <a:pPr marL="0" marR="0" lvl="0" indent="0" algn="ctr" defTabSz="966788" eaLnBrk="1" fontAlgn="auto" latinLnBrk="0" hangingPunct="1">
              <a:lnSpc>
                <a:spcPct val="100000"/>
              </a:lnSpc>
              <a:spcBef>
                <a:spcPct val="0"/>
              </a:spcBef>
              <a:spcAft>
                <a:spcPts val="0"/>
              </a:spcAft>
              <a:buClrTx/>
              <a:buSzTx/>
              <a:buFontTx/>
              <a:buNone/>
              <a:tabLst/>
              <a:defRPr/>
            </a:pPr>
            <a:r>
              <a:rPr kumimoji="0" lang="en-US" altLang="fr-FR" sz="1200" b="1" i="0" u="none" strike="noStrike" kern="0" cap="none" spc="0" normalizeH="0" baseline="0" noProof="0" dirty="0">
                <a:ln>
                  <a:noFill/>
                </a:ln>
                <a:solidFill>
                  <a:srgbClr val="FFFFFF"/>
                </a:solidFill>
                <a:effectLst/>
                <a:uLnTx/>
                <a:uFillTx/>
                <a:latin typeface="Arial" charset="0"/>
              </a:rPr>
              <a:t>High level of diversification</a:t>
            </a:r>
          </a:p>
        </p:txBody>
      </p:sp>
      <p:sp>
        <p:nvSpPr>
          <p:cNvPr id="52" name="Rectangle 85"/>
          <p:cNvSpPr>
            <a:spLocks noChangeArrowheads="1"/>
          </p:cNvSpPr>
          <p:nvPr/>
        </p:nvSpPr>
        <p:spPr bwMode="auto">
          <a:xfrm>
            <a:off x="1994537" y="1124183"/>
            <a:ext cx="4155459" cy="309960"/>
          </a:xfrm>
          <a:prstGeom prst="rect">
            <a:avLst/>
          </a:prstGeom>
          <a:solidFill>
            <a:srgbClr val="E7E6E6"/>
          </a:solidFill>
          <a:ln w="9525" algn="ctr">
            <a:noFill/>
            <a:miter lim="800000"/>
            <a:headEnd/>
            <a:tailEnd/>
          </a:ln>
          <a:effectLst/>
          <a:extLst/>
        </p:spPr>
        <p:txBody>
          <a:bodyPr lIns="96560" tIns="48281" rIns="96560" bIns="48281" anchor="ctr"/>
          <a:lstStyle>
            <a:lvl1pPr defTabSz="966788" eaLnBrk="0" hangingPunct="0">
              <a:spcBef>
                <a:spcPct val="20000"/>
              </a:spcBef>
              <a:buClr>
                <a:srgbClr val="009EE0"/>
              </a:buClr>
              <a:buSzPct val="25000"/>
              <a:buFont typeface="Arial" charset="0"/>
              <a:buChar char=" "/>
              <a:defRPr sz="1600">
                <a:solidFill>
                  <a:schemeClr val="tx1"/>
                </a:solidFill>
                <a:latin typeface="Arial" charset="0"/>
              </a:defRPr>
            </a:lvl1pPr>
            <a:lvl2pPr marL="742950" indent="-285750" defTabSz="966788" eaLnBrk="0" hangingPunct="0">
              <a:spcBef>
                <a:spcPct val="20000"/>
              </a:spcBef>
              <a:buClr>
                <a:srgbClr val="009EE0"/>
              </a:buClr>
              <a:buFont typeface="Wingdings" pitchFamily="2" charset="2"/>
              <a:buChar char="n"/>
              <a:defRPr sz="1600">
                <a:solidFill>
                  <a:schemeClr val="tx1"/>
                </a:solidFill>
                <a:latin typeface="Arial" charset="0"/>
              </a:defRPr>
            </a:lvl2pPr>
            <a:lvl3pPr marL="1143000" indent="-228600" defTabSz="966788" eaLnBrk="0" hangingPunct="0">
              <a:spcBef>
                <a:spcPct val="20000"/>
              </a:spcBef>
              <a:buClr>
                <a:srgbClr val="009EE0"/>
              </a:buClr>
              <a:buFont typeface="Arial" charset="0"/>
              <a:buChar char="–"/>
              <a:defRPr sz="1400">
                <a:solidFill>
                  <a:schemeClr val="tx1"/>
                </a:solidFill>
                <a:latin typeface="Arial" charset="0"/>
              </a:defRPr>
            </a:lvl3pPr>
            <a:lvl4pPr marL="1600200" indent="-228600" defTabSz="966788" eaLnBrk="0" hangingPunct="0">
              <a:spcBef>
                <a:spcPct val="20000"/>
              </a:spcBef>
              <a:buSzPct val="25000"/>
              <a:buFont typeface="Arial" charset="0"/>
              <a:buChar char=" "/>
              <a:defRPr sz="1200">
                <a:solidFill>
                  <a:schemeClr val="tx1"/>
                </a:solidFill>
                <a:latin typeface="Arial" charset="0"/>
              </a:defRPr>
            </a:lvl4pPr>
            <a:lvl5pPr marL="2057400" indent="-228600" defTabSz="966788" eaLnBrk="0" hangingPunct="0">
              <a:spcBef>
                <a:spcPct val="20000"/>
              </a:spcBef>
              <a:buSzPct val="25000"/>
              <a:buFont typeface="Arial" charset="0"/>
              <a:buChar char=" "/>
              <a:defRPr sz="1100">
                <a:solidFill>
                  <a:schemeClr val="tx1"/>
                </a:solidFill>
                <a:latin typeface="Arial" charset="0"/>
              </a:defRPr>
            </a:lvl5pPr>
            <a:lvl6pPr marL="25146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6pPr>
            <a:lvl7pPr marL="29718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7pPr>
            <a:lvl8pPr marL="34290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8pPr>
            <a:lvl9pPr marL="38862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9pPr>
          </a:lstStyle>
          <a:p>
            <a:pPr marL="0" marR="0" lvl="0" indent="0" algn="ctr" defTabSz="966788" eaLnBrk="1" fontAlgn="auto" latinLnBrk="0" hangingPunct="1">
              <a:lnSpc>
                <a:spcPct val="100000"/>
              </a:lnSpc>
              <a:spcBef>
                <a:spcPct val="0"/>
              </a:spcBef>
              <a:spcAft>
                <a:spcPts val="0"/>
              </a:spcAft>
              <a:buClrTx/>
              <a:buSzTx/>
              <a:buFontTx/>
              <a:buNone/>
              <a:tabLst/>
              <a:defRPr/>
            </a:pPr>
            <a:r>
              <a:rPr kumimoji="0" lang="en-US" altLang="fr-FR" sz="1050" b="1" i="0" u="none" strike="noStrike" kern="0" cap="none" spc="0" normalizeH="0" baseline="0" noProof="0" dirty="0" smtClean="0">
                <a:ln>
                  <a:noFill/>
                </a:ln>
                <a:solidFill>
                  <a:srgbClr val="001C4B"/>
                </a:solidFill>
                <a:effectLst/>
                <a:uLnTx/>
                <a:uFillTx/>
                <a:latin typeface="Arial" charset="0"/>
              </a:rPr>
              <a:t>EUROPEAN / EM / GLOBAL INVESTMENT UNIVERSE</a:t>
            </a:r>
            <a:endParaRPr kumimoji="0" lang="en-US" altLang="fr-FR" sz="1050" b="1" i="0" u="none" strike="noStrike" kern="0" cap="none" spc="0" normalizeH="0" baseline="0" noProof="0" dirty="0">
              <a:ln>
                <a:noFill/>
              </a:ln>
              <a:solidFill>
                <a:srgbClr val="001C4B"/>
              </a:solidFill>
              <a:effectLst/>
              <a:uLnTx/>
              <a:uFillTx/>
              <a:latin typeface="Arial" charset="0"/>
            </a:endParaRPr>
          </a:p>
        </p:txBody>
      </p:sp>
      <p:cxnSp>
        <p:nvCxnSpPr>
          <p:cNvPr id="53" name="Connecteur en angle 52"/>
          <p:cNvCxnSpPr/>
          <p:nvPr/>
        </p:nvCxnSpPr>
        <p:spPr>
          <a:xfrm>
            <a:off x="5915093" y="3264310"/>
            <a:ext cx="12700" cy="1152762"/>
          </a:xfrm>
          <a:prstGeom prst="bentConnector3">
            <a:avLst>
              <a:gd name="adj1" fmla="val 3942858"/>
            </a:avLst>
          </a:prstGeom>
          <a:ln>
            <a:solidFill>
              <a:srgbClr val="00B0F0"/>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6220688" y="3511546"/>
            <a:ext cx="2638832" cy="625267"/>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just"/>
            <a:r>
              <a:rPr lang="en-US" sz="800" b="1" dirty="0" smtClean="0">
                <a:solidFill>
                  <a:srgbClr val="003C64"/>
                </a:solidFill>
                <a:latin typeface="Arial" panose="020B0604020202020204" pitchFamily="34" charset="0"/>
                <a:cs typeface="Arial" panose="020B0604020202020204" pitchFamily="34" charset="0"/>
              </a:rPr>
              <a:t>In case of decision from the Smart Beta Committee:</a:t>
            </a:r>
          </a:p>
          <a:p>
            <a:pPr marL="261938" indent="-174625" algn="just">
              <a:buFont typeface="Arial" panose="020B0604020202020204" pitchFamily="34" charset="0"/>
              <a:buChar char="•"/>
            </a:pPr>
            <a:r>
              <a:rPr lang="en-US" sz="800" dirty="0" smtClean="0">
                <a:solidFill>
                  <a:srgbClr val="003C64"/>
                </a:solidFill>
                <a:latin typeface="Arial" panose="020B0604020202020204" pitchFamily="34" charset="0"/>
                <a:cs typeface="Arial" panose="020B0604020202020204" pitchFamily="34" charset="0"/>
              </a:rPr>
              <a:t>Integration of adjustments from 3rd step</a:t>
            </a:r>
          </a:p>
          <a:p>
            <a:pPr marL="261938" indent="-174625" algn="just">
              <a:buFont typeface="Arial" panose="020B0604020202020204" pitchFamily="34" charset="0"/>
              <a:buChar char="•"/>
            </a:pPr>
            <a:r>
              <a:rPr lang="en-US" sz="800" dirty="0" smtClean="0">
                <a:solidFill>
                  <a:srgbClr val="003C64"/>
                </a:solidFill>
                <a:latin typeface="Arial" panose="020B0604020202020204" pitchFamily="34" charset="0"/>
                <a:cs typeface="Arial" panose="020B0604020202020204" pitchFamily="34" charset="0"/>
              </a:rPr>
              <a:t>Optimization under new constraints</a:t>
            </a:r>
            <a:endParaRPr lang="en-US" sz="800" dirty="0">
              <a:solidFill>
                <a:srgbClr val="003C64"/>
              </a:solidFill>
              <a:latin typeface="Arial" panose="020B0604020202020204" pitchFamily="34" charset="0"/>
              <a:cs typeface="Arial" panose="020B0604020202020204" pitchFamily="34" charset="0"/>
            </a:endParaRPr>
          </a:p>
        </p:txBody>
      </p:sp>
      <p:sp>
        <p:nvSpPr>
          <p:cNvPr id="3" name="Rectangle 2"/>
          <p:cNvSpPr/>
          <p:nvPr/>
        </p:nvSpPr>
        <p:spPr>
          <a:xfrm>
            <a:off x="4159450" y="2044884"/>
            <a:ext cx="43200" cy="3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p:cNvSpPr/>
          <p:nvPr/>
        </p:nvSpPr>
        <p:spPr>
          <a:xfrm>
            <a:off x="4160284" y="2267134"/>
            <a:ext cx="43200" cy="3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pied de page 3"/>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2547003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solidFill>
                  <a:srgbClr val="003C64"/>
                </a:solidFill>
              </a:rPr>
              <a:t>A stronger firm, a greater reach</a:t>
            </a:r>
            <a:endParaRPr lang="fr-FR" dirty="0">
              <a:solidFill>
                <a:srgbClr val="003C64"/>
              </a:solidFill>
            </a:endParaRPr>
          </a:p>
        </p:txBody>
      </p:sp>
      <p:graphicFrame>
        <p:nvGraphicFramePr>
          <p:cNvPr id="7" name="Espace réservé du contenu 6"/>
          <p:cNvGraphicFramePr>
            <a:graphicFrameLocks noGrp="1"/>
          </p:cNvGraphicFramePr>
          <p:nvPr>
            <p:ph idx="1"/>
            <p:extLst>
              <p:ext uri="{D42A27DB-BD31-4B8C-83A1-F6EECF244321}">
                <p14:modId xmlns:p14="http://schemas.microsoft.com/office/powerpoint/2010/main" val="1227862220"/>
              </p:ext>
            </p:extLst>
          </p:nvPr>
        </p:nvGraphicFramePr>
        <p:xfrm>
          <a:off x="539752" y="1568841"/>
          <a:ext cx="8064246" cy="3564000"/>
        </p:xfrm>
        <a:graphic>
          <a:graphicData uri="http://schemas.openxmlformats.org/drawingml/2006/table">
            <a:tbl>
              <a:tblPr firstRow="1" bandRow="1">
                <a:tableStyleId>{2D5ABB26-0587-4C30-8999-92F81FD0307C}</a:tableStyleId>
              </a:tblPr>
              <a:tblGrid>
                <a:gridCol w="2688082"/>
                <a:gridCol w="2688082"/>
                <a:gridCol w="2688082"/>
              </a:tblGrid>
              <a:tr h="1152000">
                <a:tc>
                  <a:txBody>
                    <a:bodyPr/>
                    <a:lstStyle/>
                    <a:p>
                      <a:pPr algn="ctr">
                        <a:spcAft>
                          <a:spcPts val="300"/>
                        </a:spcAft>
                      </a:pPr>
                      <a:r>
                        <a:rPr lang="fr-FR" sz="1600" b="0" spc="30" baseline="0" dirty="0" smtClean="0">
                          <a:solidFill>
                            <a:schemeClr val="bg1"/>
                          </a:solidFill>
                        </a:rPr>
                        <a:t> </a:t>
                      </a:r>
                    </a:p>
                    <a:p>
                      <a:pPr algn="ctr">
                        <a:lnSpc>
                          <a:spcPts val="1000"/>
                        </a:lnSpc>
                        <a:spcAft>
                          <a:spcPts val="0"/>
                        </a:spcAft>
                      </a:pPr>
                      <a:endParaRPr lang="fr-FR" sz="1600" b="0" spc="30" baseline="0" dirty="0" smtClean="0">
                        <a:solidFill>
                          <a:schemeClr val="bg1"/>
                        </a:solidFill>
                      </a:endParaRPr>
                    </a:p>
                    <a:p>
                      <a:pPr algn="ctr"/>
                      <a:r>
                        <a:rPr lang="fr-FR" sz="1050" spc="30" baseline="0" dirty="0" err="1" smtClean="0">
                          <a:solidFill>
                            <a:schemeClr val="bg1"/>
                          </a:solidFill>
                        </a:rPr>
                        <a:t>Europe’s</a:t>
                      </a:r>
                      <a:r>
                        <a:rPr lang="fr-FR" sz="1050" spc="30" baseline="0" dirty="0" smtClean="0">
                          <a:solidFill>
                            <a:schemeClr val="bg1"/>
                          </a:solidFill>
                        </a:rPr>
                        <a:t> </a:t>
                      </a:r>
                      <a:r>
                        <a:rPr lang="fr-FR" sz="1050" spc="30" baseline="0" dirty="0" err="1" smtClean="0">
                          <a:solidFill>
                            <a:schemeClr val="bg1"/>
                          </a:solidFill>
                        </a:rPr>
                        <a:t>largest</a:t>
                      </a:r>
                      <a:r>
                        <a:rPr lang="fr-FR" sz="1050" spc="30" baseline="0" dirty="0" smtClean="0">
                          <a:solidFill>
                            <a:schemeClr val="bg1"/>
                          </a:solidFill>
                        </a:rPr>
                        <a:t> </a:t>
                      </a:r>
                      <a:r>
                        <a:rPr lang="fr-FR" sz="1050" spc="30" baseline="0" dirty="0" err="1" smtClean="0">
                          <a:solidFill>
                            <a:schemeClr val="bg1"/>
                          </a:solidFill>
                        </a:rPr>
                        <a:t>asset</a:t>
                      </a:r>
                      <a:r>
                        <a:rPr lang="fr-FR" sz="1050" spc="30" baseline="0" dirty="0" smtClean="0">
                          <a:solidFill>
                            <a:schemeClr val="bg1"/>
                          </a:solidFill>
                        </a:rPr>
                        <a:t> manager </a:t>
                      </a:r>
                      <a:br>
                        <a:rPr lang="fr-FR" sz="1050" spc="30" baseline="0" dirty="0" smtClean="0">
                          <a:solidFill>
                            <a:schemeClr val="bg1"/>
                          </a:solidFill>
                        </a:rPr>
                      </a:br>
                      <a:r>
                        <a:rPr lang="fr-FR" sz="1050" spc="30" baseline="0" dirty="0" smtClean="0">
                          <a:solidFill>
                            <a:schemeClr val="bg1"/>
                          </a:solidFill>
                        </a:rPr>
                        <a:t>by </a:t>
                      </a:r>
                      <a:r>
                        <a:rPr lang="fr-FR" sz="1050" spc="30" baseline="0" dirty="0" err="1" smtClean="0">
                          <a:solidFill>
                            <a:schemeClr val="bg1"/>
                          </a:solidFill>
                        </a:rPr>
                        <a:t>assets</a:t>
                      </a:r>
                      <a:r>
                        <a:rPr lang="fr-FR" sz="1050" spc="30" baseline="0" dirty="0" smtClean="0">
                          <a:solidFill>
                            <a:schemeClr val="bg1"/>
                          </a:solidFill>
                        </a:rPr>
                        <a:t> </a:t>
                      </a:r>
                      <a:r>
                        <a:rPr lang="fr-FR" sz="1050" spc="30" baseline="0" dirty="0" err="1" smtClean="0">
                          <a:solidFill>
                            <a:schemeClr val="bg1"/>
                          </a:solidFill>
                        </a:rPr>
                        <a:t>under</a:t>
                      </a:r>
                      <a:r>
                        <a:rPr lang="fr-FR" sz="1050" spc="30" baseline="0" dirty="0" smtClean="0">
                          <a:solidFill>
                            <a:schemeClr val="bg1"/>
                          </a:solidFill>
                        </a:rPr>
                        <a:t> management and </a:t>
                      </a:r>
                      <a:br>
                        <a:rPr lang="fr-FR" sz="1050" spc="30" baseline="0" dirty="0" smtClean="0">
                          <a:solidFill>
                            <a:schemeClr val="bg1"/>
                          </a:solidFill>
                        </a:rPr>
                      </a:br>
                      <a:r>
                        <a:rPr lang="fr-FR" sz="1050" spc="30" baseline="0" dirty="0" smtClean="0">
                          <a:solidFill>
                            <a:schemeClr val="bg1"/>
                          </a:solidFill>
                        </a:rPr>
                        <a:t>in the </a:t>
                      </a:r>
                      <a:r>
                        <a:rPr lang="fr-FR" sz="1050" b="1" spc="30" baseline="0" dirty="0" smtClean="0">
                          <a:solidFill>
                            <a:schemeClr val="bg1"/>
                          </a:solidFill>
                        </a:rPr>
                        <a:t>top 10 </a:t>
                      </a:r>
                      <a:r>
                        <a:rPr lang="fr-FR" sz="1050" spc="30" baseline="0" dirty="0" err="1" smtClean="0">
                          <a:solidFill>
                            <a:schemeClr val="bg1"/>
                          </a:solidFill>
                        </a:rPr>
                        <a:t>globally</a:t>
                      </a:r>
                      <a:r>
                        <a:rPr lang="fr-FR" sz="1050" spc="30" baseline="30000" dirty="0" smtClean="0">
                          <a:solidFill>
                            <a:schemeClr val="bg1"/>
                          </a:solidFill>
                        </a:rPr>
                        <a:t> (1) </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a:txBody>
                    <a:bodyPr/>
                    <a:lstStyle/>
                    <a:p>
                      <a:pPr algn="ctr">
                        <a:spcAft>
                          <a:spcPts val="300"/>
                        </a:spcAft>
                      </a:pPr>
                      <a:r>
                        <a:rPr lang="fr-FR" sz="1600" b="0" spc="30" baseline="0" dirty="0" smtClean="0">
                          <a:solidFill>
                            <a:schemeClr val="bg1"/>
                          </a:solidFill>
                        </a:rPr>
                        <a:t> </a:t>
                      </a:r>
                    </a:p>
                    <a:p>
                      <a:pPr algn="ctr">
                        <a:lnSpc>
                          <a:spcPts val="1000"/>
                        </a:lnSpc>
                        <a:spcAft>
                          <a:spcPts val="0"/>
                        </a:spcAft>
                      </a:pPr>
                      <a:endParaRPr lang="fr-FR" sz="1600" b="0" spc="30" baseline="0" dirty="0" smtClean="0">
                        <a:solidFill>
                          <a:schemeClr val="bg1"/>
                        </a:solidFill>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sz="1050" b="1" spc="30" baseline="0" dirty="0" smtClean="0">
                          <a:solidFill>
                            <a:schemeClr val="bg1"/>
                          </a:solidFill>
                        </a:rPr>
                        <a:t>No.1</a:t>
                      </a:r>
                      <a:r>
                        <a:rPr lang="fr-FR" sz="1050" spc="30" baseline="0" dirty="0" smtClean="0">
                          <a:solidFill>
                            <a:schemeClr val="bg1"/>
                          </a:solidFill>
                        </a:rPr>
                        <a:t> </a:t>
                      </a:r>
                      <a:r>
                        <a:rPr lang="fr-FR" sz="1050" spc="30" baseline="0" dirty="0" err="1" smtClean="0">
                          <a:solidFill>
                            <a:schemeClr val="bg1"/>
                          </a:solidFill>
                        </a:rPr>
                        <a:t>publicly</a:t>
                      </a:r>
                      <a:r>
                        <a:rPr lang="fr-FR" sz="1050" spc="30" baseline="0" dirty="0" smtClean="0">
                          <a:solidFill>
                            <a:schemeClr val="bg1"/>
                          </a:solidFill>
                        </a:rPr>
                        <a:t> </a:t>
                      </a:r>
                      <a:r>
                        <a:rPr lang="fr-FR" sz="1050" spc="30" baseline="0" dirty="0" err="1" smtClean="0">
                          <a:solidFill>
                            <a:schemeClr val="bg1"/>
                          </a:solidFill>
                        </a:rPr>
                        <a:t>traded</a:t>
                      </a:r>
                      <a:r>
                        <a:rPr lang="fr-FR" sz="1050" spc="30" baseline="0" dirty="0" smtClean="0">
                          <a:solidFill>
                            <a:schemeClr val="bg1"/>
                          </a:solidFill>
                        </a:rPr>
                        <a:t> </a:t>
                      </a:r>
                      <a:r>
                        <a:rPr lang="fr-FR" sz="1050" spc="30" baseline="0" dirty="0" err="1" smtClean="0">
                          <a:solidFill>
                            <a:schemeClr val="bg1"/>
                          </a:solidFill>
                        </a:rPr>
                        <a:t>asset</a:t>
                      </a:r>
                      <a:r>
                        <a:rPr lang="fr-FR" sz="1050" spc="30" baseline="0" dirty="0" smtClean="0">
                          <a:solidFill>
                            <a:schemeClr val="bg1"/>
                          </a:solidFill>
                        </a:rPr>
                        <a:t> manager </a:t>
                      </a:r>
                      <a:br>
                        <a:rPr lang="fr-FR" sz="1050" spc="30" baseline="0" dirty="0" smtClean="0">
                          <a:solidFill>
                            <a:schemeClr val="bg1"/>
                          </a:solidFill>
                        </a:rPr>
                      </a:br>
                      <a:r>
                        <a:rPr lang="fr-FR" sz="1050" spc="30" baseline="0" dirty="0" smtClean="0">
                          <a:solidFill>
                            <a:schemeClr val="bg1"/>
                          </a:solidFill>
                        </a:rPr>
                        <a:t>in Europe and the </a:t>
                      </a:r>
                      <a:r>
                        <a:rPr lang="fr-FR" sz="1050" b="1" spc="30" baseline="0" dirty="0" smtClean="0">
                          <a:solidFill>
                            <a:schemeClr val="bg1"/>
                          </a:solidFill>
                        </a:rPr>
                        <a:t>5th</a:t>
                      </a:r>
                      <a:r>
                        <a:rPr lang="fr-FR" sz="1050" spc="30" baseline="0" dirty="0" smtClean="0">
                          <a:solidFill>
                            <a:schemeClr val="bg1"/>
                          </a:solidFill>
                        </a:rPr>
                        <a:t> </a:t>
                      </a:r>
                      <a:r>
                        <a:rPr lang="fr-FR" sz="1050" spc="30" baseline="0" dirty="0" err="1" smtClean="0">
                          <a:solidFill>
                            <a:schemeClr val="bg1"/>
                          </a:solidFill>
                        </a:rPr>
                        <a:t>largest</a:t>
                      </a:r>
                      <a:r>
                        <a:rPr lang="fr-FR" sz="1050" spc="30" baseline="0" dirty="0" smtClean="0">
                          <a:solidFill>
                            <a:schemeClr val="bg1"/>
                          </a:solidFill>
                        </a:rPr>
                        <a:t> in the world </a:t>
                      </a:r>
                      <a:br>
                        <a:rPr lang="fr-FR" sz="1050" spc="30" baseline="0" dirty="0" smtClean="0">
                          <a:solidFill>
                            <a:schemeClr val="bg1"/>
                          </a:solidFill>
                        </a:rPr>
                      </a:br>
                      <a:r>
                        <a:rPr lang="fr-FR" sz="1050" spc="30" baseline="0" dirty="0" smtClean="0">
                          <a:solidFill>
                            <a:schemeClr val="bg1"/>
                          </a:solidFill>
                        </a:rPr>
                        <a:t>in </a:t>
                      </a:r>
                      <a:r>
                        <a:rPr lang="fr-FR" sz="1050" spc="30" baseline="0" dirty="0" err="1" smtClean="0">
                          <a:solidFill>
                            <a:schemeClr val="bg1"/>
                          </a:solidFill>
                        </a:rPr>
                        <a:t>terms</a:t>
                      </a:r>
                      <a:r>
                        <a:rPr lang="fr-FR" sz="1050" spc="30" baseline="0" dirty="0" smtClean="0">
                          <a:solidFill>
                            <a:schemeClr val="bg1"/>
                          </a:solidFill>
                        </a:rPr>
                        <a:t> of </a:t>
                      </a:r>
                      <a:r>
                        <a:rPr lang="fr-FR" sz="1050" spc="30" baseline="0" dirty="0" err="1" smtClean="0">
                          <a:solidFill>
                            <a:schemeClr val="bg1"/>
                          </a:solidFill>
                        </a:rPr>
                        <a:t>market</a:t>
                      </a:r>
                      <a:r>
                        <a:rPr lang="fr-FR" sz="1050" spc="30" baseline="0" dirty="0" smtClean="0">
                          <a:solidFill>
                            <a:schemeClr val="bg1"/>
                          </a:solidFill>
                        </a:rPr>
                        <a:t> capitalization</a:t>
                      </a:r>
                      <a:r>
                        <a:rPr lang="fr-FR" sz="1050" spc="30" baseline="30000" dirty="0" smtClean="0">
                          <a:solidFill>
                            <a:schemeClr val="bg1"/>
                          </a:solidFill>
                        </a:rPr>
                        <a:t> (2)</a:t>
                      </a:r>
                    </a:p>
                  </a:txBody>
                  <a:tcPr marL="0" marR="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a:txBody>
                    <a:bodyPr/>
                    <a:lstStyle/>
                    <a:p>
                      <a:pPr algn="ctr">
                        <a:spcAft>
                          <a:spcPts val="300"/>
                        </a:spcAft>
                      </a:pPr>
                      <a:r>
                        <a:rPr lang="fr-FR" sz="1600" b="0" spc="30" baseline="0" dirty="0" smtClean="0">
                          <a:solidFill>
                            <a:schemeClr val="bg1"/>
                          </a:solidFill>
                        </a:rPr>
                        <a:t> </a:t>
                      </a:r>
                    </a:p>
                    <a:p>
                      <a:pPr algn="ctr">
                        <a:lnSpc>
                          <a:spcPts val="1000"/>
                        </a:lnSpc>
                        <a:spcAft>
                          <a:spcPts val="0"/>
                        </a:spcAft>
                      </a:pPr>
                      <a:endParaRPr lang="fr-FR" sz="1600" b="0" spc="30" baseline="0" dirty="0" smtClean="0">
                        <a:solidFill>
                          <a:schemeClr val="bg1"/>
                        </a:solidFill>
                      </a:endParaRPr>
                    </a:p>
                    <a:p>
                      <a:pPr algn="ctr"/>
                      <a:r>
                        <a:rPr lang="fr-FR" sz="1050" b="1" spc="30" baseline="0" dirty="0" smtClean="0">
                          <a:solidFill>
                            <a:schemeClr val="bg1"/>
                          </a:solidFill>
                        </a:rPr>
                        <a:t>1.4 trillion </a:t>
                      </a:r>
                      <a:r>
                        <a:rPr lang="fr-FR" sz="1050" spc="30" baseline="0" dirty="0" smtClean="0">
                          <a:solidFill>
                            <a:schemeClr val="bg1"/>
                          </a:solidFill>
                        </a:rPr>
                        <a:t>euros in </a:t>
                      </a:r>
                      <a:r>
                        <a:rPr lang="fr-FR" sz="1050" spc="30" baseline="0" dirty="0" err="1" smtClean="0">
                          <a:solidFill>
                            <a:schemeClr val="bg1"/>
                          </a:solidFill>
                        </a:rPr>
                        <a:t>assets</a:t>
                      </a:r>
                      <a:r>
                        <a:rPr lang="fr-FR" sz="1050" spc="30" baseline="0" dirty="0" smtClean="0">
                          <a:solidFill>
                            <a:schemeClr val="bg1"/>
                          </a:solidFill>
                        </a:rPr>
                        <a:t> </a:t>
                      </a:r>
                      <a:br>
                        <a:rPr lang="fr-FR" sz="1050" spc="30" baseline="0" dirty="0" smtClean="0">
                          <a:solidFill>
                            <a:schemeClr val="bg1"/>
                          </a:solidFill>
                        </a:rPr>
                      </a:br>
                      <a:r>
                        <a:rPr lang="fr-FR" sz="1050" spc="30" baseline="0" dirty="0" err="1" smtClean="0">
                          <a:solidFill>
                            <a:schemeClr val="bg1"/>
                          </a:solidFill>
                        </a:rPr>
                        <a:t>under</a:t>
                      </a:r>
                      <a:r>
                        <a:rPr lang="fr-FR" sz="1050" spc="30" baseline="0" dirty="0" smtClean="0">
                          <a:solidFill>
                            <a:schemeClr val="bg1"/>
                          </a:solidFill>
                        </a:rPr>
                        <a:t> management</a:t>
                      </a:r>
                      <a:r>
                        <a:rPr lang="fr-FR" sz="1050" spc="30" baseline="30000" dirty="0" smtClean="0">
                          <a:solidFill>
                            <a:schemeClr val="bg1"/>
                          </a:solidFill>
                        </a:rPr>
                        <a:t> (3)</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r>
              <a:tr h="1152000">
                <a:tc>
                  <a:txBody>
                    <a:bodyPr/>
                    <a:lstStyle/>
                    <a:p>
                      <a:pPr algn="ctr">
                        <a:spcAft>
                          <a:spcPts val="300"/>
                        </a:spcAft>
                      </a:pPr>
                      <a:r>
                        <a:rPr lang="fr-FR" sz="1600" b="0" spc="30" baseline="0" dirty="0" smtClean="0">
                          <a:solidFill>
                            <a:schemeClr val="bg1"/>
                          </a:solidFill>
                        </a:rPr>
                        <a:t> </a:t>
                      </a:r>
                    </a:p>
                    <a:p>
                      <a:pPr algn="ctr">
                        <a:lnSpc>
                          <a:spcPts val="1000"/>
                        </a:lnSpc>
                        <a:spcAft>
                          <a:spcPts val="0"/>
                        </a:spcAft>
                      </a:pPr>
                      <a:endParaRPr lang="fr-FR" sz="1600" b="0" spc="30" baseline="0" dirty="0" smtClean="0">
                        <a:solidFill>
                          <a:schemeClr val="bg1"/>
                        </a:solidFill>
                      </a:endParaRPr>
                    </a:p>
                    <a:p>
                      <a:pPr algn="ctr">
                        <a:lnSpc>
                          <a:spcPct val="100000"/>
                        </a:lnSpc>
                      </a:pPr>
                      <a:r>
                        <a:rPr lang="fr-FR" sz="1050" spc="30" dirty="0" smtClean="0">
                          <a:solidFill>
                            <a:schemeClr val="bg1"/>
                          </a:solidFill>
                        </a:rPr>
                        <a:t>Global coverage and local expertise, </a:t>
                      </a:r>
                      <a:br>
                        <a:rPr lang="fr-FR" sz="1050" spc="30" dirty="0" smtClean="0">
                          <a:solidFill>
                            <a:schemeClr val="bg1"/>
                          </a:solidFill>
                        </a:rPr>
                      </a:br>
                      <a:r>
                        <a:rPr lang="fr-FR" sz="1050" spc="30" dirty="0" err="1" smtClean="0">
                          <a:solidFill>
                            <a:schemeClr val="bg1"/>
                          </a:solidFill>
                        </a:rPr>
                        <a:t>with</a:t>
                      </a:r>
                      <a:r>
                        <a:rPr lang="fr-FR" sz="1050" spc="30" dirty="0" smtClean="0">
                          <a:solidFill>
                            <a:schemeClr val="bg1"/>
                          </a:solidFill>
                        </a:rPr>
                        <a:t> offices in </a:t>
                      </a:r>
                      <a:r>
                        <a:rPr lang="fr-FR" sz="1050" b="1" spc="30" dirty="0" smtClean="0">
                          <a:solidFill>
                            <a:schemeClr val="bg1"/>
                          </a:solidFill>
                        </a:rPr>
                        <a:t>37 countries </a:t>
                      </a:r>
                      <a:r>
                        <a:rPr lang="fr-FR" sz="1050" spc="30" dirty="0" smtClean="0">
                          <a:solidFill>
                            <a:schemeClr val="bg1"/>
                          </a:solidFill>
                        </a:rPr>
                        <a:t>in Europe, Asia, the Middle-East and the </a:t>
                      </a:r>
                      <a:r>
                        <a:rPr lang="fr-FR" sz="1050" spc="30" dirty="0" err="1" smtClean="0">
                          <a:solidFill>
                            <a:schemeClr val="bg1"/>
                          </a:solidFill>
                        </a:rPr>
                        <a:t>Americas</a:t>
                      </a:r>
                      <a:endParaRPr lang="fr-FR" sz="1050" spc="30" dirty="0" smtClean="0">
                        <a:solidFill>
                          <a:schemeClr val="bg1"/>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3A2"/>
                    </a:solidFill>
                  </a:tcPr>
                </a:tc>
                <a:tc>
                  <a:txBody>
                    <a:bodyPr/>
                    <a:lstStyle/>
                    <a:p>
                      <a:pPr algn="ctr">
                        <a:spcAft>
                          <a:spcPts val="300"/>
                        </a:spcAft>
                      </a:pPr>
                      <a:r>
                        <a:rPr lang="fr-FR" sz="1600" b="0" spc="30" baseline="0" dirty="0" smtClean="0">
                          <a:solidFill>
                            <a:schemeClr val="bg1"/>
                          </a:solidFill>
                        </a:rPr>
                        <a:t> </a:t>
                      </a:r>
                    </a:p>
                    <a:p>
                      <a:pPr algn="ctr">
                        <a:lnSpc>
                          <a:spcPts val="1000"/>
                        </a:lnSpc>
                        <a:spcAft>
                          <a:spcPts val="0"/>
                        </a:spcAft>
                      </a:pPr>
                      <a:endParaRPr lang="fr-FR" sz="1600" b="0" spc="30" baseline="0" dirty="0" smtClean="0">
                        <a:solidFill>
                          <a:schemeClr val="bg1"/>
                        </a:solidFill>
                      </a:endParaRPr>
                    </a:p>
                    <a:p>
                      <a:pPr algn="ctr">
                        <a:lnSpc>
                          <a:spcPct val="100000"/>
                        </a:lnSpc>
                      </a:pPr>
                      <a:r>
                        <a:rPr lang="fr-FR" sz="1050" b="1" spc="30" dirty="0" smtClean="0">
                          <a:solidFill>
                            <a:schemeClr val="bg1"/>
                          </a:solidFill>
                        </a:rPr>
                        <a:t>6 </a:t>
                      </a:r>
                      <a:r>
                        <a:rPr lang="fr-FR" sz="1050" spc="30" dirty="0" smtClean="0">
                          <a:solidFill>
                            <a:schemeClr val="bg1"/>
                          </a:solidFill>
                        </a:rPr>
                        <a:t>main investment hubs</a:t>
                      </a:r>
                      <a:r>
                        <a:rPr lang="fr-FR" sz="1050" spc="30" baseline="30000" dirty="0" smtClean="0">
                          <a:solidFill>
                            <a:schemeClr val="bg1"/>
                          </a:solidFill>
                        </a:rPr>
                        <a:t> (4) </a:t>
                      </a:r>
                      <a:br>
                        <a:rPr lang="fr-FR" sz="1050" spc="30" baseline="30000" dirty="0" smtClean="0">
                          <a:solidFill>
                            <a:schemeClr val="bg1"/>
                          </a:solidFill>
                        </a:rPr>
                      </a:br>
                      <a:endParaRPr lang="fr-FR" sz="1050" spc="30" dirty="0" smtClean="0">
                        <a:solidFill>
                          <a:schemeClr val="bg1"/>
                        </a:solidFill>
                      </a:endParaRPr>
                    </a:p>
                  </a:txBody>
                  <a:tcPr marL="0" marR="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3A2"/>
                    </a:solidFill>
                  </a:tcPr>
                </a:tc>
                <a:tc>
                  <a:txBody>
                    <a:bodyPr/>
                    <a:lstStyle/>
                    <a:p>
                      <a:pPr algn="ctr">
                        <a:spcAft>
                          <a:spcPts val="300"/>
                        </a:spcAft>
                      </a:pPr>
                      <a:r>
                        <a:rPr lang="fr-FR" sz="1600" b="0" spc="30" baseline="0" dirty="0" smtClean="0">
                          <a:solidFill>
                            <a:schemeClr val="bg1"/>
                          </a:solidFill>
                        </a:rPr>
                        <a:t> </a:t>
                      </a:r>
                    </a:p>
                    <a:p>
                      <a:pPr algn="ctr">
                        <a:lnSpc>
                          <a:spcPts val="1000"/>
                        </a:lnSpc>
                        <a:spcAft>
                          <a:spcPts val="0"/>
                        </a:spcAft>
                      </a:pPr>
                      <a:endParaRPr lang="fr-FR" sz="1600" b="0" spc="30" baseline="0" dirty="0" smtClean="0">
                        <a:solidFill>
                          <a:schemeClr val="bg1"/>
                        </a:solidFill>
                      </a:endParaRPr>
                    </a:p>
                    <a:p>
                      <a:pPr algn="ctr">
                        <a:lnSpc>
                          <a:spcPct val="100000"/>
                        </a:lnSpc>
                      </a:pPr>
                      <a:r>
                        <a:rPr lang="fr-FR" sz="1050" b="1" spc="30" dirty="0" smtClean="0">
                          <a:solidFill>
                            <a:schemeClr val="bg1"/>
                          </a:solidFill>
                        </a:rPr>
                        <a:t>5,000 </a:t>
                      </a:r>
                      <a:r>
                        <a:rPr lang="fr-FR" sz="1050" spc="30" dirty="0" err="1" smtClean="0">
                          <a:solidFill>
                            <a:schemeClr val="bg1"/>
                          </a:solidFill>
                        </a:rPr>
                        <a:t>highly-skilled</a:t>
                      </a:r>
                      <a:r>
                        <a:rPr lang="fr-FR" sz="1050" spc="30" dirty="0" smtClean="0">
                          <a:solidFill>
                            <a:schemeClr val="bg1"/>
                          </a:solidFill>
                        </a:rPr>
                        <a:t> and </a:t>
                      </a:r>
                      <a:r>
                        <a:rPr lang="fr-FR" sz="1050" spc="30" dirty="0" err="1" smtClean="0">
                          <a:solidFill>
                            <a:schemeClr val="bg1"/>
                          </a:solidFill>
                        </a:rPr>
                        <a:t>experienced</a:t>
                      </a:r>
                      <a:r>
                        <a:rPr lang="fr-FR" sz="1050" spc="30" dirty="0" smtClean="0">
                          <a:solidFill>
                            <a:schemeClr val="bg1"/>
                          </a:solidFill>
                        </a:rPr>
                        <a:t> team </a:t>
                      </a:r>
                      <a:r>
                        <a:rPr lang="fr-FR" sz="1050" spc="30" dirty="0" err="1" smtClean="0">
                          <a:solidFill>
                            <a:schemeClr val="bg1"/>
                          </a:solidFill>
                        </a:rPr>
                        <a:t>members</a:t>
                      </a:r>
                      <a:r>
                        <a:rPr lang="fr-FR" sz="1050" spc="30" dirty="0" smtClean="0">
                          <a:solidFill>
                            <a:schemeClr val="bg1"/>
                          </a:solidFill>
                        </a:rPr>
                        <a:t> and </a:t>
                      </a:r>
                      <a:r>
                        <a:rPr lang="fr-FR" sz="1050" spc="30" dirty="0" err="1" smtClean="0">
                          <a:solidFill>
                            <a:schemeClr val="bg1"/>
                          </a:solidFill>
                        </a:rPr>
                        <a:t>market</a:t>
                      </a:r>
                      <a:r>
                        <a:rPr lang="fr-FR" sz="1050" spc="30" dirty="0" smtClean="0">
                          <a:solidFill>
                            <a:schemeClr val="bg1"/>
                          </a:solidFill>
                        </a:rPr>
                        <a:t> experts</a:t>
                      </a:r>
                      <a:r>
                        <a:rPr lang="fr-FR" sz="1050" spc="30" baseline="30000" dirty="0" smtClean="0">
                          <a:solidFill>
                            <a:schemeClr val="bg1"/>
                          </a:solidFill>
                        </a:rPr>
                        <a:t> (2)</a:t>
                      </a:r>
                      <a:endParaRPr lang="fr-FR" sz="1050" spc="30" baseline="30000" dirty="0">
                        <a:solidFill>
                          <a:schemeClr val="bg1"/>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3A2"/>
                    </a:solidFill>
                  </a:tcPr>
                </a:tc>
              </a:tr>
              <a:tr h="1260000">
                <a:tc>
                  <a:txBody>
                    <a:bodyPr/>
                    <a:lstStyle/>
                    <a:p>
                      <a:pPr algn="ctr">
                        <a:spcAft>
                          <a:spcPts val="300"/>
                        </a:spcAft>
                      </a:pPr>
                      <a:r>
                        <a:rPr lang="fr-FR" sz="1600" b="0" spc="30" baseline="0" dirty="0" smtClean="0">
                          <a:solidFill>
                            <a:schemeClr val="bg1"/>
                          </a:solidFill>
                        </a:rPr>
                        <a:t> </a:t>
                      </a:r>
                    </a:p>
                    <a:p>
                      <a:pPr algn="ctr">
                        <a:lnSpc>
                          <a:spcPts val="1000"/>
                        </a:lnSpc>
                        <a:spcAft>
                          <a:spcPts val="0"/>
                        </a:spcAft>
                      </a:pPr>
                      <a:endParaRPr lang="fr-FR" sz="1600" b="0" spc="30" baseline="0" dirty="0" smtClean="0">
                        <a:solidFill>
                          <a:schemeClr val="bg1"/>
                        </a:solidFill>
                      </a:endParaRPr>
                    </a:p>
                    <a:p>
                      <a:pPr algn="ctr"/>
                      <a:r>
                        <a:rPr lang="fr-FR" sz="1050" spc="30" baseline="0" dirty="0" smtClean="0">
                          <a:solidFill>
                            <a:schemeClr val="bg1"/>
                          </a:solidFill>
                        </a:rPr>
                        <a:t>A </a:t>
                      </a:r>
                      <a:r>
                        <a:rPr lang="fr-FR" sz="1050" spc="30" baseline="0" dirty="0" err="1" smtClean="0">
                          <a:solidFill>
                            <a:schemeClr val="bg1"/>
                          </a:solidFill>
                        </a:rPr>
                        <a:t>strong</a:t>
                      </a:r>
                      <a:r>
                        <a:rPr lang="fr-FR" sz="1050" spc="30" baseline="0" dirty="0" smtClean="0">
                          <a:solidFill>
                            <a:schemeClr val="bg1"/>
                          </a:solidFill>
                        </a:rPr>
                        <a:t> client-</a:t>
                      </a:r>
                      <a:r>
                        <a:rPr lang="fr-FR" sz="1050" spc="30" baseline="0" dirty="0" err="1" smtClean="0">
                          <a:solidFill>
                            <a:schemeClr val="bg1"/>
                          </a:solidFill>
                        </a:rPr>
                        <a:t>centric</a:t>
                      </a:r>
                      <a:r>
                        <a:rPr lang="fr-FR" sz="1050" spc="30" baseline="0" dirty="0" smtClean="0">
                          <a:solidFill>
                            <a:schemeClr val="bg1"/>
                          </a:solidFill>
                        </a:rPr>
                        <a:t> </a:t>
                      </a:r>
                      <a:br>
                        <a:rPr lang="fr-FR" sz="1050" spc="30" baseline="0" dirty="0" smtClean="0">
                          <a:solidFill>
                            <a:schemeClr val="bg1"/>
                          </a:solidFill>
                        </a:rPr>
                      </a:br>
                      <a:r>
                        <a:rPr lang="fr-FR" sz="1050" spc="30" baseline="0" dirty="0" smtClean="0">
                          <a:solidFill>
                            <a:schemeClr val="bg1"/>
                          </a:solidFill>
                        </a:rPr>
                        <a:t>entrepreneurial culture and </a:t>
                      </a:r>
                      <a:br>
                        <a:rPr lang="fr-FR" sz="1050" spc="30" baseline="0" dirty="0" smtClean="0">
                          <a:solidFill>
                            <a:schemeClr val="bg1"/>
                          </a:solidFill>
                        </a:rPr>
                      </a:br>
                      <a:r>
                        <a:rPr lang="fr-FR" sz="1050" spc="30" baseline="0" dirty="0" smtClean="0">
                          <a:solidFill>
                            <a:schemeClr val="bg1"/>
                          </a:solidFill>
                        </a:rPr>
                        <a:t>a </a:t>
                      </a:r>
                      <a:r>
                        <a:rPr lang="fr-FR" sz="1050" spc="30" baseline="0" dirty="0" err="1" smtClean="0">
                          <a:solidFill>
                            <a:schemeClr val="bg1"/>
                          </a:solidFill>
                        </a:rPr>
                        <a:t>dedication</a:t>
                      </a:r>
                      <a:r>
                        <a:rPr lang="fr-FR" sz="1050" spc="30" baseline="0" dirty="0" smtClean="0">
                          <a:solidFill>
                            <a:schemeClr val="bg1"/>
                          </a:solidFill>
                        </a:rPr>
                        <a:t> to </a:t>
                      </a:r>
                      <a:r>
                        <a:rPr lang="fr-FR" sz="1050" spc="30" baseline="0" dirty="0" err="1" smtClean="0">
                          <a:solidFill>
                            <a:schemeClr val="bg1"/>
                          </a:solidFill>
                        </a:rPr>
                        <a:t>teamwork</a:t>
                      </a:r>
                      <a:endParaRPr lang="fr-FR" sz="1050" spc="30" baseline="0" dirty="0" smtClean="0">
                        <a:solidFill>
                          <a:schemeClr val="bg1"/>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496C9"/>
                    </a:solidFill>
                  </a:tcPr>
                </a:tc>
                <a:tc>
                  <a:txBody>
                    <a:bodyPr/>
                    <a:lstStyle/>
                    <a:p>
                      <a:pPr algn="ctr">
                        <a:spcAft>
                          <a:spcPts val="300"/>
                        </a:spcAft>
                      </a:pPr>
                      <a:r>
                        <a:rPr lang="fr-FR" sz="1600" b="0" spc="30" baseline="0" dirty="0" smtClean="0">
                          <a:solidFill>
                            <a:schemeClr val="bg1"/>
                          </a:solidFill>
                        </a:rPr>
                        <a:t> </a:t>
                      </a:r>
                    </a:p>
                    <a:p>
                      <a:pPr algn="ctr">
                        <a:lnSpc>
                          <a:spcPts val="1000"/>
                        </a:lnSpc>
                        <a:spcAft>
                          <a:spcPts val="0"/>
                        </a:spcAft>
                      </a:pPr>
                      <a:endParaRPr lang="fr-FR" sz="1600" b="0" spc="30" baseline="0" dirty="0" smtClean="0">
                        <a:solidFill>
                          <a:schemeClr val="bg1"/>
                        </a:solidFill>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sz="1050" spc="30" baseline="0" dirty="0" smtClean="0">
                          <a:solidFill>
                            <a:schemeClr val="bg1"/>
                          </a:solidFill>
                        </a:rPr>
                        <a:t>A full range of expertise in the areas of </a:t>
                      </a:r>
                      <a:br>
                        <a:rPr lang="fr-FR" sz="1050" spc="30" baseline="0" dirty="0" smtClean="0">
                          <a:solidFill>
                            <a:schemeClr val="bg1"/>
                          </a:solidFill>
                        </a:rPr>
                      </a:br>
                      <a:r>
                        <a:rPr lang="fr-FR" sz="1050" spc="30" baseline="0" dirty="0" err="1" smtClean="0">
                          <a:solidFill>
                            <a:schemeClr val="bg1"/>
                          </a:solidFill>
                        </a:rPr>
                        <a:t>fixed</a:t>
                      </a:r>
                      <a:r>
                        <a:rPr lang="fr-FR" sz="1050" spc="30" baseline="0" dirty="0" smtClean="0">
                          <a:solidFill>
                            <a:schemeClr val="bg1"/>
                          </a:solidFill>
                        </a:rPr>
                        <a:t> </a:t>
                      </a:r>
                      <a:r>
                        <a:rPr lang="fr-FR" sz="1050" spc="30" baseline="0" dirty="0" err="1" smtClean="0">
                          <a:solidFill>
                            <a:schemeClr val="bg1"/>
                          </a:solidFill>
                        </a:rPr>
                        <a:t>income</a:t>
                      </a:r>
                      <a:r>
                        <a:rPr lang="fr-FR" sz="1050" spc="30" baseline="0" dirty="0" smtClean="0">
                          <a:solidFill>
                            <a:schemeClr val="bg1"/>
                          </a:solidFill>
                        </a:rPr>
                        <a:t>, </a:t>
                      </a:r>
                      <a:r>
                        <a:rPr lang="fr-FR" sz="1050" spc="30" baseline="0" dirty="0" err="1" smtClean="0">
                          <a:solidFill>
                            <a:schemeClr val="bg1"/>
                          </a:solidFill>
                        </a:rPr>
                        <a:t>equities</a:t>
                      </a:r>
                      <a:r>
                        <a:rPr lang="fr-FR" sz="1050" spc="30" baseline="0" dirty="0" smtClean="0">
                          <a:solidFill>
                            <a:schemeClr val="bg1"/>
                          </a:solidFill>
                        </a:rPr>
                        <a:t>, real and alternative </a:t>
                      </a:r>
                      <a:r>
                        <a:rPr lang="fr-FR" sz="1050" spc="30" baseline="0" dirty="0" err="1" smtClean="0">
                          <a:solidFill>
                            <a:schemeClr val="bg1"/>
                          </a:solidFill>
                        </a:rPr>
                        <a:t>assets</a:t>
                      </a:r>
                      <a:r>
                        <a:rPr lang="fr-FR" sz="1050" spc="30" baseline="0" dirty="0" smtClean="0">
                          <a:solidFill>
                            <a:schemeClr val="bg1"/>
                          </a:solidFill>
                        </a:rPr>
                        <a:t>, multi-</a:t>
                      </a:r>
                      <a:r>
                        <a:rPr lang="fr-FR" sz="1050" spc="30" baseline="0" dirty="0" err="1" smtClean="0">
                          <a:solidFill>
                            <a:schemeClr val="bg1"/>
                          </a:solidFill>
                        </a:rPr>
                        <a:t>assets</a:t>
                      </a:r>
                      <a:r>
                        <a:rPr lang="fr-FR" sz="1050" spc="30" baseline="0" dirty="0" smtClean="0">
                          <a:solidFill>
                            <a:schemeClr val="bg1"/>
                          </a:solidFill>
                        </a:rPr>
                        <a:t> and </a:t>
                      </a:r>
                      <a:r>
                        <a:rPr lang="fr-FR" sz="1050" spc="30" baseline="0" dirty="0" err="1" smtClean="0">
                          <a:solidFill>
                            <a:schemeClr val="bg1"/>
                          </a:solidFill>
                        </a:rPr>
                        <a:t>treasury</a:t>
                      </a:r>
                      <a:r>
                        <a:rPr lang="fr-FR" sz="1050" spc="30" baseline="0" dirty="0" smtClean="0">
                          <a:solidFill>
                            <a:schemeClr val="bg1"/>
                          </a:solidFill>
                        </a:rPr>
                        <a:t> </a:t>
                      </a:r>
                      <a:r>
                        <a:rPr lang="fr-FR" sz="1050" spc="30" baseline="0" dirty="0" err="1" smtClean="0">
                          <a:solidFill>
                            <a:schemeClr val="bg1"/>
                          </a:solidFill>
                        </a:rPr>
                        <a:t>across</a:t>
                      </a:r>
                      <a:r>
                        <a:rPr lang="fr-FR" sz="1050" spc="30" baseline="0" dirty="0" smtClean="0">
                          <a:solidFill>
                            <a:schemeClr val="bg1"/>
                          </a:solidFill>
                        </a:rPr>
                        <a:t> public and </a:t>
                      </a:r>
                      <a:r>
                        <a:rPr lang="fr-FR" sz="1050" spc="30" baseline="0" dirty="0" err="1" smtClean="0">
                          <a:solidFill>
                            <a:schemeClr val="bg1"/>
                          </a:solidFill>
                        </a:rPr>
                        <a:t>private</a:t>
                      </a:r>
                      <a:r>
                        <a:rPr lang="fr-FR" sz="1050" spc="30" baseline="0" dirty="0" smtClean="0">
                          <a:solidFill>
                            <a:schemeClr val="bg1"/>
                          </a:solidFill>
                        </a:rPr>
                        <a:t> </a:t>
                      </a:r>
                      <a:r>
                        <a:rPr lang="fr-FR" sz="1050" spc="30" baseline="0" dirty="0" err="1" smtClean="0">
                          <a:solidFill>
                            <a:schemeClr val="bg1"/>
                          </a:solidFill>
                        </a:rPr>
                        <a:t>markets</a:t>
                      </a:r>
                      <a:endParaRPr lang="fr-FR" sz="1050" spc="30" baseline="0" dirty="0" smtClean="0">
                        <a:solidFill>
                          <a:schemeClr val="bg1"/>
                        </a:solidFill>
                      </a:endParaRPr>
                    </a:p>
                  </a:txBody>
                  <a:tcPr marL="0" marR="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496C9"/>
                    </a:solidFill>
                  </a:tcPr>
                </a:tc>
                <a:tc>
                  <a:txBody>
                    <a:bodyPr/>
                    <a:lstStyle/>
                    <a:p>
                      <a:pPr algn="ctr">
                        <a:spcAft>
                          <a:spcPts val="300"/>
                        </a:spcAft>
                      </a:pPr>
                      <a:r>
                        <a:rPr lang="fr-FR" sz="1600" b="0" spc="30" baseline="0" dirty="0" smtClean="0">
                          <a:solidFill>
                            <a:schemeClr val="bg1"/>
                          </a:solidFill>
                        </a:rPr>
                        <a:t> </a:t>
                      </a:r>
                    </a:p>
                    <a:p>
                      <a:pPr algn="ctr">
                        <a:lnSpc>
                          <a:spcPts val="1000"/>
                        </a:lnSpc>
                        <a:spcAft>
                          <a:spcPts val="0"/>
                        </a:spcAft>
                      </a:pPr>
                      <a:endParaRPr lang="fr-FR" sz="1600" b="0" spc="30" baseline="0" dirty="0" smtClean="0">
                        <a:solidFill>
                          <a:schemeClr val="bg1"/>
                        </a:solidFill>
                      </a:endParaRPr>
                    </a:p>
                    <a:p>
                      <a:pPr algn="ctr"/>
                      <a:r>
                        <a:rPr lang="fr-FR" sz="1050" spc="30" baseline="0" dirty="0" err="1" smtClean="0">
                          <a:solidFill>
                            <a:schemeClr val="bg1"/>
                          </a:solidFill>
                        </a:rPr>
                        <a:t>Uniquely</a:t>
                      </a:r>
                      <a:r>
                        <a:rPr lang="fr-FR" sz="1050" spc="30" baseline="0" dirty="0" smtClean="0">
                          <a:solidFill>
                            <a:schemeClr val="bg1"/>
                          </a:solidFill>
                        </a:rPr>
                        <a:t> </a:t>
                      </a:r>
                      <a:r>
                        <a:rPr lang="fr-FR" sz="1050" spc="30" baseline="0" dirty="0" err="1" smtClean="0">
                          <a:solidFill>
                            <a:schemeClr val="bg1"/>
                          </a:solidFill>
                        </a:rPr>
                        <a:t>positioned</a:t>
                      </a:r>
                      <a:r>
                        <a:rPr lang="fr-FR" sz="1050" spc="30" baseline="0" dirty="0" smtClean="0">
                          <a:solidFill>
                            <a:schemeClr val="bg1"/>
                          </a:solidFill>
                        </a:rPr>
                        <a:t> to </a:t>
                      </a:r>
                      <a:r>
                        <a:rPr lang="fr-FR" sz="1050" spc="30" baseline="0" dirty="0" err="1" smtClean="0">
                          <a:solidFill>
                            <a:schemeClr val="bg1"/>
                          </a:solidFill>
                        </a:rPr>
                        <a:t>provide</a:t>
                      </a:r>
                      <a:r>
                        <a:rPr lang="fr-FR" sz="1050" spc="30" baseline="0" dirty="0" smtClean="0">
                          <a:solidFill>
                            <a:schemeClr val="bg1"/>
                          </a:solidFill>
                        </a:rPr>
                        <a:t> </a:t>
                      </a:r>
                      <a:br>
                        <a:rPr lang="fr-FR" sz="1050" spc="30" baseline="0" dirty="0" smtClean="0">
                          <a:solidFill>
                            <a:schemeClr val="bg1"/>
                          </a:solidFill>
                        </a:rPr>
                      </a:br>
                      <a:r>
                        <a:rPr lang="fr-FR" sz="1050" spc="30" baseline="0" dirty="0" smtClean="0">
                          <a:solidFill>
                            <a:schemeClr val="bg1"/>
                          </a:solidFill>
                        </a:rPr>
                        <a:t>high-</a:t>
                      </a:r>
                      <a:r>
                        <a:rPr lang="fr-FR" sz="1050" spc="30" baseline="0" dirty="0" err="1" smtClean="0">
                          <a:solidFill>
                            <a:schemeClr val="bg1"/>
                          </a:solidFill>
                        </a:rPr>
                        <a:t>quality</a:t>
                      </a:r>
                      <a:r>
                        <a:rPr lang="fr-FR" sz="1050" spc="30" baseline="0" dirty="0" smtClean="0">
                          <a:solidFill>
                            <a:schemeClr val="bg1"/>
                          </a:solidFill>
                        </a:rPr>
                        <a:t> service to over </a:t>
                      </a:r>
                      <a:r>
                        <a:rPr lang="fr-FR" sz="1050" b="1" spc="30" baseline="0" dirty="0" smtClean="0">
                          <a:solidFill>
                            <a:schemeClr val="bg1"/>
                          </a:solidFill>
                        </a:rPr>
                        <a:t>100 million </a:t>
                      </a:r>
                      <a:r>
                        <a:rPr lang="fr-FR" sz="1050" spc="30" baseline="0" dirty="0" err="1" smtClean="0">
                          <a:solidFill>
                            <a:schemeClr val="bg1"/>
                          </a:solidFill>
                        </a:rPr>
                        <a:t>retail</a:t>
                      </a:r>
                      <a:r>
                        <a:rPr lang="fr-FR" sz="1050" spc="30" baseline="0" dirty="0" smtClean="0">
                          <a:solidFill>
                            <a:schemeClr val="bg1"/>
                          </a:solidFill>
                        </a:rPr>
                        <a:t>, </a:t>
                      </a:r>
                      <a:r>
                        <a:rPr lang="fr-FR" sz="1050" spc="30" baseline="0" dirty="0" err="1" smtClean="0">
                          <a:solidFill>
                            <a:schemeClr val="bg1"/>
                          </a:solidFill>
                        </a:rPr>
                        <a:t>institutional</a:t>
                      </a:r>
                      <a:r>
                        <a:rPr lang="fr-FR" sz="1050" spc="30" baseline="0" dirty="0" smtClean="0">
                          <a:solidFill>
                            <a:schemeClr val="bg1"/>
                          </a:solidFill>
                        </a:rPr>
                        <a:t> and </a:t>
                      </a:r>
                      <a:r>
                        <a:rPr lang="fr-FR" sz="1050" spc="30" baseline="0" dirty="0" err="1" smtClean="0">
                          <a:solidFill>
                            <a:schemeClr val="bg1"/>
                          </a:solidFill>
                        </a:rPr>
                        <a:t>government</a:t>
                      </a:r>
                      <a:r>
                        <a:rPr lang="fr-FR" sz="1050" spc="30" baseline="0" dirty="0" smtClean="0">
                          <a:solidFill>
                            <a:schemeClr val="bg1"/>
                          </a:solidFill>
                        </a:rPr>
                        <a:t> </a:t>
                      </a:r>
                      <a:r>
                        <a:rPr lang="fr-FR" sz="1050" spc="30" baseline="0" dirty="0" err="1" smtClean="0">
                          <a:solidFill>
                            <a:schemeClr val="bg1"/>
                          </a:solidFill>
                        </a:rPr>
                        <a:t>entities</a:t>
                      </a:r>
                      <a:r>
                        <a:rPr lang="fr-FR" sz="1050" spc="30" baseline="0" dirty="0" smtClean="0">
                          <a:solidFill>
                            <a:schemeClr val="bg1"/>
                          </a:solidFill>
                        </a:rPr>
                        <a:t> </a:t>
                      </a:r>
                      <a:r>
                        <a:rPr lang="fr-FR" sz="1050" spc="30" baseline="0" dirty="0" err="1" smtClean="0">
                          <a:solidFill>
                            <a:schemeClr val="bg1"/>
                          </a:solidFill>
                        </a:rPr>
                        <a:t>worldwide</a:t>
                      </a:r>
                      <a:endParaRPr lang="fr-FR" sz="1050" spc="30" baseline="0" dirty="0" smtClean="0">
                        <a:solidFill>
                          <a:schemeClr val="bg1"/>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1496C9"/>
                    </a:solidFill>
                  </a:tcPr>
                </a:tc>
              </a:tr>
            </a:tbl>
          </a:graphicData>
        </a:graphic>
      </p:graphicFrame>
      <p:sp>
        <p:nvSpPr>
          <p:cNvPr id="5" name="Espace réservé du numéro de diapositive 4"/>
          <p:cNvSpPr>
            <a:spLocks noGrp="1"/>
          </p:cNvSpPr>
          <p:nvPr>
            <p:ph type="sldNum" sz="quarter" idx="12"/>
          </p:nvPr>
        </p:nvSpPr>
        <p:spPr/>
        <p:txBody>
          <a:bodyPr/>
          <a:lstStyle/>
          <a:p>
            <a:fld id="{2B1C6FFC-D040-034F-8B69-20295064E64D}" type="slidenum">
              <a:rPr lang="fr-FR" smtClean="0"/>
              <a:t>2</a:t>
            </a:fld>
            <a:endParaRPr lang="fr-FR" dirty="0"/>
          </a:p>
        </p:txBody>
      </p:sp>
      <p:sp>
        <p:nvSpPr>
          <p:cNvPr id="9" name="Espace réservé du contenu 2"/>
          <p:cNvSpPr txBox="1">
            <a:spLocks/>
          </p:cNvSpPr>
          <p:nvPr/>
        </p:nvSpPr>
        <p:spPr>
          <a:xfrm>
            <a:off x="540000" y="5371892"/>
            <a:ext cx="8063998" cy="869057"/>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2"/>
                </a:solidFill>
                <a:latin typeface="+mn-lt"/>
                <a:ea typeface="+mn-ea"/>
                <a:cs typeface="+mn-cs"/>
              </a:defRPr>
            </a:lvl1pPr>
            <a:lvl2pPr marL="401638" indent="-177800" algn="l" defTabSz="914400" rtl="0" eaLnBrk="1" latinLnBrk="0" hangingPunct="1">
              <a:lnSpc>
                <a:spcPct val="100000"/>
              </a:lnSpc>
              <a:spcBef>
                <a:spcPts val="500"/>
              </a:spcBef>
              <a:buClr>
                <a:schemeClr val="accent2"/>
              </a:buClr>
              <a:buFont typeface="CambriaMath" charset="0"/>
              <a:buChar char="⎯"/>
              <a:tabLst/>
              <a:defRPr sz="1400" kern="1200">
                <a:solidFill>
                  <a:schemeClr val="tx2"/>
                </a:solidFill>
                <a:latin typeface="+mn-lt"/>
                <a:ea typeface="+mn-ea"/>
                <a:cs typeface="+mn-cs"/>
              </a:defRPr>
            </a:lvl2pPr>
            <a:lvl3pPr marL="579438" indent="-131763" algn="l" defTabSz="914400" rtl="0" eaLnBrk="1" latinLnBrk="0" hangingPunct="1">
              <a:lnSpc>
                <a:spcPct val="100000"/>
              </a:lnSpc>
              <a:spcBef>
                <a:spcPts val="500"/>
              </a:spcBef>
              <a:buClr>
                <a:schemeClr val="accent2"/>
              </a:buClr>
              <a:buFont typeface="LucidaGrande-Bold" charset="0"/>
              <a:buChar char="⁃"/>
              <a:tabLst/>
              <a:defRPr sz="1200" kern="1200">
                <a:solidFill>
                  <a:schemeClr val="tx2"/>
                </a:solidFill>
                <a:latin typeface="+mn-lt"/>
                <a:ea typeface="+mn-ea"/>
                <a:cs typeface="+mn-cs"/>
              </a:defRPr>
            </a:lvl3pPr>
            <a:lvl4pPr marL="7938" indent="0" algn="l" defTabSz="914400" rtl="0" eaLnBrk="1" latinLnBrk="0" hangingPunct="1">
              <a:lnSpc>
                <a:spcPct val="100000"/>
              </a:lnSpc>
              <a:spcBef>
                <a:spcPts val="500"/>
              </a:spcBef>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sz="12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4">
              <a:lnSpc>
                <a:spcPct val="120000"/>
              </a:lnSpc>
              <a:spcBef>
                <a:spcPts val="0"/>
              </a:spcBef>
            </a:pPr>
            <a:r>
              <a:rPr lang="fr-FR" sz="800" dirty="0" smtClean="0">
                <a:solidFill>
                  <a:schemeClr val="tx2">
                    <a:lumMod val="60000"/>
                    <a:lumOff val="40000"/>
                  </a:schemeClr>
                </a:solidFill>
              </a:rPr>
              <a:t>1. Source IPE “Top 400 asset managers” published in June 2017 and based on AUM as of December 2016.</a:t>
            </a:r>
          </a:p>
          <a:p>
            <a:pPr lvl="4">
              <a:lnSpc>
                <a:spcPct val="120000"/>
              </a:lnSpc>
              <a:spcBef>
                <a:spcPts val="0"/>
              </a:spcBef>
            </a:pPr>
            <a:r>
              <a:rPr lang="fr-FR" sz="800" dirty="0" smtClean="0">
                <a:solidFill>
                  <a:schemeClr val="tx2">
                    <a:lumMod val="60000"/>
                    <a:lumOff val="40000"/>
                  </a:schemeClr>
                </a:solidFill>
              </a:rPr>
              <a:t>2. Market capitalization as of April 29, 2017.</a:t>
            </a:r>
          </a:p>
          <a:p>
            <a:pPr lvl="4">
              <a:lnSpc>
                <a:spcPct val="120000"/>
              </a:lnSpc>
              <a:spcBef>
                <a:spcPts val="0"/>
              </a:spcBef>
            </a:pPr>
            <a:r>
              <a:rPr lang="fr-FR" sz="800" dirty="0" smtClean="0">
                <a:solidFill>
                  <a:schemeClr val="tx2">
                    <a:lumMod val="60000"/>
                    <a:lumOff val="40000"/>
                  </a:schemeClr>
                </a:solidFill>
              </a:rPr>
              <a:t>3. </a:t>
            </a:r>
            <a:r>
              <a:rPr lang="en-US" sz="800" dirty="0" err="1">
                <a:solidFill>
                  <a:schemeClr val="tx2">
                    <a:lumMod val="60000"/>
                    <a:lumOff val="40000"/>
                  </a:schemeClr>
                </a:solidFill>
              </a:rPr>
              <a:t>Amundi</a:t>
            </a:r>
            <a:r>
              <a:rPr lang="en-US" sz="800" dirty="0">
                <a:solidFill>
                  <a:schemeClr val="tx2">
                    <a:lumMod val="60000"/>
                    <a:lumOff val="40000"/>
                  </a:schemeClr>
                </a:solidFill>
              </a:rPr>
              <a:t> figures as of September 30, 2017</a:t>
            </a:r>
            <a:r>
              <a:rPr lang="fr-FR" sz="800" dirty="0" smtClean="0">
                <a:solidFill>
                  <a:schemeClr val="tx2">
                    <a:lumMod val="60000"/>
                    <a:lumOff val="40000"/>
                  </a:schemeClr>
                </a:solidFill>
              </a:rPr>
              <a:t>.</a:t>
            </a:r>
          </a:p>
          <a:p>
            <a:pPr lvl="4">
              <a:lnSpc>
                <a:spcPct val="120000"/>
              </a:lnSpc>
              <a:spcBef>
                <a:spcPts val="0"/>
              </a:spcBef>
            </a:pPr>
            <a:r>
              <a:rPr lang="fr-FR" sz="800" dirty="0" smtClean="0">
                <a:solidFill>
                  <a:schemeClr val="tx2">
                    <a:lumMod val="60000"/>
                    <a:lumOff val="40000"/>
                  </a:schemeClr>
                </a:solidFill>
              </a:rPr>
              <a:t>4. Boston, Dublin, London, </a:t>
            </a:r>
            <a:r>
              <a:rPr lang="fr-FR" sz="800" dirty="0">
                <a:solidFill>
                  <a:schemeClr val="tx2">
                    <a:lumMod val="60000"/>
                    <a:lumOff val="40000"/>
                  </a:schemeClr>
                </a:solidFill>
              </a:rPr>
              <a:t>Milan, </a:t>
            </a:r>
            <a:r>
              <a:rPr lang="fr-FR" sz="800" dirty="0" smtClean="0">
                <a:solidFill>
                  <a:schemeClr val="tx2">
                    <a:lumMod val="60000"/>
                    <a:lumOff val="40000"/>
                  </a:schemeClr>
                </a:solidFill>
              </a:rPr>
              <a:t>Paris and Tokyo.</a:t>
            </a:r>
            <a:endParaRPr lang="fr-FR" sz="800" dirty="0">
              <a:solidFill>
                <a:schemeClr val="tx2">
                  <a:lumMod val="60000"/>
                  <a:lumOff val="40000"/>
                </a:schemeClr>
              </a:solidFill>
            </a:endParaRPr>
          </a:p>
        </p:txBody>
      </p:sp>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7268" y="1688493"/>
            <a:ext cx="395735" cy="395735"/>
          </a:xfrm>
          <a:prstGeom prst="rect">
            <a:avLst/>
          </a:prstGeom>
        </p:spPr>
      </p:pic>
      <p:pic>
        <p:nvPicPr>
          <p:cNvPr id="6" name="Imag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63454" y="1583955"/>
            <a:ext cx="569797" cy="569797"/>
          </a:xfrm>
          <a:prstGeom prst="rect">
            <a:avLst/>
          </a:prstGeom>
        </p:spPr>
      </p:pic>
      <p:pic>
        <p:nvPicPr>
          <p:cNvPr id="8" name="Imag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3473" y="1688493"/>
            <a:ext cx="533763" cy="533763"/>
          </a:xfrm>
          <a:prstGeom prst="rect">
            <a:avLst/>
          </a:prstGeom>
        </p:spPr>
      </p:pic>
      <p:pic>
        <p:nvPicPr>
          <p:cNvPr id="10" name="Imag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0948" y="2773428"/>
            <a:ext cx="528992" cy="528992"/>
          </a:xfrm>
          <a:prstGeom prst="rect">
            <a:avLst/>
          </a:prstGeom>
        </p:spPr>
      </p:pic>
      <p:pic>
        <p:nvPicPr>
          <p:cNvPr id="11" name="Imag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63454" y="2773428"/>
            <a:ext cx="601728" cy="601728"/>
          </a:xfrm>
          <a:prstGeom prst="rect">
            <a:avLst/>
          </a:prstGeom>
        </p:spPr>
      </p:pic>
      <p:pic>
        <p:nvPicPr>
          <p:cNvPr id="12" name="Imag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97357" y="2762541"/>
            <a:ext cx="539879" cy="539879"/>
          </a:xfrm>
          <a:prstGeom prst="rect">
            <a:avLst/>
          </a:prstGeom>
        </p:spPr>
      </p:pic>
      <p:pic>
        <p:nvPicPr>
          <p:cNvPr id="13" name="Imag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50649" y="3946278"/>
            <a:ext cx="628972" cy="628972"/>
          </a:xfrm>
          <a:prstGeom prst="rect">
            <a:avLst/>
          </a:prstGeom>
        </p:spPr>
      </p:pic>
      <p:pic>
        <p:nvPicPr>
          <p:cNvPr id="14" name="Image 1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13327" y="3926819"/>
            <a:ext cx="489696" cy="489696"/>
          </a:xfrm>
          <a:prstGeom prst="rect">
            <a:avLst/>
          </a:prstGeom>
        </p:spPr>
      </p:pic>
      <p:pic>
        <p:nvPicPr>
          <p:cNvPr id="15" name="Image 1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014857" y="3926819"/>
            <a:ext cx="529936" cy="529936"/>
          </a:xfrm>
          <a:prstGeom prst="rect">
            <a:avLst/>
          </a:prstGeom>
        </p:spPr>
      </p:pic>
      <p:sp>
        <p:nvSpPr>
          <p:cNvPr id="17" name="Footer Placeholder 7"/>
          <p:cNvSpPr txBox="1">
            <a:spLocks/>
          </p:cNvSpPr>
          <p:nvPr/>
        </p:nvSpPr>
        <p:spPr>
          <a:xfrm>
            <a:off x="773026" y="6480393"/>
            <a:ext cx="5212196" cy="1800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rgbClr val="EE7F00"/>
              </a:buClr>
              <a:buSzPct val="130000"/>
              <a:buFont typeface="+mj-lt"/>
              <a:buNone/>
              <a:tabLst/>
              <a:defRPr sz="1600" kern="1200">
                <a:solidFill>
                  <a:schemeClr val="tx2"/>
                </a:solidFill>
                <a:latin typeface="+mn-lt"/>
                <a:ea typeface="+mn-ea"/>
                <a:cs typeface="+mn-cs"/>
              </a:defRPr>
            </a:lvl1pPr>
            <a:lvl2pPr marL="365125" indent="-193675" algn="l" defTabSz="914400" rtl="0" eaLnBrk="1" latinLnBrk="0" hangingPunct="1">
              <a:lnSpc>
                <a:spcPct val="100000"/>
              </a:lnSpc>
              <a:spcBef>
                <a:spcPts val="500"/>
              </a:spcBef>
              <a:buClr>
                <a:schemeClr val="accent2"/>
              </a:buClr>
              <a:buFont typeface="CambriaMath" charset="0"/>
              <a:buChar char="⎯"/>
              <a:tabLst/>
              <a:defRPr sz="1400" kern="1200">
                <a:solidFill>
                  <a:schemeClr val="tx2"/>
                </a:solidFill>
                <a:latin typeface="+mn-lt"/>
                <a:ea typeface="+mn-ea"/>
                <a:cs typeface="+mn-cs"/>
              </a:defRPr>
            </a:lvl2pPr>
            <a:lvl3pPr marL="447675" indent="-195263" algn="l" defTabSz="914400" rtl="0" eaLnBrk="1" latinLnBrk="0" hangingPunct="1">
              <a:lnSpc>
                <a:spcPct val="100000"/>
              </a:lnSpc>
              <a:spcBef>
                <a:spcPts val="500"/>
              </a:spcBef>
              <a:buClr>
                <a:schemeClr val="accent2"/>
              </a:buClr>
              <a:buFont typeface="LucidaGrande-Bold" charset="0"/>
              <a:buChar char="⁃"/>
              <a:tabLst/>
              <a:defRPr sz="1200" kern="1200">
                <a:solidFill>
                  <a:schemeClr val="tx2"/>
                </a:solidFill>
                <a:latin typeface="+mn-lt"/>
                <a:ea typeface="+mn-ea"/>
                <a:cs typeface="+mn-cs"/>
              </a:defRPr>
            </a:lvl3pPr>
            <a:lvl4pPr marL="446088" indent="-3175" algn="l" defTabSz="914400" rtl="0" eaLnBrk="1" latinLnBrk="0" hangingPunct="1">
              <a:lnSpc>
                <a:spcPct val="100000"/>
              </a:lnSpc>
              <a:spcBef>
                <a:spcPts val="500"/>
              </a:spcBef>
              <a:buFont typeface="Arial" charset="0"/>
              <a:buNone/>
              <a:tabLst/>
              <a:defRPr sz="1200" kern="1200">
                <a:solidFill>
                  <a:schemeClr val="tx1"/>
                </a:solidFill>
                <a:latin typeface="+mn-lt"/>
                <a:ea typeface="+mn-ea"/>
                <a:cs typeface="+mn-cs"/>
              </a:defRPr>
            </a:lvl4pPr>
            <a:lvl5pPr marL="447675" indent="-123825" algn="l" defTabSz="914400" rtl="0" eaLnBrk="1" latinLnBrk="0" hangingPunct="1">
              <a:lnSpc>
                <a:spcPct val="100000"/>
              </a:lnSpc>
              <a:spcBef>
                <a:spcPts val="500"/>
              </a:spcBef>
              <a:buFont typeface="Arial" charset="0"/>
              <a:buNone/>
              <a:tabLst/>
              <a:defRPr sz="12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dirty="0"/>
              <a:t>Smart Beta - Investment Solutions</a:t>
            </a:r>
            <a:endParaRPr lang="fr-FR" sz="800" dirty="0"/>
          </a:p>
          <a:p>
            <a:endParaRPr lang="fr-FR" sz="800" dirty="0">
              <a:solidFill>
                <a:srgbClr val="003C64"/>
              </a:solidFill>
            </a:endParaRPr>
          </a:p>
        </p:txBody>
      </p:sp>
    </p:spTree>
    <p:extLst>
      <p:ext uri="{BB962C8B-B14F-4D97-AF65-F5344CB8AC3E}">
        <p14:creationId xmlns:p14="http://schemas.microsoft.com/office/powerpoint/2010/main" val="371015823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7">
            <a:extLst>
              <a:ext uri="{FF2B5EF4-FFF2-40B4-BE49-F238E27FC236}">
                <a16:creationId xmlns="" xmlns:a16="http://schemas.microsoft.com/office/drawing/2014/main" id="{E26272D1-DA7B-448D-9C96-A33C84E8FB23}"/>
              </a:ext>
            </a:extLst>
          </p:cNvPr>
          <p:cNvSpPr>
            <a:spLocks noGrp="1"/>
          </p:cNvSpPr>
          <p:nvPr>
            <p:ph type="body" sz="quarter" idx="13"/>
          </p:nvPr>
        </p:nvSpPr>
        <p:spPr/>
        <p:txBody>
          <a:bodyPr/>
          <a:lstStyle/>
          <a:p>
            <a:r>
              <a:rPr lang="fr-BE" dirty="0"/>
              <a:t>02</a:t>
            </a:r>
          </a:p>
          <a:p>
            <a:endParaRPr lang="fr-BE" dirty="0"/>
          </a:p>
        </p:txBody>
      </p:sp>
      <p:sp>
        <p:nvSpPr>
          <p:cNvPr id="7" name="Titre 6">
            <a:extLst>
              <a:ext uri="{FF2B5EF4-FFF2-40B4-BE49-F238E27FC236}">
                <a16:creationId xmlns="" xmlns:a16="http://schemas.microsoft.com/office/drawing/2014/main" id="{DA5CA6E9-8A86-471A-90B4-750CAD6563D2}"/>
              </a:ext>
            </a:extLst>
          </p:cNvPr>
          <p:cNvSpPr>
            <a:spLocks noGrp="1"/>
          </p:cNvSpPr>
          <p:nvPr>
            <p:ph type="title"/>
          </p:nvPr>
        </p:nvSpPr>
        <p:spPr/>
        <p:txBody>
          <a:bodyPr/>
          <a:lstStyle/>
          <a:p>
            <a:r>
              <a:rPr lang="fr-BE" dirty="0"/>
              <a:t>Risk-efficient solutions</a:t>
            </a:r>
          </a:p>
        </p:txBody>
      </p:sp>
      <p:sp>
        <p:nvSpPr>
          <p:cNvPr id="2" name="Text Placeholder 1"/>
          <p:cNvSpPr>
            <a:spLocks noGrp="1"/>
          </p:cNvSpPr>
          <p:nvPr>
            <p:ph type="body" idx="1"/>
          </p:nvPr>
        </p:nvSpPr>
        <p:spPr/>
        <p:txBody>
          <a:bodyPr/>
          <a:lstStyle/>
          <a:p>
            <a:r>
              <a:rPr lang="en-US" dirty="0"/>
              <a:t>Risk Parity</a:t>
            </a:r>
            <a:br>
              <a:rPr lang="en-US" dirty="0"/>
            </a:br>
            <a:r>
              <a:rPr lang="en-US" dirty="0"/>
              <a:t>"Limit unrewarded risks with capital diversification"</a:t>
            </a:r>
          </a:p>
        </p:txBody>
      </p:sp>
      <p:sp>
        <p:nvSpPr>
          <p:cNvPr id="20" name="Espace réservé du numéro de diapositive 4">
            <a:extLst>
              <a:ext uri="{FF2B5EF4-FFF2-40B4-BE49-F238E27FC236}">
                <a16:creationId xmlns="" xmlns:a16="http://schemas.microsoft.com/office/drawing/2014/main" id="{1525FDB3-4D6A-4970-97BB-DB49570F5E91}"/>
              </a:ext>
            </a:extLst>
          </p:cNvPr>
          <p:cNvSpPr>
            <a:spLocks noGrp="1"/>
          </p:cNvSpPr>
          <p:nvPr>
            <p:ph type="sldNum" sz="quarter" idx="12"/>
          </p:nvPr>
        </p:nvSpPr>
        <p:spPr>
          <a:xfrm>
            <a:off x="540000" y="6480000"/>
            <a:ext cx="180000" cy="180000"/>
          </a:xfrm>
        </p:spPr>
        <p:txBody>
          <a:bodyPr/>
          <a:lstStyle/>
          <a:p>
            <a:fld id="{2B1C6FFC-D040-034F-8B69-20295064E64D}" type="slidenum">
              <a:rPr lang="fr-FR" smtClean="0"/>
              <a:t>20</a:t>
            </a:fld>
            <a:endParaRPr lang="fr-FR" dirty="0"/>
          </a:p>
        </p:txBody>
      </p:sp>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2495245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B045242F-3BE1-4056-9055-B2D0477F1E32}"/>
              </a:ext>
            </a:extLst>
          </p:cNvPr>
          <p:cNvSpPr>
            <a:spLocks noGrp="1"/>
          </p:cNvSpPr>
          <p:nvPr>
            <p:ph type="title"/>
          </p:nvPr>
        </p:nvSpPr>
        <p:spPr/>
        <p:txBody>
          <a:bodyPr/>
          <a:lstStyle/>
          <a:p>
            <a:r>
              <a:rPr lang="en-US" dirty="0"/>
              <a:t>A risk-efficient approach </a:t>
            </a:r>
            <a:r>
              <a:rPr lang="en-US" dirty="0" smtClean="0">
                <a:solidFill>
                  <a:schemeClr val="accent1"/>
                </a:solidFill>
              </a:rPr>
              <a:t>limiting </a:t>
            </a:r>
            <a:r>
              <a:rPr lang="en-US" dirty="0">
                <a:solidFill>
                  <a:schemeClr val="accent1"/>
                </a:solidFill>
              </a:rPr>
              <a:t>drawdowns</a:t>
            </a:r>
            <a:endParaRPr lang="fr-FR" dirty="0">
              <a:solidFill>
                <a:schemeClr val="accent1"/>
              </a:solidFill>
            </a:endParaRPr>
          </a:p>
        </p:txBody>
      </p:sp>
      <p:sp>
        <p:nvSpPr>
          <p:cNvPr id="5" name="Espace réservé du numéro de diapositive 4">
            <a:extLst>
              <a:ext uri="{FF2B5EF4-FFF2-40B4-BE49-F238E27FC236}">
                <a16:creationId xmlns="" xmlns:a16="http://schemas.microsoft.com/office/drawing/2014/main" id="{568A97C9-F858-49AA-A969-8C085DCD660F}"/>
              </a:ext>
            </a:extLst>
          </p:cNvPr>
          <p:cNvSpPr>
            <a:spLocks noGrp="1"/>
          </p:cNvSpPr>
          <p:nvPr>
            <p:ph type="sldNum" sz="quarter" idx="12"/>
          </p:nvPr>
        </p:nvSpPr>
        <p:spPr/>
        <p:txBody>
          <a:bodyPr/>
          <a:lstStyle/>
          <a:p>
            <a:fld id="{2B1C6FFC-D040-034F-8B69-20295064E64D}" type="slidenum">
              <a:rPr lang="fr-FR" smtClean="0"/>
              <a:t>21</a:t>
            </a:fld>
            <a:endParaRPr lang="fr-FR" dirty="0"/>
          </a:p>
        </p:txBody>
      </p:sp>
      <p:sp>
        <p:nvSpPr>
          <p:cNvPr id="6" name="Espace réservé du texte 5">
            <a:extLst>
              <a:ext uri="{FF2B5EF4-FFF2-40B4-BE49-F238E27FC236}">
                <a16:creationId xmlns="" xmlns:a16="http://schemas.microsoft.com/office/drawing/2014/main" id="{E847FDAB-50D0-458B-BCF6-BB4A4C0C9EF0}"/>
              </a:ext>
            </a:extLst>
          </p:cNvPr>
          <p:cNvSpPr>
            <a:spLocks noGrp="1"/>
          </p:cNvSpPr>
          <p:nvPr>
            <p:ph type="body" sz="quarter" idx="13"/>
          </p:nvPr>
        </p:nvSpPr>
        <p:spPr/>
        <p:txBody>
          <a:bodyPr/>
          <a:lstStyle/>
          <a:p>
            <a:r>
              <a:rPr lang="en-US" dirty="0"/>
              <a:t>In market drops, Euro Risk Parity strategy could limit drawdowns</a:t>
            </a:r>
          </a:p>
        </p:txBody>
      </p:sp>
      <p:sp>
        <p:nvSpPr>
          <p:cNvPr id="7" name="Espace réservé du texte 6">
            <a:extLst>
              <a:ext uri="{FF2B5EF4-FFF2-40B4-BE49-F238E27FC236}">
                <a16:creationId xmlns="" xmlns:a16="http://schemas.microsoft.com/office/drawing/2014/main" id="{0735C00A-3213-4C69-BD6B-EE65174A6A42}"/>
              </a:ext>
            </a:extLst>
          </p:cNvPr>
          <p:cNvSpPr>
            <a:spLocks noGrp="1"/>
          </p:cNvSpPr>
          <p:nvPr>
            <p:ph type="body" sz="quarter" idx="14"/>
          </p:nvPr>
        </p:nvSpPr>
        <p:spPr/>
        <p:txBody>
          <a:bodyPr/>
          <a:lstStyle/>
          <a:p>
            <a:pPr algn="l"/>
            <a:r>
              <a:rPr lang="en-US" dirty="0"/>
              <a:t>Source: Amundi AM, Gross performance as of </a:t>
            </a:r>
            <a:r>
              <a:rPr lang="en-US" dirty="0" smtClean="0"/>
              <a:t>29/12/2017 </a:t>
            </a:r>
            <a:r>
              <a:rPr lang="en-US" dirty="0"/>
              <a:t>of the IE share class of AF Equity Euro Risk Parity</a:t>
            </a:r>
            <a:br>
              <a:rPr lang="en-US" dirty="0"/>
            </a:br>
            <a:r>
              <a:rPr lang="en-US" dirty="0"/>
              <a:t>Past performance is not a reliable indicator of future results or a guarantee of future returns.</a:t>
            </a:r>
          </a:p>
        </p:txBody>
      </p:sp>
      <p:sp>
        <p:nvSpPr>
          <p:cNvPr id="8" name="TextBox 4">
            <a:extLst>
              <a:ext uri="{FF2B5EF4-FFF2-40B4-BE49-F238E27FC236}">
                <a16:creationId xmlns="" xmlns:a16="http://schemas.microsoft.com/office/drawing/2014/main" id="{60E5DFBA-127B-44B8-85F3-BE7B547B2FA5}"/>
              </a:ext>
            </a:extLst>
          </p:cNvPr>
          <p:cNvSpPr txBox="1"/>
          <p:nvPr/>
        </p:nvSpPr>
        <p:spPr>
          <a:xfrm>
            <a:off x="3656635" y="1457002"/>
            <a:ext cx="1845377"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Quarterly Max Drawdowns</a:t>
            </a:r>
          </a:p>
        </p:txBody>
      </p:sp>
      <p:sp>
        <p:nvSpPr>
          <p:cNvPr id="10" name="ZoneTexte 9">
            <a:extLst>
              <a:ext uri="{FF2B5EF4-FFF2-40B4-BE49-F238E27FC236}">
                <a16:creationId xmlns="" xmlns:a16="http://schemas.microsoft.com/office/drawing/2014/main" id="{7EA13A86-75D5-4446-BF80-8F29F0F84C39}"/>
              </a:ext>
            </a:extLst>
          </p:cNvPr>
          <p:cNvSpPr txBox="1"/>
          <p:nvPr/>
        </p:nvSpPr>
        <p:spPr>
          <a:xfrm>
            <a:off x="7487583" y="4238400"/>
            <a:ext cx="1484967" cy="215444"/>
          </a:xfrm>
          <a:prstGeom prst="rect">
            <a:avLst/>
          </a:prstGeom>
          <a:noFill/>
        </p:spPr>
        <p:txBody>
          <a:bodyPr wrap="square" rtlCol="0">
            <a:spAutoFit/>
          </a:bodyPr>
          <a:lstStyle/>
          <a:p>
            <a:pPr lvl="0" defTabSz="457200"/>
            <a:r>
              <a:rPr lang="en-US" sz="800" b="1" kern="0" dirty="0"/>
              <a:t>AF Equity Euro Risk Parity </a:t>
            </a:r>
            <a:endParaRPr kumimoji="0" lang="fr-FR" sz="800" b="1" i="0" u="none" strike="noStrike" kern="0" cap="none" spc="0" normalizeH="0" baseline="0" noProof="0" dirty="0">
              <a:ln>
                <a:noFill/>
              </a:ln>
              <a:effectLst/>
              <a:uLnTx/>
              <a:uFillTx/>
            </a:endParaRPr>
          </a:p>
        </p:txBody>
      </p:sp>
      <p:sp>
        <p:nvSpPr>
          <p:cNvPr id="11" name="Rectangle 10">
            <a:extLst>
              <a:ext uri="{FF2B5EF4-FFF2-40B4-BE49-F238E27FC236}">
                <a16:creationId xmlns="" xmlns:a16="http://schemas.microsoft.com/office/drawing/2014/main" id="{7ACF8710-7CE9-4A1F-A096-7A94389F911C}"/>
              </a:ext>
            </a:extLst>
          </p:cNvPr>
          <p:cNvSpPr/>
          <p:nvPr/>
        </p:nvSpPr>
        <p:spPr bwMode="auto">
          <a:xfrm>
            <a:off x="7417683" y="4286032"/>
            <a:ext cx="108000" cy="108000"/>
          </a:xfrm>
          <a:prstGeom prst="rect">
            <a:avLst/>
          </a:prstGeom>
          <a:solidFill>
            <a:srgbClr val="001C4B"/>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sp>
        <p:nvSpPr>
          <p:cNvPr id="12" name="ZoneTexte 11">
            <a:extLst>
              <a:ext uri="{FF2B5EF4-FFF2-40B4-BE49-F238E27FC236}">
                <a16:creationId xmlns="" xmlns:a16="http://schemas.microsoft.com/office/drawing/2014/main" id="{EAC809A4-122C-47B1-8F77-C003C3EF3315}"/>
              </a:ext>
            </a:extLst>
          </p:cNvPr>
          <p:cNvSpPr txBox="1"/>
          <p:nvPr/>
        </p:nvSpPr>
        <p:spPr>
          <a:xfrm>
            <a:off x="7487583" y="4451634"/>
            <a:ext cx="1272965" cy="215444"/>
          </a:xfrm>
          <a:prstGeom prst="rect">
            <a:avLst/>
          </a:prstGeom>
          <a:noFill/>
        </p:spPr>
        <p:txBody>
          <a:bodyPr wrap="square" rtlCol="0">
            <a:spAutoFit/>
          </a:bodyPr>
          <a:lstStyle/>
          <a:p>
            <a:pPr lvl="0" defTabSz="457200"/>
            <a:r>
              <a:rPr lang="fr-FR" sz="800" b="1" kern="0" dirty="0">
                <a:solidFill>
                  <a:schemeClr val="accent1"/>
                </a:solidFill>
              </a:rPr>
              <a:t>MSCI EMU Index</a:t>
            </a:r>
          </a:p>
        </p:txBody>
      </p:sp>
      <p:sp>
        <p:nvSpPr>
          <p:cNvPr id="13" name="Rectangle 12">
            <a:extLst>
              <a:ext uri="{FF2B5EF4-FFF2-40B4-BE49-F238E27FC236}">
                <a16:creationId xmlns="" xmlns:a16="http://schemas.microsoft.com/office/drawing/2014/main" id="{EA4E7719-F6B4-4F10-B4F3-92763EBC55A5}"/>
              </a:ext>
            </a:extLst>
          </p:cNvPr>
          <p:cNvSpPr/>
          <p:nvPr/>
        </p:nvSpPr>
        <p:spPr bwMode="auto">
          <a:xfrm>
            <a:off x="7417683" y="4499266"/>
            <a:ext cx="108000" cy="10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sp>
        <p:nvSpPr>
          <p:cNvPr id="15"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graphicFrame>
        <p:nvGraphicFramePr>
          <p:cNvPr id="16" name="Chart 3"/>
          <p:cNvGraphicFramePr>
            <a:graphicFrameLocks/>
          </p:cNvGraphicFramePr>
          <p:nvPr>
            <p:extLst>
              <p:ext uri="{D42A27DB-BD31-4B8C-83A1-F6EECF244321}">
                <p14:modId xmlns:p14="http://schemas.microsoft.com/office/powerpoint/2010/main" val="2110118420"/>
              </p:ext>
            </p:extLst>
          </p:nvPr>
        </p:nvGraphicFramePr>
        <p:xfrm>
          <a:off x="565150" y="1396747"/>
          <a:ext cx="8013573" cy="42119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1266494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A86ACC49-B47E-4DCB-B2EC-C665F626CB77}"/>
              </a:ext>
            </a:extLst>
          </p:cNvPr>
          <p:cNvSpPr>
            <a:spLocks noGrp="1"/>
          </p:cNvSpPr>
          <p:nvPr>
            <p:ph type="title"/>
          </p:nvPr>
        </p:nvSpPr>
        <p:spPr/>
        <p:txBody>
          <a:bodyPr>
            <a:noAutofit/>
          </a:bodyPr>
          <a:lstStyle/>
          <a:p>
            <a:r>
              <a:rPr lang="en-US" sz="1800" dirty="0"/>
              <a:t>A risk-efficient approach </a:t>
            </a:r>
            <a:r>
              <a:rPr lang="en-US" sz="1800" dirty="0">
                <a:solidFill>
                  <a:schemeClr val="accent1"/>
                </a:solidFill>
              </a:rPr>
              <a:t>to achieve a higher capital diversification</a:t>
            </a:r>
            <a:endParaRPr lang="fr-FR" sz="1800" dirty="0">
              <a:solidFill>
                <a:schemeClr val="accent1"/>
              </a:solidFill>
            </a:endParaRPr>
          </a:p>
        </p:txBody>
      </p:sp>
      <p:sp>
        <p:nvSpPr>
          <p:cNvPr id="5" name="Espace réservé du numéro de diapositive 4">
            <a:extLst>
              <a:ext uri="{FF2B5EF4-FFF2-40B4-BE49-F238E27FC236}">
                <a16:creationId xmlns="" xmlns:a16="http://schemas.microsoft.com/office/drawing/2014/main" id="{D1C04AF9-7B8E-4294-AA00-88DE8175783D}"/>
              </a:ext>
            </a:extLst>
          </p:cNvPr>
          <p:cNvSpPr>
            <a:spLocks noGrp="1"/>
          </p:cNvSpPr>
          <p:nvPr>
            <p:ph type="sldNum" sz="quarter" idx="12"/>
          </p:nvPr>
        </p:nvSpPr>
        <p:spPr/>
        <p:txBody>
          <a:bodyPr/>
          <a:lstStyle/>
          <a:p>
            <a:fld id="{2B1C6FFC-D040-034F-8B69-20295064E64D}" type="slidenum">
              <a:rPr lang="fr-FR" smtClean="0"/>
              <a:t>22</a:t>
            </a:fld>
            <a:endParaRPr lang="fr-FR" dirty="0"/>
          </a:p>
        </p:txBody>
      </p:sp>
      <p:sp>
        <p:nvSpPr>
          <p:cNvPr id="6" name="Espace réservé du texte 5">
            <a:extLst>
              <a:ext uri="{FF2B5EF4-FFF2-40B4-BE49-F238E27FC236}">
                <a16:creationId xmlns="" xmlns:a16="http://schemas.microsoft.com/office/drawing/2014/main" id="{D4C2C901-9C4D-4420-8CD9-4761123D8BA6}"/>
              </a:ext>
            </a:extLst>
          </p:cNvPr>
          <p:cNvSpPr>
            <a:spLocks noGrp="1"/>
          </p:cNvSpPr>
          <p:nvPr>
            <p:ph type="body" sz="quarter" idx="13"/>
          </p:nvPr>
        </p:nvSpPr>
        <p:spPr/>
        <p:txBody>
          <a:bodyPr/>
          <a:lstStyle/>
          <a:p>
            <a:r>
              <a:rPr lang="en-US" dirty="0"/>
              <a:t>The investor’s risk budget is spread over a very large number of stocks</a:t>
            </a:r>
          </a:p>
          <a:p>
            <a:endParaRPr lang="fr-FR" dirty="0"/>
          </a:p>
        </p:txBody>
      </p:sp>
      <p:sp>
        <p:nvSpPr>
          <p:cNvPr id="7" name="Espace réservé du texte 6">
            <a:extLst>
              <a:ext uri="{FF2B5EF4-FFF2-40B4-BE49-F238E27FC236}">
                <a16:creationId xmlns="" xmlns:a16="http://schemas.microsoft.com/office/drawing/2014/main" id="{8D1D9E52-74BD-443F-88CD-66EF299770AD}"/>
              </a:ext>
            </a:extLst>
          </p:cNvPr>
          <p:cNvSpPr>
            <a:spLocks noGrp="1"/>
          </p:cNvSpPr>
          <p:nvPr>
            <p:ph type="body" sz="quarter" idx="14"/>
          </p:nvPr>
        </p:nvSpPr>
        <p:spPr/>
        <p:txBody>
          <a:bodyPr/>
          <a:lstStyle/>
          <a:p>
            <a:pPr algn="l"/>
            <a:r>
              <a:rPr lang="en-US" dirty="0"/>
              <a:t>Source: </a:t>
            </a:r>
            <a:r>
              <a:rPr lang="en-US" dirty="0" err="1"/>
              <a:t>Amundi</a:t>
            </a:r>
            <a:r>
              <a:rPr lang="en-US" dirty="0"/>
              <a:t>, 31/12/2016</a:t>
            </a:r>
            <a:br>
              <a:rPr lang="en-US" dirty="0"/>
            </a:br>
            <a:r>
              <a:rPr lang="en-US" dirty="0"/>
              <a:t>Past performance is not a reliable indicator of future results or a guarantee of future returns.</a:t>
            </a:r>
          </a:p>
        </p:txBody>
      </p:sp>
      <p:sp>
        <p:nvSpPr>
          <p:cNvPr id="8" name="TextBox 4">
            <a:extLst>
              <a:ext uri="{FF2B5EF4-FFF2-40B4-BE49-F238E27FC236}">
                <a16:creationId xmlns="" xmlns:a16="http://schemas.microsoft.com/office/drawing/2014/main" id="{4344FC5F-AD48-4BF5-BE92-499832219592}"/>
              </a:ext>
            </a:extLst>
          </p:cNvPr>
          <p:cNvSpPr txBox="1"/>
          <p:nvPr/>
        </p:nvSpPr>
        <p:spPr>
          <a:xfrm>
            <a:off x="2538541" y="1800989"/>
            <a:ext cx="4081566"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Weight distribution</a:t>
            </a:r>
            <a:br>
              <a:rPr lang="en-US" dirty="0"/>
            </a:br>
            <a:r>
              <a:rPr lang="en-US" dirty="0"/>
              <a:t>Eurozone capitalization weighted index and risk parity portfolio</a:t>
            </a:r>
          </a:p>
        </p:txBody>
      </p:sp>
      <p:graphicFrame>
        <p:nvGraphicFramePr>
          <p:cNvPr id="9" name="Chart 7">
            <a:extLst>
              <a:ext uri="{FF2B5EF4-FFF2-40B4-BE49-F238E27FC236}">
                <a16:creationId xmlns="" xmlns:a16="http://schemas.microsoft.com/office/drawing/2014/main" id="{E29B5E26-1B45-402E-B350-2AD9C71FCC55}"/>
              </a:ext>
            </a:extLst>
          </p:cNvPr>
          <p:cNvGraphicFramePr>
            <a:graphicFrameLocks/>
          </p:cNvGraphicFramePr>
          <p:nvPr>
            <p:extLst>
              <p:ext uri="{D42A27DB-BD31-4B8C-83A1-F6EECF244321}">
                <p14:modId xmlns:p14="http://schemas.microsoft.com/office/powerpoint/2010/main" val="751146616"/>
              </p:ext>
            </p:extLst>
          </p:nvPr>
        </p:nvGraphicFramePr>
        <p:xfrm>
          <a:off x="457987" y="2317900"/>
          <a:ext cx="8155261" cy="3338422"/>
        </p:xfrm>
        <a:graphic>
          <a:graphicData uri="http://schemas.openxmlformats.org/drawingml/2006/chart">
            <c:chart xmlns:c="http://schemas.openxmlformats.org/drawingml/2006/chart" xmlns:r="http://schemas.openxmlformats.org/officeDocument/2006/relationships" r:id="rId2"/>
          </a:graphicData>
        </a:graphic>
      </p:graphicFrame>
      <p:sp>
        <p:nvSpPr>
          <p:cNvPr id="10" name="ZoneTexte 9">
            <a:extLst>
              <a:ext uri="{FF2B5EF4-FFF2-40B4-BE49-F238E27FC236}">
                <a16:creationId xmlns="" xmlns:a16="http://schemas.microsoft.com/office/drawing/2014/main" id="{B2682418-C99B-46EC-BBDA-F3AB5EC2ACE5}"/>
              </a:ext>
            </a:extLst>
          </p:cNvPr>
          <p:cNvSpPr txBox="1"/>
          <p:nvPr/>
        </p:nvSpPr>
        <p:spPr>
          <a:xfrm>
            <a:off x="7487583" y="4238400"/>
            <a:ext cx="1484967" cy="215444"/>
          </a:xfrm>
          <a:prstGeom prst="rect">
            <a:avLst/>
          </a:prstGeom>
          <a:noFill/>
        </p:spPr>
        <p:txBody>
          <a:bodyPr wrap="square" rtlCol="0">
            <a:spAutoFit/>
          </a:bodyPr>
          <a:lstStyle/>
          <a:p>
            <a:pPr lvl="0" defTabSz="457200"/>
            <a:r>
              <a:rPr lang="en-US" sz="800" b="1" kern="0" dirty="0"/>
              <a:t>Weight Risk Parity</a:t>
            </a:r>
            <a:endParaRPr kumimoji="0" lang="fr-FR" sz="800" b="1" i="0" u="none" strike="noStrike" kern="0" cap="none" spc="0" normalizeH="0" baseline="0" noProof="0" dirty="0">
              <a:ln>
                <a:noFill/>
              </a:ln>
              <a:effectLst/>
              <a:uLnTx/>
              <a:uFillTx/>
            </a:endParaRPr>
          </a:p>
        </p:txBody>
      </p:sp>
      <p:sp>
        <p:nvSpPr>
          <p:cNvPr id="11" name="Rectangle 10">
            <a:extLst>
              <a:ext uri="{FF2B5EF4-FFF2-40B4-BE49-F238E27FC236}">
                <a16:creationId xmlns="" xmlns:a16="http://schemas.microsoft.com/office/drawing/2014/main" id="{3852576B-2322-410D-9D48-5A74DE35E325}"/>
              </a:ext>
            </a:extLst>
          </p:cNvPr>
          <p:cNvSpPr/>
          <p:nvPr/>
        </p:nvSpPr>
        <p:spPr bwMode="auto">
          <a:xfrm>
            <a:off x="7417683" y="4286032"/>
            <a:ext cx="108000" cy="108000"/>
          </a:xfrm>
          <a:prstGeom prst="rect">
            <a:avLst/>
          </a:prstGeom>
          <a:solidFill>
            <a:srgbClr val="001C4B"/>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sp>
        <p:nvSpPr>
          <p:cNvPr id="12" name="ZoneTexte 11">
            <a:extLst>
              <a:ext uri="{FF2B5EF4-FFF2-40B4-BE49-F238E27FC236}">
                <a16:creationId xmlns="" xmlns:a16="http://schemas.microsoft.com/office/drawing/2014/main" id="{9B75AA98-91E2-4B1C-A471-E88E1E7097DD}"/>
              </a:ext>
            </a:extLst>
          </p:cNvPr>
          <p:cNvSpPr txBox="1"/>
          <p:nvPr/>
        </p:nvSpPr>
        <p:spPr>
          <a:xfrm>
            <a:off x="7487583" y="4451634"/>
            <a:ext cx="1272965" cy="215444"/>
          </a:xfrm>
          <a:prstGeom prst="rect">
            <a:avLst/>
          </a:prstGeom>
          <a:noFill/>
        </p:spPr>
        <p:txBody>
          <a:bodyPr wrap="square" rtlCol="0">
            <a:spAutoFit/>
          </a:bodyPr>
          <a:lstStyle/>
          <a:p>
            <a:pPr lvl="0" defTabSz="457200"/>
            <a:r>
              <a:rPr lang="fr-FR" sz="800" b="1" kern="0" dirty="0" err="1">
                <a:solidFill>
                  <a:schemeClr val="accent1"/>
                </a:solidFill>
              </a:rPr>
              <a:t>Weight</a:t>
            </a:r>
            <a:r>
              <a:rPr lang="fr-FR" sz="800" b="1" kern="0" dirty="0">
                <a:solidFill>
                  <a:schemeClr val="accent1"/>
                </a:solidFill>
              </a:rPr>
              <a:t> Cap </a:t>
            </a:r>
            <a:r>
              <a:rPr lang="fr-FR" sz="800" b="1" kern="0" dirty="0" err="1">
                <a:solidFill>
                  <a:schemeClr val="accent1"/>
                </a:solidFill>
              </a:rPr>
              <a:t>Weighted</a:t>
            </a:r>
            <a:endParaRPr lang="fr-FR" sz="800" b="1" kern="0" dirty="0">
              <a:solidFill>
                <a:schemeClr val="accent1"/>
              </a:solidFill>
            </a:endParaRPr>
          </a:p>
        </p:txBody>
      </p:sp>
      <p:sp>
        <p:nvSpPr>
          <p:cNvPr id="13" name="Rectangle 12">
            <a:extLst>
              <a:ext uri="{FF2B5EF4-FFF2-40B4-BE49-F238E27FC236}">
                <a16:creationId xmlns="" xmlns:a16="http://schemas.microsoft.com/office/drawing/2014/main" id="{7C6E3027-D0EF-4F05-B87C-C6E691ED53C0}"/>
              </a:ext>
            </a:extLst>
          </p:cNvPr>
          <p:cNvSpPr/>
          <p:nvPr/>
        </p:nvSpPr>
        <p:spPr bwMode="auto">
          <a:xfrm>
            <a:off x="7417683" y="4499266"/>
            <a:ext cx="108000" cy="10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sp>
        <p:nvSpPr>
          <p:cNvPr id="14" name="ZoneTexte 13">
            <a:extLst>
              <a:ext uri="{FF2B5EF4-FFF2-40B4-BE49-F238E27FC236}">
                <a16:creationId xmlns="" xmlns:a16="http://schemas.microsoft.com/office/drawing/2014/main" id="{D3FEB56D-8A64-440D-B323-34BB19A6B333}"/>
              </a:ext>
            </a:extLst>
          </p:cNvPr>
          <p:cNvSpPr txBox="1"/>
          <p:nvPr/>
        </p:nvSpPr>
        <p:spPr>
          <a:xfrm>
            <a:off x="358139" y="2324092"/>
            <a:ext cx="536369" cy="261610"/>
          </a:xfrm>
          <a:prstGeom prst="rect">
            <a:avLst/>
          </a:prstGeom>
          <a:noFill/>
        </p:spPr>
        <p:txBody>
          <a:bodyPr wrap="square" rtlCol="0">
            <a:spAutoFit/>
          </a:bodyPr>
          <a:lstStyle/>
          <a:p>
            <a:pPr algn="r"/>
            <a:r>
              <a:rPr lang="fr-FR" sz="1050" dirty="0"/>
              <a:t>3.5%</a:t>
            </a:r>
          </a:p>
        </p:txBody>
      </p:sp>
      <p:sp>
        <p:nvSpPr>
          <p:cNvPr id="15" name="ZoneTexte 14">
            <a:extLst>
              <a:ext uri="{FF2B5EF4-FFF2-40B4-BE49-F238E27FC236}">
                <a16:creationId xmlns="" xmlns:a16="http://schemas.microsoft.com/office/drawing/2014/main" id="{EB902BAA-39EF-4820-85B3-2AC7449AAEFB}"/>
              </a:ext>
            </a:extLst>
          </p:cNvPr>
          <p:cNvSpPr txBox="1"/>
          <p:nvPr/>
        </p:nvSpPr>
        <p:spPr>
          <a:xfrm>
            <a:off x="358139" y="2758990"/>
            <a:ext cx="536369" cy="261610"/>
          </a:xfrm>
          <a:prstGeom prst="rect">
            <a:avLst/>
          </a:prstGeom>
          <a:noFill/>
        </p:spPr>
        <p:txBody>
          <a:bodyPr wrap="square" rtlCol="0">
            <a:spAutoFit/>
          </a:bodyPr>
          <a:lstStyle/>
          <a:p>
            <a:pPr algn="r"/>
            <a:r>
              <a:rPr lang="fr-FR" sz="1050" dirty="0"/>
              <a:t>3.0%</a:t>
            </a:r>
          </a:p>
        </p:txBody>
      </p:sp>
      <p:sp>
        <p:nvSpPr>
          <p:cNvPr id="17" name="ZoneTexte 16">
            <a:extLst>
              <a:ext uri="{FF2B5EF4-FFF2-40B4-BE49-F238E27FC236}">
                <a16:creationId xmlns="" xmlns:a16="http://schemas.microsoft.com/office/drawing/2014/main" id="{16D155BE-B866-444A-AD3C-19BA0F4261B4}"/>
              </a:ext>
            </a:extLst>
          </p:cNvPr>
          <p:cNvSpPr txBox="1"/>
          <p:nvPr/>
        </p:nvSpPr>
        <p:spPr>
          <a:xfrm>
            <a:off x="358139" y="3193888"/>
            <a:ext cx="536369" cy="261610"/>
          </a:xfrm>
          <a:prstGeom prst="rect">
            <a:avLst/>
          </a:prstGeom>
          <a:noFill/>
        </p:spPr>
        <p:txBody>
          <a:bodyPr wrap="square" rtlCol="0">
            <a:spAutoFit/>
          </a:bodyPr>
          <a:lstStyle/>
          <a:p>
            <a:pPr algn="r"/>
            <a:r>
              <a:rPr lang="fr-FR" sz="1050" dirty="0"/>
              <a:t>2.5%</a:t>
            </a:r>
          </a:p>
        </p:txBody>
      </p:sp>
      <p:sp>
        <p:nvSpPr>
          <p:cNvPr id="18" name="ZoneTexte 17">
            <a:extLst>
              <a:ext uri="{FF2B5EF4-FFF2-40B4-BE49-F238E27FC236}">
                <a16:creationId xmlns="" xmlns:a16="http://schemas.microsoft.com/office/drawing/2014/main" id="{AECF5321-F48F-4E18-90CA-15A3FD7610B4}"/>
              </a:ext>
            </a:extLst>
          </p:cNvPr>
          <p:cNvSpPr txBox="1"/>
          <p:nvPr/>
        </p:nvSpPr>
        <p:spPr>
          <a:xfrm>
            <a:off x="358139" y="3628786"/>
            <a:ext cx="536369" cy="261610"/>
          </a:xfrm>
          <a:prstGeom prst="rect">
            <a:avLst/>
          </a:prstGeom>
          <a:noFill/>
        </p:spPr>
        <p:txBody>
          <a:bodyPr wrap="square" rtlCol="0">
            <a:spAutoFit/>
          </a:bodyPr>
          <a:lstStyle/>
          <a:p>
            <a:pPr algn="r"/>
            <a:r>
              <a:rPr lang="fr-FR" sz="1050" dirty="0"/>
              <a:t>2.0%</a:t>
            </a:r>
          </a:p>
        </p:txBody>
      </p:sp>
      <p:sp>
        <p:nvSpPr>
          <p:cNvPr id="19" name="ZoneTexte 18">
            <a:extLst>
              <a:ext uri="{FF2B5EF4-FFF2-40B4-BE49-F238E27FC236}">
                <a16:creationId xmlns="" xmlns:a16="http://schemas.microsoft.com/office/drawing/2014/main" id="{C6F6E488-0F58-4D26-8F58-E9A504E29FE8}"/>
              </a:ext>
            </a:extLst>
          </p:cNvPr>
          <p:cNvSpPr txBox="1"/>
          <p:nvPr/>
        </p:nvSpPr>
        <p:spPr>
          <a:xfrm>
            <a:off x="358139" y="4063684"/>
            <a:ext cx="536369" cy="261610"/>
          </a:xfrm>
          <a:prstGeom prst="rect">
            <a:avLst/>
          </a:prstGeom>
          <a:noFill/>
        </p:spPr>
        <p:txBody>
          <a:bodyPr wrap="square" rtlCol="0">
            <a:spAutoFit/>
          </a:bodyPr>
          <a:lstStyle/>
          <a:p>
            <a:pPr algn="r"/>
            <a:r>
              <a:rPr lang="fr-FR" sz="1050" dirty="0"/>
              <a:t>1.5%</a:t>
            </a:r>
          </a:p>
        </p:txBody>
      </p:sp>
      <p:sp>
        <p:nvSpPr>
          <p:cNvPr id="20" name="ZoneTexte 19">
            <a:extLst>
              <a:ext uri="{FF2B5EF4-FFF2-40B4-BE49-F238E27FC236}">
                <a16:creationId xmlns="" xmlns:a16="http://schemas.microsoft.com/office/drawing/2014/main" id="{31C2E1D7-0265-4BB8-B452-C9B4DEB7D487}"/>
              </a:ext>
            </a:extLst>
          </p:cNvPr>
          <p:cNvSpPr txBox="1"/>
          <p:nvPr/>
        </p:nvSpPr>
        <p:spPr>
          <a:xfrm>
            <a:off x="358139" y="4498582"/>
            <a:ext cx="536369" cy="261610"/>
          </a:xfrm>
          <a:prstGeom prst="rect">
            <a:avLst/>
          </a:prstGeom>
          <a:noFill/>
        </p:spPr>
        <p:txBody>
          <a:bodyPr wrap="square" rtlCol="0">
            <a:spAutoFit/>
          </a:bodyPr>
          <a:lstStyle/>
          <a:p>
            <a:pPr algn="r"/>
            <a:r>
              <a:rPr lang="fr-FR" sz="1050" dirty="0"/>
              <a:t>1.0%</a:t>
            </a:r>
          </a:p>
        </p:txBody>
      </p:sp>
      <p:sp>
        <p:nvSpPr>
          <p:cNvPr id="21" name="ZoneTexte 20">
            <a:extLst>
              <a:ext uri="{FF2B5EF4-FFF2-40B4-BE49-F238E27FC236}">
                <a16:creationId xmlns="" xmlns:a16="http://schemas.microsoft.com/office/drawing/2014/main" id="{1EA1BB68-3C7F-49FD-9F73-48883DA9A27F}"/>
              </a:ext>
            </a:extLst>
          </p:cNvPr>
          <p:cNvSpPr txBox="1"/>
          <p:nvPr/>
        </p:nvSpPr>
        <p:spPr>
          <a:xfrm>
            <a:off x="358139" y="4933480"/>
            <a:ext cx="536369" cy="261610"/>
          </a:xfrm>
          <a:prstGeom prst="rect">
            <a:avLst/>
          </a:prstGeom>
          <a:noFill/>
        </p:spPr>
        <p:txBody>
          <a:bodyPr wrap="square" rtlCol="0">
            <a:spAutoFit/>
          </a:bodyPr>
          <a:lstStyle/>
          <a:p>
            <a:pPr algn="r"/>
            <a:r>
              <a:rPr lang="fr-FR" sz="1050" dirty="0"/>
              <a:t>0.5%</a:t>
            </a:r>
          </a:p>
        </p:txBody>
      </p:sp>
      <p:sp>
        <p:nvSpPr>
          <p:cNvPr id="22" name="ZoneTexte 21">
            <a:extLst>
              <a:ext uri="{FF2B5EF4-FFF2-40B4-BE49-F238E27FC236}">
                <a16:creationId xmlns="" xmlns:a16="http://schemas.microsoft.com/office/drawing/2014/main" id="{8BA59330-BA47-4B24-A92E-104D5A58A463}"/>
              </a:ext>
            </a:extLst>
          </p:cNvPr>
          <p:cNvSpPr txBox="1"/>
          <p:nvPr/>
        </p:nvSpPr>
        <p:spPr>
          <a:xfrm>
            <a:off x="358139" y="5368377"/>
            <a:ext cx="536369" cy="261610"/>
          </a:xfrm>
          <a:prstGeom prst="rect">
            <a:avLst/>
          </a:prstGeom>
          <a:noFill/>
        </p:spPr>
        <p:txBody>
          <a:bodyPr wrap="square" rtlCol="0">
            <a:spAutoFit/>
          </a:bodyPr>
          <a:lstStyle/>
          <a:p>
            <a:pPr algn="r"/>
            <a:r>
              <a:rPr lang="fr-FR" sz="1050" dirty="0"/>
              <a:t>0.0%</a:t>
            </a:r>
          </a:p>
        </p:txBody>
      </p:sp>
      <p:sp>
        <p:nvSpPr>
          <p:cNvPr id="24"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Tree>
    <p:extLst>
      <p:ext uri="{BB962C8B-B14F-4D97-AF65-F5344CB8AC3E}">
        <p14:creationId xmlns:p14="http://schemas.microsoft.com/office/powerpoint/2010/main" val="317836884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3"/>
          <p:cNvGraphicFramePr>
            <a:graphicFrameLocks/>
          </p:cNvGraphicFramePr>
          <p:nvPr>
            <p:extLst>
              <p:ext uri="{D42A27DB-BD31-4B8C-83A1-F6EECF244321}">
                <p14:modId xmlns:p14="http://schemas.microsoft.com/office/powerpoint/2010/main" val="1989260014"/>
              </p:ext>
            </p:extLst>
          </p:nvPr>
        </p:nvGraphicFramePr>
        <p:xfrm>
          <a:off x="796719" y="2314870"/>
          <a:ext cx="7366206" cy="34128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re 1">
            <a:extLst>
              <a:ext uri="{FF2B5EF4-FFF2-40B4-BE49-F238E27FC236}">
                <a16:creationId xmlns="" xmlns:a16="http://schemas.microsoft.com/office/drawing/2014/main" id="{198B0CC4-9E92-4CB5-A6CB-53347653E2DC}"/>
              </a:ext>
            </a:extLst>
          </p:cNvPr>
          <p:cNvSpPr>
            <a:spLocks noGrp="1"/>
          </p:cNvSpPr>
          <p:nvPr>
            <p:ph type="title"/>
          </p:nvPr>
        </p:nvSpPr>
        <p:spPr/>
        <p:txBody>
          <a:bodyPr>
            <a:normAutofit/>
          </a:bodyPr>
          <a:lstStyle/>
          <a:p>
            <a:r>
              <a:rPr lang="en-US" sz="2200" dirty="0"/>
              <a:t>A risk-efficient approach </a:t>
            </a:r>
            <a:r>
              <a:rPr lang="en-US" sz="2200" dirty="0">
                <a:solidFill>
                  <a:schemeClr val="accent1"/>
                </a:solidFill>
              </a:rPr>
              <a:t>that delivers return asymmetry </a:t>
            </a:r>
            <a:endParaRPr lang="fr-FR" sz="2200" dirty="0">
              <a:solidFill>
                <a:schemeClr val="accent1"/>
              </a:solidFill>
            </a:endParaRPr>
          </a:p>
        </p:txBody>
      </p:sp>
      <p:sp>
        <p:nvSpPr>
          <p:cNvPr id="5" name="Espace réservé du numéro de diapositive 4">
            <a:extLst>
              <a:ext uri="{FF2B5EF4-FFF2-40B4-BE49-F238E27FC236}">
                <a16:creationId xmlns="" xmlns:a16="http://schemas.microsoft.com/office/drawing/2014/main" id="{12E89797-2A70-437D-BEBB-DB77468747C8}"/>
              </a:ext>
            </a:extLst>
          </p:cNvPr>
          <p:cNvSpPr>
            <a:spLocks noGrp="1"/>
          </p:cNvSpPr>
          <p:nvPr>
            <p:ph type="sldNum" sz="quarter" idx="12"/>
          </p:nvPr>
        </p:nvSpPr>
        <p:spPr/>
        <p:txBody>
          <a:bodyPr/>
          <a:lstStyle/>
          <a:p>
            <a:fld id="{2B1C6FFC-D040-034F-8B69-20295064E64D}" type="slidenum">
              <a:rPr lang="fr-FR" smtClean="0"/>
              <a:pPr/>
              <a:t>23</a:t>
            </a:fld>
            <a:endParaRPr lang="fr-FR" dirty="0"/>
          </a:p>
        </p:txBody>
      </p:sp>
      <p:sp>
        <p:nvSpPr>
          <p:cNvPr id="6" name="Espace réservé du texte 5">
            <a:extLst>
              <a:ext uri="{FF2B5EF4-FFF2-40B4-BE49-F238E27FC236}">
                <a16:creationId xmlns="" xmlns:a16="http://schemas.microsoft.com/office/drawing/2014/main" id="{75F0F542-331C-4287-980B-BF7F44F39B86}"/>
              </a:ext>
            </a:extLst>
          </p:cNvPr>
          <p:cNvSpPr>
            <a:spLocks noGrp="1"/>
          </p:cNvSpPr>
          <p:nvPr>
            <p:ph type="body" sz="quarter" idx="13"/>
          </p:nvPr>
        </p:nvSpPr>
        <p:spPr/>
        <p:txBody>
          <a:bodyPr/>
          <a:lstStyle/>
          <a:p>
            <a:r>
              <a:rPr lang="en-US" dirty="0"/>
              <a:t>A Risk parity approach on a Euro Equity universe can enable clients to participate </a:t>
            </a:r>
            <a:br>
              <a:rPr lang="en-US" dirty="0"/>
            </a:br>
            <a:r>
              <a:rPr lang="en-US" dirty="0"/>
              <a:t>in market gains </a:t>
            </a:r>
            <a:r>
              <a:rPr lang="en-US" dirty="0" smtClean="0"/>
              <a:t>(89%) </a:t>
            </a:r>
            <a:r>
              <a:rPr lang="en-US" dirty="0"/>
              <a:t>while limiting exposure to drawdowns (</a:t>
            </a:r>
            <a:r>
              <a:rPr lang="en-US" dirty="0" smtClean="0"/>
              <a:t>75%)</a:t>
            </a:r>
            <a:endParaRPr lang="en-US" dirty="0"/>
          </a:p>
        </p:txBody>
      </p:sp>
      <p:sp>
        <p:nvSpPr>
          <p:cNvPr id="13" name="Espace réservé du texte 12">
            <a:extLst>
              <a:ext uri="{FF2B5EF4-FFF2-40B4-BE49-F238E27FC236}">
                <a16:creationId xmlns="" xmlns:a16="http://schemas.microsoft.com/office/drawing/2014/main" id="{3A12688A-BFC3-4962-A3EC-8F41EFF974A6}"/>
              </a:ext>
            </a:extLst>
          </p:cNvPr>
          <p:cNvSpPr>
            <a:spLocks noGrp="1"/>
          </p:cNvSpPr>
          <p:nvPr>
            <p:ph type="body" sz="quarter" idx="14"/>
          </p:nvPr>
        </p:nvSpPr>
        <p:spPr/>
        <p:txBody>
          <a:bodyPr/>
          <a:lstStyle/>
          <a:p>
            <a:pPr algn="l"/>
            <a:r>
              <a:rPr lang="en-US" dirty="0"/>
              <a:t>Source: Amundi AM, Gross performance as of </a:t>
            </a:r>
            <a:r>
              <a:rPr lang="en-US" dirty="0" smtClean="0"/>
              <a:t>31/01/2018 </a:t>
            </a:r>
            <a:r>
              <a:rPr lang="en-US" dirty="0"/>
              <a:t>of the IE share class of AF Equity Euro Risk Parity</a:t>
            </a:r>
            <a:br>
              <a:rPr lang="en-US" dirty="0"/>
            </a:br>
            <a:r>
              <a:rPr lang="en-US" dirty="0"/>
              <a:t>Compared with reference indicator (MSCI EMU NR Close). Based on monthly data: performance of strategy in up markets (months when index performance is positive) and down markets (months when index performance is positive). Investors are reminded that the past performance cannot be regarded as a reliable indicator of future results, nor can they guarantee expected return</a:t>
            </a:r>
          </a:p>
        </p:txBody>
      </p:sp>
      <p:sp>
        <p:nvSpPr>
          <p:cNvPr id="14" name="TextBox 4">
            <a:extLst>
              <a:ext uri="{FF2B5EF4-FFF2-40B4-BE49-F238E27FC236}">
                <a16:creationId xmlns="" xmlns:a16="http://schemas.microsoft.com/office/drawing/2014/main" id="{B7A620F3-8A51-42CD-BBCE-2638F5159C39}"/>
              </a:ext>
            </a:extLst>
          </p:cNvPr>
          <p:cNvSpPr txBox="1"/>
          <p:nvPr/>
        </p:nvSpPr>
        <p:spPr>
          <a:xfrm>
            <a:off x="3261495" y="1847022"/>
            <a:ext cx="3331799"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Euro Risk Parity Strategy</a:t>
            </a:r>
            <a:br>
              <a:rPr lang="en-US" dirty="0"/>
            </a:br>
            <a:r>
              <a:rPr lang="en-US" dirty="0"/>
              <a:t>Distribution of monthly calendar returns</a:t>
            </a:r>
          </a:p>
        </p:txBody>
      </p:sp>
      <p:sp>
        <p:nvSpPr>
          <p:cNvPr id="10"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Tree>
    <p:extLst>
      <p:ext uri="{BB962C8B-B14F-4D97-AF65-F5344CB8AC3E}">
        <p14:creationId xmlns:p14="http://schemas.microsoft.com/office/powerpoint/2010/main" val="264266633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7E75947C-13E5-4BD4-9C10-D8A4319D38CE}"/>
              </a:ext>
            </a:extLst>
          </p:cNvPr>
          <p:cNvSpPr>
            <a:spLocks noGrp="1"/>
          </p:cNvSpPr>
          <p:nvPr>
            <p:ph type="title"/>
          </p:nvPr>
        </p:nvSpPr>
        <p:spPr>
          <a:xfrm>
            <a:off x="539999" y="698265"/>
            <a:ext cx="8289676" cy="387493"/>
          </a:xfrm>
        </p:spPr>
        <p:txBody>
          <a:bodyPr>
            <a:noAutofit/>
          </a:bodyPr>
          <a:lstStyle/>
          <a:p>
            <a:r>
              <a:rPr lang="en-US" sz="2200" dirty="0"/>
              <a:t>A risk-efficient approach </a:t>
            </a:r>
            <a:r>
              <a:rPr lang="en-US" sz="2200" dirty="0">
                <a:solidFill>
                  <a:schemeClr val="accent1"/>
                </a:solidFill>
              </a:rPr>
              <a:t>to get better risk-adjusted returns</a:t>
            </a:r>
            <a:endParaRPr lang="fr-FR" sz="2200" dirty="0">
              <a:solidFill>
                <a:schemeClr val="accent1"/>
              </a:solidFill>
            </a:endParaRPr>
          </a:p>
        </p:txBody>
      </p:sp>
      <p:sp>
        <p:nvSpPr>
          <p:cNvPr id="5" name="Espace réservé du numéro de diapositive 4">
            <a:extLst>
              <a:ext uri="{FF2B5EF4-FFF2-40B4-BE49-F238E27FC236}">
                <a16:creationId xmlns="" xmlns:a16="http://schemas.microsoft.com/office/drawing/2014/main" id="{33484823-A606-4302-9C84-4FA3E2C43A98}"/>
              </a:ext>
            </a:extLst>
          </p:cNvPr>
          <p:cNvSpPr>
            <a:spLocks noGrp="1"/>
          </p:cNvSpPr>
          <p:nvPr>
            <p:ph type="sldNum" sz="quarter" idx="12"/>
          </p:nvPr>
        </p:nvSpPr>
        <p:spPr/>
        <p:txBody>
          <a:bodyPr/>
          <a:lstStyle/>
          <a:p>
            <a:fld id="{2B1C6FFC-D040-034F-8B69-20295064E64D}" type="slidenum">
              <a:rPr lang="fr-FR" smtClean="0"/>
              <a:t>24</a:t>
            </a:fld>
            <a:endParaRPr lang="fr-FR" dirty="0"/>
          </a:p>
        </p:txBody>
      </p:sp>
      <p:sp>
        <p:nvSpPr>
          <p:cNvPr id="7" name="Espace réservé du texte 6">
            <a:extLst>
              <a:ext uri="{FF2B5EF4-FFF2-40B4-BE49-F238E27FC236}">
                <a16:creationId xmlns="" xmlns:a16="http://schemas.microsoft.com/office/drawing/2014/main" id="{1684B8A5-4B81-4DB5-BA64-2918E9C670A8}"/>
              </a:ext>
            </a:extLst>
          </p:cNvPr>
          <p:cNvSpPr>
            <a:spLocks noGrp="1"/>
          </p:cNvSpPr>
          <p:nvPr>
            <p:ph type="body" sz="quarter" idx="14"/>
          </p:nvPr>
        </p:nvSpPr>
        <p:spPr/>
        <p:txBody>
          <a:bodyPr/>
          <a:lstStyle/>
          <a:p>
            <a:pPr algn="l"/>
            <a:r>
              <a:rPr lang="en-US" dirty="0"/>
              <a:t>Source: Amundi AM, Gross performance as of </a:t>
            </a:r>
            <a:r>
              <a:rPr lang="en-US" dirty="0" smtClean="0"/>
              <a:t>31/01/2018 </a:t>
            </a:r>
            <a:r>
              <a:rPr lang="en-US" dirty="0"/>
              <a:t>of the IE share class of </a:t>
            </a:r>
            <a:r>
              <a:rPr lang="en-US" dirty="0" err="1" smtClean="0"/>
              <a:t>Amundi</a:t>
            </a:r>
            <a:r>
              <a:rPr lang="en-US" dirty="0" smtClean="0"/>
              <a:t> </a:t>
            </a:r>
            <a:r>
              <a:rPr lang="en-US" dirty="0" err="1" smtClean="0"/>
              <a:t>Fds</a:t>
            </a:r>
            <a:r>
              <a:rPr lang="en-US" dirty="0" smtClean="0"/>
              <a:t> Euro </a:t>
            </a:r>
            <a:r>
              <a:rPr lang="en-US" dirty="0"/>
              <a:t>Risk Parity</a:t>
            </a:r>
            <a:br>
              <a:rPr lang="en-US" dirty="0"/>
            </a:br>
            <a:r>
              <a:rPr lang="en-US" dirty="0"/>
              <a:t>Investors are reminded that the past performance cannot be regarded as a reliable indicator of future results, nor can they guarantee expected return</a:t>
            </a:r>
          </a:p>
        </p:txBody>
      </p:sp>
      <p:sp>
        <p:nvSpPr>
          <p:cNvPr id="8" name="TextBox 4">
            <a:extLst>
              <a:ext uri="{FF2B5EF4-FFF2-40B4-BE49-F238E27FC236}">
                <a16:creationId xmlns="" xmlns:a16="http://schemas.microsoft.com/office/drawing/2014/main" id="{7E731C16-4A58-44F9-879B-C8B82F606CC8}"/>
              </a:ext>
            </a:extLst>
          </p:cNvPr>
          <p:cNvSpPr txBox="1"/>
          <p:nvPr/>
        </p:nvSpPr>
        <p:spPr>
          <a:xfrm>
            <a:off x="3330424" y="1277114"/>
            <a:ext cx="2497799"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lvl1pPr>
          </a:lstStyle>
          <a:p>
            <a:r>
              <a:rPr lang="en-US" dirty="0"/>
              <a:t>Euro Risk Parity Strategy</a:t>
            </a:r>
            <a:br>
              <a:rPr lang="en-US" dirty="0"/>
            </a:br>
            <a:r>
              <a:rPr lang="en-US" dirty="0"/>
              <a:t>Annualized Performance comparison</a:t>
            </a:r>
          </a:p>
        </p:txBody>
      </p:sp>
      <p:graphicFrame>
        <p:nvGraphicFramePr>
          <p:cNvPr id="13" name="Table 4">
            <a:extLst>
              <a:ext uri="{FF2B5EF4-FFF2-40B4-BE49-F238E27FC236}">
                <a16:creationId xmlns="" xmlns:a16="http://schemas.microsoft.com/office/drawing/2014/main" id="{D0E1F3EB-B49A-479D-848F-435CCF6083D1}"/>
              </a:ext>
            </a:extLst>
          </p:cNvPr>
          <p:cNvGraphicFramePr>
            <a:graphicFrameLocks noGrp="1"/>
          </p:cNvGraphicFramePr>
          <p:nvPr>
            <p:extLst>
              <p:ext uri="{D42A27DB-BD31-4B8C-83A1-F6EECF244321}">
                <p14:modId xmlns:p14="http://schemas.microsoft.com/office/powerpoint/2010/main" val="1675429971"/>
              </p:ext>
            </p:extLst>
          </p:nvPr>
        </p:nvGraphicFramePr>
        <p:xfrm>
          <a:off x="2337757" y="1794993"/>
          <a:ext cx="4483131" cy="670394"/>
        </p:xfrm>
        <a:graphic>
          <a:graphicData uri="http://schemas.openxmlformats.org/drawingml/2006/table">
            <a:tbl>
              <a:tblPr/>
              <a:tblGrid>
                <a:gridCol w="1319485">
                  <a:extLst>
                    <a:ext uri="{9D8B030D-6E8A-4147-A177-3AD203B41FA5}">
                      <a16:colId xmlns="" xmlns:a16="http://schemas.microsoft.com/office/drawing/2014/main" val="20000"/>
                    </a:ext>
                  </a:extLst>
                </a:gridCol>
                <a:gridCol w="526473"/>
                <a:gridCol w="526473">
                  <a:extLst>
                    <a:ext uri="{9D8B030D-6E8A-4147-A177-3AD203B41FA5}">
                      <a16:colId xmlns="" xmlns:a16="http://schemas.microsoft.com/office/drawing/2014/main" val="20001"/>
                    </a:ext>
                  </a:extLst>
                </a:gridCol>
                <a:gridCol w="526473">
                  <a:extLst>
                    <a:ext uri="{9D8B030D-6E8A-4147-A177-3AD203B41FA5}">
                      <a16:colId xmlns="" xmlns:a16="http://schemas.microsoft.com/office/drawing/2014/main" val="20002"/>
                    </a:ext>
                  </a:extLst>
                </a:gridCol>
                <a:gridCol w="526473">
                  <a:extLst>
                    <a:ext uri="{9D8B030D-6E8A-4147-A177-3AD203B41FA5}">
                      <a16:colId xmlns="" xmlns:a16="http://schemas.microsoft.com/office/drawing/2014/main" val="20003"/>
                    </a:ext>
                  </a:extLst>
                </a:gridCol>
                <a:gridCol w="1057754">
                  <a:extLst>
                    <a:ext uri="{9D8B030D-6E8A-4147-A177-3AD203B41FA5}">
                      <a16:colId xmlns="" xmlns:a16="http://schemas.microsoft.com/office/drawing/2014/main" val="20004"/>
                    </a:ext>
                  </a:extLst>
                </a:gridCol>
              </a:tblGrid>
              <a:tr h="172930">
                <a:tc>
                  <a:txBody>
                    <a:bodyPr/>
                    <a:lstStyle/>
                    <a:p>
                      <a:pPr algn="l" rtl="0" fontAlgn="ctr"/>
                      <a:r>
                        <a:rPr lang="en-US" sz="900" b="1" i="0" u="none" strike="noStrike" dirty="0">
                          <a:solidFill>
                            <a:schemeClr val="bg1"/>
                          </a:solidFill>
                          <a:effectLst/>
                          <a:latin typeface="Arial"/>
                        </a:rPr>
                        <a:t>Risk Indicators</a:t>
                      </a:r>
                    </a:p>
                  </a:txBody>
                  <a:tcPr marL="9525" marR="9525" marT="9525" marB="0" anchor="ctr">
                    <a:lnL>
                      <a:noFill/>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fr-FR" sz="900" b="1" i="0" u="none" strike="noStrike" dirty="0" smtClean="0">
                          <a:solidFill>
                            <a:schemeClr val="bg1"/>
                          </a:solidFill>
                          <a:effectLst/>
                          <a:latin typeface="Arial"/>
                        </a:rPr>
                        <a:t>YTD</a:t>
                      </a:r>
                      <a:endParaRPr lang="en-US" sz="900" b="1" i="0" u="none" strike="noStrike" dirty="0">
                        <a:solidFill>
                          <a:schemeClr val="bg1"/>
                        </a:solidFill>
                        <a:effectLst/>
                        <a:latin typeface="Arial"/>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900" b="1" i="0" u="none" strike="noStrike" dirty="0">
                          <a:solidFill>
                            <a:schemeClr val="bg1"/>
                          </a:solidFill>
                          <a:effectLst/>
                          <a:latin typeface="Arial"/>
                        </a:rPr>
                        <a:t>1 year</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900" b="1" i="0" u="none" strike="noStrike" dirty="0">
                          <a:solidFill>
                            <a:schemeClr val="bg1"/>
                          </a:solidFill>
                          <a:effectLst/>
                          <a:latin typeface="Arial"/>
                        </a:rPr>
                        <a:t>3 year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900" b="1" i="0" u="none" strike="noStrike" dirty="0">
                          <a:solidFill>
                            <a:schemeClr val="bg1"/>
                          </a:solidFill>
                          <a:effectLst/>
                          <a:latin typeface="Arial"/>
                        </a:rPr>
                        <a:t>5 year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US" sz="900" b="1" i="0" u="none" strike="noStrike" dirty="0">
                          <a:solidFill>
                            <a:schemeClr val="bg1"/>
                          </a:solidFill>
                          <a:effectLst/>
                          <a:latin typeface="Arial"/>
                        </a:rPr>
                        <a:t>Since inception (24/06/2010)</a:t>
                      </a:r>
                    </a:p>
                  </a:txBody>
                  <a:tcPr marL="9525" marR="9525" marT="9525" marB="0" anchor="ctr">
                    <a:lnL w="12700" cap="flat" cmpd="sng" algn="ctr">
                      <a:solidFill>
                        <a:schemeClr val="bg1"/>
                      </a:solid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0"/>
                  </a:ext>
                </a:extLst>
              </a:tr>
              <a:tr h="172930">
                <a:tc>
                  <a:txBody>
                    <a:bodyPr/>
                    <a:lstStyle/>
                    <a:p>
                      <a:pPr algn="l" rtl="0" fontAlgn="ctr"/>
                      <a:r>
                        <a:rPr lang="en-US" sz="900" b="0" i="0" u="none" strike="noStrike" dirty="0">
                          <a:solidFill>
                            <a:schemeClr val="tx1"/>
                          </a:solidFill>
                          <a:effectLst/>
                          <a:latin typeface="Arial"/>
                        </a:rPr>
                        <a:t>Portfolio Volatility</a:t>
                      </a:r>
                    </a:p>
                  </a:txBody>
                  <a:tcPr marL="9525" marR="9525" marT="9525"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fr-FR" sz="900" b="0" i="0" u="none" strike="noStrike" kern="1200" dirty="0" smtClean="0">
                          <a:solidFill>
                            <a:schemeClr val="tx1"/>
                          </a:solidFill>
                          <a:effectLst/>
                          <a:latin typeface="Arial"/>
                          <a:ea typeface="+mn-ea"/>
                          <a:cs typeface="+mn-cs"/>
                        </a:rPr>
                        <a:t>1,9%</a:t>
                      </a:r>
                      <a:endParaRPr lang="fr-FR" sz="900" b="0" i="0" u="none" strike="noStrike" kern="1200" dirty="0">
                        <a:solidFill>
                          <a:schemeClr val="tx1"/>
                        </a:solidFill>
                        <a:effectLst/>
                        <a:latin typeface="Arial"/>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fr-FR" sz="900" b="0" i="0" u="none" strike="noStrike" kern="1200" dirty="0" smtClean="0">
                          <a:solidFill>
                            <a:schemeClr val="tx1"/>
                          </a:solidFill>
                          <a:effectLst/>
                          <a:latin typeface="Arial"/>
                          <a:ea typeface="+mn-ea"/>
                          <a:cs typeface="+mn-cs"/>
                        </a:rPr>
                        <a:t>16.4%</a:t>
                      </a:r>
                      <a:endParaRPr lang="fr-FR" sz="900" b="0" i="0" u="none" strike="noStrike" kern="1200" dirty="0">
                        <a:solidFill>
                          <a:schemeClr val="tx1"/>
                        </a:solidFill>
                        <a:effectLst/>
                        <a:latin typeface="Arial"/>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fr-FR" sz="900" b="0" i="0" u="none" strike="noStrike" kern="1200" dirty="0" smtClean="0">
                          <a:solidFill>
                            <a:schemeClr val="tx1"/>
                          </a:solidFill>
                          <a:effectLst/>
                          <a:latin typeface="Arial"/>
                          <a:ea typeface="+mn-ea"/>
                          <a:cs typeface="+mn-cs"/>
                        </a:rPr>
                        <a:t>8.3%</a:t>
                      </a:r>
                      <a:endParaRPr lang="fr-FR" sz="900" b="0" i="0" u="none" strike="noStrike" kern="1200" dirty="0">
                        <a:solidFill>
                          <a:schemeClr val="tx1"/>
                        </a:solidFill>
                        <a:effectLst/>
                        <a:latin typeface="Arial"/>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fr-FR" sz="900" b="0" i="0" u="none" strike="noStrike" kern="1200" dirty="0" smtClean="0">
                          <a:solidFill>
                            <a:schemeClr val="tx1"/>
                          </a:solidFill>
                          <a:effectLst/>
                          <a:latin typeface="Arial"/>
                          <a:ea typeface="+mn-ea"/>
                          <a:cs typeface="+mn-cs"/>
                        </a:rPr>
                        <a:t>12.1%</a:t>
                      </a:r>
                      <a:endParaRPr lang="fr-FR" sz="900" b="0" i="0" u="none" strike="noStrike" kern="1200" dirty="0">
                        <a:solidFill>
                          <a:schemeClr val="tx1"/>
                        </a:solidFill>
                        <a:effectLst/>
                        <a:latin typeface="Arial"/>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fr-FR" sz="900" b="0" i="0" u="none" strike="noStrike" kern="1200" dirty="0" smtClean="0">
                          <a:solidFill>
                            <a:schemeClr val="tx1"/>
                          </a:solidFill>
                          <a:effectLst/>
                          <a:latin typeface="Arial"/>
                          <a:ea typeface="+mn-ea"/>
                          <a:cs typeface="+mn-cs"/>
                        </a:rPr>
                        <a:t>10.1%</a:t>
                      </a:r>
                      <a:endParaRPr lang="fr-FR" sz="900" b="0" i="0" u="none" strike="noStrike" kern="1200" dirty="0">
                        <a:solidFill>
                          <a:schemeClr val="tx1"/>
                        </a:solidFill>
                        <a:effectLst/>
                        <a:latin typeface="Arial"/>
                        <a:ea typeface="+mn-ea"/>
                        <a:cs typeface="+mn-cs"/>
                      </a:endParaRPr>
                    </a:p>
                  </a:txBody>
                  <a:tcPr marL="9525" marR="9525" marT="9525"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1"/>
                  </a:ext>
                </a:extLst>
              </a:tr>
              <a:tr h="213619">
                <a:tc>
                  <a:txBody>
                    <a:bodyPr/>
                    <a:lstStyle/>
                    <a:p>
                      <a:pPr algn="l" rtl="0" fontAlgn="ctr"/>
                      <a:r>
                        <a:rPr lang="en-US" sz="900" b="0" i="0" u="none" strike="noStrike" dirty="0">
                          <a:solidFill>
                            <a:schemeClr val="tx1"/>
                          </a:solidFill>
                          <a:effectLst/>
                          <a:latin typeface="Arial"/>
                        </a:rPr>
                        <a:t>Benchmark Volatility</a:t>
                      </a:r>
                    </a:p>
                  </a:txBody>
                  <a:tcPr marL="9525" marR="9525" marT="9525"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marL="0" algn="ctr" defTabSz="914400" rtl="0" eaLnBrk="1" fontAlgn="ctr" latinLnBrk="0" hangingPunct="1"/>
                      <a:r>
                        <a:rPr lang="fr-FR" sz="900" b="0" i="0" u="none" strike="noStrike" kern="1200" dirty="0" smtClean="0">
                          <a:solidFill>
                            <a:schemeClr val="tx1"/>
                          </a:solidFill>
                          <a:effectLst/>
                          <a:latin typeface="Arial"/>
                          <a:ea typeface="+mn-ea"/>
                          <a:cs typeface="+mn-cs"/>
                        </a:rPr>
                        <a:t>3,2%</a:t>
                      </a:r>
                      <a:endParaRPr lang="fr-FR" sz="900" b="0" i="0" u="none" strike="noStrike" kern="1200" dirty="0">
                        <a:solidFill>
                          <a:schemeClr val="tx1"/>
                        </a:solidFill>
                        <a:effectLst/>
                        <a:latin typeface="Arial"/>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marL="0" algn="ctr" defTabSz="914400" rtl="0" eaLnBrk="1" fontAlgn="ctr" latinLnBrk="0" hangingPunct="1"/>
                      <a:r>
                        <a:rPr lang="fr-FR" sz="900" b="0" i="0" u="none" strike="noStrike" kern="1200" dirty="0" smtClean="0">
                          <a:solidFill>
                            <a:schemeClr val="tx1"/>
                          </a:solidFill>
                          <a:effectLst/>
                          <a:latin typeface="Arial"/>
                          <a:ea typeface="+mn-ea"/>
                          <a:cs typeface="+mn-cs"/>
                        </a:rPr>
                        <a:t>17.2%</a:t>
                      </a:r>
                      <a:endParaRPr lang="fr-FR" sz="900" b="0" i="0" u="none" strike="noStrike" kern="1200" dirty="0">
                        <a:solidFill>
                          <a:schemeClr val="tx1"/>
                        </a:solidFill>
                        <a:effectLst/>
                        <a:latin typeface="Arial"/>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marL="0" algn="ctr" defTabSz="914400" rtl="0" eaLnBrk="1" fontAlgn="ctr" latinLnBrk="0" hangingPunct="1"/>
                      <a:r>
                        <a:rPr lang="fr-FR" sz="900" b="0" i="0" u="none" strike="noStrike" kern="1200" dirty="0" smtClean="0">
                          <a:solidFill>
                            <a:schemeClr val="tx1"/>
                          </a:solidFill>
                          <a:effectLst/>
                          <a:latin typeface="Arial"/>
                          <a:ea typeface="+mn-ea"/>
                          <a:cs typeface="+mn-cs"/>
                        </a:rPr>
                        <a:t>7.4%</a:t>
                      </a:r>
                      <a:endParaRPr lang="fr-FR" sz="900" b="0" i="0" u="none" strike="noStrike" kern="1200" dirty="0">
                        <a:solidFill>
                          <a:schemeClr val="tx1"/>
                        </a:solidFill>
                        <a:effectLst/>
                        <a:latin typeface="Arial"/>
                        <a:ea typeface="+mn-ea"/>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marL="0" algn="ctr" defTabSz="914400" rtl="0" eaLnBrk="1" fontAlgn="ctr" latinLnBrk="0" hangingPunct="1"/>
                      <a:r>
                        <a:rPr lang="fr-FR" sz="900" b="0" i="0" u="none" strike="noStrike" kern="1200" dirty="0" smtClean="0">
                          <a:solidFill>
                            <a:schemeClr val="tx1"/>
                          </a:solidFill>
                          <a:effectLst/>
                          <a:latin typeface="Arial"/>
                          <a:ea typeface="+mn-ea"/>
                          <a:cs typeface="+mn-cs"/>
                        </a:rPr>
                        <a:t>10.7</a:t>
                      </a:r>
                      <a:r>
                        <a:rPr lang="fr-FR" sz="900" b="0" i="0" u="none" strike="noStrike" kern="1200" dirty="0">
                          <a:solidFill>
                            <a:schemeClr val="tx1"/>
                          </a:solidFill>
                          <a:effectLst/>
                          <a:latin typeface="Arial"/>
                          <a:ea typeface="+mn-ea"/>
                          <a:cs typeface="+mn-c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tc>
                  <a:txBody>
                    <a:bodyPr/>
                    <a:lstStyle/>
                    <a:p>
                      <a:pPr marL="0" algn="ctr" defTabSz="914400" rtl="0" eaLnBrk="1" fontAlgn="ctr" latinLnBrk="0" hangingPunct="1"/>
                      <a:r>
                        <a:rPr lang="fr-FR" sz="900" b="0" i="0" u="none" strike="noStrike" kern="1200" dirty="0" smtClean="0">
                          <a:solidFill>
                            <a:schemeClr val="tx1"/>
                          </a:solidFill>
                          <a:effectLst/>
                          <a:latin typeface="Arial"/>
                          <a:ea typeface="+mn-ea"/>
                          <a:cs typeface="+mn-cs"/>
                        </a:rPr>
                        <a:t>8.7%</a:t>
                      </a:r>
                      <a:endParaRPr lang="fr-FR" sz="900" b="0" i="0" u="none" strike="noStrike" kern="1200" dirty="0">
                        <a:solidFill>
                          <a:schemeClr val="tx1"/>
                        </a:solidFill>
                        <a:effectLst/>
                        <a:latin typeface="Arial"/>
                        <a:ea typeface="+mn-ea"/>
                        <a:cs typeface="+mn-cs"/>
                      </a:endParaRPr>
                    </a:p>
                  </a:txBody>
                  <a:tcPr marL="9525" marR="9525" marT="9525"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EBEB"/>
                    </a:solidFill>
                  </a:tcPr>
                </a:tc>
                <a:extLst>
                  <a:ext uri="{0D108BD9-81ED-4DB2-BD59-A6C34878D82A}">
                    <a16:rowId xmlns="" xmlns:a16="http://schemas.microsoft.com/office/drawing/2014/main" val="10002"/>
                  </a:ext>
                </a:extLst>
              </a:tr>
            </a:tbl>
          </a:graphicData>
        </a:graphic>
      </p:graphicFrame>
      <p:sp>
        <p:nvSpPr>
          <p:cNvPr id="14" name="ZoneTexte 13">
            <a:extLst>
              <a:ext uri="{FF2B5EF4-FFF2-40B4-BE49-F238E27FC236}">
                <a16:creationId xmlns="" xmlns:a16="http://schemas.microsoft.com/office/drawing/2014/main" id="{5E9FF5E6-0C2D-4CE6-BFD1-759C361E107E}"/>
              </a:ext>
            </a:extLst>
          </p:cNvPr>
          <p:cNvSpPr txBox="1"/>
          <p:nvPr/>
        </p:nvSpPr>
        <p:spPr>
          <a:xfrm>
            <a:off x="7693939" y="2550254"/>
            <a:ext cx="1049809" cy="600164"/>
          </a:xfrm>
          <a:prstGeom prst="rect">
            <a:avLst/>
          </a:prstGeom>
          <a:noFill/>
        </p:spPr>
        <p:txBody>
          <a:bodyPr wrap="square" rtlCol="0">
            <a:spAutoFit/>
          </a:bodyPr>
          <a:lstStyle/>
          <a:p>
            <a:pPr algn="ctr"/>
            <a:r>
              <a:rPr lang="fr-FR" sz="1100" b="1" dirty="0" err="1">
                <a:solidFill>
                  <a:srgbClr val="002060"/>
                </a:solidFill>
              </a:rPr>
              <a:t>Annualized</a:t>
            </a:r>
            <a:r>
              <a:rPr lang="fr-FR" sz="1100" b="1" dirty="0">
                <a:solidFill>
                  <a:srgbClr val="002060"/>
                </a:solidFill>
              </a:rPr>
              <a:t> Performance </a:t>
            </a:r>
            <a:r>
              <a:rPr lang="fr-FR" sz="1100" b="1" dirty="0" smtClean="0">
                <a:solidFill>
                  <a:srgbClr val="002060"/>
                </a:solidFill>
              </a:rPr>
              <a:t>+10.1%</a:t>
            </a:r>
          </a:p>
        </p:txBody>
      </p:sp>
      <p:sp>
        <p:nvSpPr>
          <p:cNvPr id="15" name="ZoneTexte 14">
            <a:extLst>
              <a:ext uri="{FF2B5EF4-FFF2-40B4-BE49-F238E27FC236}">
                <a16:creationId xmlns="" xmlns:a16="http://schemas.microsoft.com/office/drawing/2014/main" id="{B6C8D18C-9EFA-43D7-A51F-73E95E3BE403}"/>
              </a:ext>
            </a:extLst>
          </p:cNvPr>
          <p:cNvSpPr txBox="1"/>
          <p:nvPr/>
        </p:nvSpPr>
        <p:spPr>
          <a:xfrm>
            <a:off x="7693939" y="3124141"/>
            <a:ext cx="1049809" cy="600164"/>
          </a:xfrm>
          <a:prstGeom prst="rect">
            <a:avLst/>
          </a:prstGeom>
          <a:noFill/>
        </p:spPr>
        <p:txBody>
          <a:bodyPr wrap="square" rtlCol="0">
            <a:spAutoFit/>
          </a:bodyPr>
          <a:lstStyle/>
          <a:p>
            <a:pPr algn="ctr"/>
            <a:r>
              <a:rPr lang="fr-FR" sz="1100" b="1" dirty="0">
                <a:solidFill>
                  <a:srgbClr val="00B0F0"/>
                </a:solidFill>
              </a:rPr>
              <a:t>Annualized Performance </a:t>
            </a:r>
            <a:r>
              <a:rPr lang="fr-FR" sz="1100" b="1" dirty="0" smtClean="0">
                <a:solidFill>
                  <a:srgbClr val="00B0F0"/>
                </a:solidFill>
              </a:rPr>
              <a:t>+8.7%</a:t>
            </a:r>
            <a:endParaRPr lang="fr-FR" sz="1100" b="1" dirty="0">
              <a:solidFill>
                <a:srgbClr val="00B0F0"/>
              </a:solidFill>
            </a:endParaRPr>
          </a:p>
        </p:txBody>
      </p:sp>
      <p:graphicFrame>
        <p:nvGraphicFramePr>
          <p:cNvPr id="17" name="Chart 1"/>
          <p:cNvGraphicFramePr>
            <a:graphicFrameLocks/>
          </p:cNvGraphicFramePr>
          <p:nvPr>
            <p:extLst>
              <p:ext uri="{D42A27DB-BD31-4B8C-83A1-F6EECF244321}">
                <p14:modId xmlns:p14="http://schemas.microsoft.com/office/powerpoint/2010/main" val="1054122405"/>
              </p:ext>
            </p:extLst>
          </p:nvPr>
        </p:nvGraphicFramePr>
        <p:xfrm>
          <a:off x="223200" y="2466000"/>
          <a:ext cx="7552399" cy="3232886"/>
        </p:xfrm>
        <a:graphic>
          <a:graphicData uri="http://schemas.openxmlformats.org/drawingml/2006/chart">
            <c:chart xmlns:c="http://schemas.openxmlformats.org/drawingml/2006/chart" xmlns:r="http://schemas.openxmlformats.org/officeDocument/2006/relationships" r:id="rId3"/>
          </a:graphicData>
        </a:graphic>
      </p:graphicFrame>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27252954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0"/>
          <p:cNvGraphicFramePr>
            <a:graphicFrameLocks/>
          </p:cNvGraphicFramePr>
          <p:nvPr>
            <p:extLst>
              <p:ext uri="{D42A27DB-BD31-4B8C-83A1-F6EECF244321}">
                <p14:modId xmlns:p14="http://schemas.microsoft.com/office/powerpoint/2010/main" val="1553792709"/>
              </p:ext>
            </p:extLst>
          </p:nvPr>
        </p:nvGraphicFramePr>
        <p:xfrm>
          <a:off x="540000" y="1923825"/>
          <a:ext cx="8166100" cy="376456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re 1">
            <a:extLst>
              <a:ext uri="{FF2B5EF4-FFF2-40B4-BE49-F238E27FC236}">
                <a16:creationId xmlns="" xmlns:a16="http://schemas.microsoft.com/office/drawing/2014/main" id="{ED784CA7-1140-469A-A9D2-B5F06B0E81C5}"/>
              </a:ext>
            </a:extLst>
          </p:cNvPr>
          <p:cNvSpPr>
            <a:spLocks noGrp="1"/>
          </p:cNvSpPr>
          <p:nvPr>
            <p:ph type="title"/>
          </p:nvPr>
        </p:nvSpPr>
        <p:spPr>
          <a:xfrm>
            <a:off x="539999" y="698265"/>
            <a:ext cx="8375401" cy="387493"/>
          </a:xfrm>
        </p:spPr>
        <p:txBody>
          <a:bodyPr>
            <a:noAutofit/>
          </a:bodyPr>
          <a:lstStyle/>
          <a:p>
            <a:r>
              <a:rPr lang="en-US" sz="2200" dirty="0"/>
              <a:t>A risk-efficient approach </a:t>
            </a:r>
            <a:r>
              <a:rPr lang="en-US" sz="2200" dirty="0">
                <a:solidFill>
                  <a:schemeClr val="accent1"/>
                </a:solidFill>
              </a:rPr>
              <a:t>to get better risk-adjusted returns</a:t>
            </a:r>
            <a:endParaRPr lang="fr-FR" sz="2200" dirty="0">
              <a:solidFill>
                <a:schemeClr val="accent1"/>
              </a:solidFill>
            </a:endParaRPr>
          </a:p>
        </p:txBody>
      </p:sp>
      <p:sp>
        <p:nvSpPr>
          <p:cNvPr id="5" name="Espace réservé du numéro de diapositive 4">
            <a:extLst>
              <a:ext uri="{FF2B5EF4-FFF2-40B4-BE49-F238E27FC236}">
                <a16:creationId xmlns="" xmlns:a16="http://schemas.microsoft.com/office/drawing/2014/main" id="{E7682F94-8F42-4D26-8CEC-FD0D3CE38529}"/>
              </a:ext>
            </a:extLst>
          </p:cNvPr>
          <p:cNvSpPr>
            <a:spLocks noGrp="1"/>
          </p:cNvSpPr>
          <p:nvPr>
            <p:ph type="sldNum" sz="quarter" idx="12"/>
          </p:nvPr>
        </p:nvSpPr>
        <p:spPr/>
        <p:txBody>
          <a:bodyPr/>
          <a:lstStyle/>
          <a:p>
            <a:fld id="{2B1C6FFC-D040-034F-8B69-20295064E64D}" type="slidenum">
              <a:rPr lang="fr-FR" smtClean="0"/>
              <a:t>25</a:t>
            </a:fld>
            <a:endParaRPr lang="fr-FR" dirty="0"/>
          </a:p>
        </p:txBody>
      </p:sp>
      <p:sp>
        <p:nvSpPr>
          <p:cNvPr id="7" name="Espace réservé du texte 6">
            <a:extLst>
              <a:ext uri="{FF2B5EF4-FFF2-40B4-BE49-F238E27FC236}">
                <a16:creationId xmlns="" xmlns:a16="http://schemas.microsoft.com/office/drawing/2014/main" id="{45CA50FC-4739-4089-AB20-9E229B6743B1}"/>
              </a:ext>
            </a:extLst>
          </p:cNvPr>
          <p:cNvSpPr>
            <a:spLocks noGrp="1"/>
          </p:cNvSpPr>
          <p:nvPr>
            <p:ph type="body" sz="quarter" idx="14"/>
          </p:nvPr>
        </p:nvSpPr>
        <p:spPr/>
        <p:txBody>
          <a:bodyPr/>
          <a:lstStyle/>
          <a:p>
            <a:pPr algn="l"/>
            <a:r>
              <a:rPr lang="en-US" dirty="0"/>
              <a:t>Source: Amundi AM, Gross performance as of </a:t>
            </a:r>
            <a:r>
              <a:rPr lang="en-US" dirty="0" smtClean="0"/>
              <a:t>31/01/2018 </a:t>
            </a:r>
            <a:r>
              <a:rPr lang="en-US" dirty="0"/>
              <a:t>of the IE share class of AF Equity Euro Risk Parity</a:t>
            </a:r>
            <a:br>
              <a:rPr lang="en-US" dirty="0"/>
            </a:br>
            <a:r>
              <a:rPr lang="en-US" dirty="0"/>
              <a:t>* 2010 (partial): From 24/06/2010 to Dec 2010</a:t>
            </a:r>
            <a:br>
              <a:rPr lang="en-US" dirty="0"/>
            </a:br>
            <a:r>
              <a:rPr lang="en-US" dirty="0"/>
              <a:t>Investors are reminded that the past performance cannot be regarded as a reliable indicator of future results, nor can they guarantee expected return</a:t>
            </a:r>
          </a:p>
        </p:txBody>
      </p:sp>
      <p:sp>
        <p:nvSpPr>
          <p:cNvPr id="8" name="TextBox 4">
            <a:extLst>
              <a:ext uri="{FF2B5EF4-FFF2-40B4-BE49-F238E27FC236}">
                <a16:creationId xmlns="" xmlns:a16="http://schemas.microsoft.com/office/drawing/2014/main" id="{C34C82A3-A055-4D03-A4DE-27A9B66E534E}"/>
              </a:ext>
            </a:extLst>
          </p:cNvPr>
          <p:cNvSpPr txBox="1"/>
          <p:nvPr/>
        </p:nvSpPr>
        <p:spPr>
          <a:xfrm>
            <a:off x="3393742" y="1277114"/>
            <a:ext cx="2371162"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lvl1pPr>
          </a:lstStyle>
          <a:p>
            <a:r>
              <a:rPr lang="en-US" dirty="0"/>
              <a:t>Euro Risk Parity Strategy</a:t>
            </a:r>
            <a:br>
              <a:rPr lang="en-US" dirty="0"/>
            </a:br>
            <a:r>
              <a:rPr lang="en-US" dirty="0"/>
              <a:t>Calendar Performance comparison</a:t>
            </a:r>
          </a:p>
        </p:txBody>
      </p:sp>
      <p:sp>
        <p:nvSpPr>
          <p:cNvPr id="15" name="ZoneTexte 14">
            <a:extLst>
              <a:ext uri="{FF2B5EF4-FFF2-40B4-BE49-F238E27FC236}">
                <a16:creationId xmlns="" xmlns:a16="http://schemas.microsoft.com/office/drawing/2014/main" id="{84F7B435-9668-41A4-ACBA-1AF194041BA9}"/>
              </a:ext>
            </a:extLst>
          </p:cNvPr>
          <p:cNvSpPr txBox="1"/>
          <p:nvPr/>
        </p:nvSpPr>
        <p:spPr>
          <a:xfrm>
            <a:off x="7331033" y="1923825"/>
            <a:ext cx="1272965" cy="338554"/>
          </a:xfrm>
          <a:prstGeom prst="rect">
            <a:avLst/>
          </a:prstGeom>
          <a:noFill/>
        </p:spPr>
        <p:txBody>
          <a:bodyPr wrap="square" rtlCol="0">
            <a:spAutoFit/>
          </a:bodyPr>
          <a:lstStyle/>
          <a:p>
            <a:pPr lvl="0" defTabSz="457200"/>
            <a:r>
              <a:rPr lang="en-US" sz="800" b="1" kern="0" dirty="0" err="1" smtClean="0"/>
              <a:t>Amundi</a:t>
            </a:r>
            <a:r>
              <a:rPr lang="en-US" sz="800" b="1" kern="0" dirty="0" smtClean="0"/>
              <a:t> </a:t>
            </a:r>
            <a:r>
              <a:rPr lang="en-US" sz="800" b="1" kern="0" dirty="0" err="1" smtClean="0"/>
              <a:t>Fds</a:t>
            </a:r>
            <a:r>
              <a:rPr lang="en-US" sz="800" b="1" kern="0" dirty="0" smtClean="0"/>
              <a:t> Euro </a:t>
            </a:r>
            <a:r>
              <a:rPr lang="en-US" sz="800" b="1" kern="0" dirty="0"/>
              <a:t>Risk Parity </a:t>
            </a:r>
          </a:p>
        </p:txBody>
      </p:sp>
      <p:sp>
        <p:nvSpPr>
          <p:cNvPr id="16" name="Rectangle 15">
            <a:extLst>
              <a:ext uri="{FF2B5EF4-FFF2-40B4-BE49-F238E27FC236}">
                <a16:creationId xmlns="" xmlns:a16="http://schemas.microsoft.com/office/drawing/2014/main" id="{3C9254A6-C7F3-4CDA-AC95-A32D2480DF42}"/>
              </a:ext>
            </a:extLst>
          </p:cNvPr>
          <p:cNvSpPr/>
          <p:nvPr/>
        </p:nvSpPr>
        <p:spPr bwMode="auto">
          <a:xfrm>
            <a:off x="7261133" y="1971457"/>
            <a:ext cx="108000" cy="108000"/>
          </a:xfrm>
          <a:prstGeom prst="rect">
            <a:avLst/>
          </a:prstGeom>
          <a:solidFill>
            <a:srgbClr val="001C4B"/>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sp>
        <p:nvSpPr>
          <p:cNvPr id="17" name="ZoneTexte 16">
            <a:extLst>
              <a:ext uri="{FF2B5EF4-FFF2-40B4-BE49-F238E27FC236}">
                <a16:creationId xmlns="" xmlns:a16="http://schemas.microsoft.com/office/drawing/2014/main" id="{26DF3225-2C3A-4FC2-8DD9-AFB49DF8D934}"/>
              </a:ext>
            </a:extLst>
          </p:cNvPr>
          <p:cNvSpPr txBox="1"/>
          <p:nvPr/>
        </p:nvSpPr>
        <p:spPr>
          <a:xfrm>
            <a:off x="7331033" y="2270409"/>
            <a:ext cx="1272965" cy="215444"/>
          </a:xfrm>
          <a:prstGeom prst="rect">
            <a:avLst/>
          </a:prstGeom>
          <a:noFill/>
        </p:spPr>
        <p:txBody>
          <a:bodyPr wrap="square" rtlCol="0">
            <a:spAutoFit/>
          </a:bodyPr>
          <a:lstStyle/>
          <a:p>
            <a:pPr lvl="0" defTabSz="457200"/>
            <a:r>
              <a:rPr lang="fr-FR" sz="800" b="1" kern="0" dirty="0">
                <a:solidFill>
                  <a:schemeClr val="accent1"/>
                </a:solidFill>
              </a:rPr>
              <a:t>MSCI EMU Index </a:t>
            </a:r>
          </a:p>
        </p:txBody>
      </p:sp>
      <p:sp>
        <p:nvSpPr>
          <p:cNvPr id="18" name="Rectangle 17">
            <a:extLst>
              <a:ext uri="{FF2B5EF4-FFF2-40B4-BE49-F238E27FC236}">
                <a16:creationId xmlns="" xmlns:a16="http://schemas.microsoft.com/office/drawing/2014/main" id="{2019B1A5-132F-4C2E-92C1-D8F5503011E4}"/>
              </a:ext>
            </a:extLst>
          </p:cNvPr>
          <p:cNvSpPr/>
          <p:nvPr/>
        </p:nvSpPr>
        <p:spPr bwMode="auto">
          <a:xfrm>
            <a:off x="7261133" y="2318041"/>
            <a:ext cx="108000" cy="10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sp>
        <p:nvSpPr>
          <p:cNvPr id="12"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Tree>
    <p:extLst>
      <p:ext uri="{BB962C8B-B14F-4D97-AF65-F5344CB8AC3E}">
        <p14:creationId xmlns:p14="http://schemas.microsoft.com/office/powerpoint/2010/main" val="15883513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CDDAA023-B855-476E-A113-0908F18A9EF6}"/>
              </a:ext>
            </a:extLst>
          </p:cNvPr>
          <p:cNvSpPr>
            <a:spLocks noGrp="1"/>
          </p:cNvSpPr>
          <p:nvPr>
            <p:ph type="title"/>
          </p:nvPr>
        </p:nvSpPr>
        <p:spPr/>
        <p:txBody>
          <a:bodyPr>
            <a:normAutofit/>
          </a:bodyPr>
          <a:lstStyle/>
          <a:p>
            <a:r>
              <a:rPr lang="en-US" sz="2200" dirty="0"/>
              <a:t>Risk Parity: </a:t>
            </a:r>
            <a:r>
              <a:rPr lang="en-US" sz="2200" dirty="0">
                <a:solidFill>
                  <a:schemeClr val="accent1"/>
                </a:solidFill>
              </a:rPr>
              <a:t>allocate the same risk budget to each asset</a:t>
            </a:r>
            <a:endParaRPr lang="fr-FR" sz="2200" dirty="0">
              <a:solidFill>
                <a:schemeClr val="accent1"/>
              </a:solidFill>
            </a:endParaRPr>
          </a:p>
        </p:txBody>
      </p:sp>
      <p:sp>
        <p:nvSpPr>
          <p:cNvPr id="5" name="Espace réservé du numéro de diapositive 4">
            <a:extLst>
              <a:ext uri="{FF2B5EF4-FFF2-40B4-BE49-F238E27FC236}">
                <a16:creationId xmlns="" xmlns:a16="http://schemas.microsoft.com/office/drawing/2014/main" id="{BD7E890E-8633-4294-AA4B-D9984F1E057B}"/>
              </a:ext>
            </a:extLst>
          </p:cNvPr>
          <p:cNvSpPr>
            <a:spLocks noGrp="1"/>
          </p:cNvSpPr>
          <p:nvPr>
            <p:ph type="sldNum" sz="quarter" idx="12"/>
          </p:nvPr>
        </p:nvSpPr>
        <p:spPr/>
        <p:txBody>
          <a:bodyPr/>
          <a:lstStyle/>
          <a:p>
            <a:fld id="{2B1C6FFC-D040-034F-8B69-20295064E64D}" type="slidenum">
              <a:rPr lang="fr-FR" smtClean="0"/>
              <a:t>26</a:t>
            </a:fld>
            <a:endParaRPr lang="fr-FR" dirty="0"/>
          </a:p>
        </p:txBody>
      </p:sp>
      <p:sp>
        <p:nvSpPr>
          <p:cNvPr id="7" name="Espace réservé du texte 6">
            <a:extLst>
              <a:ext uri="{FF2B5EF4-FFF2-40B4-BE49-F238E27FC236}">
                <a16:creationId xmlns="" xmlns:a16="http://schemas.microsoft.com/office/drawing/2014/main" id="{C5BD9B0D-5574-48A0-AF8E-9220687F69C0}"/>
              </a:ext>
            </a:extLst>
          </p:cNvPr>
          <p:cNvSpPr>
            <a:spLocks noGrp="1"/>
          </p:cNvSpPr>
          <p:nvPr>
            <p:ph type="body" sz="quarter" idx="14"/>
          </p:nvPr>
        </p:nvSpPr>
        <p:spPr/>
        <p:txBody>
          <a:bodyPr/>
          <a:lstStyle/>
          <a:p>
            <a:r>
              <a:rPr lang="fr-FR" dirty="0"/>
              <a:t>Source: Amundi AM</a:t>
            </a:r>
          </a:p>
        </p:txBody>
      </p:sp>
      <p:sp>
        <p:nvSpPr>
          <p:cNvPr id="8" name="Text Box 6">
            <a:extLst>
              <a:ext uri="{FF2B5EF4-FFF2-40B4-BE49-F238E27FC236}">
                <a16:creationId xmlns="" xmlns:a16="http://schemas.microsoft.com/office/drawing/2014/main" id="{598A3AD6-83FE-4A03-9959-69D6254F7A41}"/>
              </a:ext>
            </a:extLst>
          </p:cNvPr>
          <p:cNvSpPr txBox="1">
            <a:spLocks noChangeArrowheads="1"/>
          </p:cNvSpPr>
          <p:nvPr/>
        </p:nvSpPr>
        <p:spPr bwMode="auto">
          <a:xfrm>
            <a:off x="524379" y="1876022"/>
            <a:ext cx="8096251" cy="730991"/>
          </a:xfrm>
          <a:prstGeom prst="rect">
            <a:avLst/>
          </a:prstGeom>
          <a:solidFill>
            <a:schemeClr val="bg1">
              <a:lumMod val="95000"/>
            </a:schemeClr>
          </a:solidFill>
          <a:ln>
            <a:noFill/>
          </a:ln>
          <a:extLst/>
        </p:spPr>
        <p:txBody>
          <a:bodyPr wrap="square" lIns="0" tIns="72000" rIns="0" bIns="72000" anchor="ctr" anchorCtr="0">
            <a:noAutofit/>
          </a:bodyPr>
          <a:lstStyle>
            <a:lvl1pPr marL="171450" indent="-171450" eaLnBrk="0" hangingPunct="0">
              <a:lnSpc>
                <a:spcPct val="90000"/>
              </a:lnSpc>
              <a:spcAft>
                <a:spcPct val="60000"/>
              </a:spcAft>
              <a:defRPr b="1">
                <a:solidFill>
                  <a:schemeClr val="tx1"/>
                </a:solidFill>
                <a:latin typeface="Arial" charset="0"/>
              </a:defRPr>
            </a:lvl1pPr>
            <a:lvl2pPr marL="171450" indent="-171450" eaLnBrk="0" hangingPunct="0">
              <a:spcAft>
                <a:spcPts val="600"/>
              </a:spcAft>
              <a:buClr>
                <a:srgbClr val="009EE0"/>
              </a:buClr>
              <a:buSzPct val="90000"/>
              <a:buFont typeface="Wingdings" pitchFamily="2" charset="2"/>
              <a:buChar char="n"/>
              <a:defRPr sz="1600">
                <a:solidFill>
                  <a:schemeClr val="tx1"/>
                </a:solidFill>
                <a:latin typeface="Arial" charset="0"/>
              </a:defRPr>
            </a:lvl2pPr>
            <a:lvl3pPr marL="390525" indent="-195263" eaLnBrk="0" hangingPunct="0">
              <a:spcAft>
                <a:spcPts val="600"/>
              </a:spcAft>
              <a:buClr>
                <a:srgbClr val="009EE0"/>
              </a:buClr>
              <a:buFont typeface="Wingdings 2" pitchFamily="18" charset="2"/>
              <a:buChar char=""/>
              <a:defRPr sz="1400">
                <a:solidFill>
                  <a:schemeClr val="tx1"/>
                </a:solidFill>
                <a:latin typeface="Arial" charset="0"/>
              </a:defRPr>
            </a:lvl3pPr>
            <a:lvl4pPr marL="847725" indent="-195263" eaLnBrk="0" hangingPunct="0">
              <a:spcAft>
                <a:spcPts val="600"/>
              </a:spcAft>
              <a:buClr>
                <a:schemeClr val="accent1"/>
              </a:buClr>
              <a:buFont typeface="Arial" charset="0"/>
              <a:buChar char="-"/>
              <a:defRPr sz="1200">
                <a:solidFill>
                  <a:schemeClr val="tx1"/>
                </a:solidFill>
                <a:latin typeface="Arial" charset="0"/>
              </a:defRPr>
            </a:lvl4pPr>
            <a:lvl5pPr marL="2057400" indent="-228600" eaLnBrk="0" hangingPunct="0">
              <a:spcAft>
                <a:spcPts val="600"/>
              </a:spcAft>
              <a:buClr>
                <a:schemeClr val="accent1"/>
              </a:buClr>
              <a:buFont typeface="Arial" charset="0"/>
              <a:defRPr sz="1000">
                <a:solidFill>
                  <a:schemeClr val="tx1"/>
                </a:solidFill>
                <a:latin typeface="Arial" charset="0"/>
              </a:defRPr>
            </a:lvl5pPr>
            <a:lvl6pPr marL="2514600" indent="-228600" eaLnBrk="0" fontAlgn="base" hangingPunct="0">
              <a:spcBef>
                <a:spcPct val="0"/>
              </a:spcBef>
              <a:spcAft>
                <a:spcPts val="600"/>
              </a:spcAft>
              <a:buClr>
                <a:schemeClr val="accent1"/>
              </a:buClr>
              <a:buFont typeface="Arial" charset="0"/>
              <a:defRPr sz="1000">
                <a:solidFill>
                  <a:schemeClr val="tx1"/>
                </a:solidFill>
                <a:latin typeface="Arial" charset="0"/>
              </a:defRPr>
            </a:lvl6pPr>
            <a:lvl7pPr marL="2971800" indent="-228600" eaLnBrk="0" fontAlgn="base" hangingPunct="0">
              <a:spcBef>
                <a:spcPct val="0"/>
              </a:spcBef>
              <a:spcAft>
                <a:spcPts val="600"/>
              </a:spcAft>
              <a:buClr>
                <a:schemeClr val="accent1"/>
              </a:buClr>
              <a:buFont typeface="Arial" charset="0"/>
              <a:defRPr sz="1000">
                <a:solidFill>
                  <a:schemeClr val="tx1"/>
                </a:solidFill>
                <a:latin typeface="Arial" charset="0"/>
              </a:defRPr>
            </a:lvl7pPr>
            <a:lvl8pPr marL="3429000" indent="-228600" eaLnBrk="0" fontAlgn="base" hangingPunct="0">
              <a:spcBef>
                <a:spcPct val="0"/>
              </a:spcBef>
              <a:spcAft>
                <a:spcPts val="600"/>
              </a:spcAft>
              <a:buClr>
                <a:schemeClr val="accent1"/>
              </a:buClr>
              <a:buFont typeface="Arial" charset="0"/>
              <a:defRPr sz="1000">
                <a:solidFill>
                  <a:schemeClr val="tx1"/>
                </a:solidFill>
                <a:latin typeface="Arial" charset="0"/>
              </a:defRPr>
            </a:lvl8pPr>
            <a:lvl9pPr marL="3886200" indent="-228600" eaLnBrk="0" fontAlgn="base" hangingPunct="0">
              <a:spcBef>
                <a:spcPct val="0"/>
              </a:spcBef>
              <a:spcAft>
                <a:spcPts val="600"/>
              </a:spcAft>
              <a:buClr>
                <a:schemeClr val="accent1"/>
              </a:buClr>
              <a:buFont typeface="Arial" charset="0"/>
              <a:defRPr sz="1000">
                <a:solidFill>
                  <a:schemeClr val="tx1"/>
                </a:solidFill>
                <a:latin typeface="Arial" charset="0"/>
              </a:defRPr>
            </a:lvl9pPr>
          </a:lstStyle>
          <a:p>
            <a:pPr marL="447675" lvl="1" indent="-215900">
              <a:lnSpc>
                <a:spcPct val="100000"/>
              </a:lnSpc>
              <a:spcAft>
                <a:spcPct val="0"/>
              </a:spcAft>
              <a:buClr>
                <a:schemeClr val="tx1"/>
              </a:buClr>
              <a:buFont typeface="Arial" panose="020B0604020202020204" pitchFamily="34" charset="0"/>
              <a:buChar char="̶"/>
              <a:defRPr/>
            </a:pPr>
            <a:r>
              <a:rPr lang="en-US" altLang="fr-FR" sz="1400" dirty="0">
                <a:latin typeface="Arial" pitchFamily="34" charset="0"/>
              </a:rPr>
              <a:t>Overweight the least risky stocks, underweight the most risky stocks</a:t>
            </a:r>
          </a:p>
          <a:p>
            <a:pPr marL="447675" lvl="1" indent="-215900">
              <a:lnSpc>
                <a:spcPct val="100000"/>
              </a:lnSpc>
              <a:spcAft>
                <a:spcPct val="0"/>
              </a:spcAft>
              <a:buClr>
                <a:schemeClr val="tx1"/>
              </a:buClr>
              <a:buFont typeface="Arial" panose="020B0604020202020204" pitchFamily="34" charset="0"/>
              <a:buChar char="̶"/>
              <a:defRPr/>
            </a:pPr>
            <a:r>
              <a:rPr lang="en-US" altLang="fr-FR" sz="1400" dirty="0">
                <a:latin typeface="Arial" pitchFamily="34" charset="0"/>
              </a:rPr>
              <a:t>Ensure a very high level of capital diversification and limit market drawdown</a:t>
            </a:r>
          </a:p>
        </p:txBody>
      </p:sp>
      <p:sp>
        <p:nvSpPr>
          <p:cNvPr id="9" name="TextBox 8">
            <a:extLst>
              <a:ext uri="{FF2B5EF4-FFF2-40B4-BE49-F238E27FC236}">
                <a16:creationId xmlns="" xmlns:a16="http://schemas.microsoft.com/office/drawing/2014/main" id="{E832324A-D177-46E0-AF4C-C65E0187DF8C}"/>
              </a:ext>
            </a:extLst>
          </p:cNvPr>
          <p:cNvSpPr txBox="1"/>
          <p:nvPr/>
        </p:nvSpPr>
        <p:spPr>
          <a:xfrm>
            <a:off x="5864438" y="3288250"/>
            <a:ext cx="2766196" cy="2587255"/>
          </a:xfrm>
          <a:prstGeom prst="rect">
            <a:avLst/>
          </a:prstGeom>
          <a:solidFill>
            <a:schemeClr val="bg1">
              <a:lumMod val="95000"/>
            </a:schemeClr>
          </a:solidFill>
        </p:spPr>
        <p:txBody>
          <a:bodyPr wrap="square" lIns="144000" rIns="144000" rtlCol="0">
            <a:noAutofit/>
          </a:bodyPr>
          <a:lstStyle/>
          <a:p>
            <a:pPr algn="ctr"/>
            <a:endParaRPr lang="en-GB" sz="1000" b="1" dirty="0"/>
          </a:p>
          <a:p>
            <a:pPr algn="ctr"/>
            <a:r>
              <a:rPr lang="en-GB" sz="1300" b="1" dirty="0"/>
              <a:t>Overly complex implementation</a:t>
            </a:r>
          </a:p>
          <a:p>
            <a:endParaRPr lang="en-GB" sz="1000" b="1" dirty="0"/>
          </a:p>
          <a:p>
            <a:pPr marL="171450" indent="-171450">
              <a:buClr>
                <a:schemeClr val="bg1">
                  <a:lumMod val="50000"/>
                </a:schemeClr>
              </a:buClr>
              <a:buFont typeface="Arial" panose="020B0604020202020204" pitchFamily="34" charset="0"/>
              <a:buChar char="̶"/>
            </a:pPr>
            <a:r>
              <a:rPr lang="en-GB" sz="1100" b="1" dirty="0">
                <a:solidFill>
                  <a:srgbClr val="00B0F0"/>
                </a:solidFill>
              </a:rPr>
              <a:t>Volatilities and correlations </a:t>
            </a:r>
            <a:br>
              <a:rPr lang="en-GB" sz="1100" b="1" dirty="0">
                <a:solidFill>
                  <a:srgbClr val="00B0F0"/>
                </a:solidFill>
              </a:rPr>
            </a:br>
            <a:r>
              <a:rPr lang="en-GB" sz="1100" dirty="0">
                <a:solidFill>
                  <a:schemeClr val="tx2"/>
                </a:solidFill>
              </a:rPr>
              <a:t>are estimated for </a:t>
            </a:r>
            <a:r>
              <a:rPr lang="en-GB" sz="1100" b="1" dirty="0">
                <a:solidFill>
                  <a:srgbClr val="00B0F0"/>
                </a:solidFill>
              </a:rPr>
              <a:t>all stocks</a:t>
            </a:r>
          </a:p>
          <a:p>
            <a:pPr marL="171450" indent="-171450">
              <a:buClr>
                <a:schemeClr val="bg1">
                  <a:lumMod val="50000"/>
                </a:schemeClr>
              </a:buClr>
              <a:buFont typeface="Arial" panose="020B0604020202020204" pitchFamily="34" charset="0"/>
              <a:buChar char="̶"/>
            </a:pPr>
            <a:endParaRPr lang="en-GB" sz="1100" dirty="0">
              <a:solidFill>
                <a:schemeClr val="tx2"/>
              </a:solidFill>
            </a:endParaRPr>
          </a:p>
          <a:p>
            <a:pPr marL="171450" indent="-171450">
              <a:buClr>
                <a:schemeClr val="bg1">
                  <a:lumMod val="50000"/>
                </a:schemeClr>
              </a:buClr>
              <a:buFont typeface="Arial" panose="020B0604020202020204" pitchFamily="34" charset="0"/>
              <a:buChar char="̶"/>
            </a:pPr>
            <a:r>
              <a:rPr lang="en-GB" sz="1100" dirty="0">
                <a:solidFill>
                  <a:schemeClr val="tx2"/>
                </a:solidFill>
              </a:rPr>
              <a:t>The weight of each stock is obtained by equalizing risk contribution between stocks</a:t>
            </a:r>
          </a:p>
          <a:p>
            <a:pPr marL="171450" indent="-171450">
              <a:buClr>
                <a:schemeClr val="bg1">
                  <a:lumMod val="50000"/>
                </a:schemeClr>
              </a:buClr>
              <a:buFont typeface="Arial" panose="020B0604020202020204" pitchFamily="34" charset="0"/>
              <a:buChar char="̶"/>
            </a:pPr>
            <a:endParaRPr lang="en-GB" sz="1100" dirty="0"/>
          </a:p>
          <a:p>
            <a:pPr marL="171450" indent="-171450">
              <a:buClr>
                <a:schemeClr val="bg1">
                  <a:lumMod val="50000"/>
                </a:schemeClr>
              </a:buClr>
              <a:buFont typeface="Arial" panose="020B0604020202020204" pitchFamily="34" charset="0"/>
              <a:buChar char="̶"/>
            </a:pPr>
            <a:r>
              <a:rPr lang="en-GB" sz="1100" b="1" dirty="0">
                <a:solidFill>
                  <a:srgbClr val="00B0F0"/>
                </a:solidFill>
              </a:rPr>
              <a:t>Calculation is computationally challenging</a:t>
            </a:r>
            <a:endParaRPr lang="en-GB" sz="1000" dirty="0"/>
          </a:p>
          <a:p>
            <a:pPr marL="171450" indent="-171450">
              <a:buFont typeface="Arial" panose="020B0604020202020204" pitchFamily="34" charset="0"/>
              <a:buChar char="•"/>
            </a:pPr>
            <a:endParaRPr lang="en-GB" sz="1000" dirty="0"/>
          </a:p>
        </p:txBody>
      </p:sp>
      <p:sp>
        <p:nvSpPr>
          <p:cNvPr id="10" name="TextBox 9">
            <a:extLst>
              <a:ext uri="{FF2B5EF4-FFF2-40B4-BE49-F238E27FC236}">
                <a16:creationId xmlns="" xmlns:a16="http://schemas.microsoft.com/office/drawing/2014/main" id="{0DAF91C6-BF79-48F3-9F15-D3A7B23E38FB}"/>
              </a:ext>
            </a:extLst>
          </p:cNvPr>
          <p:cNvSpPr txBox="1"/>
          <p:nvPr/>
        </p:nvSpPr>
        <p:spPr>
          <a:xfrm>
            <a:off x="524380" y="3288250"/>
            <a:ext cx="2685666" cy="2587255"/>
          </a:xfrm>
          <a:prstGeom prst="rect">
            <a:avLst/>
          </a:prstGeom>
          <a:solidFill>
            <a:schemeClr val="bg1">
              <a:lumMod val="95000"/>
            </a:schemeClr>
          </a:solidFill>
        </p:spPr>
        <p:txBody>
          <a:bodyPr wrap="square" lIns="144000" rIns="144000" rtlCol="0">
            <a:noAutofit/>
          </a:bodyPr>
          <a:lstStyle/>
          <a:p>
            <a:pPr algn="ctr"/>
            <a:endParaRPr lang="en-GB" sz="1000" b="1" dirty="0"/>
          </a:p>
          <a:p>
            <a:pPr algn="ctr"/>
            <a:r>
              <a:rPr lang="en-GB" sz="1300" b="1" dirty="0"/>
              <a:t>Overly simple implementation</a:t>
            </a:r>
          </a:p>
          <a:p>
            <a:endParaRPr lang="en-GB" sz="1000" b="1" dirty="0"/>
          </a:p>
          <a:p>
            <a:pPr marL="171450" indent="-171450">
              <a:buClr>
                <a:schemeClr val="bg1">
                  <a:lumMod val="50000"/>
                </a:schemeClr>
              </a:buClr>
              <a:buFont typeface="Arial" panose="020B0604020202020204" pitchFamily="34" charset="0"/>
              <a:buChar char="̶"/>
            </a:pPr>
            <a:r>
              <a:rPr lang="en-GB" sz="1100" b="1" dirty="0">
                <a:solidFill>
                  <a:srgbClr val="00B0F0"/>
                </a:solidFill>
              </a:rPr>
              <a:t>Only</a:t>
            </a:r>
            <a:r>
              <a:rPr lang="en-GB" sz="1100" dirty="0">
                <a:solidFill>
                  <a:srgbClr val="00B0F0"/>
                </a:solidFill>
              </a:rPr>
              <a:t> </a:t>
            </a:r>
            <a:r>
              <a:rPr lang="en-GB" sz="1100" b="1" dirty="0">
                <a:solidFill>
                  <a:srgbClr val="00B0F0"/>
                </a:solidFill>
              </a:rPr>
              <a:t>volatilities</a:t>
            </a:r>
            <a:r>
              <a:rPr lang="en-GB" sz="1100" dirty="0">
                <a:solidFill>
                  <a:srgbClr val="00B0F0"/>
                </a:solidFill>
              </a:rPr>
              <a:t> </a:t>
            </a:r>
            <a:r>
              <a:rPr lang="en-GB" sz="1100" dirty="0">
                <a:solidFill>
                  <a:schemeClr val="tx2"/>
                </a:solidFill>
              </a:rPr>
              <a:t>are estimated </a:t>
            </a:r>
            <a:br>
              <a:rPr lang="en-GB" sz="1100" dirty="0">
                <a:solidFill>
                  <a:schemeClr val="tx2"/>
                </a:solidFill>
              </a:rPr>
            </a:br>
            <a:r>
              <a:rPr lang="en-GB" sz="1100" dirty="0">
                <a:solidFill>
                  <a:schemeClr val="tx2"/>
                </a:solidFill>
              </a:rPr>
              <a:t>for all stocks</a:t>
            </a:r>
          </a:p>
          <a:p>
            <a:pPr marL="171450" indent="-171450">
              <a:buClr>
                <a:schemeClr val="bg1">
                  <a:lumMod val="50000"/>
                </a:schemeClr>
              </a:buClr>
              <a:buFont typeface="Arial" panose="020B0604020202020204" pitchFamily="34" charset="0"/>
              <a:buChar char="̶"/>
            </a:pPr>
            <a:endParaRPr lang="en-GB" sz="1100" dirty="0">
              <a:solidFill>
                <a:schemeClr val="tx2"/>
              </a:solidFill>
            </a:endParaRPr>
          </a:p>
          <a:p>
            <a:pPr marL="171450" indent="-171450">
              <a:buClr>
                <a:schemeClr val="bg1">
                  <a:lumMod val="50000"/>
                </a:schemeClr>
              </a:buClr>
              <a:buFont typeface="Arial" panose="020B0604020202020204" pitchFamily="34" charset="0"/>
              <a:buChar char="̶"/>
            </a:pPr>
            <a:r>
              <a:rPr lang="en-GB" sz="1100" dirty="0">
                <a:solidFill>
                  <a:schemeClr val="tx2"/>
                </a:solidFill>
              </a:rPr>
              <a:t>The weight of each stock is inversely proportional to its volatility</a:t>
            </a:r>
          </a:p>
          <a:p>
            <a:pPr marL="171450" indent="-171450">
              <a:buClr>
                <a:schemeClr val="bg1">
                  <a:lumMod val="50000"/>
                </a:schemeClr>
              </a:buClr>
              <a:buFont typeface="Arial" panose="020B0604020202020204" pitchFamily="34" charset="0"/>
              <a:buChar char="̶"/>
            </a:pPr>
            <a:endParaRPr lang="en-GB" sz="1100" dirty="0">
              <a:solidFill>
                <a:schemeClr val="tx2"/>
              </a:solidFill>
            </a:endParaRPr>
          </a:p>
          <a:p>
            <a:pPr marL="171450" indent="-171450">
              <a:buClr>
                <a:schemeClr val="bg1">
                  <a:lumMod val="50000"/>
                </a:schemeClr>
              </a:buClr>
              <a:buFont typeface="Arial" panose="020B0604020202020204" pitchFamily="34" charset="0"/>
              <a:buChar char="̶"/>
            </a:pPr>
            <a:r>
              <a:rPr lang="en-GB" sz="1100" dirty="0">
                <a:solidFill>
                  <a:schemeClr val="tx2"/>
                </a:solidFill>
              </a:rPr>
              <a:t>End portfolio is highly biased, </a:t>
            </a:r>
            <a:r>
              <a:rPr lang="en-GB" sz="1100" b="1" dirty="0">
                <a:solidFill>
                  <a:srgbClr val="00B0F0"/>
                </a:solidFill>
              </a:rPr>
              <a:t>diversification opportunities </a:t>
            </a:r>
            <a:br>
              <a:rPr lang="en-GB" sz="1100" b="1" dirty="0">
                <a:solidFill>
                  <a:srgbClr val="00B0F0"/>
                </a:solidFill>
              </a:rPr>
            </a:br>
            <a:r>
              <a:rPr lang="en-GB" sz="1100" b="1" dirty="0">
                <a:solidFill>
                  <a:srgbClr val="00B0F0"/>
                </a:solidFill>
              </a:rPr>
              <a:t>are not taken into account</a:t>
            </a:r>
            <a:endParaRPr lang="en-GB" sz="900" dirty="0"/>
          </a:p>
          <a:p>
            <a:endParaRPr lang="en-GB" sz="900" dirty="0"/>
          </a:p>
        </p:txBody>
      </p:sp>
      <p:sp>
        <p:nvSpPr>
          <p:cNvPr id="11" name="Text Box 6">
            <a:extLst>
              <a:ext uri="{FF2B5EF4-FFF2-40B4-BE49-F238E27FC236}">
                <a16:creationId xmlns="" xmlns:a16="http://schemas.microsoft.com/office/drawing/2014/main" id="{73E3B184-7326-4E87-B313-7E7D324291D4}"/>
              </a:ext>
            </a:extLst>
          </p:cNvPr>
          <p:cNvSpPr txBox="1">
            <a:spLocks noChangeArrowheads="1"/>
          </p:cNvSpPr>
          <p:nvPr/>
        </p:nvSpPr>
        <p:spPr bwMode="auto">
          <a:xfrm>
            <a:off x="524380" y="1433617"/>
            <a:ext cx="8096250" cy="439928"/>
          </a:xfrm>
          <a:prstGeom prst="rect">
            <a:avLst/>
          </a:prstGeom>
          <a:solidFill>
            <a:schemeClr val="accent2"/>
          </a:solidFill>
          <a:ln>
            <a:noFill/>
          </a:ln>
          <a:extLst/>
        </p:spPr>
        <p:txBody>
          <a:bodyPr wrap="square" lIns="0" tIns="0" rIns="0" bIns="0" anchor="ctr">
            <a:noAutofit/>
          </a:bodyPr>
          <a:lstStyle>
            <a:defPPr>
              <a:defRPr lang="en-US"/>
            </a:defPPr>
            <a:lvl1pPr marL="171450" indent="-171450">
              <a:lnSpc>
                <a:spcPct val="90000"/>
              </a:lnSpc>
              <a:spcAft>
                <a:spcPct val="60000"/>
              </a:spcAft>
              <a:defRPr b="1">
                <a:latin typeface="Arial" charset="0"/>
              </a:defRPr>
            </a:lvl1pPr>
            <a:lvl2pPr marL="171450" indent="-171450">
              <a:spcAft>
                <a:spcPts val="600"/>
              </a:spcAft>
              <a:buClr>
                <a:srgbClr val="009EE0"/>
              </a:buClr>
              <a:buSzPct val="90000"/>
              <a:buFont typeface="Wingdings" pitchFamily="2" charset="2"/>
              <a:buChar char="n"/>
              <a:defRPr sz="1600">
                <a:latin typeface="Arial" charset="0"/>
              </a:defRPr>
            </a:lvl2pPr>
            <a:lvl3pPr marL="3175" lvl="2" indent="0" algn="ctr" eaLnBrk="1" hangingPunct="1">
              <a:lnSpc>
                <a:spcPct val="100000"/>
              </a:lnSpc>
              <a:spcBef>
                <a:spcPts val="0"/>
              </a:spcBef>
              <a:spcAft>
                <a:spcPts val="0"/>
              </a:spcAft>
              <a:buClr>
                <a:srgbClr val="009EE0"/>
              </a:buClr>
              <a:buFont typeface="Wingdings 2" pitchFamily="18" charset="2"/>
              <a:buNone/>
              <a:defRPr sz="1100" b="1">
                <a:solidFill>
                  <a:schemeClr val="bg1"/>
                </a:solidFill>
              </a:defRPr>
            </a:lvl3pPr>
            <a:lvl4pPr marL="847725" indent="-195263">
              <a:spcAft>
                <a:spcPts val="600"/>
              </a:spcAft>
              <a:buClr>
                <a:schemeClr val="accent1"/>
              </a:buClr>
              <a:buFont typeface="Arial" charset="0"/>
              <a:buChar char="-"/>
              <a:defRPr sz="1200">
                <a:latin typeface="Arial" charset="0"/>
              </a:defRPr>
            </a:lvl4pPr>
            <a:lvl5pPr marL="2057400" indent="-228600">
              <a:spcAft>
                <a:spcPts val="600"/>
              </a:spcAft>
              <a:buClr>
                <a:schemeClr val="accent1"/>
              </a:buClr>
              <a:buFont typeface="Arial" charset="0"/>
              <a:defRPr sz="1000">
                <a:latin typeface="Arial" charset="0"/>
              </a:defRPr>
            </a:lvl5pPr>
            <a:lvl6pPr marL="2514600" indent="-228600" eaLnBrk="0" fontAlgn="base" hangingPunct="0">
              <a:spcBef>
                <a:spcPct val="0"/>
              </a:spcBef>
              <a:spcAft>
                <a:spcPts val="600"/>
              </a:spcAft>
              <a:buClr>
                <a:schemeClr val="accent1"/>
              </a:buClr>
              <a:buFont typeface="Arial" charset="0"/>
              <a:defRPr sz="1000">
                <a:latin typeface="Arial" charset="0"/>
              </a:defRPr>
            </a:lvl6pPr>
            <a:lvl7pPr marL="2971800" indent="-228600" eaLnBrk="0" fontAlgn="base" hangingPunct="0">
              <a:spcBef>
                <a:spcPct val="0"/>
              </a:spcBef>
              <a:spcAft>
                <a:spcPts val="600"/>
              </a:spcAft>
              <a:buClr>
                <a:schemeClr val="accent1"/>
              </a:buClr>
              <a:buFont typeface="Arial" charset="0"/>
              <a:defRPr sz="1000">
                <a:latin typeface="Arial" charset="0"/>
              </a:defRPr>
            </a:lvl7pPr>
            <a:lvl8pPr marL="3429000" indent="-228600" eaLnBrk="0" fontAlgn="base" hangingPunct="0">
              <a:spcBef>
                <a:spcPct val="0"/>
              </a:spcBef>
              <a:spcAft>
                <a:spcPts val="600"/>
              </a:spcAft>
              <a:buClr>
                <a:schemeClr val="accent1"/>
              </a:buClr>
              <a:buFont typeface="Arial" charset="0"/>
              <a:defRPr sz="1000">
                <a:latin typeface="Arial" charset="0"/>
              </a:defRPr>
            </a:lvl8pPr>
            <a:lvl9pPr marL="3886200" indent="-228600" eaLnBrk="0" fontAlgn="base" hangingPunct="0">
              <a:spcBef>
                <a:spcPct val="0"/>
              </a:spcBef>
              <a:spcAft>
                <a:spcPts val="600"/>
              </a:spcAft>
              <a:buClr>
                <a:schemeClr val="accent1"/>
              </a:buClr>
              <a:buFont typeface="Arial" charset="0"/>
              <a:defRPr sz="1000">
                <a:latin typeface="Arial" charset="0"/>
              </a:defRPr>
            </a:lvl9pPr>
          </a:lstStyle>
          <a:p>
            <a:pPr lvl="2"/>
            <a:endParaRPr lang="en-GB" altLang="fr-FR" dirty="0"/>
          </a:p>
          <a:p>
            <a:pPr lvl="2"/>
            <a:r>
              <a:rPr lang="en-GB" altLang="fr-FR" sz="1400" dirty="0"/>
              <a:t>Simple concept…</a:t>
            </a:r>
          </a:p>
          <a:p>
            <a:pPr lvl="2"/>
            <a:endParaRPr lang="en-GB" altLang="fr-FR" dirty="0"/>
          </a:p>
        </p:txBody>
      </p:sp>
      <p:sp>
        <p:nvSpPr>
          <p:cNvPr id="12" name="Text Box 6">
            <a:extLst>
              <a:ext uri="{FF2B5EF4-FFF2-40B4-BE49-F238E27FC236}">
                <a16:creationId xmlns="" xmlns:a16="http://schemas.microsoft.com/office/drawing/2014/main" id="{B11B4993-0D08-4B4C-832B-623D8EBC3410}"/>
              </a:ext>
            </a:extLst>
          </p:cNvPr>
          <p:cNvSpPr txBox="1">
            <a:spLocks noChangeArrowheads="1"/>
          </p:cNvSpPr>
          <p:nvPr/>
        </p:nvSpPr>
        <p:spPr bwMode="auto">
          <a:xfrm>
            <a:off x="524380" y="2740723"/>
            <a:ext cx="8104170" cy="553998"/>
          </a:xfrm>
          <a:prstGeom prst="rect">
            <a:avLst/>
          </a:prstGeom>
          <a:solidFill>
            <a:schemeClr val="accent2"/>
          </a:solidFill>
          <a:ln>
            <a:noFill/>
          </a:ln>
          <a:extLst/>
        </p:spPr>
        <p:txBody>
          <a:bodyPr wrap="square" lIns="0" tIns="0" rIns="0" bIns="0" anchor="ctr">
            <a:spAutoFit/>
          </a:bodyPr>
          <a:lstStyle>
            <a:defPPr>
              <a:defRPr lang="en-US"/>
            </a:defPPr>
            <a:lvl1pPr marL="171450" indent="-171450">
              <a:lnSpc>
                <a:spcPct val="90000"/>
              </a:lnSpc>
              <a:spcAft>
                <a:spcPct val="60000"/>
              </a:spcAft>
              <a:defRPr b="1">
                <a:latin typeface="Arial" charset="0"/>
              </a:defRPr>
            </a:lvl1pPr>
            <a:lvl2pPr marL="171450" indent="-171450">
              <a:spcAft>
                <a:spcPts val="600"/>
              </a:spcAft>
              <a:buClr>
                <a:srgbClr val="009EE0"/>
              </a:buClr>
              <a:buSzPct val="90000"/>
              <a:buFont typeface="Wingdings" pitchFamily="2" charset="2"/>
              <a:buChar char="n"/>
              <a:defRPr sz="1600">
                <a:latin typeface="Arial" charset="0"/>
              </a:defRPr>
            </a:lvl2pPr>
            <a:lvl3pPr marL="3175" lvl="2" indent="0" algn="ctr" eaLnBrk="1" hangingPunct="1">
              <a:lnSpc>
                <a:spcPct val="100000"/>
              </a:lnSpc>
              <a:spcBef>
                <a:spcPts val="0"/>
              </a:spcBef>
              <a:spcAft>
                <a:spcPts val="0"/>
              </a:spcAft>
              <a:buClr>
                <a:srgbClr val="009EE0"/>
              </a:buClr>
              <a:buFont typeface="Wingdings 2" pitchFamily="18" charset="2"/>
              <a:buNone/>
              <a:defRPr sz="1400" b="1">
                <a:solidFill>
                  <a:srgbClr val="00B0F0"/>
                </a:solidFill>
              </a:defRPr>
            </a:lvl3pPr>
            <a:lvl4pPr marL="847725" indent="-195263">
              <a:spcAft>
                <a:spcPts val="600"/>
              </a:spcAft>
              <a:buClr>
                <a:schemeClr val="accent1"/>
              </a:buClr>
              <a:buFont typeface="Arial" charset="0"/>
              <a:buChar char="-"/>
              <a:defRPr sz="1200">
                <a:latin typeface="Arial" charset="0"/>
              </a:defRPr>
            </a:lvl4pPr>
            <a:lvl5pPr marL="2057400" indent="-228600">
              <a:spcAft>
                <a:spcPts val="600"/>
              </a:spcAft>
              <a:buClr>
                <a:schemeClr val="accent1"/>
              </a:buClr>
              <a:buFont typeface="Arial" charset="0"/>
              <a:defRPr sz="1000">
                <a:latin typeface="Arial" charset="0"/>
              </a:defRPr>
            </a:lvl5pPr>
            <a:lvl6pPr marL="2514600" indent="-228600" eaLnBrk="0" fontAlgn="base" hangingPunct="0">
              <a:spcBef>
                <a:spcPct val="0"/>
              </a:spcBef>
              <a:spcAft>
                <a:spcPts val="600"/>
              </a:spcAft>
              <a:buClr>
                <a:schemeClr val="accent1"/>
              </a:buClr>
              <a:buFont typeface="Arial" charset="0"/>
              <a:defRPr sz="1000">
                <a:latin typeface="Arial" charset="0"/>
              </a:defRPr>
            </a:lvl6pPr>
            <a:lvl7pPr marL="2971800" indent="-228600" eaLnBrk="0" fontAlgn="base" hangingPunct="0">
              <a:spcBef>
                <a:spcPct val="0"/>
              </a:spcBef>
              <a:spcAft>
                <a:spcPts val="600"/>
              </a:spcAft>
              <a:buClr>
                <a:schemeClr val="accent1"/>
              </a:buClr>
              <a:buFont typeface="Arial" charset="0"/>
              <a:defRPr sz="1000">
                <a:latin typeface="Arial" charset="0"/>
              </a:defRPr>
            </a:lvl7pPr>
            <a:lvl8pPr marL="3429000" indent="-228600" eaLnBrk="0" fontAlgn="base" hangingPunct="0">
              <a:spcBef>
                <a:spcPct val="0"/>
              </a:spcBef>
              <a:spcAft>
                <a:spcPts val="600"/>
              </a:spcAft>
              <a:buClr>
                <a:schemeClr val="accent1"/>
              </a:buClr>
              <a:buFont typeface="Arial" charset="0"/>
              <a:defRPr sz="1000">
                <a:latin typeface="Arial" charset="0"/>
              </a:defRPr>
            </a:lvl8pPr>
            <a:lvl9pPr marL="3886200" indent="-228600" eaLnBrk="0" fontAlgn="base" hangingPunct="0">
              <a:spcBef>
                <a:spcPct val="0"/>
              </a:spcBef>
              <a:spcAft>
                <a:spcPts val="600"/>
              </a:spcAft>
              <a:buClr>
                <a:schemeClr val="accent1"/>
              </a:buClr>
              <a:buFont typeface="Arial" charset="0"/>
              <a:defRPr sz="1000">
                <a:latin typeface="Arial" charset="0"/>
              </a:defRPr>
            </a:lvl9pPr>
          </a:lstStyle>
          <a:p>
            <a:pPr lvl="2"/>
            <a:endParaRPr lang="en-GB" altLang="fr-FR" sz="1100" dirty="0">
              <a:solidFill>
                <a:schemeClr val="bg1"/>
              </a:solidFill>
            </a:endParaRPr>
          </a:p>
          <a:p>
            <a:pPr lvl="2"/>
            <a:r>
              <a:rPr lang="en-GB" altLang="fr-FR" dirty="0">
                <a:solidFill>
                  <a:schemeClr val="bg1"/>
                </a:solidFill>
              </a:rPr>
              <a:t>…but many possible implementations</a:t>
            </a:r>
          </a:p>
          <a:p>
            <a:pPr lvl="2"/>
            <a:endParaRPr lang="en-GB" altLang="fr-FR" sz="1100" dirty="0">
              <a:solidFill>
                <a:schemeClr val="bg1"/>
              </a:solidFill>
            </a:endParaRPr>
          </a:p>
        </p:txBody>
      </p:sp>
      <p:sp>
        <p:nvSpPr>
          <p:cNvPr id="13" name="Rectangle 12">
            <a:extLst>
              <a:ext uri="{FF2B5EF4-FFF2-40B4-BE49-F238E27FC236}">
                <a16:creationId xmlns="" xmlns:a16="http://schemas.microsoft.com/office/drawing/2014/main" id="{D1CFB369-884F-4B58-B7DF-0EDDF19B8394}"/>
              </a:ext>
            </a:extLst>
          </p:cNvPr>
          <p:cNvSpPr/>
          <p:nvPr/>
        </p:nvSpPr>
        <p:spPr bwMode="auto">
          <a:xfrm>
            <a:off x="3210045" y="3288250"/>
            <a:ext cx="2654393" cy="2587256"/>
          </a:xfrm>
          <a:prstGeom prst="rect">
            <a:avLst/>
          </a:prstGeom>
          <a:solidFill>
            <a:srgbClr val="66C5EC"/>
          </a:solidFill>
          <a:ln>
            <a:noFill/>
          </a:ln>
          <a:effectLst/>
          <a:extLst/>
        </p:spPr>
        <p:txBody>
          <a:bodyPr vert="horz" wrap="square" lIns="144000" tIns="72000" rIns="144000" bIns="72000" numCol="1" rtlCol="0" anchor="ctr" anchorCtr="0" compatLnSpc="1">
            <a:prstTxWarp prst="textNoShape">
              <a:avLst/>
            </a:prstTxWarp>
          </a:bodyPr>
          <a:lstStyle/>
          <a:p>
            <a:pPr algn="ctr"/>
            <a:r>
              <a:rPr lang="en-GB" sz="2000" b="1" dirty="0">
                <a:solidFill>
                  <a:schemeClr val="bg1"/>
                </a:solidFill>
              </a:rPr>
              <a:t>Amundi</a:t>
            </a:r>
          </a:p>
          <a:p>
            <a:pPr algn="ctr"/>
            <a:r>
              <a:rPr lang="en-GB" sz="2000" b="1" dirty="0">
                <a:solidFill>
                  <a:schemeClr val="bg1"/>
                </a:solidFill>
              </a:rPr>
              <a:t> Risk Parity</a:t>
            </a:r>
          </a:p>
          <a:p>
            <a:pPr algn="ctr"/>
            <a:endParaRPr lang="en-GB" sz="2000" b="1" dirty="0">
              <a:solidFill>
                <a:schemeClr val="bg1"/>
              </a:solidFill>
            </a:endParaRPr>
          </a:p>
          <a:p>
            <a:pPr marL="173038" indent="-173038">
              <a:buFont typeface="Arial" panose="020B0604020202020204" pitchFamily="34" charset="0"/>
              <a:buChar char="̶"/>
            </a:pPr>
            <a:r>
              <a:rPr lang="en-GB" sz="1100" b="1" dirty="0">
                <a:solidFill>
                  <a:schemeClr val="bg1"/>
                </a:solidFill>
              </a:rPr>
              <a:t>Volatilities taken into account </a:t>
            </a:r>
            <a:br>
              <a:rPr lang="en-GB" sz="1100" b="1" dirty="0">
                <a:solidFill>
                  <a:schemeClr val="bg1"/>
                </a:solidFill>
              </a:rPr>
            </a:br>
            <a:r>
              <a:rPr lang="en-GB" sz="1100" b="1" dirty="0">
                <a:solidFill>
                  <a:schemeClr val="bg1"/>
                </a:solidFill>
              </a:rPr>
              <a:t>at stock level</a:t>
            </a:r>
          </a:p>
          <a:p>
            <a:pPr marL="173038" indent="-173038">
              <a:buFont typeface="Arial" panose="020B0604020202020204" pitchFamily="34" charset="0"/>
              <a:buChar char="̶"/>
            </a:pPr>
            <a:endParaRPr lang="en-GB" sz="1100" b="1" dirty="0">
              <a:solidFill>
                <a:schemeClr val="bg1"/>
              </a:solidFill>
            </a:endParaRPr>
          </a:p>
          <a:p>
            <a:pPr marL="173038" indent="-173038">
              <a:buFont typeface="Arial" panose="020B0604020202020204" pitchFamily="34" charset="0"/>
              <a:buChar char="̶"/>
            </a:pPr>
            <a:r>
              <a:rPr lang="en-GB" sz="1100" b="1" dirty="0">
                <a:solidFill>
                  <a:schemeClr val="bg1"/>
                </a:solidFill>
              </a:rPr>
              <a:t>Correlations taken into account </a:t>
            </a:r>
            <a:br>
              <a:rPr lang="en-GB" sz="1100" b="1" dirty="0">
                <a:solidFill>
                  <a:schemeClr val="bg1"/>
                </a:solidFill>
              </a:rPr>
            </a:br>
            <a:r>
              <a:rPr lang="en-GB" sz="1100" b="1" dirty="0">
                <a:solidFill>
                  <a:schemeClr val="bg1"/>
                </a:solidFill>
              </a:rPr>
              <a:t>at sector level</a:t>
            </a:r>
            <a:endParaRPr lang="en-GB" sz="1100" dirty="0">
              <a:solidFill>
                <a:schemeClr val="bg1"/>
              </a:solidFill>
            </a:endParaRPr>
          </a:p>
          <a:p>
            <a:pPr marL="0" marR="0" indent="0" algn="l" defTabSz="914400" rtl="0" eaLnBrk="0" fontAlgn="base" latinLnBrk="0" hangingPunct="0">
              <a:lnSpc>
                <a:spcPct val="85000"/>
              </a:lnSpc>
              <a:spcBef>
                <a:spcPct val="0"/>
              </a:spcBef>
              <a:spcAft>
                <a:spcPct val="0"/>
              </a:spcAft>
              <a:buClrTx/>
              <a:buSzTx/>
              <a:buFontTx/>
              <a:buNone/>
              <a:tabLst/>
            </a:pPr>
            <a:endParaRPr kumimoji="0" lang="fr-FR" sz="800" b="0" i="0" u="none" strike="noStrike" cap="none" normalizeH="0" baseline="0" dirty="0">
              <a:ln>
                <a:noFill/>
              </a:ln>
              <a:solidFill>
                <a:schemeClr val="tx1"/>
              </a:solidFill>
              <a:effectLst/>
              <a:latin typeface="Arial" charset="0"/>
            </a:endParaRPr>
          </a:p>
        </p:txBody>
      </p:sp>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162156101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
            <a:extLst>
              <a:ext uri="{FF2B5EF4-FFF2-40B4-BE49-F238E27FC236}">
                <a16:creationId xmlns="" xmlns:a16="http://schemas.microsoft.com/office/drawing/2014/main" id="{3ACCEBAA-230E-4649-8322-C3FE7851C20D}"/>
              </a:ext>
            </a:extLst>
          </p:cNvPr>
          <p:cNvSpPr>
            <a:spLocks noChangeArrowheads="1"/>
          </p:cNvSpPr>
          <p:nvPr/>
        </p:nvSpPr>
        <p:spPr bwMode="auto">
          <a:xfrm>
            <a:off x="5319011" y="1393500"/>
            <a:ext cx="2563373" cy="912294"/>
          </a:xfrm>
          <a:prstGeom prst="rect">
            <a:avLst/>
          </a:prstGeom>
          <a:solidFill>
            <a:schemeClr val="accent3"/>
          </a:solidFill>
          <a:ln w="9525" algn="ctr">
            <a:noFill/>
            <a:miter lim="800000"/>
            <a:headEnd/>
            <a:tailEnd/>
          </a:ln>
          <a:effectLst/>
          <a:extLst/>
        </p:spPr>
        <p:txBody>
          <a:bodyPr rot="0" spcFirstLastPara="0" vertOverflow="overflow" horzOverflow="overflow" vert="horz" wrap="square" lIns="72000" tIns="108000" rIns="72000" bIns="48372" numCol="1" spcCol="0" rtlCol="0" fromWordArt="0" anchor="t" anchorCtr="0" forceAA="0" compatLnSpc="1">
            <a:prstTxWarp prst="textNoShape">
              <a:avLst/>
            </a:prstTxWarp>
            <a:noAutofit/>
          </a:bodyP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algn="ctr" defTabSz="966788">
              <a:spcBef>
                <a:spcPct val="0"/>
              </a:spcBef>
            </a:pPr>
            <a:r>
              <a:rPr lang="en-GB" altLang="en-US" sz="1100" b="1" dirty="0">
                <a:solidFill>
                  <a:schemeClr val="bg1"/>
                </a:solidFill>
                <a:latin typeface="Arial" charset="0"/>
              </a:rPr>
              <a:t>Final portfolio </a:t>
            </a:r>
          </a:p>
          <a:p>
            <a:pPr algn="ctr" defTabSz="966788">
              <a:spcBef>
                <a:spcPct val="0"/>
              </a:spcBef>
            </a:pPr>
            <a:r>
              <a:rPr lang="en-GB" altLang="en-US" sz="1100" b="1" dirty="0">
                <a:solidFill>
                  <a:schemeClr val="bg1"/>
                </a:solidFill>
                <a:latin typeface="Arial" charset="0"/>
              </a:rPr>
              <a:t>construction</a:t>
            </a:r>
          </a:p>
        </p:txBody>
      </p:sp>
      <p:sp>
        <p:nvSpPr>
          <p:cNvPr id="36" name="Rectangle 3">
            <a:extLst>
              <a:ext uri="{FF2B5EF4-FFF2-40B4-BE49-F238E27FC236}">
                <a16:creationId xmlns="" xmlns:a16="http://schemas.microsoft.com/office/drawing/2014/main" id="{0DBE40B9-6513-4CB9-88B3-8F1A1D42D4BB}"/>
              </a:ext>
            </a:extLst>
          </p:cNvPr>
          <p:cNvSpPr>
            <a:spLocks noChangeArrowheads="1"/>
          </p:cNvSpPr>
          <p:nvPr/>
        </p:nvSpPr>
        <p:spPr bwMode="auto">
          <a:xfrm>
            <a:off x="1259741" y="1393500"/>
            <a:ext cx="2563373" cy="912294"/>
          </a:xfrm>
          <a:prstGeom prst="rect">
            <a:avLst/>
          </a:prstGeom>
          <a:solidFill>
            <a:schemeClr val="accent3"/>
          </a:solidFill>
          <a:ln w="9525" algn="ctr">
            <a:noFill/>
            <a:miter lim="800000"/>
            <a:headEnd/>
            <a:tailEnd/>
          </a:ln>
          <a:effectLst/>
          <a:extLst/>
        </p:spPr>
        <p:txBody>
          <a:bodyPr rot="0" spcFirstLastPara="0" vertOverflow="overflow" horzOverflow="overflow" vert="horz" wrap="square" lIns="72000" tIns="108000" rIns="72000" bIns="48372" numCol="1" spcCol="0" rtlCol="0" fromWordArt="0" anchor="t" anchorCtr="0" forceAA="0" compatLnSpc="1">
            <a:prstTxWarp prst="textNoShape">
              <a:avLst/>
            </a:prstTxWarp>
            <a:noAutofit/>
          </a:bodyP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algn="ctr" defTabSz="966788">
              <a:spcBef>
                <a:spcPct val="0"/>
              </a:spcBef>
            </a:pPr>
            <a:r>
              <a:rPr lang="en-GB" altLang="en-US" sz="1100" b="1" dirty="0">
                <a:solidFill>
                  <a:schemeClr val="bg1"/>
                </a:solidFill>
                <a:latin typeface="Arial" charset="0"/>
              </a:rPr>
              <a:t>Sector portfolio</a:t>
            </a:r>
          </a:p>
          <a:p>
            <a:pPr algn="ctr" defTabSz="966788">
              <a:spcBef>
                <a:spcPct val="0"/>
              </a:spcBef>
            </a:pPr>
            <a:r>
              <a:rPr lang="en-GB" altLang="en-US" sz="1100" b="1" dirty="0">
                <a:solidFill>
                  <a:schemeClr val="bg1"/>
                </a:solidFill>
                <a:latin typeface="Arial" charset="0"/>
              </a:rPr>
              <a:t>construction</a:t>
            </a:r>
          </a:p>
        </p:txBody>
      </p:sp>
      <p:sp>
        <p:nvSpPr>
          <p:cNvPr id="38" name="Forme libre : forme 37">
            <a:extLst>
              <a:ext uri="{FF2B5EF4-FFF2-40B4-BE49-F238E27FC236}">
                <a16:creationId xmlns="" xmlns:a16="http://schemas.microsoft.com/office/drawing/2014/main" id="{59C080BF-0ED9-4E94-8F88-2072DFF9594F}"/>
              </a:ext>
            </a:extLst>
          </p:cNvPr>
          <p:cNvSpPr/>
          <p:nvPr/>
        </p:nvSpPr>
        <p:spPr>
          <a:xfrm>
            <a:off x="512966" y="3697506"/>
            <a:ext cx="8100760" cy="1590991"/>
          </a:xfrm>
          <a:custGeom>
            <a:avLst/>
            <a:gdLst>
              <a:gd name="connsiteX0" fmla="*/ 2 w 4086548"/>
              <a:gd name="connsiteY0" fmla="*/ 0 h 1431584"/>
              <a:gd name="connsiteX1" fmla="*/ 2043275 w 4086548"/>
              <a:gd name="connsiteY1" fmla="*/ 275215 h 1431584"/>
              <a:gd name="connsiteX2" fmla="*/ 4086548 w 4086548"/>
              <a:gd name="connsiteY2" fmla="*/ 0 h 1431584"/>
              <a:gd name="connsiteX3" fmla="*/ 4086548 w 4086548"/>
              <a:gd name="connsiteY3" fmla="*/ 507659 h 1431584"/>
              <a:gd name="connsiteX4" fmla="*/ 4086548 w 4086548"/>
              <a:gd name="connsiteY4" fmla="*/ 1431584 h 1431584"/>
              <a:gd name="connsiteX5" fmla="*/ 0 w 4086548"/>
              <a:gd name="connsiteY5" fmla="*/ 1431584 h 1431584"/>
              <a:gd name="connsiteX6" fmla="*/ 0 w 4086548"/>
              <a:gd name="connsiteY6" fmla="*/ 507659 h 1431584"/>
              <a:gd name="connsiteX7" fmla="*/ 2 w 4086548"/>
              <a:gd name="connsiteY7" fmla="*/ 507659 h 1431584"/>
              <a:gd name="connsiteX8" fmla="*/ 2 w 4086548"/>
              <a:gd name="connsiteY8" fmla="*/ 0 h 143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548" h="1431584">
                <a:moveTo>
                  <a:pt x="2" y="0"/>
                </a:moveTo>
                <a:lnTo>
                  <a:pt x="2043275" y="275215"/>
                </a:lnTo>
                <a:lnTo>
                  <a:pt x="4086548" y="0"/>
                </a:lnTo>
                <a:lnTo>
                  <a:pt x="4086548" y="507659"/>
                </a:lnTo>
                <a:lnTo>
                  <a:pt x="4086548" y="1431584"/>
                </a:lnTo>
                <a:lnTo>
                  <a:pt x="0" y="1431584"/>
                </a:lnTo>
                <a:lnTo>
                  <a:pt x="0" y="507659"/>
                </a:lnTo>
                <a:lnTo>
                  <a:pt x="2" y="507659"/>
                </a:lnTo>
                <a:lnTo>
                  <a:pt x="2" y="0"/>
                </a:lnTo>
                <a:close/>
              </a:path>
            </a:pathLst>
          </a:custGeom>
          <a:solidFill>
            <a:schemeClr val="bg2"/>
          </a:solidFill>
          <a:ln w="9525" algn="ctr">
            <a:noFill/>
            <a:miter lim="800000"/>
            <a:headEnd/>
            <a:tailEnd/>
          </a:ln>
          <a:effectLst/>
        </p:spPr>
        <p:txBody>
          <a:bodyPr lIns="96744" tIns="48372" rIns="96744" bIns="48372" anchor="ctr"/>
          <a:lstStyle/>
          <a:p>
            <a:pPr algn="ctr" defTabSz="966788">
              <a:spcBef>
                <a:spcPct val="0"/>
              </a:spcBef>
            </a:pPr>
            <a:endParaRPr lang="fr-FR" sz="1000" b="1">
              <a:solidFill>
                <a:schemeClr val="accent3"/>
              </a:solidFill>
              <a:latin typeface="Arial" charset="0"/>
            </a:endParaRPr>
          </a:p>
        </p:txBody>
      </p:sp>
      <p:sp>
        <p:nvSpPr>
          <p:cNvPr id="10" name="Flèche : pentagone 9">
            <a:extLst>
              <a:ext uri="{FF2B5EF4-FFF2-40B4-BE49-F238E27FC236}">
                <a16:creationId xmlns="" xmlns:a16="http://schemas.microsoft.com/office/drawing/2014/main" id="{B6C8CDAE-3CDC-4790-AC11-92F61ECC5851}"/>
              </a:ext>
            </a:extLst>
          </p:cNvPr>
          <p:cNvSpPr/>
          <p:nvPr/>
        </p:nvSpPr>
        <p:spPr>
          <a:xfrm rot="5400000" flipV="1">
            <a:off x="3571123" y="-1109056"/>
            <a:ext cx="1984442" cy="8100755"/>
          </a:xfrm>
          <a:prstGeom prst="homePlate">
            <a:avLst>
              <a:gd name="adj" fmla="val 1551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33" name="Groupe 32">
            <a:extLst>
              <a:ext uri="{FF2B5EF4-FFF2-40B4-BE49-F238E27FC236}">
                <a16:creationId xmlns="" xmlns:a16="http://schemas.microsoft.com/office/drawing/2014/main" id="{70D0C603-2909-44B1-A18C-71F1AB49A82E}"/>
              </a:ext>
            </a:extLst>
          </p:cNvPr>
          <p:cNvGrpSpPr/>
          <p:nvPr/>
        </p:nvGrpSpPr>
        <p:grpSpPr>
          <a:xfrm>
            <a:off x="512966" y="4697432"/>
            <a:ext cx="8100760" cy="521413"/>
            <a:chOff x="2082207" y="5104197"/>
            <a:chExt cx="4648309" cy="469171"/>
          </a:xfrm>
        </p:grpSpPr>
        <p:sp>
          <p:nvSpPr>
            <p:cNvPr id="30" name="Rectangle 85">
              <a:extLst>
                <a:ext uri="{FF2B5EF4-FFF2-40B4-BE49-F238E27FC236}">
                  <a16:creationId xmlns="" xmlns:a16="http://schemas.microsoft.com/office/drawing/2014/main" id="{8ED321FB-104D-43A0-B3AC-63C288D8D038}"/>
                </a:ext>
              </a:extLst>
            </p:cNvPr>
            <p:cNvSpPr>
              <a:spLocks noChangeArrowheads="1"/>
            </p:cNvSpPr>
            <p:nvPr/>
          </p:nvSpPr>
          <p:spPr bwMode="auto">
            <a:xfrm>
              <a:off x="2082207" y="5105026"/>
              <a:ext cx="1513830" cy="467513"/>
            </a:xfrm>
            <a:prstGeom prst="rect">
              <a:avLst/>
            </a:prstGeom>
            <a:solidFill>
              <a:schemeClr val="accent1"/>
            </a:solidFill>
            <a:ln w="9525" algn="ctr">
              <a:noFill/>
              <a:miter lim="800000"/>
              <a:headEnd/>
              <a:tailEnd/>
            </a:ln>
            <a:effectLst/>
            <a:extLst/>
          </p:spPr>
          <p:txBody>
            <a:bodyPr lIns="96744" tIns="48372" rIns="96744" bIns="48372" anchor="ctr"/>
            <a:lstStyle>
              <a:lvl1pPr defTabSz="966788" eaLnBrk="0" hangingPunct="0">
                <a:spcBef>
                  <a:spcPct val="20000"/>
                </a:spcBef>
                <a:buClr>
                  <a:srgbClr val="009EE0"/>
                </a:buClr>
                <a:buSzPct val="25000"/>
                <a:buFont typeface="Arial" charset="0"/>
                <a:buChar char=" "/>
                <a:defRPr sz="1600">
                  <a:solidFill>
                    <a:schemeClr val="tx1"/>
                  </a:solidFill>
                  <a:latin typeface="Arial" charset="0"/>
                </a:defRPr>
              </a:lvl1pPr>
              <a:lvl2pPr marL="742950" indent="-285750" defTabSz="966788" eaLnBrk="0" hangingPunct="0">
                <a:spcBef>
                  <a:spcPct val="20000"/>
                </a:spcBef>
                <a:buClr>
                  <a:srgbClr val="009EE0"/>
                </a:buClr>
                <a:buFont typeface="Wingdings" pitchFamily="2" charset="2"/>
                <a:buChar char="n"/>
                <a:defRPr sz="1600">
                  <a:solidFill>
                    <a:schemeClr val="tx1"/>
                  </a:solidFill>
                  <a:latin typeface="Arial" charset="0"/>
                </a:defRPr>
              </a:lvl2pPr>
              <a:lvl3pPr marL="1143000" indent="-228600" defTabSz="966788" eaLnBrk="0" hangingPunct="0">
                <a:spcBef>
                  <a:spcPct val="20000"/>
                </a:spcBef>
                <a:buClr>
                  <a:srgbClr val="009EE0"/>
                </a:buClr>
                <a:buFont typeface="Arial" charset="0"/>
                <a:buChar char="–"/>
                <a:defRPr sz="1400">
                  <a:solidFill>
                    <a:schemeClr val="tx1"/>
                  </a:solidFill>
                  <a:latin typeface="Arial" charset="0"/>
                </a:defRPr>
              </a:lvl3pPr>
              <a:lvl4pPr marL="1600200" indent="-228600" defTabSz="966788" eaLnBrk="0" hangingPunct="0">
                <a:spcBef>
                  <a:spcPct val="20000"/>
                </a:spcBef>
                <a:buSzPct val="25000"/>
                <a:buFont typeface="Arial" charset="0"/>
                <a:buChar char=" "/>
                <a:defRPr sz="1200">
                  <a:solidFill>
                    <a:schemeClr val="tx1"/>
                  </a:solidFill>
                  <a:latin typeface="Arial" charset="0"/>
                </a:defRPr>
              </a:lvl4pPr>
              <a:lvl5pPr marL="2057400" indent="-228600" defTabSz="966788" eaLnBrk="0" hangingPunct="0">
                <a:spcBef>
                  <a:spcPct val="20000"/>
                </a:spcBef>
                <a:buSzPct val="25000"/>
                <a:buFont typeface="Arial" charset="0"/>
                <a:buChar char=" "/>
                <a:defRPr sz="1100">
                  <a:solidFill>
                    <a:schemeClr val="tx1"/>
                  </a:solidFill>
                  <a:latin typeface="Arial" charset="0"/>
                </a:defRPr>
              </a:lvl5pPr>
              <a:lvl6pPr marL="25146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6pPr>
              <a:lvl7pPr marL="29718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7pPr>
              <a:lvl8pPr marL="34290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8pPr>
              <a:lvl9pPr marL="38862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9pPr>
            </a:lstStyle>
            <a:p>
              <a:pPr algn="ctr" eaLnBrk="1" hangingPunct="1">
                <a:spcBef>
                  <a:spcPct val="0"/>
                </a:spcBef>
                <a:buClrTx/>
                <a:buSzTx/>
                <a:buFontTx/>
                <a:buNone/>
              </a:pPr>
              <a:r>
                <a:rPr lang="en-US" altLang="fr-FR" sz="1200" dirty="0">
                  <a:solidFill>
                    <a:schemeClr val="bg1"/>
                  </a:solidFill>
                </a:rPr>
                <a:t>Portfolio more exposed </a:t>
              </a:r>
              <a:br>
                <a:rPr lang="en-US" altLang="fr-FR" sz="1200" dirty="0">
                  <a:solidFill>
                    <a:schemeClr val="bg1"/>
                  </a:solidFill>
                </a:rPr>
              </a:br>
              <a:r>
                <a:rPr lang="en-US" altLang="fr-FR" sz="1200" dirty="0">
                  <a:solidFill>
                    <a:schemeClr val="bg1"/>
                  </a:solidFill>
                </a:rPr>
                <a:t>to low volatility stocks</a:t>
              </a:r>
            </a:p>
          </p:txBody>
        </p:sp>
        <p:sp>
          <p:nvSpPr>
            <p:cNvPr id="31" name="Rectangle 95">
              <a:extLst>
                <a:ext uri="{FF2B5EF4-FFF2-40B4-BE49-F238E27FC236}">
                  <a16:creationId xmlns="" xmlns:a16="http://schemas.microsoft.com/office/drawing/2014/main" id="{4890C425-4496-451A-B9B1-30C870CB05FE}"/>
                </a:ext>
              </a:extLst>
            </p:cNvPr>
            <p:cNvSpPr>
              <a:spLocks noChangeArrowheads="1"/>
            </p:cNvSpPr>
            <p:nvPr/>
          </p:nvSpPr>
          <p:spPr bwMode="auto">
            <a:xfrm>
              <a:off x="3649446" y="5104197"/>
              <a:ext cx="1513831" cy="469171"/>
            </a:xfrm>
            <a:prstGeom prst="rect">
              <a:avLst/>
            </a:prstGeom>
            <a:solidFill>
              <a:schemeClr val="accent1"/>
            </a:solidFill>
            <a:ln w="9525" algn="ctr">
              <a:noFill/>
              <a:miter lim="800000"/>
              <a:headEnd/>
              <a:tailEnd/>
            </a:ln>
            <a:effectLst/>
            <a:extLst/>
          </p:spPr>
          <p:txBody>
            <a:bodyPr lIns="96744" tIns="48372" rIns="96744" bIns="48372" anchor="ctr"/>
            <a:lstStyle>
              <a:lvl1pPr defTabSz="966788" eaLnBrk="0" hangingPunct="0">
                <a:spcBef>
                  <a:spcPct val="20000"/>
                </a:spcBef>
                <a:buClr>
                  <a:srgbClr val="009EE0"/>
                </a:buClr>
                <a:buSzPct val="25000"/>
                <a:buFont typeface="Arial" charset="0"/>
                <a:buChar char=" "/>
                <a:defRPr sz="1600">
                  <a:solidFill>
                    <a:schemeClr val="tx1"/>
                  </a:solidFill>
                  <a:latin typeface="Arial" charset="0"/>
                </a:defRPr>
              </a:lvl1pPr>
              <a:lvl2pPr marL="742950" indent="-285750" defTabSz="966788" eaLnBrk="0" hangingPunct="0">
                <a:spcBef>
                  <a:spcPct val="20000"/>
                </a:spcBef>
                <a:buClr>
                  <a:srgbClr val="009EE0"/>
                </a:buClr>
                <a:buFont typeface="Wingdings" pitchFamily="2" charset="2"/>
                <a:buChar char="n"/>
                <a:defRPr sz="1600">
                  <a:solidFill>
                    <a:schemeClr val="tx1"/>
                  </a:solidFill>
                  <a:latin typeface="Arial" charset="0"/>
                </a:defRPr>
              </a:lvl2pPr>
              <a:lvl3pPr marL="1143000" indent="-228600" defTabSz="966788" eaLnBrk="0" hangingPunct="0">
                <a:spcBef>
                  <a:spcPct val="20000"/>
                </a:spcBef>
                <a:buClr>
                  <a:srgbClr val="009EE0"/>
                </a:buClr>
                <a:buFont typeface="Arial" charset="0"/>
                <a:buChar char="–"/>
                <a:defRPr sz="1400">
                  <a:solidFill>
                    <a:schemeClr val="tx1"/>
                  </a:solidFill>
                  <a:latin typeface="Arial" charset="0"/>
                </a:defRPr>
              </a:lvl3pPr>
              <a:lvl4pPr marL="1600200" indent="-228600" defTabSz="966788" eaLnBrk="0" hangingPunct="0">
                <a:spcBef>
                  <a:spcPct val="20000"/>
                </a:spcBef>
                <a:buSzPct val="25000"/>
                <a:buFont typeface="Arial" charset="0"/>
                <a:buChar char=" "/>
                <a:defRPr sz="1200">
                  <a:solidFill>
                    <a:schemeClr val="tx1"/>
                  </a:solidFill>
                  <a:latin typeface="Arial" charset="0"/>
                </a:defRPr>
              </a:lvl4pPr>
              <a:lvl5pPr marL="2057400" indent="-228600" defTabSz="966788" eaLnBrk="0" hangingPunct="0">
                <a:spcBef>
                  <a:spcPct val="20000"/>
                </a:spcBef>
                <a:buSzPct val="25000"/>
                <a:buFont typeface="Arial" charset="0"/>
                <a:buChar char=" "/>
                <a:defRPr sz="1100">
                  <a:solidFill>
                    <a:schemeClr val="tx1"/>
                  </a:solidFill>
                  <a:latin typeface="Arial" charset="0"/>
                </a:defRPr>
              </a:lvl5pPr>
              <a:lvl6pPr marL="25146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6pPr>
              <a:lvl7pPr marL="29718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7pPr>
              <a:lvl8pPr marL="34290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8pPr>
              <a:lvl9pPr marL="38862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9pPr>
            </a:lstStyle>
            <a:p>
              <a:pPr algn="ctr" eaLnBrk="1" hangingPunct="1">
                <a:spcBef>
                  <a:spcPct val="0"/>
                </a:spcBef>
                <a:buClrTx/>
                <a:buSzTx/>
                <a:buFontTx/>
                <a:buNone/>
              </a:pPr>
              <a:r>
                <a:rPr lang="en-US" altLang="fr-FR" sz="1200" dirty="0">
                  <a:solidFill>
                    <a:schemeClr val="bg1"/>
                  </a:solidFill>
                </a:rPr>
                <a:t>Very high level </a:t>
              </a:r>
              <a:br>
                <a:rPr lang="en-US" altLang="fr-FR" sz="1200" dirty="0">
                  <a:solidFill>
                    <a:schemeClr val="bg1"/>
                  </a:solidFill>
                </a:rPr>
              </a:br>
              <a:r>
                <a:rPr lang="en-US" altLang="fr-FR" sz="1200" dirty="0">
                  <a:solidFill>
                    <a:schemeClr val="bg1"/>
                  </a:solidFill>
                </a:rPr>
                <a:t>of capital diversification</a:t>
              </a:r>
            </a:p>
          </p:txBody>
        </p:sp>
        <p:sp>
          <p:nvSpPr>
            <p:cNvPr id="32" name="Rectangle 84">
              <a:extLst>
                <a:ext uri="{FF2B5EF4-FFF2-40B4-BE49-F238E27FC236}">
                  <a16:creationId xmlns="" xmlns:a16="http://schemas.microsoft.com/office/drawing/2014/main" id="{51A0C366-71CB-4B75-B3DD-F788A3320E68}"/>
                </a:ext>
              </a:extLst>
            </p:cNvPr>
            <p:cNvSpPr>
              <a:spLocks noChangeArrowheads="1"/>
            </p:cNvSpPr>
            <p:nvPr/>
          </p:nvSpPr>
          <p:spPr bwMode="auto">
            <a:xfrm>
              <a:off x="5216686" y="5104197"/>
              <a:ext cx="1513830" cy="469170"/>
            </a:xfrm>
            <a:prstGeom prst="rect">
              <a:avLst/>
            </a:prstGeom>
            <a:solidFill>
              <a:schemeClr val="accent1"/>
            </a:solidFill>
            <a:ln w="9525" algn="ctr">
              <a:noFill/>
              <a:miter lim="800000"/>
              <a:headEnd/>
              <a:tailEnd/>
            </a:ln>
            <a:effectLst/>
            <a:extLst/>
          </p:spPr>
          <p:txBody>
            <a:bodyPr lIns="96744" tIns="48372" rIns="96744" bIns="48372" anchor="ctr"/>
            <a:lstStyle>
              <a:lvl1pPr defTabSz="966788" eaLnBrk="0" hangingPunct="0">
                <a:spcBef>
                  <a:spcPct val="20000"/>
                </a:spcBef>
                <a:buClr>
                  <a:srgbClr val="009EE0"/>
                </a:buClr>
                <a:buSzPct val="25000"/>
                <a:buFont typeface="Arial" charset="0"/>
                <a:buChar char=" "/>
                <a:defRPr sz="1600">
                  <a:solidFill>
                    <a:schemeClr val="tx1"/>
                  </a:solidFill>
                  <a:latin typeface="Arial" charset="0"/>
                </a:defRPr>
              </a:lvl1pPr>
              <a:lvl2pPr marL="742950" indent="-285750" defTabSz="966788" eaLnBrk="0" hangingPunct="0">
                <a:spcBef>
                  <a:spcPct val="20000"/>
                </a:spcBef>
                <a:buClr>
                  <a:srgbClr val="009EE0"/>
                </a:buClr>
                <a:buFont typeface="Wingdings" pitchFamily="2" charset="2"/>
                <a:buChar char="n"/>
                <a:defRPr sz="1600">
                  <a:solidFill>
                    <a:schemeClr val="tx1"/>
                  </a:solidFill>
                  <a:latin typeface="Arial" charset="0"/>
                </a:defRPr>
              </a:lvl2pPr>
              <a:lvl3pPr marL="1143000" indent="-228600" defTabSz="966788" eaLnBrk="0" hangingPunct="0">
                <a:spcBef>
                  <a:spcPct val="20000"/>
                </a:spcBef>
                <a:buClr>
                  <a:srgbClr val="009EE0"/>
                </a:buClr>
                <a:buFont typeface="Arial" charset="0"/>
                <a:buChar char="–"/>
                <a:defRPr sz="1400">
                  <a:solidFill>
                    <a:schemeClr val="tx1"/>
                  </a:solidFill>
                  <a:latin typeface="Arial" charset="0"/>
                </a:defRPr>
              </a:lvl3pPr>
              <a:lvl4pPr marL="1600200" indent="-228600" defTabSz="966788" eaLnBrk="0" hangingPunct="0">
                <a:spcBef>
                  <a:spcPct val="20000"/>
                </a:spcBef>
                <a:buSzPct val="25000"/>
                <a:buFont typeface="Arial" charset="0"/>
                <a:buChar char=" "/>
                <a:defRPr sz="1200">
                  <a:solidFill>
                    <a:schemeClr val="tx1"/>
                  </a:solidFill>
                  <a:latin typeface="Arial" charset="0"/>
                </a:defRPr>
              </a:lvl4pPr>
              <a:lvl5pPr marL="2057400" indent="-228600" defTabSz="966788" eaLnBrk="0" hangingPunct="0">
                <a:spcBef>
                  <a:spcPct val="20000"/>
                </a:spcBef>
                <a:buSzPct val="25000"/>
                <a:buFont typeface="Arial" charset="0"/>
                <a:buChar char=" "/>
                <a:defRPr sz="1100">
                  <a:solidFill>
                    <a:schemeClr val="tx1"/>
                  </a:solidFill>
                  <a:latin typeface="Arial" charset="0"/>
                </a:defRPr>
              </a:lvl5pPr>
              <a:lvl6pPr marL="25146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6pPr>
              <a:lvl7pPr marL="29718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7pPr>
              <a:lvl8pPr marL="34290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8pPr>
              <a:lvl9pPr marL="38862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9pPr>
            </a:lstStyle>
            <a:p>
              <a:pPr algn="ctr" eaLnBrk="1" hangingPunct="1">
                <a:spcBef>
                  <a:spcPct val="0"/>
                </a:spcBef>
                <a:buClrTx/>
                <a:buSzTx/>
                <a:buFontTx/>
                <a:buNone/>
              </a:pPr>
              <a:r>
                <a:rPr lang="en-US" altLang="fr-FR" sz="1200" dirty="0">
                  <a:solidFill>
                    <a:schemeClr val="bg1"/>
                  </a:solidFill>
                </a:rPr>
                <a:t>Profit taking policy associated </a:t>
              </a:r>
              <a:br>
                <a:rPr lang="en-US" altLang="fr-FR" sz="1200" dirty="0">
                  <a:solidFill>
                    <a:schemeClr val="bg1"/>
                  </a:solidFill>
                </a:rPr>
              </a:br>
              <a:r>
                <a:rPr lang="en-US" altLang="fr-FR" sz="1200" dirty="0">
                  <a:solidFill>
                    <a:schemeClr val="bg1"/>
                  </a:solidFill>
                </a:rPr>
                <a:t>with systematic monthly rebalancing</a:t>
              </a:r>
            </a:p>
          </p:txBody>
        </p:sp>
      </p:grpSp>
      <p:sp>
        <p:nvSpPr>
          <p:cNvPr id="2" name="Titre 1">
            <a:extLst>
              <a:ext uri="{FF2B5EF4-FFF2-40B4-BE49-F238E27FC236}">
                <a16:creationId xmlns="" xmlns:a16="http://schemas.microsoft.com/office/drawing/2014/main" id="{273725F2-2BAA-4602-9D6E-B208B5DD80D2}"/>
              </a:ext>
            </a:extLst>
          </p:cNvPr>
          <p:cNvSpPr>
            <a:spLocks noGrp="1"/>
          </p:cNvSpPr>
          <p:nvPr>
            <p:ph type="title"/>
          </p:nvPr>
        </p:nvSpPr>
        <p:spPr/>
        <p:txBody>
          <a:bodyPr/>
          <a:lstStyle/>
          <a:p>
            <a:r>
              <a:rPr lang="en-US"/>
              <a:t>Amundi Risk Parity process</a:t>
            </a:r>
            <a:endParaRPr lang="fr-FR" dirty="0"/>
          </a:p>
        </p:txBody>
      </p:sp>
      <p:sp>
        <p:nvSpPr>
          <p:cNvPr id="5" name="Espace réservé du numéro de diapositive 4">
            <a:extLst>
              <a:ext uri="{FF2B5EF4-FFF2-40B4-BE49-F238E27FC236}">
                <a16:creationId xmlns="" xmlns:a16="http://schemas.microsoft.com/office/drawing/2014/main" id="{A25B1A6E-BB32-4716-9A42-6F777E858D54}"/>
              </a:ext>
            </a:extLst>
          </p:cNvPr>
          <p:cNvSpPr>
            <a:spLocks noGrp="1"/>
          </p:cNvSpPr>
          <p:nvPr>
            <p:ph type="sldNum" sz="quarter" idx="12"/>
          </p:nvPr>
        </p:nvSpPr>
        <p:spPr/>
        <p:txBody>
          <a:bodyPr/>
          <a:lstStyle/>
          <a:p>
            <a:fld id="{2B1C6FFC-D040-034F-8B69-20295064E64D}" type="slidenum">
              <a:rPr lang="fr-FR" smtClean="0"/>
              <a:pPr/>
              <a:t>27</a:t>
            </a:fld>
            <a:endParaRPr lang="fr-FR" dirty="0"/>
          </a:p>
        </p:txBody>
      </p:sp>
      <p:sp>
        <p:nvSpPr>
          <p:cNvPr id="7" name="Espace réservé du texte 6">
            <a:extLst>
              <a:ext uri="{FF2B5EF4-FFF2-40B4-BE49-F238E27FC236}">
                <a16:creationId xmlns="" xmlns:a16="http://schemas.microsoft.com/office/drawing/2014/main" id="{45BDC987-F345-4EDF-853D-1656E24F7FC2}"/>
              </a:ext>
            </a:extLst>
          </p:cNvPr>
          <p:cNvSpPr>
            <a:spLocks noGrp="1"/>
          </p:cNvSpPr>
          <p:nvPr>
            <p:ph type="body" sz="quarter" idx="14"/>
          </p:nvPr>
        </p:nvSpPr>
        <p:spPr/>
        <p:txBody>
          <a:bodyPr/>
          <a:lstStyle/>
          <a:p>
            <a:pPr algn="l"/>
            <a:r>
              <a:rPr lang="en-US" dirty="0"/>
              <a:t>Source: </a:t>
            </a:r>
            <a:r>
              <a:rPr lang="en-US" dirty="0" err="1"/>
              <a:t>Amundi</a:t>
            </a:r>
            <a:r>
              <a:rPr lang="en-US" dirty="0"/>
              <a:t> AM</a:t>
            </a:r>
            <a:br>
              <a:rPr lang="en-US" dirty="0"/>
            </a:br>
            <a:r>
              <a:rPr lang="en-US" dirty="0"/>
              <a:t>Investment in emerging markets carries an above average degree of risk due to the less developed nature of securities markets in those countries</a:t>
            </a:r>
          </a:p>
        </p:txBody>
      </p:sp>
      <p:sp>
        <p:nvSpPr>
          <p:cNvPr id="27" name="AutoShape 11">
            <a:extLst>
              <a:ext uri="{FF2B5EF4-FFF2-40B4-BE49-F238E27FC236}">
                <a16:creationId xmlns="" xmlns:a16="http://schemas.microsoft.com/office/drawing/2014/main" id="{5E1AC59F-E74A-40AB-BF3B-F719C412DC7C}"/>
              </a:ext>
            </a:extLst>
          </p:cNvPr>
          <p:cNvSpPr>
            <a:spLocks noChangeArrowheads="1"/>
          </p:cNvSpPr>
          <p:nvPr/>
        </p:nvSpPr>
        <p:spPr bwMode="auto">
          <a:xfrm>
            <a:off x="4030972" y="4186974"/>
            <a:ext cx="1083618" cy="313132"/>
          </a:xfrm>
          <a:prstGeom prst="roundRect">
            <a:avLst>
              <a:gd name="adj"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969696"/>
                </a:solidFill>
                <a:prstDash val="dash"/>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044" tIns="48372" rIns="19044" bIns="48372">
            <a:spAutoFit/>
          </a:bodyPr>
          <a:lstStyle>
            <a:lvl1pPr defTabSz="966788">
              <a:defRPr sz="800">
                <a:solidFill>
                  <a:schemeClr val="tx1"/>
                </a:solidFill>
                <a:latin typeface="Arial" pitchFamily="34" charset="0"/>
              </a:defRPr>
            </a:lvl1pPr>
            <a:lvl2pPr marL="742950" indent="-285750" defTabSz="966788">
              <a:defRPr sz="800">
                <a:solidFill>
                  <a:schemeClr val="tx1"/>
                </a:solidFill>
                <a:latin typeface="Arial" pitchFamily="34" charset="0"/>
              </a:defRPr>
            </a:lvl2pPr>
            <a:lvl3pPr marL="1143000" indent="-228600" defTabSz="966788">
              <a:defRPr sz="800">
                <a:solidFill>
                  <a:schemeClr val="tx1"/>
                </a:solidFill>
                <a:latin typeface="Arial" pitchFamily="34" charset="0"/>
              </a:defRPr>
            </a:lvl3pPr>
            <a:lvl4pPr marL="1600200" indent="-228600" defTabSz="966788">
              <a:defRPr sz="800">
                <a:solidFill>
                  <a:schemeClr val="tx1"/>
                </a:solidFill>
                <a:latin typeface="Arial" pitchFamily="34" charset="0"/>
              </a:defRPr>
            </a:lvl4pPr>
            <a:lvl5pPr marL="2057400" indent="-228600" defTabSz="966788">
              <a:defRPr sz="800">
                <a:solidFill>
                  <a:schemeClr val="tx1"/>
                </a:solidFill>
                <a:latin typeface="Arial" pitchFamily="34" charset="0"/>
              </a:defRPr>
            </a:lvl5pPr>
            <a:lvl6pPr marL="2514600" indent="-228600" defTabSz="966788"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966788"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966788"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966788" eaLnBrk="0" fontAlgn="base" hangingPunct="0">
              <a:lnSpc>
                <a:spcPct val="85000"/>
              </a:lnSpc>
              <a:spcBef>
                <a:spcPct val="0"/>
              </a:spcBef>
              <a:spcAft>
                <a:spcPct val="0"/>
              </a:spcAft>
              <a:defRPr sz="800">
                <a:solidFill>
                  <a:schemeClr val="tx1"/>
                </a:solidFill>
                <a:latin typeface="Arial" pitchFamily="34" charset="0"/>
              </a:defRPr>
            </a:lvl9pPr>
          </a:lstStyle>
          <a:p>
            <a:pPr algn="ctr"/>
            <a:r>
              <a:rPr lang="en-GB" altLang="en-US" sz="1400" b="1" dirty="0">
                <a:solidFill>
                  <a:schemeClr val="accent1"/>
                </a:solidFill>
                <a:ea typeface="MS PGothic" pitchFamily="34" charset="-128"/>
                <a:cs typeface="Arial" pitchFamily="34" charset="0"/>
              </a:rPr>
              <a:t>PORTFOLIO</a:t>
            </a:r>
            <a:endParaRPr lang="en-US" altLang="en-US" sz="1400" b="1" dirty="0">
              <a:solidFill>
                <a:schemeClr val="accent1"/>
              </a:solidFill>
              <a:ea typeface="MS PGothic" pitchFamily="34" charset="-128"/>
              <a:cs typeface="Arial" pitchFamily="34" charset="0"/>
            </a:endParaRPr>
          </a:p>
        </p:txBody>
      </p:sp>
      <p:grpSp>
        <p:nvGrpSpPr>
          <p:cNvPr id="9" name="Groupe 8">
            <a:extLst>
              <a:ext uri="{FF2B5EF4-FFF2-40B4-BE49-F238E27FC236}">
                <a16:creationId xmlns="" xmlns:a16="http://schemas.microsoft.com/office/drawing/2014/main" id="{ED8CF9DE-18EF-421A-B053-2BBB127C3706}"/>
              </a:ext>
            </a:extLst>
          </p:cNvPr>
          <p:cNvGrpSpPr/>
          <p:nvPr/>
        </p:nvGrpSpPr>
        <p:grpSpPr>
          <a:xfrm>
            <a:off x="4767664" y="2282388"/>
            <a:ext cx="3773708" cy="1245270"/>
            <a:chOff x="3227657" y="2282388"/>
            <a:chExt cx="3773708" cy="1245270"/>
          </a:xfrm>
        </p:grpSpPr>
        <p:sp>
          <p:nvSpPr>
            <p:cNvPr id="26" name="Parenthèses 16">
              <a:extLst>
                <a:ext uri="{FF2B5EF4-FFF2-40B4-BE49-F238E27FC236}">
                  <a16:creationId xmlns="" xmlns:a16="http://schemas.microsoft.com/office/drawing/2014/main" id="{0DF75559-EF78-48E3-90A5-D4B306C31DE5}"/>
                </a:ext>
              </a:extLst>
            </p:cNvPr>
            <p:cNvSpPr>
              <a:spLocks noChangeArrowheads="1"/>
            </p:cNvSpPr>
            <p:nvPr/>
          </p:nvSpPr>
          <p:spPr bwMode="auto">
            <a:xfrm>
              <a:off x="3227657" y="2282388"/>
              <a:ext cx="3661371" cy="336506"/>
            </a:xfrm>
            <a:prstGeom prst="rect">
              <a:avLst/>
            </a:prstGeom>
            <a:noFill/>
            <a:ln>
              <a:noFill/>
            </a:ln>
            <a:effectLst/>
            <a:extLst/>
          </p:spPr>
          <p:txBody>
            <a:bodyPr lIns="100734" tIns="51173" rIns="20146" bIns="51173"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marL="311150" indent="-311150">
                <a:lnSpc>
                  <a:spcPts val="1400"/>
                </a:lnSpc>
              </a:pPr>
              <a:r>
                <a:rPr lang="en-GB" altLang="en-US" sz="3200" b="1" dirty="0">
                  <a:solidFill>
                    <a:srgbClr val="FFFFFF"/>
                  </a:solidFill>
                  <a:latin typeface="Arial" panose="020B0604020202020204"/>
                  <a:ea typeface="MS PGothic" pitchFamily="34" charset="-128"/>
                  <a:cs typeface="Arial" pitchFamily="34" charset="0"/>
                </a:rPr>
                <a:t>2</a:t>
              </a:r>
              <a:r>
                <a:rPr lang="en-GB" altLang="en-US" sz="2400" b="1" dirty="0">
                  <a:solidFill>
                    <a:srgbClr val="FFFFFF"/>
                  </a:solidFill>
                  <a:latin typeface="Arial" panose="020B0604020202020204"/>
                  <a:ea typeface="MS PGothic" pitchFamily="34" charset="-128"/>
                  <a:cs typeface="Arial" pitchFamily="34" charset="0"/>
                </a:rPr>
                <a:t> </a:t>
              </a:r>
              <a:r>
                <a:rPr lang="en-GB" altLang="en-US" sz="1400" b="1" dirty="0">
                  <a:solidFill>
                    <a:srgbClr val="FFFFFF"/>
                  </a:solidFill>
                  <a:ea typeface="MS PGothic" pitchFamily="34" charset="-128"/>
                  <a:cs typeface="Arial" pitchFamily="34" charset="0"/>
                </a:rPr>
                <a:t>Risk parity between sectors</a:t>
              </a:r>
              <a:endParaRPr lang="en-GB" altLang="en-US" sz="1200" b="1" dirty="0">
                <a:solidFill>
                  <a:srgbClr val="FFFFFF"/>
                </a:solidFill>
                <a:ea typeface="MS PGothic" pitchFamily="34" charset="-128"/>
                <a:cs typeface="Arial" pitchFamily="34" charset="0"/>
              </a:endParaRPr>
            </a:p>
          </p:txBody>
        </p:sp>
        <p:sp>
          <p:nvSpPr>
            <p:cNvPr id="28" name="Text Box 6">
              <a:extLst>
                <a:ext uri="{FF2B5EF4-FFF2-40B4-BE49-F238E27FC236}">
                  <a16:creationId xmlns="" xmlns:a16="http://schemas.microsoft.com/office/drawing/2014/main" id="{A40A9E7F-36AD-4D85-B412-14B54FBA4A68}"/>
                </a:ext>
              </a:extLst>
            </p:cNvPr>
            <p:cNvSpPr txBox="1">
              <a:spLocks noChangeArrowheads="1"/>
            </p:cNvSpPr>
            <p:nvPr/>
          </p:nvSpPr>
          <p:spPr bwMode="auto">
            <a:xfrm>
              <a:off x="3431581" y="2643588"/>
              <a:ext cx="3569784" cy="88407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72000" rIns="72000" bIns="72000">
              <a:spAutoFit/>
            </a:bodyPr>
            <a:lstStyle>
              <a:lvl1pPr marL="85725" indent="-85725">
                <a:defRPr sz="800">
                  <a:solidFill>
                    <a:schemeClr val="tx1"/>
                  </a:solidFill>
                  <a:latin typeface="Arial" pitchFamily="34" charset="0"/>
                </a:defRPr>
              </a:lvl1pPr>
              <a:lvl2pPr marL="742950" indent="-285750">
                <a:defRPr sz="800">
                  <a:solidFill>
                    <a:schemeClr val="tx1"/>
                  </a:solidFill>
                  <a:latin typeface="Arial" pitchFamily="34" charset="0"/>
                </a:defRPr>
              </a:lvl2pPr>
              <a:lvl3pPr marL="1143000" indent="-228600">
                <a:defRPr sz="800">
                  <a:solidFill>
                    <a:schemeClr val="tx1"/>
                  </a:solidFill>
                  <a:latin typeface="Arial" pitchFamily="34" charset="0"/>
                </a:defRPr>
              </a:lvl3pPr>
              <a:lvl4pPr marL="1600200" indent="-228600">
                <a:defRPr sz="800">
                  <a:solidFill>
                    <a:schemeClr val="tx1"/>
                  </a:solidFill>
                  <a:latin typeface="Arial" pitchFamily="34" charset="0"/>
                </a:defRPr>
              </a:lvl4pPr>
              <a:lvl5pPr marL="2057400" indent="-228600">
                <a:defRPr sz="800">
                  <a:solidFill>
                    <a:schemeClr val="tx1"/>
                  </a:solidFill>
                  <a:latin typeface="Arial" pitchFamily="34" charset="0"/>
                </a:defRPr>
              </a:lvl5pPr>
              <a:lvl6pPr marL="2514600" indent="-228600" eaLnBrk="0" fontAlgn="base" hangingPunct="0">
                <a:lnSpc>
                  <a:spcPct val="85000"/>
                </a:lnSpc>
                <a:spcBef>
                  <a:spcPct val="0"/>
                </a:spcBef>
                <a:spcAft>
                  <a:spcPct val="0"/>
                </a:spcAft>
                <a:defRPr sz="800">
                  <a:solidFill>
                    <a:schemeClr val="tx1"/>
                  </a:solidFill>
                  <a:latin typeface="Arial" pitchFamily="34" charset="0"/>
                </a:defRPr>
              </a:lvl6pPr>
              <a:lvl7pPr marL="2971800" indent="-228600" eaLnBrk="0" fontAlgn="base" hangingPunct="0">
                <a:lnSpc>
                  <a:spcPct val="85000"/>
                </a:lnSpc>
                <a:spcBef>
                  <a:spcPct val="0"/>
                </a:spcBef>
                <a:spcAft>
                  <a:spcPct val="0"/>
                </a:spcAft>
                <a:defRPr sz="800">
                  <a:solidFill>
                    <a:schemeClr val="tx1"/>
                  </a:solidFill>
                  <a:latin typeface="Arial" pitchFamily="34" charset="0"/>
                </a:defRPr>
              </a:lvl7pPr>
              <a:lvl8pPr marL="3429000" indent="-228600" eaLnBrk="0" fontAlgn="base" hangingPunct="0">
                <a:lnSpc>
                  <a:spcPct val="85000"/>
                </a:lnSpc>
                <a:spcBef>
                  <a:spcPct val="0"/>
                </a:spcBef>
                <a:spcAft>
                  <a:spcPct val="0"/>
                </a:spcAft>
                <a:defRPr sz="800">
                  <a:solidFill>
                    <a:schemeClr val="tx1"/>
                  </a:solidFill>
                  <a:latin typeface="Arial" pitchFamily="34" charset="0"/>
                </a:defRPr>
              </a:lvl8pPr>
              <a:lvl9pPr marL="3886200" indent="-228600" eaLnBrk="0" fontAlgn="base" hangingPunct="0">
                <a:lnSpc>
                  <a:spcPct val="85000"/>
                </a:lnSpc>
                <a:spcBef>
                  <a:spcPct val="0"/>
                </a:spcBef>
                <a:spcAft>
                  <a:spcPct val="0"/>
                </a:spcAft>
                <a:defRPr sz="800">
                  <a:solidFill>
                    <a:schemeClr val="tx1"/>
                  </a:solidFill>
                  <a:latin typeface="Arial" pitchFamily="34" charset="0"/>
                </a:defRPr>
              </a:lvl9pPr>
            </a:lstStyle>
            <a:p>
              <a:pPr marL="171450" indent="-171450">
                <a:buFont typeface="Arial" panose="020B0604020202020204" pitchFamily="34" charset="0"/>
                <a:buChar char="̶"/>
              </a:pPr>
              <a:r>
                <a:rPr lang="en-US" altLang="en-US" sz="1200" dirty="0">
                  <a:solidFill>
                    <a:schemeClr val="bg1"/>
                  </a:solidFill>
                  <a:ea typeface="MS PGothic" pitchFamily="34" charset="-128"/>
                </a:rPr>
                <a:t>We calculate the Marginal Contribution </a:t>
              </a:r>
              <a:br>
                <a:rPr lang="en-US" altLang="en-US" sz="1200" dirty="0">
                  <a:solidFill>
                    <a:schemeClr val="bg1"/>
                  </a:solidFill>
                  <a:ea typeface="MS PGothic" pitchFamily="34" charset="-128"/>
                </a:rPr>
              </a:br>
              <a:r>
                <a:rPr lang="en-US" altLang="en-US" sz="1200" dirty="0">
                  <a:solidFill>
                    <a:schemeClr val="bg1"/>
                  </a:solidFill>
                  <a:ea typeface="MS PGothic" pitchFamily="34" charset="-128"/>
                </a:rPr>
                <a:t>to Risk of each sector portfolio</a:t>
              </a:r>
            </a:p>
            <a:p>
              <a:pPr marL="171450" indent="-171450">
                <a:buFont typeface="Arial" panose="020B0604020202020204" pitchFamily="34" charset="0"/>
                <a:buChar char="̶"/>
              </a:pPr>
              <a:r>
                <a:rPr lang="en-US" altLang="en-US" sz="1200" dirty="0">
                  <a:solidFill>
                    <a:schemeClr val="bg1"/>
                  </a:solidFill>
                  <a:ea typeface="MS PGothic" pitchFamily="34" charset="-128"/>
                </a:rPr>
                <a:t>The weight of each sector portfolio in the final portfolio is inversely proportional to its MCR</a:t>
              </a:r>
            </a:p>
          </p:txBody>
        </p:sp>
      </p:grpSp>
      <p:cxnSp>
        <p:nvCxnSpPr>
          <p:cNvPr id="29" name="Connecteur droit 28">
            <a:extLst>
              <a:ext uri="{FF2B5EF4-FFF2-40B4-BE49-F238E27FC236}">
                <a16:creationId xmlns="" xmlns:a16="http://schemas.microsoft.com/office/drawing/2014/main" id="{78994D7E-5C53-4911-929F-78AD5ABD6F13}"/>
              </a:ext>
            </a:extLst>
          </p:cNvPr>
          <p:cNvCxnSpPr>
            <a:cxnSpLocks/>
          </p:cNvCxnSpPr>
          <p:nvPr/>
        </p:nvCxnSpPr>
        <p:spPr>
          <a:xfrm>
            <a:off x="4569888" y="2282388"/>
            <a:ext cx="0" cy="10606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 name="Groupe 7">
            <a:extLst>
              <a:ext uri="{FF2B5EF4-FFF2-40B4-BE49-F238E27FC236}">
                <a16:creationId xmlns="" xmlns:a16="http://schemas.microsoft.com/office/drawing/2014/main" id="{FAC5A570-21F9-4325-B037-8074D1EFCFDF}"/>
              </a:ext>
            </a:extLst>
          </p:cNvPr>
          <p:cNvGrpSpPr/>
          <p:nvPr/>
        </p:nvGrpSpPr>
        <p:grpSpPr>
          <a:xfrm>
            <a:off x="630000" y="2282388"/>
            <a:ext cx="3867538" cy="1060604"/>
            <a:chOff x="795074" y="2282388"/>
            <a:chExt cx="3867538" cy="1060604"/>
          </a:xfrm>
        </p:grpSpPr>
        <p:sp>
          <p:nvSpPr>
            <p:cNvPr id="34" name="Parenthèses 16">
              <a:extLst>
                <a:ext uri="{FF2B5EF4-FFF2-40B4-BE49-F238E27FC236}">
                  <a16:creationId xmlns="" xmlns:a16="http://schemas.microsoft.com/office/drawing/2014/main" id="{829CCBC0-F50F-4BEB-8412-558F1B40A4BD}"/>
                </a:ext>
              </a:extLst>
            </p:cNvPr>
            <p:cNvSpPr>
              <a:spLocks noChangeArrowheads="1"/>
            </p:cNvSpPr>
            <p:nvPr/>
          </p:nvSpPr>
          <p:spPr bwMode="auto">
            <a:xfrm>
              <a:off x="795074" y="2282388"/>
              <a:ext cx="3575394" cy="336506"/>
            </a:xfrm>
            <a:prstGeom prst="rect">
              <a:avLst/>
            </a:prstGeom>
            <a:noFill/>
            <a:ln>
              <a:noFill/>
            </a:ln>
            <a:effectLst/>
            <a:extLst/>
          </p:spPr>
          <p:txBody>
            <a:bodyPr lIns="100734" tIns="51173" rIns="20146" bIns="51173"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marL="301625" indent="-301625">
                <a:lnSpc>
                  <a:spcPts val="1400"/>
                </a:lnSpc>
              </a:pPr>
              <a:r>
                <a:rPr lang="en-GB" altLang="en-US" sz="3200" b="1" dirty="0">
                  <a:solidFill>
                    <a:srgbClr val="FFFFFF"/>
                  </a:solidFill>
                  <a:latin typeface="Arial" panose="020B0604020202020204"/>
                  <a:ea typeface="MS PGothic" pitchFamily="34" charset="-128"/>
                  <a:cs typeface="Arial" pitchFamily="34" charset="0"/>
                </a:rPr>
                <a:t>1</a:t>
              </a:r>
              <a:r>
                <a:rPr lang="en-GB" altLang="en-US" sz="2400" b="1" dirty="0">
                  <a:solidFill>
                    <a:srgbClr val="FFFFFF"/>
                  </a:solidFill>
                  <a:latin typeface="Arial" panose="020B0604020202020204"/>
                  <a:ea typeface="MS PGothic" pitchFamily="34" charset="-128"/>
                  <a:cs typeface="Arial" pitchFamily="34" charset="0"/>
                </a:rPr>
                <a:t> </a:t>
              </a:r>
              <a:r>
                <a:rPr lang="en-GB" altLang="en-US" sz="1400" b="1" dirty="0">
                  <a:solidFill>
                    <a:srgbClr val="FFFFFF"/>
                  </a:solidFill>
                  <a:ea typeface="MS PGothic" pitchFamily="34" charset="-128"/>
                  <a:cs typeface="Arial" pitchFamily="34" charset="0"/>
                </a:rPr>
                <a:t>Risk parity within sectors</a:t>
              </a:r>
              <a:endParaRPr lang="en-GB" altLang="en-US" sz="1200" b="1" dirty="0">
                <a:solidFill>
                  <a:srgbClr val="FFFFFF"/>
                </a:solidFill>
                <a:ea typeface="MS PGothic" pitchFamily="34" charset="-128"/>
                <a:cs typeface="Arial" pitchFamily="34" charset="0"/>
              </a:endParaRPr>
            </a:p>
          </p:txBody>
        </p:sp>
        <p:sp>
          <p:nvSpPr>
            <p:cNvPr id="35" name="Text Box 6">
              <a:extLst>
                <a:ext uri="{FF2B5EF4-FFF2-40B4-BE49-F238E27FC236}">
                  <a16:creationId xmlns="" xmlns:a16="http://schemas.microsoft.com/office/drawing/2014/main" id="{45845CAD-40D5-4DEB-8075-8E2180949074}"/>
                </a:ext>
              </a:extLst>
            </p:cNvPr>
            <p:cNvSpPr txBox="1">
              <a:spLocks noChangeArrowheads="1"/>
            </p:cNvSpPr>
            <p:nvPr/>
          </p:nvSpPr>
          <p:spPr bwMode="auto">
            <a:xfrm>
              <a:off x="998998" y="2643588"/>
              <a:ext cx="3663614" cy="699404"/>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72000" rIns="72000" bIns="72000">
              <a:spAutoFit/>
            </a:bodyPr>
            <a:lstStyle>
              <a:lvl1pPr marL="85725" indent="-85725">
                <a:defRPr sz="800">
                  <a:solidFill>
                    <a:schemeClr val="tx1"/>
                  </a:solidFill>
                  <a:latin typeface="Arial" pitchFamily="34" charset="0"/>
                </a:defRPr>
              </a:lvl1pPr>
              <a:lvl2pPr marL="742950" indent="-285750">
                <a:defRPr sz="800">
                  <a:solidFill>
                    <a:schemeClr val="tx1"/>
                  </a:solidFill>
                  <a:latin typeface="Arial" pitchFamily="34" charset="0"/>
                </a:defRPr>
              </a:lvl2pPr>
              <a:lvl3pPr marL="1143000" indent="-228600">
                <a:defRPr sz="800">
                  <a:solidFill>
                    <a:schemeClr val="tx1"/>
                  </a:solidFill>
                  <a:latin typeface="Arial" pitchFamily="34" charset="0"/>
                </a:defRPr>
              </a:lvl3pPr>
              <a:lvl4pPr marL="1600200" indent="-228600">
                <a:defRPr sz="800">
                  <a:solidFill>
                    <a:schemeClr val="tx1"/>
                  </a:solidFill>
                  <a:latin typeface="Arial" pitchFamily="34" charset="0"/>
                </a:defRPr>
              </a:lvl4pPr>
              <a:lvl5pPr marL="2057400" indent="-228600">
                <a:defRPr sz="800">
                  <a:solidFill>
                    <a:schemeClr val="tx1"/>
                  </a:solidFill>
                  <a:latin typeface="Arial" pitchFamily="34" charset="0"/>
                </a:defRPr>
              </a:lvl5pPr>
              <a:lvl6pPr marL="2514600" indent="-228600" eaLnBrk="0" fontAlgn="base" hangingPunct="0">
                <a:lnSpc>
                  <a:spcPct val="85000"/>
                </a:lnSpc>
                <a:spcBef>
                  <a:spcPct val="0"/>
                </a:spcBef>
                <a:spcAft>
                  <a:spcPct val="0"/>
                </a:spcAft>
                <a:defRPr sz="800">
                  <a:solidFill>
                    <a:schemeClr val="tx1"/>
                  </a:solidFill>
                  <a:latin typeface="Arial" pitchFamily="34" charset="0"/>
                </a:defRPr>
              </a:lvl6pPr>
              <a:lvl7pPr marL="2971800" indent="-228600" eaLnBrk="0" fontAlgn="base" hangingPunct="0">
                <a:lnSpc>
                  <a:spcPct val="85000"/>
                </a:lnSpc>
                <a:spcBef>
                  <a:spcPct val="0"/>
                </a:spcBef>
                <a:spcAft>
                  <a:spcPct val="0"/>
                </a:spcAft>
                <a:defRPr sz="800">
                  <a:solidFill>
                    <a:schemeClr val="tx1"/>
                  </a:solidFill>
                  <a:latin typeface="Arial" pitchFamily="34" charset="0"/>
                </a:defRPr>
              </a:lvl7pPr>
              <a:lvl8pPr marL="3429000" indent="-228600" eaLnBrk="0" fontAlgn="base" hangingPunct="0">
                <a:lnSpc>
                  <a:spcPct val="85000"/>
                </a:lnSpc>
                <a:spcBef>
                  <a:spcPct val="0"/>
                </a:spcBef>
                <a:spcAft>
                  <a:spcPct val="0"/>
                </a:spcAft>
                <a:defRPr sz="800">
                  <a:solidFill>
                    <a:schemeClr val="tx1"/>
                  </a:solidFill>
                  <a:latin typeface="Arial" pitchFamily="34" charset="0"/>
                </a:defRPr>
              </a:lvl8pPr>
              <a:lvl9pPr marL="3886200" indent="-228600" eaLnBrk="0" fontAlgn="base" hangingPunct="0">
                <a:lnSpc>
                  <a:spcPct val="85000"/>
                </a:lnSpc>
                <a:spcBef>
                  <a:spcPct val="0"/>
                </a:spcBef>
                <a:spcAft>
                  <a:spcPct val="0"/>
                </a:spcAft>
                <a:defRPr sz="800">
                  <a:solidFill>
                    <a:schemeClr val="tx1"/>
                  </a:solidFill>
                  <a:latin typeface="Arial" pitchFamily="34" charset="0"/>
                </a:defRPr>
              </a:lvl9pPr>
            </a:lstStyle>
            <a:p>
              <a:pPr marL="171450" indent="-171450">
                <a:buFont typeface="Arial" panose="020B0604020202020204" pitchFamily="34" charset="0"/>
                <a:buChar char="̶"/>
              </a:pPr>
              <a:r>
                <a:rPr lang="en-US" altLang="en-US" sz="1200" dirty="0">
                  <a:solidFill>
                    <a:schemeClr val="bg1"/>
                  </a:solidFill>
                  <a:ea typeface="MS PGothic" pitchFamily="34" charset="-128"/>
                </a:rPr>
                <a:t>We build ten sector sub-portfolios</a:t>
              </a:r>
            </a:p>
            <a:p>
              <a:pPr marL="171450" indent="-171450">
                <a:buFont typeface="Arial" panose="020B0604020202020204" pitchFamily="34" charset="0"/>
                <a:buChar char="̶"/>
              </a:pPr>
              <a:r>
                <a:rPr lang="en-US" altLang="en-US" sz="1200" dirty="0">
                  <a:solidFill>
                    <a:schemeClr val="bg1"/>
                  </a:solidFill>
                  <a:ea typeface="MS PGothic" pitchFamily="34" charset="-128"/>
                </a:rPr>
                <a:t>Within each sector portfolio, the weight of each stock is inversely proportional to its volatility</a:t>
              </a:r>
            </a:p>
          </p:txBody>
        </p:sp>
      </p:grpSp>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263598786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863F114B-1FAF-41A6-9719-598373724808}"/>
              </a:ext>
            </a:extLst>
          </p:cNvPr>
          <p:cNvSpPr>
            <a:spLocks noGrp="1"/>
          </p:cNvSpPr>
          <p:nvPr>
            <p:ph type="title"/>
          </p:nvPr>
        </p:nvSpPr>
        <p:spPr/>
        <p:txBody>
          <a:bodyPr/>
          <a:lstStyle/>
          <a:p>
            <a:r>
              <a:rPr lang="en-US" dirty="0"/>
              <a:t>Step 1: Equalizing risk contribution within sectors</a:t>
            </a:r>
            <a:endParaRPr lang="fr-FR" dirty="0"/>
          </a:p>
        </p:txBody>
      </p:sp>
      <p:sp>
        <p:nvSpPr>
          <p:cNvPr id="5" name="Espace réservé du numéro de diapositive 4">
            <a:extLst>
              <a:ext uri="{FF2B5EF4-FFF2-40B4-BE49-F238E27FC236}">
                <a16:creationId xmlns="" xmlns:a16="http://schemas.microsoft.com/office/drawing/2014/main" id="{599F1A00-F5DB-4C14-BC1C-6B4EEB85DC78}"/>
              </a:ext>
            </a:extLst>
          </p:cNvPr>
          <p:cNvSpPr>
            <a:spLocks noGrp="1"/>
          </p:cNvSpPr>
          <p:nvPr>
            <p:ph type="sldNum" sz="quarter" idx="12"/>
          </p:nvPr>
        </p:nvSpPr>
        <p:spPr/>
        <p:txBody>
          <a:bodyPr/>
          <a:lstStyle/>
          <a:p>
            <a:fld id="{2B1C6FFC-D040-034F-8B69-20295064E64D}" type="slidenum">
              <a:rPr lang="fr-FR" smtClean="0"/>
              <a:t>28</a:t>
            </a:fld>
            <a:endParaRPr lang="fr-FR" dirty="0"/>
          </a:p>
        </p:txBody>
      </p:sp>
      <p:sp>
        <p:nvSpPr>
          <p:cNvPr id="7" name="Espace réservé du texte 6">
            <a:extLst>
              <a:ext uri="{FF2B5EF4-FFF2-40B4-BE49-F238E27FC236}">
                <a16:creationId xmlns="" xmlns:a16="http://schemas.microsoft.com/office/drawing/2014/main" id="{7D6F2CE7-9336-4419-A9BB-602377EFE135}"/>
              </a:ext>
            </a:extLst>
          </p:cNvPr>
          <p:cNvSpPr>
            <a:spLocks noGrp="1"/>
          </p:cNvSpPr>
          <p:nvPr>
            <p:ph type="body" sz="quarter" idx="14"/>
          </p:nvPr>
        </p:nvSpPr>
        <p:spPr/>
        <p:txBody>
          <a:bodyPr/>
          <a:lstStyle/>
          <a:p>
            <a:pPr algn="l"/>
            <a:r>
              <a:rPr lang="en-US" dirty="0"/>
              <a:t>Source: </a:t>
            </a:r>
            <a:r>
              <a:rPr lang="en-US" dirty="0" smtClean="0"/>
              <a:t>Amundi</a:t>
            </a:r>
            <a:r>
              <a:rPr lang="en-US" dirty="0"/>
              <a:t/>
            </a:r>
            <a:br>
              <a:rPr lang="en-US" dirty="0"/>
            </a:br>
            <a:r>
              <a:rPr lang="en-US" dirty="0"/>
              <a:t>* Weights are rebased and provided for illustrative purposes only </a:t>
            </a:r>
          </a:p>
        </p:txBody>
      </p:sp>
      <p:sp>
        <p:nvSpPr>
          <p:cNvPr id="20" name="TextBox 4">
            <a:extLst>
              <a:ext uri="{FF2B5EF4-FFF2-40B4-BE49-F238E27FC236}">
                <a16:creationId xmlns="" xmlns:a16="http://schemas.microsoft.com/office/drawing/2014/main" id="{09B2ACBE-616E-447F-8F1D-A6B32AD25A1C}"/>
              </a:ext>
            </a:extLst>
          </p:cNvPr>
          <p:cNvSpPr txBox="1"/>
          <p:nvPr/>
        </p:nvSpPr>
        <p:spPr>
          <a:xfrm>
            <a:off x="956212" y="2152694"/>
            <a:ext cx="2852063"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Weights of stocks in the Healthcare sector </a:t>
            </a:r>
            <a:br>
              <a:rPr lang="en-US" dirty="0"/>
            </a:br>
            <a:r>
              <a:rPr lang="en-US" dirty="0"/>
              <a:t>Risk Parity</a:t>
            </a:r>
          </a:p>
        </p:txBody>
      </p:sp>
      <p:sp>
        <p:nvSpPr>
          <p:cNvPr id="21" name="TextBox 4">
            <a:extLst>
              <a:ext uri="{FF2B5EF4-FFF2-40B4-BE49-F238E27FC236}">
                <a16:creationId xmlns="" xmlns:a16="http://schemas.microsoft.com/office/drawing/2014/main" id="{354692FA-B51E-4671-99C7-7141E41497B1}"/>
              </a:ext>
            </a:extLst>
          </p:cNvPr>
          <p:cNvSpPr txBox="1"/>
          <p:nvPr/>
        </p:nvSpPr>
        <p:spPr>
          <a:xfrm>
            <a:off x="5532900" y="2152694"/>
            <a:ext cx="2813591"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Weights of stocks in the Healthcare sector</a:t>
            </a:r>
            <a:br>
              <a:rPr lang="en-US" dirty="0"/>
            </a:br>
            <a:r>
              <a:rPr lang="en-US" dirty="0"/>
              <a:t>MSCI EMU</a:t>
            </a:r>
          </a:p>
        </p:txBody>
      </p:sp>
      <p:graphicFrame>
        <p:nvGraphicFramePr>
          <p:cNvPr id="22" name="Chart 25">
            <a:extLst>
              <a:ext uri="{FF2B5EF4-FFF2-40B4-BE49-F238E27FC236}">
                <a16:creationId xmlns="" xmlns:a16="http://schemas.microsoft.com/office/drawing/2014/main" id="{8D4F51E0-188E-41D9-AE43-D2CC08BD6240}"/>
              </a:ext>
            </a:extLst>
          </p:cNvPr>
          <p:cNvGraphicFramePr>
            <a:graphicFrameLocks/>
          </p:cNvGraphicFramePr>
          <p:nvPr>
            <p:extLst>
              <p:ext uri="{D42A27DB-BD31-4B8C-83A1-F6EECF244321}">
                <p14:modId xmlns:p14="http://schemas.microsoft.com/office/powerpoint/2010/main" val="271690269"/>
              </p:ext>
            </p:extLst>
          </p:nvPr>
        </p:nvGraphicFramePr>
        <p:xfrm>
          <a:off x="495300" y="2613094"/>
          <a:ext cx="3937000" cy="31282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26">
            <a:extLst>
              <a:ext uri="{FF2B5EF4-FFF2-40B4-BE49-F238E27FC236}">
                <a16:creationId xmlns="" xmlns:a16="http://schemas.microsoft.com/office/drawing/2014/main" id="{31B1858D-1301-45F9-BA76-03076434F9AA}"/>
              </a:ext>
            </a:extLst>
          </p:cNvPr>
          <p:cNvGraphicFramePr>
            <a:graphicFrameLocks/>
          </p:cNvGraphicFramePr>
          <p:nvPr>
            <p:extLst>
              <p:ext uri="{D42A27DB-BD31-4B8C-83A1-F6EECF244321}">
                <p14:modId xmlns:p14="http://schemas.microsoft.com/office/powerpoint/2010/main" val="1369797645"/>
              </p:ext>
            </p:extLst>
          </p:nvPr>
        </p:nvGraphicFramePr>
        <p:xfrm>
          <a:off x="4699000" y="2613093"/>
          <a:ext cx="3937000" cy="3054485"/>
        </p:xfrm>
        <a:graphic>
          <a:graphicData uri="http://schemas.openxmlformats.org/drawingml/2006/chart">
            <c:chart xmlns:c="http://schemas.openxmlformats.org/drawingml/2006/chart" xmlns:r="http://schemas.openxmlformats.org/officeDocument/2006/relationships" r:id="rId4"/>
          </a:graphicData>
        </a:graphic>
      </p:graphicFrame>
      <p:sp>
        <p:nvSpPr>
          <p:cNvPr id="24" name="Rectangle 3">
            <a:extLst>
              <a:ext uri="{FF2B5EF4-FFF2-40B4-BE49-F238E27FC236}">
                <a16:creationId xmlns="" xmlns:a16="http://schemas.microsoft.com/office/drawing/2014/main" id="{878A72E1-97D0-4103-9002-35C1EB168596}"/>
              </a:ext>
            </a:extLst>
          </p:cNvPr>
          <p:cNvSpPr>
            <a:spLocks noGrp="1" noChangeArrowheads="1"/>
          </p:cNvSpPr>
          <p:nvPr>
            <p:ph type="body" idx="1"/>
          </p:nvPr>
        </p:nvSpPr>
        <p:spPr>
          <a:xfrm>
            <a:off x="500063" y="1124329"/>
            <a:ext cx="8456612" cy="896483"/>
          </a:xfrm>
          <a:noFill/>
        </p:spPr>
        <p:txBody>
          <a:bodyPr/>
          <a:lstStyle/>
          <a:p>
            <a:pPr algn="just" eaLnBrk="1" hangingPunct="1"/>
            <a:r>
              <a:rPr lang="en-US" sz="1400" b="1" dirty="0">
                <a:solidFill>
                  <a:schemeClr val="tx1"/>
                </a:solidFill>
              </a:rPr>
              <a:t>For each sector, we create a “sector portfolio” where:</a:t>
            </a:r>
          </a:p>
          <a:p>
            <a:pPr lvl="1" algn="just" eaLnBrk="1" hangingPunct="1"/>
            <a:r>
              <a:rPr lang="en-US" sz="1200" dirty="0"/>
              <a:t>All the stocks of the original sector portfolio are inserted</a:t>
            </a:r>
          </a:p>
          <a:p>
            <a:pPr lvl="1" algn="just" eaLnBrk="1" hangingPunct="1"/>
            <a:r>
              <a:rPr lang="en-US" sz="1200" dirty="0"/>
              <a:t>The weight of each stock is inversely proportional to its forecasted volatility</a:t>
            </a:r>
          </a:p>
        </p:txBody>
      </p:sp>
      <p:grpSp>
        <p:nvGrpSpPr>
          <p:cNvPr id="29" name="Groupe 28">
            <a:extLst>
              <a:ext uri="{FF2B5EF4-FFF2-40B4-BE49-F238E27FC236}">
                <a16:creationId xmlns="" xmlns:a16="http://schemas.microsoft.com/office/drawing/2014/main" id="{3553D57A-D455-4B3B-B493-F6832CCF3E5F}"/>
              </a:ext>
            </a:extLst>
          </p:cNvPr>
          <p:cNvGrpSpPr/>
          <p:nvPr/>
        </p:nvGrpSpPr>
        <p:grpSpPr>
          <a:xfrm>
            <a:off x="1351476" y="5513759"/>
            <a:ext cx="2224648" cy="227627"/>
            <a:chOff x="4647101" y="5995586"/>
            <a:chExt cx="2224648" cy="227627"/>
          </a:xfrm>
        </p:grpSpPr>
        <p:sp>
          <p:nvSpPr>
            <p:cNvPr id="25" name="ZoneTexte 24">
              <a:extLst>
                <a:ext uri="{FF2B5EF4-FFF2-40B4-BE49-F238E27FC236}">
                  <a16:creationId xmlns="" xmlns:a16="http://schemas.microsoft.com/office/drawing/2014/main" id="{37B84FA0-1AC6-4C31-8167-7EC08C91785F}"/>
                </a:ext>
              </a:extLst>
            </p:cNvPr>
            <p:cNvSpPr txBox="1"/>
            <p:nvPr/>
          </p:nvSpPr>
          <p:spPr>
            <a:xfrm>
              <a:off x="4717001" y="5995586"/>
              <a:ext cx="1464724" cy="215444"/>
            </a:xfrm>
            <a:prstGeom prst="rect">
              <a:avLst/>
            </a:prstGeom>
            <a:noFill/>
          </p:spPr>
          <p:txBody>
            <a:bodyPr wrap="square" rtlCol="0">
              <a:spAutoFit/>
            </a:bodyPr>
            <a:lstStyle/>
            <a:p>
              <a:pPr lvl="0" defTabSz="457200"/>
              <a:r>
                <a:rPr lang="en-US" sz="800" b="1" kern="0" dirty="0"/>
                <a:t>Weight in Euro Risk Parity</a:t>
              </a:r>
            </a:p>
          </p:txBody>
        </p:sp>
        <p:sp>
          <p:nvSpPr>
            <p:cNvPr id="26" name="Rectangle 25">
              <a:extLst>
                <a:ext uri="{FF2B5EF4-FFF2-40B4-BE49-F238E27FC236}">
                  <a16:creationId xmlns="" xmlns:a16="http://schemas.microsoft.com/office/drawing/2014/main" id="{150799E8-A24C-45A5-99AB-88371F1B6E5F}"/>
                </a:ext>
              </a:extLst>
            </p:cNvPr>
            <p:cNvSpPr/>
            <p:nvPr/>
          </p:nvSpPr>
          <p:spPr bwMode="auto">
            <a:xfrm>
              <a:off x="4647101" y="6043218"/>
              <a:ext cx="108000" cy="108000"/>
            </a:xfrm>
            <a:prstGeom prst="rect">
              <a:avLst/>
            </a:prstGeom>
            <a:solidFill>
              <a:srgbClr val="001C4B"/>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sp>
          <p:nvSpPr>
            <p:cNvPr id="27" name="ZoneTexte 26">
              <a:extLst>
                <a:ext uri="{FF2B5EF4-FFF2-40B4-BE49-F238E27FC236}">
                  <a16:creationId xmlns="" xmlns:a16="http://schemas.microsoft.com/office/drawing/2014/main" id="{32F4E45B-0560-4E3F-82EF-FD9387681AD1}"/>
                </a:ext>
              </a:extLst>
            </p:cNvPr>
            <p:cNvSpPr txBox="1"/>
            <p:nvPr/>
          </p:nvSpPr>
          <p:spPr>
            <a:xfrm>
              <a:off x="6226175" y="6007769"/>
              <a:ext cx="645574" cy="215444"/>
            </a:xfrm>
            <a:prstGeom prst="rect">
              <a:avLst/>
            </a:prstGeom>
            <a:noFill/>
          </p:spPr>
          <p:txBody>
            <a:bodyPr wrap="square" rtlCol="0">
              <a:spAutoFit/>
            </a:bodyPr>
            <a:lstStyle/>
            <a:p>
              <a:pPr lvl="0" defTabSz="457200"/>
              <a:r>
                <a:rPr lang="fr-FR" sz="800" b="1" kern="0" dirty="0" err="1">
                  <a:solidFill>
                    <a:schemeClr val="accent1"/>
                  </a:solidFill>
                </a:rPr>
                <a:t>Volatility</a:t>
              </a:r>
              <a:endParaRPr lang="fr-FR" sz="800" b="1" kern="0" dirty="0">
                <a:solidFill>
                  <a:schemeClr val="accent1"/>
                </a:solidFill>
              </a:endParaRPr>
            </a:p>
          </p:txBody>
        </p:sp>
        <p:sp>
          <p:nvSpPr>
            <p:cNvPr id="28" name="Rectangle 27">
              <a:extLst>
                <a:ext uri="{FF2B5EF4-FFF2-40B4-BE49-F238E27FC236}">
                  <a16:creationId xmlns="" xmlns:a16="http://schemas.microsoft.com/office/drawing/2014/main" id="{95835EA9-27C6-4C66-AA66-6139D59568B5}"/>
                </a:ext>
              </a:extLst>
            </p:cNvPr>
            <p:cNvSpPr/>
            <p:nvPr/>
          </p:nvSpPr>
          <p:spPr bwMode="auto">
            <a:xfrm>
              <a:off x="6156275" y="6055401"/>
              <a:ext cx="108000" cy="10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grpSp>
      <p:grpSp>
        <p:nvGrpSpPr>
          <p:cNvPr id="30" name="Groupe 29">
            <a:extLst>
              <a:ext uri="{FF2B5EF4-FFF2-40B4-BE49-F238E27FC236}">
                <a16:creationId xmlns="" xmlns:a16="http://schemas.microsoft.com/office/drawing/2014/main" id="{77122CAA-9D2C-421C-A055-43CC801B6697}"/>
              </a:ext>
            </a:extLst>
          </p:cNvPr>
          <p:cNvGrpSpPr/>
          <p:nvPr/>
        </p:nvGrpSpPr>
        <p:grpSpPr>
          <a:xfrm>
            <a:off x="5819487" y="5513759"/>
            <a:ext cx="2210874" cy="227627"/>
            <a:chOff x="4647101" y="5995586"/>
            <a:chExt cx="2210874" cy="227627"/>
          </a:xfrm>
        </p:grpSpPr>
        <p:sp>
          <p:nvSpPr>
            <p:cNvPr id="31" name="ZoneTexte 30">
              <a:extLst>
                <a:ext uri="{FF2B5EF4-FFF2-40B4-BE49-F238E27FC236}">
                  <a16:creationId xmlns="" xmlns:a16="http://schemas.microsoft.com/office/drawing/2014/main" id="{C2D243B2-1A7B-43BF-A9F8-EA9E5A308F15}"/>
                </a:ext>
              </a:extLst>
            </p:cNvPr>
            <p:cNvSpPr txBox="1"/>
            <p:nvPr/>
          </p:nvSpPr>
          <p:spPr>
            <a:xfrm>
              <a:off x="4717001" y="5995586"/>
              <a:ext cx="1464724" cy="215444"/>
            </a:xfrm>
            <a:prstGeom prst="rect">
              <a:avLst/>
            </a:prstGeom>
            <a:noFill/>
          </p:spPr>
          <p:txBody>
            <a:bodyPr wrap="square" rtlCol="0">
              <a:spAutoFit/>
            </a:bodyPr>
            <a:lstStyle/>
            <a:p>
              <a:pPr lvl="0" defTabSz="457200"/>
              <a:r>
                <a:rPr lang="en-US" sz="800" b="1" kern="0" dirty="0"/>
                <a:t>Weight in Euro Risk Parity</a:t>
              </a:r>
            </a:p>
          </p:txBody>
        </p:sp>
        <p:sp>
          <p:nvSpPr>
            <p:cNvPr id="32" name="Rectangle 31">
              <a:extLst>
                <a:ext uri="{FF2B5EF4-FFF2-40B4-BE49-F238E27FC236}">
                  <a16:creationId xmlns="" xmlns:a16="http://schemas.microsoft.com/office/drawing/2014/main" id="{F46597FD-28E6-45D5-B4F7-35A343187654}"/>
                </a:ext>
              </a:extLst>
            </p:cNvPr>
            <p:cNvSpPr/>
            <p:nvPr/>
          </p:nvSpPr>
          <p:spPr bwMode="auto">
            <a:xfrm>
              <a:off x="4647101" y="6043218"/>
              <a:ext cx="108000" cy="108000"/>
            </a:xfrm>
            <a:prstGeom prst="rect">
              <a:avLst/>
            </a:prstGeom>
            <a:solidFill>
              <a:srgbClr val="001C4B"/>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sp>
          <p:nvSpPr>
            <p:cNvPr id="33" name="ZoneTexte 32">
              <a:extLst>
                <a:ext uri="{FF2B5EF4-FFF2-40B4-BE49-F238E27FC236}">
                  <a16:creationId xmlns="" xmlns:a16="http://schemas.microsoft.com/office/drawing/2014/main" id="{E73707E6-D9C3-4C72-A401-9F9A90900434}"/>
                </a:ext>
              </a:extLst>
            </p:cNvPr>
            <p:cNvSpPr txBox="1"/>
            <p:nvPr/>
          </p:nvSpPr>
          <p:spPr>
            <a:xfrm>
              <a:off x="6235700" y="6007769"/>
              <a:ext cx="622275" cy="215444"/>
            </a:xfrm>
            <a:prstGeom prst="rect">
              <a:avLst/>
            </a:prstGeom>
            <a:noFill/>
          </p:spPr>
          <p:txBody>
            <a:bodyPr wrap="square" rtlCol="0">
              <a:spAutoFit/>
            </a:bodyPr>
            <a:lstStyle/>
            <a:p>
              <a:pPr lvl="0" defTabSz="457200"/>
              <a:r>
                <a:rPr lang="fr-FR" sz="800" b="1" kern="0" dirty="0" err="1">
                  <a:solidFill>
                    <a:schemeClr val="accent1"/>
                  </a:solidFill>
                </a:rPr>
                <a:t>Volatility</a:t>
              </a:r>
              <a:endParaRPr lang="fr-FR" sz="800" b="1" kern="0" dirty="0">
                <a:solidFill>
                  <a:schemeClr val="accent1"/>
                </a:solidFill>
              </a:endParaRPr>
            </a:p>
          </p:txBody>
        </p:sp>
        <p:sp>
          <p:nvSpPr>
            <p:cNvPr id="34" name="Rectangle 33">
              <a:extLst>
                <a:ext uri="{FF2B5EF4-FFF2-40B4-BE49-F238E27FC236}">
                  <a16:creationId xmlns="" xmlns:a16="http://schemas.microsoft.com/office/drawing/2014/main" id="{00F9DF90-9579-47AE-96FE-E269916CF9F3}"/>
                </a:ext>
              </a:extLst>
            </p:cNvPr>
            <p:cNvSpPr>
              <a:spLocks noChangeAspect="1"/>
            </p:cNvSpPr>
            <p:nvPr/>
          </p:nvSpPr>
          <p:spPr bwMode="auto">
            <a:xfrm>
              <a:off x="6165799" y="6055401"/>
              <a:ext cx="108000" cy="10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grpSp>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416409658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9E573386-1727-4540-8F5E-5E4B47475497}"/>
              </a:ext>
            </a:extLst>
          </p:cNvPr>
          <p:cNvSpPr>
            <a:spLocks noGrp="1"/>
          </p:cNvSpPr>
          <p:nvPr>
            <p:ph type="title"/>
          </p:nvPr>
        </p:nvSpPr>
        <p:spPr/>
        <p:txBody>
          <a:bodyPr/>
          <a:lstStyle/>
          <a:p>
            <a:r>
              <a:rPr lang="en-US" dirty="0"/>
              <a:t>Step 2: Equalizing risk contribution between sectors </a:t>
            </a:r>
            <a:endParaRPr lang="fr-FR" dirty="0"/>
          </a:p>
        </p:txBody>
      </p:sp>
      <p:sp>
        <p:nvSpPr>
          <p:cNvPr id="5" name="Espace réservé du numéro de diapositive 4">
            <a:extLst>
              <a:ext uri="{FF2B5EF4-FFF2-40B4-BE49-F238E27FC236}">
                <a16:creationId xmlns="" xmlns:a16="http://schemas.microsoft.com/office/drawing/2014/main" id="{F84BA55B-4811-428A-AEC8-635D140D9924}"/>
              </a:ext>
            </a:extLst>
          </p:cNvPr>
          <p:cNvSpPr>
            <a:spLocks noGrp="1"/>
          </p:cNvSpPr>
          <p:nvPr>
            <p:ph type="sldNum" sz="quarter" idx="12"/>
          </p:nvPr>
        </p:nvSpPr>
        <p:spPr/>
        <p:txBody>
          <a:bodyPr/>
          <a:lstStyle/>
          <a:p>
            <a:fld id="{2B1C6FFC-D040-034F-8B69-20295064E64D}" type="slidenum">
              <a:rPr lang="fr-FR" smtClean="0"/>
              <a:t>29</a:t>
            </a:fld>
            <a:endParaRPr lang="fr-FR" dirty="0"/>
          </a:p>
        </p:txBody>
      </p:sp>
      <p:sp>
        <p:nvSpPr>
          <p:cNvPr id="7" name="Espace réservé du texte 6">
            <a:extLst>
              <a:ext uri="{FF2B5EF4-FFF2-40B4-BE49-F238E27FC236}">
                <a16:creationId xmlns="" xmlns:a16="http://schemas.microsoft.com/office/drawing/2014/main" id="{EC91E142-E7C8-426F-869E-D3C48BC0C523}"/>
              </a:ext>
            </a:extLst>
          </p:cNvPr>
          <p:cNvSpPr>
            <a:spLocks noGrp="1"/>
          </p:cNvSpPr>
          <p:nvPr>
            <p:ph type="body" sz="quarter" idx="14"/>
          </p:nvPr>
        </p:nvSpPr>
        <p:spPr/>
        <p:txBody>
          <a:bodyPr/>
          <a:lstStyle/>
          <a:p>
            <a:pPr algn="l"/>
            <a:r>
              <a:rPr lang="en-US" dirty="0"/>
              <a:t>Source: </a:t>
            </a:r>
            <a:r>
              <a:rPr lang="en-US" dirty="0" smtClean="0"/>
              <a:t>Amundi</a:t>
            </a:r>
            <a:r>
              <a:rPr lang="en-US" dirty="0"/>
              <a:t/>
            </a:r>
            <a:br>
              <a:rPr lang="en-US" dirty="0"/>
            </a:br>
            <a:r>
              <a:rPr lang="en-US" dirty="0"/>
              <a:t>* Weights are rebased and provided for illustrative purposes only </a:t>
            </a:r>
          </a:p>
        </p:txBody>
      </p:sp>
      <p:sp>
        <p:nvSpPr>
          <p:cNvPr id="11" name="Rectangle 3">
            <a:extLst>
              <a:ext uri="{FF2B5EF4-FFF2-40B4-BE49-F238E27FC236}">
                <a16:creationId xmlns="" xmlns:a16="http://schemas.microsoft.com/office/drawing/2014/main" id="{2CDC1CF5-0A8C-48FD-9422-8F540105AD2C}"/>
              </a:ext>
            </a:extLst>
          </p:cNvPr>
          <p:cNvSpPr>
            <a:spLocks noGrp="1" noChangeArrowheads="1"/>
          </p:cNvSpPr>
          <p:nvPr>
            <p:ph type="body" idx="1"/>
          </p:nvPr>
        </p:nvSpPr>
        <p:spPr>
          <a:xfrm>
            <a:off x="500063" y="1124329"/>
            <a:ext cx="8456612" cy="896483"/>
          </a:xfrm>
          <a:noFill/>
        </p:spPr>
        <p:txBody>
          <a:bodyPr/>
          <a:lstStyle/>
          <a:p>
            <a:pPr algn="just"/>
            <a:r>
              <a:rPr lang="en-US" sz="1400" dirty="0">
                <a:solidFill>
                  <a:schemeClr val="tx1"/>
                </a:solidFill>
              </a:rPr>
              <a:t>We calculate each new “sector portfolio” Marginal Contribution to Risk* (MCR)</a:t>
            </a:r>
          </a:p>
          <a:p>
            <a:pPr lvl="1" algn="just"/>
            <a:r>
              <a:rPr lang="en-US" sz="1200" dirty="0"/>
              <a:t>The volatility measures the “riskiness” of an asset on a stand-alone basis</a:t>
            </a:r>
          </a:p>
          <a:p>
            <a:pPr lvl="1" algn="just"/>
            <a:r>
              <a:rPr lang="en-US" sz="1200" dirty="0"/>
              <a:t>The MCR takes into account not only the volatility of the asset, but also its correlation with the other assets in portfolio</a:t>
            </a:r>
          </a:p>
          <a:p>
            <a:pPr algn="just"/>
            <a:r>
              <a:rPr lang="en-US" sz="1400" dirty="0">
                <a:solidFill>
                  <a:schemeClr val="tx1"/>
                </a:solidFill>
              </a:rPr>
              <a:t>The weight of each “sector portfolio” is inversely proportional to its MCR</a:t>
            </a:r>
          </a:p>
          <a:p>
            <a:pPr lvl="1" algn="just" eaLnBrk="1" hangingPunct="1"/>
            <a:endParaRPr lang="en-US" sz="1200" dirty="0"/>
          </a:p>
        </p:txBody>
      </p:sp>
      <p:sp>
        <p:nvSpPr>
          <p:cNvPr id="12" name="TextBox 4">
            <a:extLst>
              <a:ext uri="{FF2B5EF4-FFF2-40B4-BE49-F238E27FC236}">
                <a16:creationId xmlns="" xmlns:a16="http://schemas.microsoft.com/office/drawing/2014/main" id="{DB9EC7D4-AD60-4EFB-8C97-0BF02771FB0F}"/>
              </a:ext>
            </a:extLst>
          </p:cNvPr>
          <p:cNvSpPr txBox="1"/>
          <p:nvPr/>
        </p:nvSpPr>
        <p:spPr>
          <a:xfrm>
            <a:off x="1461158" y="2289854"/>
            <a:ext cx="1842171"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Weights of GICS1 sectors </a:t>
            </a:r>
            <a:br>
              <a:rPr lang="en-US" dirty="0"/>
            </a:br>
            <a:r>
              <a:rPr lang="en-US" dirty="0"/>
              <a:t>Risk Parity</a:t>
            </a:r>
          </a:p>
        </p:txBody>
      </p:sp>
      <p:sp>
        <p:nvSpPr>
          <p:cNvPr id="13" name="TextBox 4">
            <a:extLst>
              <a:ext uri="{FF2B5EF4-FFF2-40B4-BE49-F238E27FC236}">
                <a16:creationId xmlns="" xmlns:a16="http://schemas.microsoft.com/office/drawing/2014/main" id="{E70F50B6-C75C-4EA9-B866-3300EE442C02}"/>
              </a:ext>
            </a:extLst>
          </p:cNvPr>
          <p:cNvSpPr txBox="1"/>
          <p:nvPr/>
        </p:nvSpPr>
        <p:spPr>
          <a:xfrm>
            <a:off x="5682176" y="2289854"/>
            <a:ext cx="1842171"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Weights of GICS1 sectors </a:t>
            </a:r>
            <a:br>
              <a:rPr lang="en-US" dirty="0"/>
            </a:br>
            <a:r>
              <a:rPr lang="en-US" dirty="0"/>
              <a:t>MSCI EMU</a:t>
            </a:r>
          </a:p>
        </p:txBody>
      </p:sp>
      <p:grpSp>
        <p:nvGrpSpPr>
          <p:cNvPr id="16" name="Groupe 15">
            <a:extLst>
              <a:ext uri="{FF2B5EF4-FFF2-40B4-BE49-F238E27FC236}">
                <a16:creationId xmlns="" xmlns:a16="http://schemas.microsoft.com/office/drawing/2014/main" id="{6425099E-315E-48D5-9BBA-8D547E7621AF}"/>
              </a:ext>
            </a:extLst>
          </p:cNvPr>
          <p:cNvGrpSpPr/>
          <p:nvPr/>
        </p:nvGrpSpPr>
        <p:grpSpPr>
          <a:xfrm>
            <a:off x="1164182" y="5542334"/>
            <a:ext cx="3079426" cy="215444"/>
            <a:chOff x="4647101" y="5995586"/>
            <a:chExt cx="3079426" cy="215444"/>
          </a:xfrm>
        </p:grpSpPr>
        <p:sp>
          <p:nvSpPr>
            <p:cNvPr id="17" name="ZoneTexte 16">
              <a:extLst>
                <a:ext uri="{FF2B5EF4-FFF2-40B4-BE49-F238E27FC236}">
                  <a16:creationId xmlns="" xmlns:a16="http://schemas.microsoft.com/office/drawing/2014/main" id="{C1C4682C-646B-4504-9307-0B40790E839D}"/>
                </a:ext>
              </a:extLst>
            </p:cNvPr>
            <p:cNvSpPr txBox="1"/>
            <p:nvPr/>
          </p:nvSpPr>
          <p:spPr>
            <a:xfrm>
              <a:off x="4717001" y="5995586"/>
              <a:ext cx="1464724" cy="215444"/>
            </a:xfrm>
            <a:prstGeom prst="rect">
              <a:avLst/>
            </a:prstGeom>
            <a:noFill/>
          </p:spPr>
          <p:txBody>
            <a:bodyPr wrap="square" rtlCol="0">
              <a:spAutoFit/>
            </a:bodyPr>
            <a:lstStyle/>
            <a:p>
              <a:pPr lvl="0" defTabSz="457200"/>
              <a:r>
                <a:rPr lang="fr-FR" sz="800" b="1" kern="0" dirty="0" err="1"/>
                <a:t>Weight</a:t>
              </a:r>
              <a:r>
                <a:rPr lang="fr-FR" sz="800" b="1" kern="0" dirty="0"/>
                <a:t> in </a:t>
              </a:r>
              <a:r>
                <a:rPr lang="fr-FR" sz="800" b="1" kern="0" dirty="0" err="1"/>
                <a:t>Risk</a:t>
              </a:r>
              <a:r>
                <a:rPr lang="fr-FR" sz="800" b="1" kern="0" dirty="0"/>
                <a:t> </a:t>
              </a:r>
              <a:r>
                <a:rPr lang="fr-FR" sz="800" b="1" kern="0" dirty="0" err="1"/>
                <a:t>Parity</a:t>
              </a:r>
              <a:r>
                <a:rPr lang="fr-FR" sz="800" b="1" kern="0" dirty="0"/>
                <a:t> Euro</a:t>
              </a:r>
            </a:p>
          </p:txBody>
        </p:sp>
        <p:sp>
          <p:nvSpPr>
            <p:cNvPr id="18" name="Rectangle 17">
              <a:extLst>
                <a:ext uri="{FF2B5EF4-FFF2-40B4-BE49-F238E27FC236}">
                  <a16:creationId xmlns="" xmlns:a16="http://schemas.microsoft.com/office/drawing/2014/main" id="{CC0AE545-E908-4310-AA25-3E2173C813CA}"/>
                </a:ext>
              </a:extLst>
            </p:cNvPr>
            <p:cNvSpPr/>
            <p:nvPr/>
          </p:nvSpPr>
          <p:spPr bwMode="auto">
            <a:xfrm>
              <a:off x="4647101" y="6043218"/>
              <a:ext cx="108000" cy="108000"/>
            </a:xfrm>
            <a:prstGeom prst="rect">
              <a:avLst/>
            </a:prstGeom>
            <a:solidFill>
              <a:schemeClr val="tx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sp>
          <p:nvSpPr>
            <p:cNvPr id="19" name="ZoneTexte 18">
              <a:extLst>
                <a:ext uri="{FF2B5EF4-FFF2-40B4-BE49-F238E27FC236}">
                  <a16:creationId xmlns="" xmlns:a16="http://schemas.microsoft.com/office/drawing/2014/main" id="{EA4F49EA-8911-4168-AA28-C32F4E83CF5D}"/>
                </a:ext>
              </a:extLst>
            </p:cNvPr>
            <p:cNvSpPr txBox="1"/>
            <p:nvPr/>
          </p:nvSpPr>
          <p:spPr>
            <a:xfrm>
              <a:off x="6249153" y="5995586"/>
              <a:ext cx="1477374" cy="215444"/>
            </a:xfrm>
            <a:prstGeom prst="rect">
              <a:avLst/>
            </a:prstGeom>
            <a:noFill/>
          </p:spPr>
          <p:txBody>
            <a:bodyPr wrap="square" rtlCol="0">
              <a:spAutoFit/>
            </a:bodyPr>
            <a:lstStyle/>
            <a:p>
              <a:pPr lvl="0" defTabSz="457200"/>
              <a:r>
                <a:rPr lang="fr-FR" sz="800" b="1" kern="0" dirty="0" smtClean="0">
                  <a:solidFill>
                    <a:schemeClr val="accent1"/>
                  </a:solidFill>
                </a:rPr>
                <a:t>MC to Total </a:t>
              </a:r>
              <a:r>
                <a:rPr lang="fr-FR" sz="800" b="1" kern="0" dirty="0" err="1" smtClean="0">
                  <a:solidFill>
                    <a:schemeClr val="accent1"/>
                  </a:solidFill>
                </a:rPr>
                <a:t>Risk</a:t>
              </a:r>
              <a:endParaRPr lang="fr-FR" sz="800" b="1" kern="0" dirty="0">
                <a:solidFill>
                  <a:schemeClr val="accent1"/>
                </a:solidFill>
              </a:endParaRPr>
            </a:p>
          </p:txBody>
        </p:sp>
        <p:sp>
          <p:nvSpPr>
            <p:cNvPr id="20" name="Rectangle 19">
              <a:extLst>
                <a:ext uri="{FF2B5EF4-FFF2-40B4-BE49-F238E27FC236}">
                  <a16:creationId xmlns="" xmlns:a16="http://schemas.microsoft.com/office/drawing/2014/main" id="{F0C6F248-C896-43AA-AE5A-97E4A766A30A}"/>
                </a:ext>
              </a:extLst>
            </p:cNvPr>
            <p:cNvSpPr/>
            <p:nvPr/>
          </p:nvSpPr>
          <p:spPr bwMode="auto">
            <a:xfrm>
              <a:off x="6181725" y="6043218"/>
              <a:ext cx="108000" cy="10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grpSp>
      <p:grpSp>
        <p:nvGrpSpPr>
          <p:cNvPr id="21" name="Groupe 20">
            <a:extLst>
              <a:ext uri="{FF2B5EF4-FFF2-40B4-BE49-F238E27FC236}">
                <a16:creationId xmlns="" xmlns:a16="http://schemas.microsoft.com/office/drawing/2014/main" id="{5D81A7B2-F99E-4D37-B13F-2F5EA86E0E6A}"/>
              </a:ext>
            </a:extLst>
          </p:cNvPr>
          <p:cNvGrpSpPr/>
          <p:nvPr/>
        </p:nvGrpSpPr>
        <p:grpSpPr>
          <a:xfrm>
            <a:off x="5682176" y="5542334"/>
            <a:ext cx="3065515" cy="215444"/>
            <a:chOff x="4647101" y="5995586"/>
            <a:chExt cx="3065515" cy="215444"/>
          </a:xfrm>
        </p:grpSpPr>
        <p:sp>
          <p:nvSpPr>
            <p:cNvPr id="22" name="ZoneTexte 21">
              <a:extLst>
                <a:ext uri="{FF2B5EF4-FFF2-40B4-BE49-F238E27FC236}">
                  <a16:creationId xmlns="" xmlns:a16="http://schemas.microsoft.com/office/drawing/2014/main" id="{EBEAFF64-D577-4A9D-93EC-0D013F2C6CF7}"/>
                </a:ext>
              </a:extLst>
            </p:cNvPr>
            <p:cNvSpPr txBox="1"/>
            <p:nvPr/>
          </p:nvSpPr>
          <p:spPr>
            <a:xfrm>
              <a:off x="4717001" y="5995586"/>
              <a:ext cx="1464724" cy="215444"/>
            </a:xfrm>
            <a:prstGeom prst="rect">
              <a:avLst/>
            </a:prstGeom>
            <a:noFill/>
          </p:spPr>
          <p:txBody>
            <a:bodyPr wrap="square" rtlCol="0">
              <a:spAutoFit/>
            </a:bodyPr>
            <a:lstStyle/>
            <a:p>
              <a:pPr lvl="0" defTabSz="457200"/>
              <a:r>
                <a:rPr lang="fr-FR" sz="800" b="1" kern="0" dirty="0" err="1"/>
                <a:t>Weight</a:t>
              </a:r>
              <a:r>
                <a:rPr lang="fr-FR" sz="800" b="1" kern="0" dirty="0"/>
                <a:t> in </a:t>
              </a:r>
              <a:r>
                <a:rPr lang="fr-FR" sz="800" b="1" kern="0" dirty="0" err="1"/>
                <a:t>Risk</a:t>
              </a:r>
              <a:r>
                <a:rPr lang="fr-FR" sz="800" b="1" kern="0" dirty="0"/>
                <a:t> </a:t>
              </a:r>
              <a:r>
                <a:rPr lang="fr-FR" sz="800" b="1" kern="0" dirty="0" err="1"/>
                <a:t>Parity</a:t>
              </a:r>
              <a:r>
                <a:rPr lang="fr-FR" sz="800" b="1" kern="0" dirty="0"/>
                <a:t> Euro</a:t>
              </a:r>
            </a:p>
          </p:txBody>
        </p:sp>
        <p:sp>
          <p:nvSpPr>
            <p:cNvPr id="23" name="Rectangle 22">
              <a:extLst>
                <a:ext uri="{FF2B5EF4-FFF2-40B4-BE49-F238E27FC236}">
                  <a16:creationId xmlns="" xmlns:a16="http://schemas.microsoft.com/office/drawing/2014/main" id="{2C4C2023-F113-4884-85CD-A8F02F6BBA12}"/>
                </a:ext>
              </a:extLst>
            </p:cNvPr>
            <p:cNvSpPr/>
            <p:nvPr/>
          </p:nvSpPr>
          <p:spPr bwMode="auto">
            <a:xfrm>
              <a:off x="4647101" y="6043218"/>
              <a:ext cx="108000" cy="108000"/>
            </a:xfrm>
            <a:prstGeom prst="rect">
              <a:avLst/>
            </a:prstGeom>
            <a:solidFill>
              <a:srgbClr val="001C4B"/>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sp>
          <p:nvSpPr>
            <p:cNvPr id="24" name="ZoneTexte 23">
              <a:extLst>
                <a:ext uri="{FF2B5EF4-FFF2-40B4-BE49-F238E27FC236}">
                  <a16:creationId xmlns="" xmlns:a16="http://schemas.microsoft.com/office/drawing/2014/main" id="{EBC59296-B272-41B0-95B2-44EFD56589EE}"/>
                </a:ext>
              </a:extLst>
            </p:cNvPr>
            <p:cNvSpPr txBox="1"/>
            <p:nvPr/>
          </p:nvSpPr>
          <p:spPr>
            <a:xfrm>
              <a:off x="6235242" y="5995586"/>
              <a:ext cx="1477374" cy="215444"/>
            </a:xfrm>
            <a:prstGeom prst="rect">
              <a:avLst/>
            </a:prstGeom>
            <a:noFill/>
          </p:spPr>
          <p:txBody>
            <a:bodyPr wrap="square" rtlCol="0">
              <a:spAutoFit/>
            </a:bodyPr>
            <a:lstStyle/>
            <a:p>
              <a:pPr lvl="0" defTabSz="457200"/>
              <a:r>
                <a:rPr lang="fr-FR" sz="800" b="1" kern="0" dirty="0" smtClean="0">
                  <a:solidFill>
                    <a:schemeClr val="accent1"/>
                  </a:solidFill>
                </a:rPr>
                <a:t>MC to Total </a:t>
              </a:r>
              <a:r>
                <a:rPr lang="fr-FR" sz="800" b="1" kern="0" dirty="0" err="1" smtClean="0">
                  <a:solidFill>
                    <a:schemeClr val="accent1"/>
                  </a:solidFill>
                </a:rPr>
                <a:t>Risk</a:t>
              </a:r>
              <a:endParaRPr lang="fr-FR" sz="800" b="1" kern="0" dirty="0">
                <a:solidFill>
                  <a:schemeClr val="accent1"/>
                </a:solidFill>
              </a:endParaRPr>
            </a:p>
          </p:txBody>
        </p:sp>
        <p:sp>
          <p:nvSpPr>
            <p:cNvPr id="25" name="Rectangle 24">
              <a:extLst>
                <a:ext uri="{FF2B5EF4-FFF2-40B4-BE49-F238E27FC236}">
                  <a16:creationId xmlns="" xmlns:a16="http://schemas.microsoft.com/office/drawing/2014/main" id="{B05F79C4-A566-4B4A-9FDD-4F4D185CD66A}"/>
                </a:ext>
              </a:extLst>
            </p:cNvPr>
            <p:cNvSpPr/>
            <p:nvPr/>
          </p:nvSpPr>
          <p:spPr bwMode="auto">
            <a:xfrm>
              <a:off x="6174459" y="6041774"/>
              <a:ext cx="108000" cy="10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grpSp>
      <p:graphicFrame>
        <p:nvGraphicFramePr>
          <p:cNvPr id="26" name="Chart 1"/>
          <p:cNvGraphicFramePr>
            <a:graphicFrameLocks/>
          </p:cNvGraphicFramePr>
          <p:nvPr>
            <p:extLst>
              <p:ext uri="{D42A27DB-BD31-4B8C-83A1-F6EECF244321}">
                <p14:modId xmlns:p14="http://schemas.microsoft.com/office/powerpoint/2010/main" val="674010868"/>
              </p:ext>
            </p:extLst>
          </p:nvPr>
        </p:nvGraphicFramePr>
        <p:xfrm>
          <a:off x="412806" y="2758028"/>
          <a:ext cx="4108394"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8" name="Chart 5"/>
          <p:cNvGraphicFramePr>
            <a:graphicFrameLocks/>
          </p:cNvGraphicFramePr>
          <p:nvPr>
            <p:extLst>
              <p:ext uri="{D42A27DB-BD31-4B8C-83A1-F6EECF244321}">
                <p14:modId xmlns:p14="http://schemas.microsoft.com/office/powerpoint/2010/main" val="3577018147"/>
              </p:ext>
            </p:extLst>
          </p:nvPr>
        </p:nvGraphicFramePr>
        <p:xfrm>
          <a:off x="4657108" y="2770928"/>
          <a:ext cx="4090583"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40024442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 </a:t>
            </a:r>
            <a:r>
              <a:rPr lang="fr-FR" dirty="0" err="1"/>
              <a:t>comprehensive</a:t>
            </a:r>
            <a:r>
              <a:rPr lang="fr-FR" dirty="0"/>
              <a:t> </a:t>
            </a:r>
            <a:r>
              <a:rPr lang="fr-FR" dirty="0" smtClean="0"/>
              <a:t>range of </a:t>
            </a:r>
            <a:r>
              <a:rPr lang="fr-FR" dirty="0"/>
              <a:t>investment </a:t>
            </a:r>
            <a:r>
              <a:rPr lang="fr-FR" dirty="0" err="1" smtClean="0"/>
              <a:t>strategies</a:t>
            </a:r>
            <a:endParaRPr lang="fr-FR" dirty="0"/>
          </a:p>
        </p:txBody>
      </p:sp>
      <p:sp>
        <p:nvSpPr>
          <p:cNvPr id="8" name="Espace réservé du contenu 7"/>
          <p:cNvSpPr>
            <a:spLocks noGrp="1"/>
          </p:cNvSpPr>
          <p:nvPr>
            <p:ph sz="half" idx="1"/>
          </p:nvPr>
        </p:nvSpPr>
        <p:spPr/>
        <p:txBody>
          <a:bodyPr/>
          <a:lstStyle/>
          <a:p>
            <a:pPr lvl="3"/>
            <a:r>
              <a:rPr lang="fr-FR" dirty="0"/>
              <a:t>Amundi + Pioneer Investments </a:t>
            </a:r>
            <a:r>
              <a:rPr lang="fr-FR" dirty="0" err="1"/>
              <a:t>AuM</a:t>
            </a:r>
            <a:r>
              <a:rPr lang="fr-FR" dirty="0"/>
              <a:t>: </a:t>
            </a:r>
            <a:r>
              <a:rPr lang="fr-FR" dirty="0" smtClean="0"/>
              <a:t/>
            </a:r>
            <a:br>
              <a:rPr lang="fr-FR" dirty="0" smtClean="0"/>
            </a:br>
            <a:r>
              <a:rPr lang="fr-FR" b="1" dirty="0" smtClean="0"/>
              <a:t>€1,400 </a:t>
            </a:r>
            <a:r>
              <a:rPr lang="fr-FR" b="1" dirty="0" err="1" smtClean="0"/>
              <a:t>bn</a:t>
            </a:r>
            <a:r>
              <a:rPr lang="fr-FR" b="1" dirty="0" smtClean="0"/>
              <a:t> </a:t>
            </a:r>
            <a:r>
              <a:rPr lang="fr-FR" b="1" dirty="0"/>
              <a:t>as of </a:t>
            </a:r>
            <a:r>
              <a:rPr lang="fr-FR" b="1" dirty="0" smtClean="0"/>
              <a:t>30/09/2017 </a:t>
            </a:r>
            <a:r>
              <a:rPr lang="fr-FR" b="1" baseline="30000" dirty="0"/>
              <a:t>(1)</a:t>
            </a:r>
          </a:p>
          <a:p>
            <a:pPr lvl="4"/>
            <a:endParaRPr lang="fr-FR" dirty="0"/>
          </a:p>
        </p:txBody>
      </p:sp>
      <p:sp>
        <p:nvSpPr>
          <p:cNvPr id="10" name="Espace réservé du contenu 9"/>
          <p:cNvSpPr>
            <a:spLocks noGrp="1"/>
          </p:cNvSpPr>
          <p:nvPr>
            <p:ph sz="half" idx="2"/>
          </p:nvPr>
        </p:nvSpPr>
        <p:spPr>
          <a:xfrm>
            <a:off x="4629150" y="1825625"/>
            <a:ext cx="3974848" cy="3849701"/>
          </a:xfrm>
        </p:spPr>
        <p:txBody>
          <a:bodyPr>
            <a:noAutofit/>
          </a:bodyPr>
          <a:lstStyle/>
          <a:p>
            <a:r>
              <a:rPr lang="fr-FR" sz="1300" dirty="0" err="1"/>
              <a:t>Innovative</a:t>
            </a:r>
            <a:r>
              <a:rPr lang="fr-FR" sz="1300" dirty="0"/>
              <a:t> and high-</a:t>
            </a:r>
            <a:r>
              <a:rPr lang="fr-FR" sz="1300" dirty="0" err="1"/>
              <a:t>performing</a:t>
            </a:r>
            <a:r>
              <a:rPr lang="fr-FR" sz="1300" dirty="0"/>
              <a:t> </a:t>
            </a:r>
            <a:r>
              <a:rPr lang="fr-FR" sz="1300" dirty="0" err="1"/>
              <a:t>products</a:t>
            </a:r>
            <a:r>
              <a:rPr lang="fr-FR" sz="1300" dirty="0"/>
              <a:t>, </a:t>
            </a:r>
            <a:r>
              <a:rPr lang="fr-FR" sz="1300" dirty="0" smtClean="0"/>
              <a:t/>
            </a:r>
            <a:br>
              <a:rPr lang="fr-FR" sz="1300" dirty="0" smtClean="0"/>
            </a:br>
            <a:r>
              <a:rPr lang="fr-FR" sz="1300" dirty="0" smtClean="0"/>
              <a:t>solutions </a:t>
            </a:r>
            <a:r>
              <a:rPr lang="fr-FR" sz="1300" dirty="0"/>
              <a:t>and services </a:t>
            </a:r>
            <a:r>
              <a:rPr lang="fr-FR" sz="1300" dirty="0" err="1"/>
              <a:t>that</a:t>
            </a:r>
            <a:r>
              <a:rPr lang="fr-FR" sz="1300" dirty="0"/>
              <a:t> </a:t>
            </a:r>
            <a:r>
              <a:rPr lang="fr-FR" sz="1300" dirty="0" err="1"/>
              <a:t>cover</a:t>
            </a:r>
            <a:r>
              <a:rPr lang="fr-FR" sz="1300" dirty="0"/>
              <a:t> the </a:t>
            </a:r>
            <a:r>
              <a:rPr lang="fr-FR" sz="1300" dirty="0" err="1"/>
              <a:t>entire</a:t>
            </a:r>
            <a:r>
              <a:rPr lang="fr-FR" sz="1300" dirty="0"/>
              <a:t> </a:t>
            </a:r>
            <a:r>
              <a:rPr lang="fr-FR" sz="1300" dirty="0" err="1"/>
              <a:t>spectrum</a:t>
            </a:r>
            <a:r>
              <a:rPr lang="fr-FR" sz="1300" dirty="0"/>
              <a:t> of investment </a:t>
            </a:r>
            <a:r>
              <a:rPr lang="fr-FR" sz="1300" dirty="0" err="1"/>
              <a:t>strategies</a:t>
            </a:r>
            <a:endParaRPr lang="fr-FR" sz="1300" dirty="0"/>
          </a:p>
          <a:p>
            <a:r>
              <a:rPr lang="fr-FR" sz="1300" dirty="0" err="1" smtClean="0"/>
              <a:t>Widely-recognized</a:t>
            </a:r>
            <a:r>
              <a:rPr lang="fr-FR" sz="1300" dirty="0" smtClean="0"/>
              <a:t> </a:t>
            </a:r>
            <a:r>
              <a:rPr lang="fr-FR" sz="1300" dirty="0"/>
              <a:t>know-how in Smart Beta, </a:t>
            </a:r>
            <a:r>
              <a:rPr lang="fr-FR" sz="1300" dirty="0" smtClean="0"/>
              <a:t/>
            </a:r>
            <a:br>
              <a:rPr lang="fr-FR" sz="1300" dirty="0" smtClean="0"/>
            </a:br>
            <a:r>
              <a:rPr lang="fr-FR" sz="1300" dirty="0" smtClean="0"/>
              <a:t>ETF</a:t>
            </a:r>
            <a:r>
              <a:rPr lang="fr-FR" sz="1300" dirty="0"/>
              <a:t>, real </a:t>
            </a:r>
            <a:r>
              <a:rPr lang="fr-FR" sz="1300" dirty="0" err="1"/>
              <a:t>estate</a:t>
            </a:r>
            <a:r>
              <a:rPr lang="fr-FR" sz="1300" dirty="0"/>
              <a:t>, alternative </a:t>
            </a:r>
            <a:r>
              <a:rPr lang="fr-FR" sz="1300" dirty="0" err="1"/>
              <a:t>assets</a:t>
            </a:r>
            <a:r>
              <a:rPr lang="fr-FR" sz="1300" dirty="0"/>
              <a:t>, </a:t>
            </a:r>
            <a:r>
              <a:rPr lang="fr-FR" sz="1300" dirty="0" err="1"/>
              <a:t>structured</a:t>
            </a:r>
            <a:r>
              <a:rPr lang="fr-FR" sz="1300" dirty="0"/>
              <a:t> </a:t>
            </a:r>
            <a:r>
              <a:rPr lang="fr-FR" sz="1300" dirty="0" smtClean="0"/>
              <a:t/>
            </a:r>
            <a:br>
              <a:rPr lang="fr-FR" sz="1300" dirty="0" smtClean="0"/>
            </a:br>
            <a:r>
              <a:rPr lang="fr-FR" sz="1300" dirty="0" smtClean="0"/>
              <a:t>and </a:t>
            </a:r>
            <a:r>
              <a:rPr lang="fr-FR" sz="1300" dirty="0" err="1"/>
              <a:t>guaranteed</a:t>
            </a:r>
            <a:r>
              <a:rPr lang="fr-FR" sz="1300" dirty="0"/>
              <a:t> solutions, </a:t>
            </a:r>
            <a:r>
              <a:rPr lang="fr-FR" sz="1300" dirty="0" err="1"/>
              <a:t>discretionary</a:t>
            </a:r>
            <a:r>
              <a:rPr lang="fr-FR" sz="1300" dirty="0"/>
              <a:t> </a:t>
            </a:r>
            <a:r>
              <a:rPr lang="fr-FR" sz="1300" dirty="0" err="1"/>
              <a:t>asset</a:t>
            </a:r>
            <a:r>
              <a:rPr lang="fr-FR" sz="1300" dirty="0"/>
              <a:t> management solutions, global </a:t>
            </a:r>
            <a:r>
              <a:rPr lang="fr-FR" sz="1300" dirty="0" err="1"/>
              <a:t>fixed</a:t>
            </a:r>
            <a:r>
              <a:rPr lang="fr-FR" sz="1300" dirty="0"/>
              <a:t> </a:t>
            </a:r>
            <a:r>
              <a:rPr lang="fr-FR" sz="1300" dirty="0" err="1"/>
              <a:t>income</a:t>
            </a:r>
            <a:r>
              <a:rPr lang="fr-FR" sz="1300" dirty="0"/>
              <a:t> </a:t>
            </a:r>
            <a:r>
              <a:rPr lang="fr-FR" sz="1300" dirty="0" smtClean="0"/>
              <a:t/>
            </a:r>
            <a:br>
              <a:rPr lang="fr-FR" sz="1300" dirty="0" smtClean="0"/>
            </a:br>
            <a:r>
              <a:rPr lang="fr-FR" sz="1300" dirty="0" smtClean="0"/>
              <a:t>and </a:t>
            </a:r>
            <a:r>
              <a:rPr lang="fr-FR" sz="1300" dirty="0"/>
              <a:t>global </a:t>
            </a:r>
            <a:r>
              <a:rPr lang="fr-FR" sz="1300" dirty="0" err="1"/>
              <a:t>equities</a:t>
            </a:r>
            <a:r>
              <a:rPr lang="fr-FR" sz="1300" dirty="0"/>
              <a:t> </a:t>
            </a:r>
          </a:p>
          <a:p>
            <a:r>
              <a:rPr lang="fr-FR" sz="1300" dirty="0" err="1" smtClean="0"/>
              <a:t>Strong</a:t>
            </a:r>
            <a:r>
              <a:rPr lang="fr-FR" sz="1300" dirty="0" smtClean="0"/>
              <a:t> </a:t>
            </a:r>
            <a:r>
              <a:rPr lang="fr-FR" sz="1300" dirty="0" err="1"/>
              <a:t>product</a:t>
            </a:r>
            <a:r>
              <a:rPr lang="fr-FR" sz="1300" dirty="0"/>
              <a:t> expertise in </a:t>
            </a:r>
            <a:r>
              <a:rPr lang="fr-FR" sz="1300" dirty="0" err="1"/>
              <a:t>European</a:t>
            </a:r>
            <a:r>
              <a:rPr lang="fr-FR" sz="1300" dirty="0"/>
              <a:t>, US </a:t>
            </a:r>
            <a:r>
              <a:rPr lang="fr-FR" sz="1300" dirty="0" err="1"/>
              <a:t>fixed</a:t>
            </a:r>
            <a:r>
              <a:rPr lang="fr-FR" sz="1300" dirty="0"/>
              <a:t> </a:t>
            </a:r>
            <a:r>
              <a:rPr lang="fr-FR" sz="1300" dirty="0" err="1"/>
              <a:t>income</a:t>
            </a:r>
            <a:r>
              <a:rPr lang="fr-FR" sz="1300" dirty="0"/>
              <a:t> and </a:t>
            </a:r>
            <a:r>
              <a:rPr lang="fr-FR" sz="1300" dirty="0" err="1"/>
              <a:t>Emerging</a:t>
            </a:r>
            <a:r>
              <a:rPr lang="fr-FR" sz="1300" dirty="0"/>
              <a:t> Market </a:t>
            </a:r>
            <a:r>
              <a:rPr lang="fr-FR" sz="1300" dirty="0" err="1"/>
              <a:t>debt</a:t>
            </a:r>
            <a:endParaRPr lang="fr-FR" sz="1300" dirty="0"/>
          </a:p>
          <a:p>
            <a:endParaRPr lang="fr-FR" dirty="0"/>
          </a:p>
          <a:p>
            <a:pPr marL="6350" indent="0">
              <a:buNone/>
            </a:pPr>
            <a:endParaRPr lang="fr-FR" dirty="0"/>
          </a:p>
          <a:p>
            <a:endParaRPr lang="fr-FR" dirty="0"/>
          </a:p>
        </p:txBody>
      </p:sp>
      <p:sp>
        <p:nvSpPr>
          <p:cNvPr id="4" name="ZoneTexte 3"/>
          <p:cNvSpPr txBox="1"/>
          <p:nvPr/>
        </p:nvSpPr>
        <p:spPr>
          <a:xfrm>
            <a:off x="753415" y="2267486"/>
            <a:ext cx="34289" cy="300082"/>
          </a:xfrm>
          <a:prstGeom prst="rect">
            <a:avLst/>
          </a:prstGeom>
          <a:noFill/>
        </p:spPr>
        <p:txBody>
          <a:bodyPr wrap="square" rtlCol="0">
            <a:spAutoFit/>
          </a:bodyPr>
          <a:lstStyle/>
          <a:p>
            <a:endParaRPr lang="fr-FR" sz="1350" dirty="0"/>
          </a:p>
        </p:txBody>
      </p:sp>
      <p:sp>
        <p:nvSpPr>
          <p:cNvPr id="11" name="AutoShape 6"/>
          <p:cNvSpPr>
            <a:spLocks noChangeArrowheads="1"/>
          </p:cNvSpPr>
          <p:nvPr>
            <p:custDataLst>
              <p:tags r:id="rId1"/>
            </p:custDataLst>
          </p:nvPr>
        </p:nvSpPr>
        <p:spPr bwMode="gray">
          <a:xfrm>
            <a:off x="539999" y="2425192"/>
            <a:ext cx="3495452" cy="284754"/>
          </a:xfrm>
          <a:prstGeom prst="roundRect">
            <a:avLst>
              <a:gd name="adj" fmla="val 0"/>
            </a:avLst>
          </a:prstGeom>
          <a:solidFill>
            <a:srgbClr val="1496C9"/>
          </a:solidFill>
          <a:ln w="9525">
            <a:noFill/>
          </a:ln>
          <a:extLst/>
        </p:spPr>
        <p:txBody>
          <a:bodyPr wrap="square" tIns="64800" bIns="64800" rtlCol="0" anchor="ctr">
            <a:spAutoFit/>
          </a:bodyPr>
          <a:lstStyle/>
          <a:p>
            <a:pPr algn="ctr" defTabSz="342900"/>
            <a:r>
              <a:rPr lang="en-US" sz="1000" b="1" kern="0" dirty="0">
                <a:solidFill>
                  <a:srgbClr val="FFFFFF"/>
                </a:solidFill>
              </a:rPr>
              <a:t>Breakdown of AuM by asset </a:t>
            </a:r>
            <a:r>
              <a:rPr lang="en-US" sz="1000" b="1" kern="0" dirty="0" smtClean="0">
                <a:solidFill>
                  <a:srgbClr val="FFFFFF"/>
                </a:solidFill>
              </a:rPr>
              <a:t>class</a:t>
            </a:r>
            <a:r>
              <a:rPr lang="en-US" sz="1000" b="1" kern="0" baseline="30000" dirty="0">
                <a:solidFill>
                  <a:srgbClr val="FFFFFF"/>
                </a:solidFill>
              </a:rPr>
              <a:t>(1</a:t>
            </a:r>
            <a:r>
              <a:rPr lang="en-US" sz="1000" b="1" kern="0" baseline="30000" dirty="0" smtClean="0">
                <a:solidFill>
                  <a:srgbClr val="FFFFFF"/>
                </a:solidFill>
              </a:rPr>
              <a:t>)</a:t>
            </a:r>
            <a:r>
              <a:rPr lang="en-US" sz="1000" b="1" kern="0" dirty="0" smtClean="0">
                <a:solidFill>
                  <a:srgbClr val="FFFFFF"/>
                </a:solidFill>
              </a:rPr>
              <a:t> </a:t>
            </a:r>
            <a:endParaRPr lang="en-US" sz="1000" b="1" kern="0" dirty="0">
              <a:solidFill>
                <a:srgbClr val="FFFFFF"/>
              </a:solidFill>
            </a:endParaRPr>
          </a:p>
        </p:txBody>
      </p:sp>
      <p:graphicFrame>
        <p:nvGraphicFramePr>
          <p:cNvPr id="12" name="1198226.75143.625244.757"/>
          <p:cNvGraphicFramePr>
            <a:graphicFrameLocks/>
          </p:cNvGraphicFramePr>
          <p:nvPr>
            <p:custDataLst>
              <p:tags r:id="rId2"/>
            </p:custDataLst>
            <p:extLst>
              <p:ext uri="{D42A27DB-BD31-4B8C-83A1-F6EECF244321}">
                <p14:modId xmlns:p14="http://schemas.microsoft.com/office/powerpoint/2010/main" val="3789421570"/>
              </p:ext>
            </p:extLst>
          </p:nvPr>
        </p:nvGraphicFramePr>
        <p:xfrm>
          <a:off x="539999" y="2871670"/>
          <a:ext cx="3495452" cy="2305132"/>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p:cNvSpPr/>
          <p:nvPr/>
        </p:nvSpPr>
        <p:spPr>
          <a:xfrm>
            <a:off x="539750" y="5566664"/>
            <a:ext cx="2559710" cy="246221"/>
          </a:xfrm>
          <a:prstGeom prst="rect">
            <a:avLst/>
          </a:prstGeom>
        </p:spPr>
        <p:txBody>
          <a:bodyPr wrap="square" lIns="0" tIns="0" rIns="0" bIns="0">
            <a:spAutoFit/>
          </a:bodyPr>
          <a:lstStyle/>
          <a:p>
            <a:pPr marL="6350" indent="0">
              <a:buNone/>
            </a:pPr>
            <a:r>
              <a:rPr lang="fr-FR" sz="800" dirty="0" smtClean="0">
                <a:solidFill>
                  <a:schemeClr val="tx2">
                    <a:lumMod val="60000"/>
                    <a:lumOff val="40000"/>
                  </a:schemeClr>
                </a:solidFill>
              </a:rPr>
              <a:t>(1) Source:  Amundi  </a:t>
            </a:r>
            <a:r>
              <a:rPr lang="fr-FR" sz="800" dirty="0">
                <a:solidFill>
                  <a:schemeClr val="tx2">
                    <a:lumMod val="60000"/>
                    <a:lumOff val="40000"/>
                  </a:schemeClr>
                </a:solidFill>
              </a:rPr>
              <a:t>&amp; Pioneer </a:t>
            </a:r>
            <a:r>
              <a:rPr lang="fr-FR" sz="800" dirty="0" err="1">
                <a:solidFill>
                  <a:schemeClr val="tx2">
                    <a:lumMod val="60000"/>
                    <a:lumOff val="40000"/>
                  </a:schemeClr>
                </a:solidFill>
              </a:rPr>
              <a:t>Investments</a:t>
            </a:r>
            <a:r>
              <a:rPr lang="fr-FR" sz="800" dirty="0">
                <a:solidFill>
                  <a:schemeClr val="tx2">
                    <a:lumMod val="60000"/>
                    <a:lumOff val="40000"/>
                  </a:schemeClr>
                </a:solidFill>
              </a:rPr>
              <a:t> pro forma </a:t>
            </a:r>
            <a:r>
              <a:rPr lang="fr-FR" sz="800" dirty="0" err="1">
                <a:solidFill>
                  <a:schemeClr val="tx2">
                    <a:lumMod val="60000"/>
                    <a:lumOff val="40000"/>
                  </a:schemeClr>
                </a:solidFill>
              </a:rPr>
              <a:t>combined</a:t>
            </a:r>
            <a:r>
              <a:rPr lang="fr-FR" sz="800" dirty="0">
                <a:solidFill>
                  <a:schemeClr val="tx2">
                    <a:lumMod val="60000"/>
                    <a:lumOff val="40000"/>
                  </a:schemeClr>
                </a:solidFill>
              </a:rPr>
              <a:t> figures </a:t>
            </a:r>
            <a:r>
              <a:rPr lang="fr-FR" sz="800" dirty="0" smtClean="0">
                <a:solidFill>
                  <a:schemeClr val="tx2">
                    <a:lumMod val="60000"/>
                    <a:lumOff val="40000"/>
                  </a:schemeClr>
                </a:solidFill>
              </a:rPr>
              <a:t>as </a:t>
            </a:r>
            <a:r>
              <a:rPr lang="fr-FR" sz="800" dirty="0">
                <a:solidFill>
                  <a:schemeClr val="tx2">
                    <a:lumMod val="60000"/>
                    <a:lumOff val="40000"/>
                  </a:schemeClr>
                </a:solidFill>
              </a:rPr>
              <a:t>of end December 2016.</a:t>
            </a:r>
          </a:p>
        </p:txBody>
      </p:sp>
      <p:sp>
        <p:nvSpPr>
          <p:cNvPr id="14" name="Espace réservé du numéro de diapositive 5"/>
          <p:cNvSpPr>
            <a:spLocks noGrp="1"/>
          </p:cNvSpPr>
          <p:nvPr>
            <p:ph type="sldNum" sz="quarter" idx="12"/>
          </p:nvPr>
        </p:nvSpPr>
        <p:spPr>
          <a:xfrm>
            <a:off x="540000" y="6480000"/>
            <a:ext cx="180000" cy="180000"/>
          </a:xfrm>
        </p:spPr>
        <p:txBody>
          <a:bodyPr/>
          <a:lstStyle/>
          <a:p>
            <a:fld id="{2B1C6FFC-D040-034F-8B69-20295064E64D}" type="slidenum">
              <a:rPr lang="fr-FR" smtClean="0"/>
              <a:t>3</a:t>
            </a:fld>
            <a:endParaRPr lang="fr-FR" dirty="0"/>
          </a:p>
        </p:txBody>
      </p:sp>
      <p:sp>
        <p:nvSpPr>
          <p:cNvPr id="15" name="Espace réservé du pied de page 29">
            <a:extLst>
              <a:ext uri="{FF2B5EF4-FFF2-40B4-BE49-F238E27FC236}">
                <a16:creationId xmlns="" xmlns:a16="http://schemas.microsoft.com/office/drawing/2014/main" id="{2F4B790A-6EFD-4658-B73D-98008C1C5B5F}"/>
              </a:ext>
            </a:extLst>
          </p:cNvPr>
          <p:cNvSpPr>
            <a:spLocks noGrp="1"/>
          </p:cNvSpPr>
          <p:nvPr>
            <p:ph type="ftr" sz="quarter" idx="11"/>
          </p:nvPr>
        </p:nvSpPr>
        <p:spPr>
          <a:xfrm>
            <a:off x="796719" y="6480000"/>
            <a:ext cx="5212196" cy="180000"/>
          </a:xfrm>
        </p:spPr>
        <p:txBody>
          <a:bodyPr/>
          <a:lstStyle/>
          <a:p>
            <a:r>
              <a:rPr lang="en-US" dirty="0"/>
              <a:t>Smart Beta - Investment </a:t>
            </a:r>
            <a:r>
              <a:rPr lang="en-US" dirty="0" smtClean="0"/>
              <a:t>Solutions</a:t>
            </a:r>
            <a:endParaRPr lang="fr-FR" dirty="0"/>
          </a:p>
        </p:txBody>
      </p:sp>
    </p:spTree>
    <p:extLst>
      <p:ext uri="{BB962C8B-B14F-4D97-AF65-F5344CB8AC3E}">
        <p14:creationId xmlns:p14="http://schemas.microsoft.com/office/powerpoint/2010/main" val="412963421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7">
            <a:extLst>
              <a:ext uri="{FF2B5EF4-FFF2-40B4-BE49-F238E27FC236}">
                <a16:creationId xmlns="" xmlns:a16="http://schemas.microsoft.com/office/drawing/2014/main" id="{E26272D1-DA7B-448D-9C96-A33C84E8FB23}"/>
              </a:ext>
            </a:extLst>
          </p:cNvPr>
          <p:cNvSpPr>
            <a:spLocks noGrp="1"/>
          </p:cNvSpPr>
          <p:nvPr>
            <p:ph type="body" sz="quarter" idx="13"/>
          </p:nvPr>
        </p:nvSpPr>
        <p:spPr/>
        <p:txBody>
          <a:bodyPr/>
          <a:lstStyle/>
          <a:p>
            <a:r>
              <a:rPr lang="fr-BE" dirty="0"/>
              <a:t>03</a:t>
            </a:r>
          </a:p>
          <a:p>
            <a:endParaRPr lang="fr-BE" dirty="0"/>
          </a:p>
        </p:txBody>
      </p:sp>
      <p:sp>
        <p:nvSpPr>
          <p:cNvPr id="7" name="Titre 6">
            <a:extLst>
              <a:ext uri="{FF2B5EF4-FFF2-40B4-BE49-F238E27FC236}">
                <a16:creationId xmlns="" xmlns:a16="http://schemas.microsoft.com/office/drawing/2014/main" id="{DA5CA6E9-8A86-471A-90B4-750CAD6563D2}"/>
              </a:ext>
            </a:extLst>
          </p:cNvPr>
          <p:cNvSpPr>
            <a:spLocks noGrp="1"/>
          </p:cNvSpPr>
          <p:nvPr>
            <p:ph type="title"/>
          </p:nvPr>
        </p:nvSpPr>
        <p:spPr/>
        <p:txBody>
          <a:bodyPr>
            <a:normAutofit/>
          </a:bodyPr>
          <a:lstStyle/>
          <a:p>
            <a:r>
              <a:rPr lang="en-US" dirty="0"/>
              <a:t>Factor </a:t>
            </a:r>
            <a:r>
              <a:rPr lang="en-US" dirty="0" smtClean="0"/>
              <a:t>Investing</a:t>
            </a:r>
            <a:endParaRPr lang="en-US" dirty="0"/>
          </a:p>
        </p:txBody>
      </p:sp>
      <p:sp>
        <p:nvSpPr>
          <p:cNvPr id="2" name="Text Placeholder 1"/>
          <p:cNvSpPr>
            <a:spLocks noGrp="1"/>
          </p:cNvSpPr>
          <p:nvPr>
            <p:ph type="body" idx="1"/>
          </p:nvPr>
        </p:nvSpPr>
        <p:spPr/>
        <p:txBody>
          <a:bodyPr>
            <a:normAutofit fontScale="40000" lnSpcReduction="20000"/>
          </a:bodyPr>
          <a:lstStyle/>
          <a:p>
            <a:r>
              <a:rPr lang="en-US" sz="5100" dirty="0"/>
              <a:t>From mono to multi factors</a:t>
            </a:r>
            <a:br>
              <a:rPr lang="en-US" sz="5100" dirty="0"/>
            </a:br>
            <a:endParaRPr lang="en-US" sz="5100" dirty="0" smtClean="0"/>
          </a:p>
          <a:p>
            <a:pPr marL="342900" indent="-342900">
              <a:buFont typeface="Arial" panose="020B0604020202020204" pitchFamily="34" charset="0"/>
              <a:buChar char="•"/>
            </a:pPr>
            <a:r>
              <a:rPr lang="en-US" sz="2800" dirty="0" smtClean="0"/>
              <a:t>Multi Beta Multi Smart with ERI Scientific Beta </a:t>
            </a:r>
          </a:p>
          <a:p>
            <a:pPr marL="342900" indent="-342900">
              <a:buFont typeface="Arial" panose="020B0604020202020204" pitchFamily="34" charset="0"/>
              <a:buChar char="•"/>
            </a:pPr>
            <a:r>
              <a:rPr lang="en-US" sz="2800" dirty="0" smtClean="0"/>
              <a:t>Dynamic Factor allocation</a:t>
            </a:r>
          </a:p>
          <a:p>
            <a:pPr marL="342900" indent="-342900">
              <a:buFont typeface="Arial" panose="020B0604020202020204" pitchFamily="34" charset="0"/>
              <a:buChar char="•"/>
            </a:pPr>
            <a:r>
              <a:rPr lang="en-US" sz="2800" dirty="0" smtClean="0"/>
              <a:t>CPR AM solution</a:t>
            </a:r>
            <a:endParaRPr lang="en-US" sz="2800" dirty="0"/>
          </a:p>
        </p:txBody>
      </p:sp>
      <p:sp>
        <p:nvSpPr>
          <p:cNvPr id="20" name="Espace réservé du numéro de diapositive 4">
            <a:extLst>
              <a:ext uri="{FF2B5EF4-FFF2-40B4-BE49-F238E27FC236}">
                <a16:creationId xmlns="" xmlns:a16="http://schemas.microsoft.com/office/drawing/2014/main" id="{1525FDB3-4D6A-4970-97BB-DB49570F5E91}"/>
              </a:ext>
            </a:extLst>
          </p:cNvPr>
          <p:cNvSpPr>
            <a:spLocks noGrp="1"/>
          </p:cNvSpPr>
          <p:nvPr>
            <p:ph type="sldNum" sz="quarter" idx="12"/>
          </p:nvPr>
        </p:nvSpPr>
        <p:spPr>
          <a:xfrm>
            <a:off x="540000" y="6480000"/>
            <a:ext cx="180000" cy="180000"/>
          </a:xfrm>
        </p:spPr>
        <p:txBody>
          <a:bodyPr/>
          <a:lstStyle/>
          <a:p>
            <a:fld id="{2B1C6FFC-D040-034F-8B69-20295064E64D}" type="slidenum">
              <a:rPr lang="fr-FR" smtClean="0"/>
              <a:t>30</a:t>
            </a:fld>
            <a:endParaRPr lang="fr-FR" dirty="0"/>
          </a:p>
        </p:txBody>
      </p:sp>
      <p:sp>
        <p:nvSpPr>
          <p:cNvPr id="9"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Tree>
    <p:extLst>
      <p:ext uri="{BB962C8B-B14F-4D97-AF65-F5344CB8AC3E}">
        <p14:creationId xmlns:p14="http://schemas.microsoft.com/office/powerpoint/2010/main" val="2357106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0" y="1560513"/>
            <a:ext cx="9144000" cy="41433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spcBef>
                <a:spcPts val="1000"/>
              </a:spcBef>
              <a:buClr>
                <a:schemeClr val="accent1"/>
              </a:buClr>
              <a:buSzPct val="130000"/>
              <a:buFont typeface="CambriaMath" charset="0"/>
              <a:buChar char="⎯"/>
              <a:defRPr sz="1600">
                <a:solidFill>
                  <a:schemeClr val="tx2"/>
                </a:solidFill>
                <a:latin typeface="Arial" pitchFamily="34" charset="0"/>
                <a:ea typeface="ＭＳ Ｐゴシック" pitchFamily="34" charset="-128"/>
              </a:defRPr>
            </a:lvl1pPr>
            <a:lvl2pPr marL="742950" indent="-285750" eaLnBrk="0" hangingPunct="0">
              <a:spcBef>
                <a:spcPts val="500"/>
              </a:spcBef>
              <a:buClr>
                <a:schemeClr val="accent2"/>
              </a:buClr>
              <a:buFont typeface="CambriaMath" charset="0"/>
              <a:buChar char="⎯"/>
              <a:defRPr sz="1400">
                <a:solidFill>
                  <a:schemeClr val="tx2"/>
                </a:solidFill>
                <a:latin typeface="Arial" pitchFamily="34" charset="0"/>
                <a:ea typeface="ＭＳ Ｐゴシック" pitchFamily="34" charset="-128"/>
              </a:defRPr>
            </a:lvl2pPr>
            <a:lvl3pPr marL="1143000" indent="-228600" eaLnBrk="0" hangingPunct="0">
              <a:spcBef>
                <a:spcPts val="500"/>
              </a:spcBef>
              <a:buClr>
                <a:schemeClr val="accent2"/>
              </a:buClr>
              <a:buFont typeface="LucidaGrande-Bold" charset="0"/>
              <a:buChar char="⁃"/>
              <a:defRPr sz="1200">
                <a:solidFill>
                  <a:schemeClr val="tx2"/>
                </a:solidFill>
                <a:latin typeface="Arial" pitchFamily="34" charset="0"/>
                <a:ea typeface="ＭＳ Ｐゴシック" pitchFamily="34" charset="-128"/>
              </a:defRPr>
            </a:lvl3pPr>
            <a:lvl4pPr marL="1600200" indent="-228600" eaLnBrk="0" hangingPunct="0">
              <a:spcBef>
                <a:spcPts val="500"/>
              </a:spcBef>
              <a:buFont typeface="Arial" pitchFamily="34" charset="0"/>
              <a:defRPr sz="1200">
                <a:solidFill>
                  <a:schemeClr val="tx1"/>
                </a:solidFill>
                <a:latin typeface="Arial" pitchFamily="34" charset="0"/>
                <a:ea typeface="ＭＳ Ｐゴシック" pitchFamily="34" charset="-128"/>
              </a:defRPr>
            </a:lvl4pPr>
            <a:lvl5pPr marL="2057400" indent="-228600" eaLnBrk="0" hangingPunct="0">
              <a:spcBef>
                <a:spcPts val="500"/>
              </a:spcBef>
              <a:buFont typeface="Arial" pitchFamily="34" charset="0"/>
              <a:defRPr sz="1200">
                <a:solidFill>
                  <a:schemeClr val="accent1"/>
                </a:solidFill>
                <a:latin typeface="Arial" pitchFamily="34" charset="0"/>
                <a:ea typeface="ＭＳ Ｐゴシック" pitchFamily="34" charset="-128"/>
              </a:defRPr>
            </a:lvl5pPr>
            <a:lvl6pPr marL="2514600" indent="-228600"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6pPr>
            <a:lvl7pPr marL="2971800" indent="-228600"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7pPr>
            <a:lvl8pPr marL="3429000" indent="-228600"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8pPr>
            <a:lvl9pPr marL="3886200" indent="-228600"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9pPr>
          </a:lstStyle>
          <a:p>
            <a:pPr algn="ctr" eaLnBrk="1" hangingPunct="1">
              <a:spcBef>
                <a:spcPct val="0"/>
              </a:spcBef>
              <a:buClrTx/>
              <a:buSzTx/>
              <a:buFontTx/>
              <a:buNone/>
              <a:defRPr/>
            </a:pPr>
            <a:endParaRPr lang="en-GB" altLang="en-US" sz="1800" smtClean="0">
              <a:solidFill>
                <a:srgbClr val="FFFFFF"/>
              </a:solidFill>
            </a:endParaRPr>
          </a:p>
        </p:txBody>
      </p:sp>
      <p:sp>
        <p:nvSpPr>
          <p:cNvPr id="63" name="Rectangle 62">
            <a:extLst>
              <a:ext uri="{FF2B5EF4-FFF2-40B4-BE49-F238E27FC236}">
                <a16:creationId xmlns="" xmlns:a16="http://schemas.microsoft.com/office/drawing/2014/main" id="{D7C47AB7-5B19-43D3-B0DA-17A1F03F4011}"/>
              </a:ext>
            </a:extLst>
          </p:cNvPr>
          <p:cNvSpPr/>
          <p:nvPr/>
        </p:nvSpPr>
        <p:spPr>
          <a:xfrm>
            <a:off x="6772275" y="3561630"/>
            <a:ext cx="820481" cy="594000"/>
          </a:xfrm>
          <a:prstGeom prst="rect">
            <a:avLst/>
          </a:prstGeom>
          <a:pattFill prst="ltDnDiag">
            <a:fgClr>
              <a:schemeClr val="bg2"/>
            </a:fgClr>
            <a:bgClr>
              <a:schemeClr val="bg1"/>
            </a:bgClr>
          </a:patt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schemeClr val="bg2"/>
              </a:solidFill>
            </a:endParaRPr>
          </a:p>
        </p:txBody>
      </p:sp>
      <p:sp>
        <p:nvSpPr>
          <p:cNvPr id="38" name="Rectangle 37">
            <a:extLst>
              <a:ext uri="{FF2B5EF4-FFF2-40B4-BE49-F238E27FC236}">
                <a16:creationId xmlns="" xmlns:a16="http://schemas.microsoft.com/office/drawing/2014/main" id="{D43B9F64-A9CD-4320-A5F9-12137D9394D8}"/>
              </a:ext>
            </a:extLst>
          </p:cNvPr>
          <p:cNvSpPr/>
          <p:nvPr/>
        </p:nvSpPr>
        <p:spPr>
          <a:xfrm>
            <a:off x="6772275" y="2047372"/>
            <a:ext cx="820481" cy="594000"/>
          </a:xfrm>
          <a:prstGeom prst="rect">
            <a:avLst/>
          </a:prstGeom>
          <a:pattFill prst="ltDnDiag">
            <a:fgClr>
              <a:schemeClr val="bg2"/>
            </a:fgClr>
            <a:bgClr>
              <a:schemeClr val="bg1"/>
            </a:bgClr>
          </a:patt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schemeClr val="bg2"/>
              </a:solidFill>
            </a:endParaRPr>
          </a:p>
        </p:txBody>
      </p:sp>
      <p:sp>
        <p:nvSpPr>
          <p:cNvPr id="53" name="Rectangle 52">
            <a:extLst>
              <a:ext uri="{FF2B5EF4-FFF2-40B4-BE49-F238E27FC236}">
                <a16:creationId xmlns="" xmlns:a16="http://schemas.microsoft.com/office/drawing/2014/main" id="{D7C47AB7-5B19-43D3-B0DA-17A1F03F4011}"/>
              </a:ext>
            </a:extLst>
          </p:cNvPr>
          <p:cNvSpPr/>
          <p:nvPr/>
        </p:nvSpPr>
        <p:spPr>
          <a:xfrm>
            <a:off x="5990569" y="3562529"/>
            <a:ext cx="756000" cy="594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4" name="Rectangle 43">
            <a:extLst>
              <a:ext uri="{FF2B5EF4-FFF2-40B4-BE49-F238E27FC236}">
                <a16:creationId xmlns="" xmlns:a16="http://schemas.microsoft.com/office/drawing/2014/main" id="{EEA99643-3C1E-4DA7-8D5F-D09243D5D1F9}"/>
              </a:ext>
            </a:extLst>
          </p:cNvPr>
          <p:cNvSpPr/>
          <p:nvPr/>
        </p:nvSpPr>
        <p:spPr>
          <a:xfrm>
            <a:off x="3588397" y="3064325"/>
            <a:ext cx="1967205" cy="369332"/>
          </a:xfrm>
          <a:prstGeom prst="rect">
            <a:avLst/>
          </a:prstGeom>
        </p:spPr>
        <p:txBody>
          <a:bodyPr wrap="none">
            <a:spAutoFit/>
          </a:bodyPr>
          <a:lstStyle/>
          <a:p>
            <a:r>
              <a:rPr lang="en-US" altLang="fr-FR" b="1" dirty="0">
                <a:cs typeface="Arial" charset="0"/>
              </a:rPr>
              <a:t>Factor Investing</a:t>
            </a:r>
          </a:p>
        </p:txBody>
      </p:sp>
      <p:sp>
        <p:nvSpPr>
          <p:cNvPr id="2" name="Titre 1">
            <a:extLst>
              <a:ext uri="{FF2B5EF4-FFF2-40B4-BE49-F238E27FC236}">
                <a16:creationId xmlns="" xmlns:a16="http://schemas.microsoft.com/office/drawing/2014/main" id="{67CD6FF7-CE0F-4901-BB8D-69901CB2EC12}"/>
              </a:ext>
            </a:extLst>
          </p:cNvPr>
          <p:cNvSpPr>
            <a:spLocks noGrp="1"/>
          </p:cNvSpPr>
          <p:nvPr>
            <p:ph type="title"/>
          </p:nvPr>
        </p:nvSpPr>
        <p:spPr/>
        <p:txBody>
          <a:bodyPr/>
          <a:lstStyle/>
          <a:p>
            <a:r>
              <a:rPr lang="en-US" dirty="0">
                <a:solidFill>
                  <a:schemeClr val="accent1"/>
                </a:solidFill>
              </a:rPr>
              <a:t>Factor Theory: </a:t>
            </a:r>
            <a:r>
              <a:rPr lang="en-US" dirty="0"/>
              <a:t>from CAPM to Factor investing</a:t>
            </a:r>
            <a:endParaRPr lang="fr-FR" dirty="0"/>
          </a:p>
        </p:txBody>
      </p:sp>
      <p:sp>
        <p:nvSpPr>
          <p:cNvPr id="5" name="Espace réservé du numéro de diapositive 4">
            <a:extLst>
              <a:ext uri="{FF2B5EF4-FFF2-40B4-BE49-F238E27FC236}">
                <a16:creationId xmlns="" xmlns:a16="http://schemas.microsoft.com/office/drawing/2014/main" id="{B0C99078-B8D8-4D34-BEC0-81DDA88A48F7}"/>
              </a:ext>
            </a:extLst>
          </p:cNvPr>
          <p:cNvSpPr>
            <a:spLocks noGrp="1"/>
          </p:cNvSpPr>
          <p:nvPr>
            <p:ph type="sldNum" sz="quarter" idx="12"/>
          </p:nvPr>
        </p:nvSpPr>
        <p:spPr/>
        <p:txBody>
          <a:bodyPr/>
          <a:lstStyle/>
          <a:p>
            <a:fld id="{2B1C6FFC-D040-034F-8B69-20295064E64D}" type="slidenum">
              <a:rPr lang="fr-FR" smtClean="0"/>
              <a:pPr/>
              <a:t>31</a:t>
            </a:fld>
            <a:endParaRPr lang="fr-FR" dirty="0"/>
          </a:p>
        </p:txBody>
      </p:sp>
      <p:sp>
        <p:nvSpPr>
          <p:cNvPr id="32" name="TextBox 64">
            <a:extLst>
              <a:ext uri="{FF2B5EF4-FFF2-40B4-BE49-F238E27FC236}">
                <a16:creationId xmlns="" xmlns:a16="http://schemas.microsoft.com/office/drawing/2014/main" id="{D71C4CE1-167E-4A07-B285-E29B8241C2A7}"/>
              </a:ext>
            </a:extLst>
          </p:cNvPr>
          <p:cNvSpPr txBox="1"/>
          <p:nvPr/>
        </p:nvSpPr>
        <p:spPr>
          <a:xfrm>
            <a:off x="5901362" y="4203364"/>
            <a:ext cx="1499319" cy="276999"/>
          </a:xfrm>
          <a:prstGeom prst="rect">
            <a:avLst/>
          </a:prstGeom>
          <a:solidFill>
            <a:schemeClr val="bg1"/>
          </a:solidFill>
          <a:ln>
            <a:solidFill>
              <a:schemeClr val="tx1"/>
            </a:solidFill>
          </a:ln>
        </p:spPr>
        <p:txBody>
          <a:bodyPr wrap="square" rtlCol="0">
            <a:spAutoFit/>
          </a:bodyPr>
          <a:lstStyle/>
          <a:p>
            <a:pPr algn="ctr"/>
            <a:r>
              <a:rPr kumimoji="1" lang="en-US" altLang="ja-JP" sz="1200" dirty="0"/>
              <a:t>“New” Alpha</a:t>
            </a:r>
            <a:endParaRPr kumimoji="1" lang="ja-JP" altLang="en-US" sz="1200" dirty="0"/>
          </a:p>
        </p:txBody>
      </p:sp>
      <p:sp>
        <p:nvSpPr>
          <p:cNvPr id="34" name="Rectangle 33">
            <a:extLst>
              <a:ext uri="{FF2B5EF4-FFF2-40B4-BE49-F238E27FC236}">
                <a16:creationId xmlns="" xmlns:a16="http://schemas.microsoft.com/office/drawing/2014/main" id="{13FF744C-3081-4DB9-AA9F-E1EE21A6974B}"/>
              </a:ext>
            </a:extLst>
          </p:cNvPr>
          <p:cNvSpPr/>
          <p:nvPr/>
        </p:nvSpPr>
        <p:spPr>
          <a:xfrm>
            <a:off x="4139830" y="1611931"/>
            <a:ext cx="864339" cy="369332"/>
          </a:xfrm>
          <a:prstGeom prst="rect">
            <a:avLst/>
          </a:prstGeom>
        </p:spPr>
        <p:txBody>
          <a:bodyPr wrap="none">
            <a:spAutoFit/>
          </a:bodyPr>
          <a:lstStyle/>
          <a:p>
            <a:r>
              <a:rPr lang="en-US" altLang="fr-FR" b="1" dirty="0">
                <a:cs typeface="Arial" charset="0"/>
              </a:rPr>
              <a:t>CAPM</a:t>
            </a:r>
            <a:endParaRPr lang="fr-FR" b="1" dirty="0"/>
          </a:p>
        </p:txBody>
      </p:sp>
      <p:sp>
        <p:nvSpPr>
          <p:cNvPr id="37" name="Rectangle 36">
            <a:extLst>
              <a:ext uri="{FF2B5EF4-FFF2-40B4-BE49-F238E27FC236}">
                <a16:creationId xmlns="" xmlns:a16="http://schemas.microsoft.com/office/drawing/2014/main" id="{5C71B2A3-01F6-460A-B3EC-9C1907C5D4BC}"/>
              </a:ext>
            </a:extLst>
          </p:cNvPr>
          <p:cNvSpPr/>
          <p:nvPr/>
        </p:nvSpPr>
        <p:spPr>
          <a:xfrm>
            <a:off x="927912" y="4873732"/>
            <a:ext cx="8063998" cy="591209"/>
          </a:xfrm>
          <a:prstGeom prst="rect">
            <a:avLst/>
          </a:prstGeom>
          <a:noFill/>
          <a:ln w="9525" algn="ctr">
            <a:noFill/>
            <a:miter lim="800000"/>
            <a:headEnd/>
            <a:tailEnd/>
          </a:ln>
          <a:effectLst/>
        </p:spPr>
        <p:txBody>
          <a:bodyPr rot="0" spcFirstLastPara="0" vertOverflow="overflow" horzOverflow="overflow" vert="horz" wrap="square" lIns="96744" tIns="48372" rIns="96744" bIns="48372" numCol="1" spcCol="0" rtlCol="0" fromWordArt="0" anchor="ctr" anchorCtr="0" forceAA="0" compatLnSpc="1">
            <a:prstTxWarp prst="textNoShape">
              <a:avLst/>
            </a:prstTxWarp>
            <a:noAutofit/>
          </a:bodyPr>
          <a:lstStyle/>
          <a:p>
            <a:pPr defTabSz="966788">
              <a:spcBef>
                <a:spcPct val="0"/>
              </a:spcBef>
            </a:pPr>
            <a:r>
              <a:rPr lang="en-US" sz="1400" kern="0" dirty="0"/>
              <a:t>Within each factor, stocks share similar style characteristics and behavior and have the same level of expected returns</a:t>
            </a:r>
          </a:p>
        </p:txBody>
      </p:sp>
      <p:sp>
        <p:nvSpPr>
          <p:cNvPr id="3" name="Rectangle 2">
            <a:extLst>
              <a:ext uri="{FF2B5EF4-FFF2-40B4-BE49-F238E27FC236}">
                <a16:creationId xmlns="" xmlns:a16="http://schemas.microsoft.com/office/drawing/2014/main" id="{7682B614-6B0D-4395-B9F6-05964443E965}"/>
              </a:ext>
            </a:extLst>
          </p:cNvPr>
          <p:cNvSpPr/>
          <p:nvPr/>
        </p:nvSpPr>
        <p:spPr>
          <a:xfrm>
            <a:off x="943206" y="2050225"/>
            <a:ext cx="931344" cy="59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0" name="Rectangle 39">
            <a:extLst>
              <a:ext uri="{FF2B5EF4-FFF2-40B4-BE49-F238E27FC236}">
                <a16:creationId xmlns="" xmlns:a16="http://schemas.microsoft.com/office/drawing/2014/main" id="{12FCF297-C917-4CC2-9290-994FBA539610}"/>
              </a:ext>
            </a:extLst>
          </p:cNvPr>
          <p:cNvSpPr/>
          <p:nvPr/>
        </p:nvSpPr>
        <p:spPr>
          <a:xfrm>
            <a:off x="1874549" y="2050225"/>
            <a:ext cx="3397109" cy="59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1" name="Rectangle 40">
            <a:extLst>
              <a:ext uri="{FF2B5EF4-FFF2-40B4-BE49-F238E27FC236}">
                <a16:creationId xmlns="" xmlns:a16="http://schemas.microsoft.com/office/drawing/2014/main" id="{D43B9F64-A9CD-4320-A5F9-12137D9394D8}"/>
              </a:ext>
            </a:extLst>
          </p:cNvPr>
          <p:cNvSpPr/>
          <p:nvPr/>
        </p:nvSpPr>
        <p:spPr>
          <a:xfrm>
            <a:off x="5280895" y="2050225"/>
            <a:ext cx="1458000" cy="594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42" name="Connecteur droit 41">
            <a:extLst>
              <a:ext uri="{FF2B5EF4-FFF2-40B4-BE49-F238E27FC236}">
                <a16:creationId xmlns="" xmlns:a16="http://schemas.microsoft.com/office/drawing/2014/main" id="{4F43BF95-EAAD-464E-97B3-EC881B743344}"/>
              </a:ext>
            </a:extLst>
          </p:cNvPr>
          <p:cNvCxnSpPr/>
          <p:nvPr/>
        </p:nvCxnSpPr>
        <p:spPr>
          <a:xfrm>
            <a:off x="6750448" y="2052055"/>
            <a:ext cx="0" cy="59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 xmlns:a16="http://schemas.microsoft.com/office/drawing/2014/main" id="{25F6FA78-7E3B-4FAD-B4DD-C0E65583663A}"/>
              </a:ext>
            </a:extLst>
          </p:cNvPr>
          <p:cNvSpPr/>
          <p:nvPr/>
        </p:nvSpPr>
        <p:spPr>
          <a:xfrm>
            <a:off x="943206" y="3562529"/>
            <a:ext cx="931343" cy="59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8" name="Rectangle 47">
            <a:extLst>
              <a:ext uri="{FF2B5EF4-FFF2-40B4-BE49-F238E27FC236}">
                <a16:creationId xmlns="" xmlns:a16="http://schemas.microsoft.com/office/drawing/2014/main" id="{4A3B4D9B-2120-428D-9668-BFBC449ADA52}"/>
              </a:ext>
            </a:extLst>
          </p:cNvPr>
          <p:cNvSpPr/>
          <p:nvPr/>
        </p:nvSpPr>
        <p:spPr>
          <a:xfrm>
            <a:off x="1905645" y="3562529"/>
            <a:ext cx="765704" cy="59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9" name="Rectangle 48">
            <a:extLst>
              <a:ext uri="{FF2B5EF4-FFF2-40B4-BE49-F238E27FC236}">
                <a16:creationId xmlns="" xmlns:a16="http://schemas.microsoft.com/office/drawing/2014/main" id="{DF1054FC-885D-46BF-91FC-370FA1883439}"/>
              </a:ext>
            </a:extLst>
          </p:cNvPr>
          <p:cNvSpPr/>
          <p:nvPr/>
        </p:nvSpPr>
        <p:spPr>
          <a:xfrm>
            <a:off x="2703651" y="3562529"/>
            <a:ext cx="850492" cy="59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0" name="Rectangle 49">
            <a:extLst>
              <a:ext uri="{FF2B5EF4-FFF2-40B4-BE49-F238E27FC236}">
                <a16:creationId xmlns="" xmlns:a16="http://schemas.microsoft.com/office/drawing/2014/main" id="{D180A5B9-E78D-413A-8136-908A93149E41}"/>
              </a:ext>
            </a:extLst>
          </p:cNvPr>
          <p:cNvSpPr/>
          <p:nvPr/>
        </p:nvSpPr>
        <p:spPr>
          <a:xfrm>
            <a:off x="3577366" y="3562529"/>
            <a:ext cx="774056" cy="59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1" name="Rectangle 50">
            <a:extLst>
              <a:ext uri="{FF2B5EF4-FFF2-40B4-BE49-F238E27FC236}">
                <a16:creationId xmlns="" xmlns:a16="http://schemas.microsoft.com/office/drawing/2014/main" id="{F3998402-E572-46FD-B3AC-2CACED835DBD}"/>
              </a:ext>
            </a:extLst>
          </p:cNvPr>
          <p:cNvSpPr/>
          <p:nvPr/>
        </p:nvSpPr>
        <p:spPr>
          <a:xfrm>
            <a:off x="4373101" y="3562529"/>
            <a:ext cx="774054" cy="59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2" name="Rectangle 51">
            <a:extLst>
              <a:ext uri="{FF2B5EF4-FFF2-40B4-BE49-F238E27FC236}">
                <a16:creationId xmlns="" xmlns:a16="http://schemas.microsoft.com/office/drawing/2014/main" id="{40716DD2-461E-4B97-8DF6-394BB653E9F0}"/>
              </a:ext>
            </a:extLst>
          </p:cNvPr>
          <p:cNvSpPr/>
          <p:nvPr/>
        </p:nvSpPr>
        <p:spPr>
          <a:xfrm>
            <a:off x="5168836" y="3562529"/>
            <a:ext cx="814798" cy="59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600"/>
          </a:p>
        </p:txBody>
      </p:sp>
      <p:cxnSp>
        <p:nvCxnSpPr>
          <p:cNvPr id="33" name="Straight Connector 27">
            <a:extLst>
              <a:ext uri="{FF2B5EF4-FFF2-40B4-BE49-F238E27FC236}">
                <a16:creationId xmlns="" xmlns:a16="http://schemas.microsoft.com/office/drawing/2014/main" id="{635794C5-41A9-4A58-8B08-35CA191F90F9}"/>
              </a:ext>
            </a:extLst>
          </p:cNvPr>
          <p:cNvCxnSpPr>
            <a:cxnSpLocks/>
          </p:cNvCxnSpPr>
          <p:nvPr/>
        </p:nvCxnSpPr>
        <p:spPr>
          <a:xfrm>
            <a:off x="6651022" y="3854450"/>
            <a:ext cx="0" cy="3489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Connecteur droit 44">
            <a:extLst>
              <a:ext uri="{FF2B5EF4-FFF2-40B4-BE49-F238E27FC236}">
                <a16:creationId xmlns="" xmlns:a16="http://schemas.microsoft.com/office/drawing/2014/main" id="{AB4F80F7-41BF-4971-9556-E35F30AC9B27}"/>
              </a:ext>
            </a:extLst>
          </p:cNvPr>
          <p:cNvCxnSpPr/>
          <p:nvPr/>
        </p:nvCxnSpPr>
        <p:spPr>
          <a:xfrm>
            <a:off x="6750448" y="3557449"/>
            <a:ext cx="0" cy="59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TextBox 8">
            <a:extLst>
              <a:ext uri="{FF2B5EF4-FFF2-40B4-BE49-F238E27FC236}">
                <a16:creationId xmlns="" xmlns:a16="http://schemas.microsoft.com/office/drawing/2014/main" id="{5A884BA4-971D-4832-A6C5-A9F5190B0D75}"/>
              </a:ext>
            </a:extLst>
          </p:cNvPr>
          <p:cNvSpPr txBox="1"/>
          <p:nvPr/>
        </p:nvSpPr>
        <p:spPr>
          <a:xfrm>
            <a:off x="941982" y="2134651"/>
            <a:ext cx="868606" cy="461665"/>
          </a:xfrm>
          <a:prstGeom prst="rect">
            <a:avLst/>
          </a:prstGeom>
          <a:noFill/>
        </p:spPr>
        <p:txBody>
          <a:bodyPr wrap="square" rtlCol="0">
            <a:spAutoFit/>
          </a:bodyPr>
          <a:lstStyle/>
          <a:p>
            <a:pPr algn="ctr"/>
            <a:r>
              <a:rPr kumimoji="1" lang="en-US" altLang="ja-JP" sz="1200" dirty="0"/>
              <a:t>Risk free rate</a:t>
            </a:r>
            <a:endParaRPr kumimoji="1" lang="ja-JP" altLang="en-US" sz="1200" dirty="0"/>
          </a:p>
        </p:txBody>
      </p:sp>
      <p:sp>
        <p:nvSpPr>
          <p:cNvPr id="55" name="TextBox 15">
            <a:extLst>
              <a:ext uri="{FF2B5EF4-FFF2-40B4-BE49-F238E27FC236}">
                <a16:creationId xmlns="" xmlns:a16="http://schemas.microsoft.com/office/drawing/2014/main" id="{B3A8397E-7E69-47AD-9E1C-F242C31A473C}"/>
              </a:ext>
            </a:extLst>
          </p:cNvPr>
          <p:cNvSpPr txBox="1"/>
          <p:nvPr/>
        </p:nvSpPr>
        <p:spPr>
          <a:xfrm>
            <a:off x="2773190" y="2203696"/>
            <a:ext cx="1534860" cy="276999"/>
          </a:xfrm>
          <a:prstGeom prst="rect">
            <a:avLst/>
          </a:prstGeom>
          <a:noFill/>
        </p:spPr>
        <p:txBody>
          <a:bodyPr wrap="square" rtlCol="0">
            <a:spAutoFit/>
          </a:bodyPr>
          <a:lstStyle/>
          <a:p>
            <a:pPr algn="ctr"/>
            <a:r>
              <a:rPr kumimoji="1" lang="en-US" altLang="ja-JP" sz="1200" b="1" dirty="0">
                <a:solidFill>
                  <a:schemeClr val="bg1"/>
                </a:solidFill>
              </a:rPr>
              <a:t>Market risk</a:t>
            </a:r>
            <a:endParaRPr kumimoji="1" lang="ja-JP" altLang="en-US" sz="1200" b="1" dirty="0">
              <a:solidFill>
                <a:schemeClr val="bg1"/>
              </a:solidFill>
            </a:endParaRPr>
          </a:p>
        </p:txBody>
      </p:sp>
      <p:sp>
        <p:nvSpPr>
          <p:cNvPr id="56" name="TextBox 16">
            <a:extLst>
              <a:ext uri="{FF2B5EF4-FFF2-40B4-BE49-F238E27FC236}">
                <a16:creationId xmlns="" xmlns:a16="http://schemas.microsoft.com/office/drawing/2014/main" id="{0BF35542-5E23-4F02-99DA-2BF1BFFCFC70}"/>
              </a:ext>
            </a:extLst>
          </p:cNvPr>
          <p:cNvSpPr txBox="1"/>
          <p:nvPr/>
        </p:nvSpPr>
        <p:spPr>
          <a:xfrm>
            <a:off x="5251130" y="2223763"/>
            <a:ext cx="1499319" cy="276999"/>
          </a:xfrm>
          <a:prstGeom prst="rect">
            <a:avLst/>
          </a:prstGeom>
          <a:noFill/>
        </p:spPr>
        <p:txBody>
          <a:bodyPr wrap="square" rtlCol="0">
            <a:spAutoFit/>
          </a:bodyPr>
          <a:lstStyle/>
          <a:p>
            <a:pPr algn="ctr"/>
            <a:r>
              <a:rPr kumimoji="1" lang="en-US" altLang="ja-JP" sz="1200" dirty="0"/>
              <a:t>“Old” Alpha</a:t>
            </a:r>
            <a:endParaRPr kumimoji="1" lang="ja-JP" altLang="en-US" sz="1200" dirty="0"/>
          </a:p>
        </p:txBody>
      </p:sp>
      <p:sp>
        <p:nvSpPr>
          <p:cNvPr id="57" name="TextBox 17">
            <a:extLst>
              <a:ext uri="{FF2B5EF4-FFF2-40B4-BE49-F238E27FC236}">
                <a16:creationId xmlns="" xmlns:a16="http://schemas.microsoft.com/office/drawing/2014/main" id="{E764FB0E-A6CF-4DEC-B713-03DE67FD0A2A}"/>
              </a:ext>
            </a:extLst>
          </p:cNvPr>
          <p:cNvSpPr txBox="1"/>
          <p:nvPr/>
        </p:nvSpPr>
        <p:spPr>
          <a:xfrm>
            <a:off x="6588910" y="2219085"/>
            <a:ext cx="1210181" cy="276999"/>
          </a:xfrm>
          <a:prstGeom prst="rect">
            <a:avLst/>
          </a:prstGeom>
          <a:noFill/>
        </p:spPr>
        <p:txBody>
          <a:bodyPr wrap="square" rtlCol="0">
            <a:spAutoFit/>
          </a:bodyPr>
          <a:lstStyle/>
          <a:p>
            <a:pPr algn="ctr"/>
            <a:r>
              <a:rPr kumimoji="1" lang="en-US" altLang="ja-JP" sz="1200" dirty="0">
                <a:solidFill>
                  <a:schemeClr val="bg2">
                    <a:lumMod val="75000"/>
                  </a:schemeClr>
                </a:solidFill>
              </a:rPr>
              <a:t>Residual</a:t>
            </a:r>
            <a:endParaRPr kumimoji="1" lang="ja-JP" altLang="en-US" sz="1200" dirty="0">
              <a:solidFill>
                <a:schemeClr val="bg2">
                  <a:lumMod val="75000"/>
                </a:schemeClr>
              </a:solidFill>
            </a:endParaRPr>
          </a:p>
        </p:txBody>
      </p:sp>
      <p:sp>
        <p:nvSpPr>
          <p:cNvPr id="58" name="TextBox 43">
            <a:extLst>
              <a:ext uri="{FF2B5EF4-FFF2-40B4-BE49-F238E27FC236}">
                <a16:creationId xmlns="" xmlns:a16="http://schemas.microsoft.com/office/drawing/2014/main" id="{01660D15-3AF0-41E0-BA51-275346AECC4C}"/>
              </a:ext>
            </a:extLst>
          </p:cNvPr>
          <p:cNvSpPr txBox="1"/>
          <p:nvPr/>
        </p:nvSpPr>
        <p:spPr>
          <a:xfrm>
            <a:off x="944565" y="3623617"/>
            <a:ext cx="868606" cy="461665"/>
          </a:xfrm>
          <a:prstGeom prst="rect">
            <a:avLst/>
          </a:prstGeom>
          <a:noFill/>
        </p:spPr>
        <p:txBody>
          <a:bodyPr wrap="square" rtlCol="0">
            <a:spAutoFit/>
          </a:bodyPr>
          <a:lstStyle/>
          <a:p>
            <a:pPr algn="ctr"/>
            <a:r>
              <a:rPr kumimoji="1" lang="en-US" altLang="ja-JP" sz="1200" dirty="0"/>
              <a:t>Risk free rate</a:t>
            </a:r>
            <a:endParaRPr kumimoji="1" lang="ja-JP" altLang="en-US" sz="1200" dirty="0"/>
          </a:p>
        </p:txBody>
      </p:sp>
      <p:sp>
        <p:nvSpPr>
          <p:cNvPr id="59" name="TextBox 45">
            <a:extLst>
              <a:ext uri="{FF2B5EF4-FFF2-40B4-BE49-F238E27FC236}">
                <a16:creationId xmlns="" xmlns:a16="http://schemas.microsoft.com/office/drawing/2014/main" id="{E15A73A4-903D-4340-A5FE-E447C51C872B}"/>
              </a:ext>
            </a:extLst>
          </p:cNvPr>
          <p:cNvSpPr txBox="1"/>
          <p:nvPr/>
        </p:nvSpPr>
        <p:spPr>
          <a:xfrm>
            <a:off x="6594337" y="3715950"/>
            <a:ext cx="1199326" cy="276999"/>
          </a:xfrm>
          <a:prstGeom prst="rect">
            <a:avLst/>
          </a:prstGeom>
          <a:noFill/>
        </p:spPr>
        <p:txBody>
          <a:bodyPr wrap="square" rtlCol="0">
            <a:spAutoFit/>
          </a:bodyPr>
          <a:lstStyle/>
          <a:p>
            <a:pPr algn="ctr"/>
            <a:r>
              <a:rPr kumimoji="1" lang="en-US" altLang="ja-JP" sz="1200" dirty="0">
                <a:solidFill>
                  <a:schemeClr val="bg2">
                    <a:lumMod val="75000"/>
                  </a:schemeClr>
                </a:solidFill>
              </a:rPr>
              <a:t>Residual</a:t>
            </a:r>
            <a:endParaRPr kumimoji="1" lang="ja-JP" altLang="en-US" sz="1200" dirty="0">
              <a:solidFill>
                <a:schemeClr val="bg2">
                  <a:lumMod val="75000"/>
                </a:schemeClr>
              </a:solidFill>
            </a:endParaRPr>
          </a:p>
        </p:txBody>
      </p:sp>
      <p:sp>
        <p:nvSpPr>
          <p:cNvPr id="60" name="TextBox 55">
            <a:extLst>
              <a:ext uri="{FF2B5EF4-FFF2-40B4-BE49-F238E27FC236}">
                <a16:creationId xmlns="" xmlns:a16="http://schemas.microsoft.com/office/drawing/2014/main" id="{DE11508B-EDC3-433D-83BE-BCBAB7A9654B}"/>
              </a:ext>
            </a:extLst>
          </p:cNvPr>
          <p:cNvSpPr txBox="1"/>
          <p:nvPr/>
        </p:nvSpPr>
        <p:spPr>
          <a:xfrm>
            <a:off x="1874550" y="3700534"/>
            <a:ext cx="868606" cy="261610"/>
          </a:xfrm>
          <a:prstGeom prst="rect">
            <a:avLst/>
          </a:prstGeom>
          <a:noFill/>
        </p:spPr>
        <p:txBody>
          <a:bodyPr wrap="square" rtlCol="0">
            <a:spAutoFit/>
          </a:bodyPr>
          <a:lstStyle/>
          <a:p>
            <a:pPr algn="ctr"/>
            <a:r>
              <a:rPr kumimoji="1" lang="en-US" altLang="ja-JP" sz="1100" b="1" dirty="0">
                <a:solidFill>
                  <a:schemeClr val="bg1"/>
                </a:solidFill>
              </a:rPr>
              <a:t>Value</a:t>
            </a:r>
            <a:endParaRPr kumimoji="1" lang="ja-JP" altLang="en-US" sz="1100" b="1" dirty="0">
              <a:solidFill>
                <a:schemeClr val="bg1"/>
              </a:solidFill>
            </a:endParaRPr>
          </a:p>
        </p:txBody>
      </p:sp>
      <p:sp>
        <p:nvSpPr>
          <p:cNvPr id="61" name="TextBox 59">
            <a:extLst>
              <a:ext uri="{FF2B5EF4-FFF2-40B4-BE49-F238E27FC236}">
                <a16:creationId xmlns="" xmlns:a16="http://schemas.microsoft.com/office/drawing/2014/main" id="{F885F508-2813-4311-BDE0-AA0D1651251C}"/>
              </a:ext>
            </a:extLst>
          </p:cNvPr>
          <p:cNvSpPr txBox="1"/>
          <p:nvPr/>
        </p:nvSpPr>
        <p:spPr>
          <a:xfrm>
            <a:off x="2522408" y="3700534"/>
            <a:ext cx="1233083" cy="261610"/>
          </a:xfrm>
          <a:prstGeom prst="rect">
            <a:avLst/>
          </a:prstGeom>
          <a:noFill/>
        </p:spPr>
        <p:txBody>
          <a:bodyPr wrap="square" rtlCol="0">
            <a:spAutoFit/>
          </a:bodyPr>
          <a:lstStyle/>
          <a:p>
            <a:pPr algn="ctr"/>
            <a:r>
              <a:rPr kumimoji="1" lang="en-US" altLang="ja-JP" sz="1100" b="1" dirty="0">
                <a:solidFill>
                  <a:schemeClr val="bg1"/>
                </a:solidFill>
              </a:rPr>
              <a:t>Momentum</a:t>
            </a:r>
            <a:endParaRPr kumimoji="1" lang="ja-JP" altLang="en-US" sz="1100" b="1" dirty="0">
              <a:solidFill>
                <a:schemeClr val="bg1"/>
              </a:solidFill>
            </a:endParaRPr>
          </a:p>
        </p:txBody>
      </p:sp>
      <p:sp>
        <p:nvSpPr>
          <p:cNvPr id="62" name="TextBox 60">
            <a:extLst>
              <a:ext uri="{FF2B5EF4-FFF2-40B4-BE49-F238E27FC236}">
                <a16:creationId xmlns="" xmlns:a16="http://schemas.microsoft.com/office/drawing/2014/main" id="{26E892B8-DF0C-4983-90B7-F13DBF803323}"/>
              </a:ext>
            </a:extLst>
          </p:cNvPr>
          <p:cNvSpPr txBox="1"/>
          <p:nvPr/>
        </p:nvSpPr>
        <p:spPr>
          <a:xfrm>
            <a:off x="3403477" y="3700534"/>
            <a:ext cx="1170109" cy="261610"/>
          </a:xfrm>
          <a:prstGeom prst="rect">
            <a:avLst/>
          </a:prstGeom>
          <a:noFill/>
        </p:spPr>
        <p:txBody>
          <a:bodyPr wrap="square" rtlCol="0">
            <a:spAutoFit/>
          </a:bodyPr>
          <a:lstStyle/>
          <a:p>
            <a:pPr algn="ctr"/>
            <a:r>
              <a:rPr kumimoji="1" lang="en-US" altLang="ja-JP" sz="1100" b="1" dirty="0">
                <a:solidFill>
                  <a:schemeClr val="bg1"/>
                </a:solidFill>
              </a:rPr>
              <a:t>Quality</a:t>
            </a:r>
            <a:endParaRPr kumimoji="1" lang="ja-JP" altLang="en-US" sz="1100" b="1" dirty="0">
              <a:solidFill>
                <a:schemeClr val="bg1"/>
              </a:solidFill>
            </a:endParaRPr>
          </a:p>
        </p:txBody>
      </p:sp>
      <p:sp>
        <p:nvSpPr>
          <p:cNvPr id="64" name="TextBox 61">
            <a:extLst>
              <a:ext uri="{FF2B5EF4-FFF2-40B4-BE49-F238E27FC236}">
                <a16:creationId xmlns="" xmlns:a16="http://schemas.microsoft.com/office/drawing/2014/main" id="{8EDA7762-67D3-4BFA-B941-4E7F14FD5560}"/>
              </a:ext>
            </a:extLst>
          </p:cNvPr>
          <p:cNvSpPr txBox="1"/>
          <p:nvPr/>
        </p:nvSpPr>
        <p:spPr>
          <a:xfrm>
            <a:off x="4134493" y="3700534"/>
            <a:ext cx="1170109" cy="261610"/>
          </a:xfrm>
          <a:prstGeom prst="rect">
            <a:avLst/>
          </a:prstGeom>
          <a:noFill/>
        </p:spPr>
        <p:txBody>
          <a:bodyPr wrap="square" rtlCol="0">
            <a:spAutoFit/>
          </a:bodyPr>
          <a:lstStyle/>
          <a:p>
            <a:pPr algn="ctr"/>
            <a:r>
              <a:rPr kumimoji="1" lang="en-US" altLang="ja-JP" sz="1100" b="1" dirty="0">
                <a:solidFill>
                  <a:schemeClr val="bg1"/>
                </a:solidFill>
              </a:rPr>
              <a:t>Size</a:t>
            </a:r>
            <a:endParaRPr kumimoji="1" lang="ja-JP" altLang="en-US" sz="1100" b="1" dirty="0">
              <a:solidFill>
                <a:schemeClr val="bg1"/>
              </a:solidFill>
            </a:endParaRPr>
          </a:p>
        </p:txBody>
      </p:sp>
      <p:sp>
        <p:nvSpPr>
          <p:cNvPr id="65" name="TextBox 62">
            <a:extLst>
              <a:ext uri="{FF2B5EF4-FFF2-40B4-BE49-F238E27FC236}">
                <a16:creationId xmlns="" xmlns:a16="http://schemas.microsoft.com/office/drawing/2014/main" id="{B85EAF07-2693-41B7-BBDD-6E5C8248DC1B}"/>
              </a:ext>
            </a:extLst>
          </p:cNvPr>
          <p:cNvSpPr txBox="1"/>
          <p:nvPr/>
        </p:nvSpPr>
        <p:spPr>
          <a:xfrm>
            <a:off x="4996057" y="3623590"/>
            <a:ext cx="1170109" cy="430887"/>
          </a:xfrm>
          <a:prstGeom prst="rect">
            <a:avLst/>
          </a:prstGeom>
          <a:noFill/>
        </p:spPr>
        <p:txBody>
          <a:bodyPr wrap="square" rtlCol="0">
            <a:spAutoFit/>
          </a:bodyPr>
          <a:lstStyle/>
          <a:p>
            <a:pPr algn="ctr"/>
            <a:r>
              <a:rPr kumimoji="1" lang="en-US" altLang="ja-JP" sz="1050" b="1" dirty="0">
                <a:solidFill>
                  <a:schemeClr val="bg1"/>
                </a:solidFill>
              </a:rPr>
              <a:t>Low </a:t>
            </a:r>
            <a:endParaRPr kumimoji="1" lang="en-US" altLang="ja-JP" sz="1050" b="1" dirty="0" smtClean="0">
              <a:solidFill>
                <a:schemeClr val="bg1"/>
              </a:solidFill>
            </a:endParaRPr>
          </a:p>
          <a:p>
            <a:pPr algn="ctr"/>
            <a:r>
              <a:rPr kumimoji="1" lang="en-US" altLang="ja-JP" sz="1050" b="1" dirty="0" smtClean="0">
                <a:solidFill>
                  <a:schemeClr val="bg1"/>
                </a:solidFill>
              </a:rPr>
              <a:t>volatility</a:t>
            </a:r>
            <a:endParaRPr kumimoji="1" lang="ja-JP" altLang="en-US" sz="1050" b="1" dirty="0">
              <a:solidFill>
                <a:schemeClr val="bg1"/>
              </a:solidFill>
            </a:endParaRPr>
          </a:p>
        </p:txBody>
      </p:sp>
      <p:sp>
        <p:nvSpPr>
          <p:cNvPr id="39" name="Half Frame 6"/>
          <p:cNvSpPr/>
          <p:nvPr/>
        </p:nvSpPr>
        <p:spPr bwMode="gray">
          <a:xfrm rot="8134872">
            <a:off x="559103" y="5022043"/>
            <a:ext cx="284588" cy="294588"/>
          </a:xfrm>
          <a:prstGeom prst="halfFrame">
            <a:avLst/>
          </a:prstGeom>
          <a:solidFill>
            <a:schemeClr val="tx1"/>
          </a:solidFill>
          <a:ln w="10795" cap="flat" cmpd="sng" algn="ctr">
            <a:noFill/>
            <a:prstDash val="solid"/>
          </a:ln>
          <a:effectLst/>
        </p:spPr>
        <p:txBody>
          <a:bodyPr rtlCol="0" anchor="ctr"/>
          <a:lstStyle/>
          <a:p>
            <a:pPr algn="ctr">
              <a:defRPr/>
            </a:pPr>
            <a:endParaRPr lang="en-US" kern="0" dirty="0">
              <a:solidFill>
                <a:schemeClr val="tx2"/>
              </a:solidFill>
            </a:endParaRPr>
          </a:p>
        </p:txBody>
      </p:sp>
      <p:sp>
        <p:nvSpPr>
          <p:cNvPr id="43"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Tree>
    <p:extLst>
      <p:ext uri="{BB962C8B-B14F-4D97-AF65-F5344CB8AC3E}">
        <p14:creationId xmlns:p14="http://schemas.microsoft.com/office/powerpoint/2010/main" val="348384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 xmlns:a16="http://schemas.microsoft.com/office/drawing/2014/main" id="{CF31CC28-77C8-4ECB-B7C6-5B1032E2FFB7}"/>
              </a:ext>
            </a:extLst>
          </p:cNvPr>
          <p:cNvSpPr/>
          <p:nvPr/>
        </p:nvSpPr>
        <p:spPr>
          <a:xfrm>
            <a:off x="1653074" y="1566753"/>
            <a:ext cx="7109926" cy="3517464"/>
          </a:xfrm>
          <a:prstGeom prst="rect">
            <a:avLst/>
          </a:prstGeom>
          <a:pattFill prst="dkUpDiag">
            <a:fgClr>
              <a:schemeClr val="bg2"/>
            </a:fgClr>
            <a:bgClr>
              <a:schemeClr val="bg1"/>
            </a:bgClr>
          </a:pattFill>
          <a:ln w="9525" algn="ctr">
            <a:noFill/>
            <a:miter lim="800000"/>
            <a:headEnd/>
            <a:tailEnd/>
          </a:ln>
          <a:effectLst/>
        </p:spPr>
        <p:txBody>
          <a:bodyPr rot="0" spcFirstLastPara="0" vertOverflow="overflow" horzOverflow="overflow" vert="horz" wrap="square" lIns="96744" tIns="48372" rIns="96744" bIns="48372" numCol="1" spcCol="0" rtlCol="0" fromWordArt="0" anchor="ctr" anchorCtr="0" forceAA="0" compatLnSpc="1">
            <a:prstTxWarp prst="textNoShape">
              <a:avLst/>
            </a:prstTxWarp>
            <a:noAutofit/>
          </a:bodyPr>
          <a:lstStyle/>
          <a:p>
            <a:pPr algn="ctr" defTabSz="966788">
              <a:spcBef>
                <a:spcPct val="0"/>
              </a:spcBef>
            </a:pPr>
            <a:endParaRPr lang="fr-FR" sz="1000" b="1">
              <a:solidFill>
                <a:schemeClr val="accent3"/>
              </a:solidFill>
            </a:endParaRPr>
          </a:p>
        </p:txBody>
      </p:sp>
      <p:sp>
        <p:nvSpPr>
          <p:cNvPr id="2" name="Titre 1">
            <a:extLst>
              <a:ext uri="{FF2B5EF4-FFF2-40B4-BE49-F238E27FC236}">
                <a16:creationId xmlns="" xmlns:a16="http://schemas.microsoft.com/office/drawing/2014/main" id="{C7A7130E-7147-40A4-A2EE-36FAC9D675C2}"/>
              </a:ext>
            </a:extLst>
          </p:cNvPr>
          <p:cNvSpPr>
            <a:spLocks noGrp="1"/>
          </p:cNvSpPr>
          <p:nvPr>
            <p:ph type="title"/>
          </p:nvPr>
        </p:nvSpPr>
        <p:spPr>
          <a:xfrm>
            <a:off x="539999" y="698265"/>
            <a:ext cx="8063999" cy="387493"/>
          </a:xfrm>
        </p:spPr>
        <p:txBody>
          <a:bodyPr/>
          <a:lstStyle/>
          <a:p>
            <a:r>
              <a:rPr lang="en-US" dirty="0">
                <a:solidFill>
                  <a:schemeClr val="accent1"/>
                </a:solidFill>
              </a:rPr>
              <a:t>Mapping</a:t>
            </a:r>
            <a:r>
              <a:rPr lang="en-US" dirty="0"/>
              <a:t> of our selected risk factors</a:t>
            </a:r>
            <a:endParaRPr lang="fr-FR" dirty="0"/>
          </a:p>
        </p:txBody>
      </p:sp>
      <p:sp>
        <p:nvSpPr>
          <p:cNvPr id="9" name="ZoneTexte 8">
            <a:extLst>
              <a:ext uri="{FF2B5EF4-FFF2-40B4-BE49-F238E27FC236}">
                <a16:creationId xmlns="" xmlns:a16="http://schemas.microsoft.com/office/drawing/2014/main" id="{35F60DD8-666E-43D6-8D4A-6F2D8AE518A1}"/>
              </a:ext>
            </a:extLst>
          </p:cNvPr>
          <p:cNvSpPr txBox="1"/>
          <p:nvPr/>
        </p:nvSpPr>
        <p:spPr>
          <a:xfrm>
            <a:off x="5322481" y="5201334"/>
            <a:ext cx="1868894" cy="307777"/>
          </a:xfrm>
          <a:prstGeom prst="rect">
            <a:avLst/>
          </a:prstGeom>
          <a:solidFill>
            <a:schemeClr val="tx1"/>
          </a:solidFill>
        </p:spPr>
        <p:txBody>
          <a:bodyPr wrap="square" rtlCol="0">
            <a:spAutoFit/>
          </a:bodyPr>
          <a:lstStyle/>
          <a:p>
            <a:pPr algn="ctr"/>
            <a:r>
              <a:rPr lang="en-US" sz="1400" dirty="0">
                <a:solidFill>
                  <a:schemeClr val="bg1"/>
                </a:solidFill>
              </a:rPr>
              <a:t>Market inefficiencies</a:t>
            </a:r>
          </a:p>
        </p:txBody>
      </p:sp>
      <p:sp>
        <p:nvSpPr>
          <p:cNvPr id="10" name="ZoneTexte 9">
            <a:extLst>
              <a:ext uri="{FF2B5EF4-FFF2-40B4-BE49-F238E27FC236}">
                <a16:creationId xmlns="" xmlns:a16="http://schemas.microsoft.com/office/drawing/2014/main" id="{56E49C77-3105-4E14-A1FC-2A823C4E4914}"/>
              </a:ext>
            </a:extLst>
          </p:cNvPr>
          <p:cNvSpPr txBox="1"/>
          <p:nvPr/>
        </p:nvSpPr>
        <p:spPr>
          <a:xfrm>
            <a:off x="1727890" y="5190413"/>
            <a:ext cx="1453460" cy="307777"/>
          </a:xfrm>
          <a:prstGeom prst="rect">
            <a:avLst/>
          </a:prstGeom>
          <a:solidFill>
            <a:schemeClr val="tx1"/>
          </a:solidFill>
        </p:spPr>
        <p:txBody>
          <a:bodyPr wrap="square" rtlCol="0">
            <a:spAutoFit/>
          </a:bodyPr>
          <a:lstStyle/>
          <a:p>
            <a:pPr algn="ctr"/>
            <a:r>
              <a:rPr lang="en-US" sz="1400" dirty="0">
                <a:solidFill>
                  <a:schemeClr val="bg1"/>
                </a:solidFill>
              </a:rPr>
              <a:t>Risk Premium</a:t>
            </a:r>
          </a:p>
        </p:txBody>
      </p:sp>
      <p:sp>
        <p:nvSpPr>
          <p:cNvPr id="12" name="ZoneTexte 8">
            <a:extLst>
              <a:ext uri="{FF2B5EF4-FFF2-40B4-BE49-F238E27FC236}">
                <a16:creationId xmlns="" xmlns:a16="http://schemas.microsoft.com/office/drawing/2014/main" id="{1F825AC5-2AA6-472A-B165-3FF9713E6205}"/>
              </a:ext>
            </a:extLst>
          </p:cNvPr>
          <p:cNvSpPr txBox="1"/>
          <p:nvPr/>
        </p:nvSpPr>
        <p:spPr>
          <a:xfrm>
            <a:off x="400050" y="2199523"/>
            <a:ext cx="1209520" cy="307777"/>
          </a:xfrm>
          <a:prstGeom prst="rect">
            <a:avLst/>
          </a:prstGeom>
          <a:solidFill>
            <a:schemeClr val="tx1"/>
          </a:solidFill>
        </p:spPr>
        <p:txBody>
          <a:bodyPr wrap="square" rtlCol="0">
            <a:spAutoFit/>
          </a:bodyPr>
          <a:lstStyle/>
          <a:p>
            <a:pPr algn="r"/>
            <a:r>
              <a:rPr lang="en-US" sz="1400" dirty="0">
                <a:solidFill>
                  <a:schemeClr val="bg1"/>
                </a:solidFill>
              </a:rPr>
              <a:t>Price related</a:t>
            </a:r>
          </a:p>
        </p:txBody>
      </p:sp>
      <p:sp>
        <p:nvSpPr>
          <p:cNvPr id="13" name="ZoneTexte 8">
            <a:extLst>
              <a:ext uri="{FF2B5EF4-FFF2-40B4-BE49-F238E27FC236}">
                <a16:creationId xmlns="" xmlns:a16="http://schemas.microsoft.com/office/drawing/2014/main" id="{B1E68ABD-1086-4E85-AAA0-FEAF38815C12}"/>
              </a:ext>
            </a:extLst>
          </p:cNvPr>
          <p:cNvSpPr txBox="1"/>
          <p:nvPr/>
        </p:nvSpPr>
        <p:spPr>
          <a:xfrm>
            <a:off x="295275" y="4698445"/>
            <a:ext cx="1314295" cy="307777"/>
          </a:xfrm>
          <a:prstGeom prst="rect">
            <a:avLst/>
          </a:prstGeom>
          <a:solidFill>
            <a:schemeClr val="tx1"/>
          </a:solidFill>
        </p:spPr>
        <p:txBody>
          <a:bodyPr wrap="square" rtlCol="0">
            <a:spAutoFit/>
          </a:bodyPr>
          <a:lstStyle/>
          <a:p>
            <a:pPr algn="r"/>
            <a:r>
              <a:rPr lang="en-US" sz="1400" dirty="0">
                <a:solidFill>
                  <a:schemeClr val="bg1"/>
                </a:solidFill>
              </a:rPr>
              <a:t>Fundamentals</a:t>
            </a:r>
          </a:p>
        </p:txBody>
      </p:sp>
      <p:cxnSp>
        <p:nvCxnSpPr>
          <p:cNvPr id="20" name="Connecteur droit 19">
            <a:extLst>
              <a:ext uri="{FF2B5EF4-FFF2-40B4-BE49-F238E27FC236}">
                <a16:creationId xmlns="" xmlns:a16="http://schemas.microsoft.com/office/drawing/2014/main" id="{67C03262-4D77-4E8E-A03B-98D6ECF877B3}"/>
              </a:ext>
            </a:extLst>
          </p:cNvPr>
          <p:cNvCxnSpPr>
            <a:cxnSpLocks/>
          </p:cNvCxnSpPr>
          <p:nvPr/>
        </p:nvCxnSpPr>
        <p:spPr>
          <a:xfrm>
            <a:off x="1643549" y="1566753"/>
            <a:ext cx="0" cy="3520353"/>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1" name="Connecteur droit 20">
            <a:extLst>
              <a:ext uri="{FF2B5EF4-FFF2-40B4-BE49-F238E27FC236}">
                <a16:creationId xmlns="" xmlns:a16="http://schemas.microsoft.com/office/drawing/2014/main" id="{56CE8EA0-2D96-47CB-BDF5-8054789C6335}"/>
              </a:ext>
            </a:extLst>
          </p:cNvPr>
          <p:cNvCxnSpPr>
            <a:cxnSpLocks/>
          </p:cNvCxnSpPr>
          <p:nvPr/>
        </p:nvCxnSpPr>
        <p:spPr>
          <a:xfrm flipH="1">
            <a:off x="1654375" y="5082938"/>
            <a:ext cx="7108625" cy="0"/>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 xmlns:a16="http://schemas.microsoft.com/office/drawing/2014/main" id="{567DBC34-E7DF-452C-9459-8D6199E34840}"/>
              </a:ext>
            </a:extLst>
          </p:cNvPr>
          <p:cNvSpPr/>
          <p:nvPr/>
        </p:nvSpPr>
        <p:spPr>
          <a:xfrm>
            <a:off x="5232091" y="4341904"/>
            <a:ext cx="1720343" cy="523220"/>
          </a:xfrm>
          <a:prstGeom prst="rect">
            <a:avLst/>
          </a:prstGeom>
        </p:spPr>
        <p:txBody>
          <a:bodyPr wrap="none">
            <a:spAutoFit/>
          </a:bodyPr>
          <a:lstStyle/>
          <a:p>
            <a:pPr marL="0" lvl="1" indent="0">
              <a:buClr>
                <a:srgbClr val="009EE0"/>
              </a:buClr>
              <a:buFont typeface="Wingdings" pitchFamily="2" charset="2"/>
              <a:buNone/>
            </a:pPr>
            <a:r>
              <a:rPr lang="en-US" sz="2800" cap="all" dirty="0">
                <a:solidFill>
                  <a:schemeClr val="accent1"/>
                </a:solidFill>
              </a:rPr>
              <a:t>Quality</a:t>
            </a:r>
          </a:p>
        </p:txBody>
      </p:sp>
      <p:sp>
        <p:nvSpPr>
          <p:cNvPr id="24" name="Rectangle 23">
            <a:extLst>
              <a:ext uri="{FF2B5EF4-FFF2-40B4-BE49-F238E27FC236}">
                <a16:creationId xmlns="" xmlns:a16="http://schemas.microsoft.com/office/drawing/2014/main" id="{B91937D4-38F0-4CE6-B5E3-81BEA8934208}"/>
              </a:ext>
            </a:extLst>
          </p:cNvPr>
          <p:cNvSpPr/>
          <p:nvPr/>
        </p:nvSpPr>
        <p:spPr>
          <a:xfrm>
            <a:off x="5546603" y="2802834"/>
            <a:ext cx="3109120" cy="523220"/>
          </a:xfrm>
          <a:prstGeom prst="rect">
            <a:avLst/>
          </a:prstGeom>
        </p:spPr>
        <p:txBody>
          <a:bodyPr wrap="none">
            <a:spAutoFit/>
          </a:bodyPr>
          <a:lstStyle/>
          <a:p>
            <a:pPr marL="0" lvl="1" indent="0" algn="ctr">
              <a:buClr>
                <a:srgbClr val="009EE0"/>
              </a:buClr>
              <a:buFont typeface="Wingdings" pitchFamily="2" charset="2"/>
              <a:buNone/>
            </a:pPr>
            <a:r>
              <a:rPr lang="en-US" sz="2800" cap="all" dirty="0">
                <a:solidFill>
                  <a:schemeClr val="accent1"/>
                </a:solidFill>
              </a:rPr>
              <a:t>Low volatility</a:t>
            </a:r>
          </a:p>
        </p:txBody>
      </p:sp>
      <p:sp>
        <p:nvSpPr>
          <p:cNvPr id="25" name="Rectangle 24">
            <a:extLst>
              <a:ext uri="{FF2B5EF4-FFF2-40B4-BE49-F238E27FC236}">
                <a16:creationId xmlns="" xmlns:a16="http://schemas.microsoft.com/office/drawing/2014/main" id="{69CDB8B4-11C9-4C9F-BA8F-28BB60AF3535}"/>
              </a:ext>
            </a:extLst>
          </p:cNvPr>
          <p:cNvSpPr/>
          <p:nvPr/>
        </p:nvSpPr>
        <p:spPr>
          <a:xfrm>
            <a:off x="4644153" y="1647692"/>
            <a:ext cx="2340705" cy="523220"/>
          </a:xfrm>
          <a:prstGeom prst="rect">
            <a:avLst/>
          </a:prstGeom>
        </p:spPr>
        <p:txBody>
          <a:bodyPr wrap="none">
            <a:spAutoFit/>
          </a:bodyPr>
          <a:lstStyle/>
          <a:p>
            <a:r>
              <a:rPr lang="en-US" sz="2800" cap="all" dirty="0">
                <a:solidFill>
                  <a:schemeClr val="accent1"/>
                </a:solidFill>
              </a:rPr>
              <a:t>Momentum</a:t>
            </a:r>
            <a:endParaRPr lang="fr-FR" sz="2800" cap="all" dirty="0">
              <a:solidFill>
                <a:schemeClr val="accent1"/>
              </a:solidFill>
            </a:endParaRPr>
          </a:p>
        </p:txBody>
      </p:sp>
      <p:sp>
        <p:nvSpPr>
          <p:cNvPr id="26" name="Rectangle 25">
            <a:extLst>
              <a:ext uri="{FF2B5EF4-FFF2-40B4-BE49-F238E27FC236}">
                <a16:creationId xmlns="" xmlns:a16="http://schemas.microsoft.com/office/drawing/2014/main" id="{E8170EAF-0E3D-4828-9172-8B87E9E1FC4E}"/>
              </a:ext>
            </a:extLst>
          </p:cNvPr>
          <p:cNvSpPr/>
          <p:nvPr/>
        </p:nvSpPr>
        <p:spPr>
          <a:xfrm>
            <a:off x="2524802" y="2460226"/>
            <a:ext cx="981359" cy="523220"/>
          </a:xfrm>
          <a:prstGeom prst="rect">
            <a:avLst/>
          </a:prstGeom>
        </p:spPr>
        <p:txBody>
          <a:bodyPr wrap="none">
            <a:spAutoFit/>
          </a:bodyPr>
          <a:lstStyle/>
          <a:p>
            <a:pPr marL="0" lvl="1" indent="0" algn="ctr">
              <a:buClr>
                <a:srgbClr val="009EE0"/>
              </a:buClr>
              <a:buFont typeface="Wingdings" pitchFamily="2" charset="2"/>
              <a:buNone/>
            </a:pPr>
            <a:r>
              <a:rPr lang="en-US" sz="2800" cap="all" dirty="0" smtClean="0">
                <a:solidFill>
                  <a:schemeClr val="accent1"/>
                </a:solidFill>
              </a:rPr>
              <a:t>SIZE</a:t>
            </a:r>
            <a:endParaRPr lang="en-US" sz="2800" cap="all" dirty="0">
              <a:solidFill>
                <a:schemeClr val="accent1"/>
              </a:solidFill>
            </a:endParaRPr>
          </a:p>
        </p:txBody>
      </p:sp>
      <p:sp>
        <p:nvSpPr>
          <p:cNvPr id="27" name="Rectangle 26">
            <a:extLst>
              <a:ext uri="{FF2B5EF4-FFF2-40B4-BE49-F238E27FC236}">
                <a16:creationId xmlns="" xmlns:a16="http://schemas.microsoft.com/office/drawing/2014/main" id="{A7D0400A-2FEB-45EA-8E4F-94093242AE71}"/>
              </a:ext>
            </a:extLst>
          </p:cNvPr>
          <p:cNvSpPr/>
          <p:nvPr/>
        </p:nvSpPr>
        <p:spPr>
          <a:xfrm>
            <a:off x="2497394" y="3725840"/>
            <a:ext cx="1334596" cy="523220"/>
          </a:xfrm>
          <a:prstGeom prst="rect">
            <a:avLst/>
          </a:prstGeom>
        </p:spPr>
        <p:txBody>
          <a:bodyPr wrap="none">
            <a:spAutoFit/>
          </a:bodyPr>
          <a:lstStyle/>
          <a:p>
            <a:r>
              <a:rPr lang="en-US" sz="2800" cap="all" dirty="0">
                <a:solidFill>
                  <a:schemeClr val="accent1"/>
                </a:solidFill>
              </a:rPr>
              <a:t>Value</a:t>
            </a:r>
            <a:endParaRPr lang="fr-FR" sz="2800" cap="all" dirty="0">
              <a:solidFill>
                <a:schemeClr val="accent1"/>
              </a:solidFill>
            </a:endParaRPr>
          </a:p>
        </p:txBody>
      </p:sp>
      <p:sp>
        <p:nvSpPr>
          <p:cNvPr id="17" name="Espace réservé du numéro de diapositive 4">
            <a:extLst>
              <a:ext uri="{FF2B5EF4-FFF2-40B4-BE49-F238E27FC236}">
                <a16:creationId xmlns="" xmlns:a16="http://schemas.microsoft.com/office/drawing/2014/main" id="{1AA3BC37-AD29-49C6-B287-A740702D90E0}"/>
              </a:ext>
            </a:extLst>
          </p:cNvPr>
          <p:cNvSpPr>
            <a:spLocks noGrp="1"/>
          </p:cNvSpPr>
          <p:nvPr>
            <p:ph type="sldNum" sz="quarter" idx="12"/>
          </p:nvPr>
        </p:nvSpPr>
        <p:spPr>
          <a:xfrm>
            <a:off x="540000" y="6480000"/>
            <a:ext cx="180000" cy="180000"/>
          </a:xfrm>
        </p:spPr>
        <p:txBody>
          <a:bodyPr/>
          <a:lstStyle/>
          <a:p>
            <a:fld id="{2B1C6FFC-D040-034F-8B69-20295064E64D}" type="slidenum">
              <a:rPr lang="fr-FR" smtClean="0"/>
              <a:t>32</a:t>
            </a:fld>
            <a:endParaRPr lang="fr-FR" dirty="0"/>
          </a:p>
        </p:txBody>
      </p:sp>
      <p:sp>
        <p:nvSpPr>
          <p:cNvPr id="3" name="Rectangle 2"/>
          <p:cNvSpPr/>
          <p:nvPr/>
        </p:nvSpPr>
        <p:spPr>
          <a:xfrm>
            <a:off x="524802" y="5966710"/>
            <a:ext cx="1709122" cy="215444"/>
          </a:xfrm>
          <a:prstGeom prst="rect">
            <a:avLst/>
          </a:prstGeom>
        </p:spPr>
        <p:txBody>
          <a:bodyPr wrap="none">
            <a:spAutoFit/>
          </a:bodyPr>
          <a:lstStyle/>
          <a:p>
            <a:r>
              <a:rPr lang="en-US" sz="800" dirty="0"/>
              <a:t>Given for illustrative purpose only</a:t>
            </a:r>
            <a:endParaRPr lang="fr-FR" sz="800" dirty="0"/>
          </a:p>
        </p:txBody>
      </p:sp>
      <p:sp>
        <p:nvSpPr>
          <p:cNvPr id="4" name="Espace réservé du pied de page 3"/>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3099393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Line 3"/>
          <p:cNvSpPr>
            <a:spLocks noChangeShapeType="1"/>
          </p:cNvSpPr>
          <p:nvPr/>
        </p:nvSpPr>
        <p:spPr bwMode="auto">
          <a:xfrm flipV="1">
            <a:off x="3995738" y="4508500"/>
            <a:ext cx="2736850" cy="433388"/>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type="triangl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lstStyle/>
          <a:p>
            <a:endParaRPr lang="en-US">
              <a:solidFill>
                <a:srgbClr val="000000"/>
              </a:solidFill>
            </a:endParaRPr>
          </a:p>
        </p:txBody>
      </p:sp>
      <p:sp>
        <p:nvSpPr>
          <p:cNvPr id="6" name="Espace réservé du texte 5"/>
          <p:cNvSpPr>
            <a:spLocks noGrp="1"/>
          </p:cNvSpPr>
          <p:nvPr>
            <p:ph type="body" sz="quarter" idx="13"/>
          </p:nvPr>
        </p:nvSpPr>
        <p:spPr>
          <a:xfrm>
            <a:off x="561329" y="5908421"/>
            <a:ext cx="7152386" cy="674688"/>
          </a:xfrm>
        </p:spPr>
        <p:txBody>
          <a:bodyPr tIns="46800"/>
          <a:lstStyle/>
          <a:p>
            <a:pPr>
              <a:spcAft>
                <a:spcPct val="0"/>
              </a:spcAft>
            </a:pPr>
            <a:r>
              <a:rPr lang="en-US" altLang="fr-FR" dirty="0"/>
              <a:t>Source</a:t>
            </a:r>
            <a:r>
              <a:rPr lang="en-US" altLang="fr-FR" dirty="0" smtClean="0"/>
              <a:t>: </a:t>
            </a:r>
            <a:r>
              <a:rPr lang="en-US" altLang="fr-FR" dirty="0"/>
              <a:t>Amundi, </a:t>
            </a:r>
            <a:r>
              <a:rPr lang="en-US" altLang="fr-FR" dirty="0" smtClean="0"/>
              <a:t>DJ </a:t>
            </a:r>
            <a:r>
              <a:rPr lang="en-US" altLang="fr-FR" dirty="0" err="1" smtClean="0"/>
              <a:t>Stoxx</a:t>
            </a:r>
            <a:r>
              <a:rPr lang="en-US" altLang="fr-FR" dirty="0" smtClean="0"/>
              <a:t> </a:t>
            </a:r>
            <a:r>
              <a:rPr lang="en-US" altLang="fr-FR" dirty="0" err="1" smtClean="0"/>
              <a:t>Eurostoxx</a:t>
            </a:r>
            <a:r>
              <a:rPr lang="en-US" altLang="fr-FR" dirty="0" smtClean="0"/>
              <a:t>, the Value factor being constructed by Amundi, 31/03/1997 </a:t>
            </a:r>
            <a:r>
              <a:rPr lang="en-US" altLang="fr-FR" dirty="0"/>
              <a:t>– 29/09/2017, Past performance is not a reliable indicator of future results or a guarantee of future returns</a:t>
            </a:r>
          </a:p>
        </p:txBody>
      </p:sp>
      <p:sp>
        <p:nvSpPr>
          <p:cNvPr id="3" name="Titre 2"/>
          <p:cNvSpPr>
            <a:spLocks noGrp="1"/>
          </p:cNvSpPr>
          <p:nvPr>
            <p:ph type="title"/>
          </p:nvPr>
        </p:nvSpPr>
        <p:spPr>
          <a:xfrm>
            <a:off x="539999" y="999823"/>
            <a:ext cx="8063999" cy="466228"/>
          </a:xfrm>
        </p:spPr>
        <p:txBody>
          <a:bodyPr/>
          <a:lstStyle/>
          <a:p>
            <a:r>
              <a:rPr lang="en-US" sz="1600" b="0" dirty="0"/>
              <a:t>Payoff of Amundi Value factor</a:t>
            </a:r>
            <a:endParaRPr lang="fr-FR" sz="1600" b="0" dirty="0"/>
          </a:p>
        </p:txBody>
      </p:sp>
      <p:sp>
        <p:nvSpPr>
          <p:cNvPr id="8" name="Espace réservé du numéro de diapositive 4">
            <a:extLst>
              <a:ext uri="{FF2B5EF4-FFF2-40B4-BE49-F238E27FC236}">
                <a16:creationId xmlns:a16="http://schemas.microsoft.com/office/drawing/2014/main" xmlns="" id="{ED4BF8AC-9D98-4EE6-A536-02D6778F71E8}"/>
              </a:ext>
            </a:extLst>
          </p:cNvPr>
          <p:cNvSpPr txBox="1">
            <a:spLocks/>
          </p:cNvSpPr>
          <p:nvPr/>
        </p:nvSpPr>
        <p:spPr>
          <a:xfrm>
            <a:off x="540000" y="6480000"/>
            <a:ext cx="180000" cy="180000"/>
          </a:xfrm>
          <a:prstGeom prst="rect">
            <a:avLst/>
          </a:prstGeom>
        </p:spPr>
        <p:txBody>
          <a:bodyPr vert="horz" lIns="0" tIns="0" rIns="0" bIns="0" rtlCol="0" anchor="t" anchorCtr="0">
            <a:noAutofit/>
          </a:bodyPr>
          <a:lstStyle>
            <a:defPPr>
              <a:defRPr lang="fr-FR"/>
            </a:defPPr>
            <a:lvl1pPr marL="0" algn="l" defTabSz="914400" rtl="0" eaLnBrk="1" latinLnBrk="0" hangingPunct="1">
              <a:defRPr lang="en-US" sz="80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B1C6FFC-D040-034F-8B69-20295064E64D}" type="slidenum">
              <a:rPr lang="fr-FR"/>
              <a:pPr/>
              <a:t>33</a:t>
            </a:fld>
            <a:endParaRPr lang="fr-FR" dirty="0"/>
          </a:p>
        </p:txBody>
      </p:sp>
      <p:sp>
        <p:nvSpPr>
          <p:cNvPr id="11" name="Titre 1">
            <a:extLst>
              <a:ext uri="{FF2B5EF4-FFF2-40B4-BE49-F238E27FC236}">
                <a16:creationId xmlns:a16="http://schemas.microsoft.com/office/drawing/2014/main" xmlns="" id="{A125EE26-4ABB-4251-BFAE-F5307D3088F2}"/>
              </a:ext>
            </a:extLst>
          </p:cNvPr>
          <p:cNvSpPr txBox="1">
            <a:spLocks/>
          </p:cNvSpPr>
          <p:nvPr/>
        </p:nvSpPr>
        <p:spPr>
          <a:xfrm>
            <a:off x="539998" y="610204"/>
            <a:ext cx="8370537" cy="38749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1" kern="1200" spc="50" baseline="0">
                <a:solidFill>
                  <a:schemeClr val="tx1"/>
                </a:solidFill>
                <a:latin typeface="+mj-lt"/>
                <a:ea typeface="+mj-ea"/>
                <a:cs typeface="+mj-cs"/>
              </a:defRPr>
            </a:lvl1pPr>
          </a:lstStyle>
          <a:p>
            <a:r>
              <a:rPr lang="en-US" dirty="0" smtClean="0"/>
              <a:t>Construction of our factor portfolios</a:t>
            </a:r>
            <a:endParaRPr lang="fr-FR" dirty="0"/>
          </a:p>
        </p:txBody>
      </p:sp>
      <p:sp>
        <p:nvSpPr>
          <p:cNvPr id="9" name="Espace réservé du pied de page 22">
            <a:extLst>
              <a:ext uri="{FF2B5EF4-FFF2-40B4-BE49-F238E27FC236}">
                <a16:creationId xmlns:a16="http://schemas.microsoft.com/office/drawing/2014/main" xmlns="" id="{F875F4B0-95CC-422D-A5D8-F38302D1A45A}"/>
              </a:ext>
            </a:extLst>
          </p:cNvPr>
          <p:cNvSpPr txBox="1">
            <a:spLocks/>
          </p:cNvSpPr>
          <p:nvPr/>
        </p:nvSpPr>
        <p:spPr>
          <a:xfrm>
            <a:off x="796719" y="6480000"/>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20" name="Line 3"/>
          <p:cNvSpPr>
            <a:spLocks noChangeShapeType="1"/>
          </p:cNvSpPr>
          <p:nvPr/>
        </p:nvSpPr>
        <p:spPr bwMode="auto">
          <a:xfrm flipV="1">
            <a:off x="3995738" y="4508500"/>
            <a:ext cx="2736850" cy="433388"/>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type="triangl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lstStyle/>
          <a:p>
            <a:endParaRPr lang="en-US">
              <a:solidFill>
                <a:srgbClr val="000000"/>
              </a:solidFill>
            </a:endParaRPr>
          </a:p>
        </p:txBody>
      </p:sp>
      <p:pic>
        <p:nvPicPr>
          <p:cNvPr id="2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5708" y="1484986"/>
            <a:ext cx="5993991" cy="449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itre 2"/>
          <p:cNvSpPr txBox="1">
            <a:spLocks/>
          </p:cNvSpPr>
          <p:nvPr/>
        </p:nvSpPr>
        <p:spPr>
          <a:xfrm>
            <a:off x="4307089" y="5129124"/>
            <a:ext cx="1867923" cy="46622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1" kern="1200" spc="50" baseline="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50" normalizeH="0" baseline="0" noProof="0" dirty="0" err="1" smtClean="0">
                <a:ln>
                  <a:noFill/>
                </a:ln>
                <a:solidFill>
                  <a:srgbClr val="003C64"/>
                </a:solidFill>
                <a:effectLst/>
                <a:uLnTx/>
                <a:uFillTx/>
                <a:latin typeface="Arial" panose="020B0604020202020204"/>
                <a:ea typeface="+mj-ea"/>
                <a:cs typeface="+mj-cs"/>
              </a:rPr>
              <a:t>Eurostoxx</a:t>
            </a:r>
            <a:r>
              <a:rPr kumimoji="0" lang="en-US" sz="1600" b="0" i="0" u="none" strike="noStrike" kern="1200" cap="none" spc="50" normalizeH="0" baseline="0" noProof="0" dirty="0" smtClean="0">
                <a:ln>
                  <a:noFill/>
                </a:ln>
                <a:solidFill>
                  <a:srgbClr val="003C64"/>
                </a:solidFill>
                <a:effectLst/>
                <a:uLnTx/>
                <a:uFillTx/>
                <a:latin typeface="Arial" panose="020B0604020202020204"/>
                <a:ea typeface="+mj-ea"/>
                <a:cs typeface="+mj-cs"/>
              </a:rPr>
              <a:t> index</a:t>
            </a:r>
            <a:endParaRPr kumimoji="0" lang="fr-FR" sz="1600" b="0" i="0" u="none" strike="noStrike" kern="1200" cap="none" spc="50" normalizeH="0" baseline="0" noProof="0" dirty="0">
              <a:ln>
                <a:noFill/>
              </a:ln>
              <a:solidFill>
                <a:srgbClr val="003C64"/>
              </a:solidFill>
              <a:effectLst/>
              <a:uLnTx/>
              <a:uFillTx/>
              <a:latin typeface="Arial" panose="020B0604020202020204"/>
              <a:ea typeface="+mj-ea"/>
              <a:cs typeface="+mj-cs"/>
            </a:endParaRPr>
          </a:p>
        </p:txBody>
      </p:sp>
      <p:sp>
        <p:nvSpPr>
          <p:cNvPr id="24" name="Titre 2"/>
          <p:cNvSpPr txBox="1">
            <a:spLocks/>
          </p:cNvSpPr>
          <p:nvPr/>
        </p:nvSpPr>
        <p:spPr>
          <a:xfrm>
            <a:off x="1735738" y="2497708"/>
            <a:ext cx="1867923" cy="46622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1" kern="1200" spc="50" baseline="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50" normalizeH="0" baseline="0" noProof="0" dirty="0" smtClean="0">
                <a:ln>
                  <a:noFill/>
                </a:ln>
                <a:solidFill>
                  <a:srgbClr val="003C64"/>
                </a:solidFill>
                <a:effectLst/>
                <a:uLnTx/>
                <a:uFillTx/>
                <a:latin typeface="Arial" panose="020B0604020202020204"/>
                <a:ea typeface="+mj-ea"/>
                <a:cs typeface="+mj-cs"/>
              </a:rPr>
              <a:t>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50" normalizeH="0" baseline="0" noProof="0" dirty="0" smtClean="0">
                <a:ln>
                  <a:noFill/>
                </a:ln>
                <a:solidFill>
                  <a:srgbClr val="003C64"/>
                </a:solidFill>
                <a:effectLst/>
                <a:uLnTx/>
                <a:uFillTx/>
                <a:latin typeface="Arial" panose="020B0604020202020204"/>
                <a:ea typeface="+mj-ea"/>
                <a:cs typeface="+mj-cs"/>
              </a:rPr>
              <a:t>Value factor</a:t>
            </a:r>
            <a:endParaRPr kumimoji="0" lang="fr-FR" sz="1600" b="0" i="0" u="none" strike="noStrike" kern="1200" cap="none" spc="50" normalizeH="0" baseline="0" noProof="0" dirty="0">
              <a:ln>
                <a:noFill/>
              </a:ln>
              <a:solidFill>
                <a:srgbClr val="003C64"/>
              </a:solidFill>
              <a:effectLst/>
              <a:uLnTx/>
              <a:uFillTx/>
              <a:latin typeface="Arial" panose="020B0604020202020204"/>
              <a:ea typeface="+mj-ea"/>
              <a:cs typeface="+mj-cs"/>
            </a:endParaRPr>
          </a:p>
        </p:txBody>
      </p:sp>
      <p:sp>
        <p:nvSpPr>
          <p:cNvPr id="25" name="Oval 24"/>
          <p:cNvSpPr/>
          <p:nvPr/>
        </p:nvSpPr>
        <p:spPr bwMode="auto">
          <a:xfrm>
            <a:off x="5445687" y="2001485"/>
            <a:ext cx="1206436" cy="1261099"/>
          </a:xfrm>
          <a:prstGeom prst="ellipse">
            <a:avLst/>
          </a:prstGeom>
          <a:noFill/>
          <a:ln w="25400"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spcBef>
                <a:spcPct val="0"/>
              </a:spcBef>
              <a:spcAft>
                <a:spcPct val="0"/>
              </a:spcAft>
              <a:buClrTx/>
              <a:buSzTx/>
              <a:buFontTx/>
              <a:buNone/>
              <a:tabLst/>
            </a:pPr>
            <a:endParaRPr kumimoji="0" lang="en-US" sz="800" b="0" i="0" u="none" strike="noStrike" cap="none" normalizeH="0" baseline="0">
              <a:ln>
                <a:noFill/>
              </a:ln>
              <a:solidFill>
                <a:schemeClr val="tx1"/>
              </a:solidFill>
              <a:effectLst/>
            </a:endParaRPr>
          </a:p>
        </p:txBody>
      </p:sp>
      <p:sp>
        <p:nvSpPr>
          <p:cNvPr id="26" name="Oval 25"/>
          <p:cNvSpPr/>
          <p:nvPr/>
        </p:nvSpPr>
        <p:spPr bwMode="auto">
          <a:xfrm>
            <a:off x="2066482" y="4189388"/>
            <a:ext cx="1206436" cy="1261099"/>
          </a:xfrm>
          <a:prstGeom prst="ellipse">
            <a:avLst/>
          </a:prstGeom>
          <a:noFill/>
          <a:ln w="25400"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spcBef>
                <a:spcPct val="0"/>
              </a:spcBef>
              <a:spcAft>
                <a:spcPct val="0"/>
              </a:spcAft>
              <a:buClrTx/>
              <a:buSzTx/>
              <a:buFontTx/>
              <a:buNone/>
              <a:tabLst/>
            </a:pPr>
            <a:endParaRPr kumimoji="0" lang="en-US" sz="800" b="0" i="0" u="none" strike="noStrike" cap="none" normalizeH="0" baseline="0">
              <a:ln>
                <a:noFill/>
              </a:ln>
              <a:solidFill>
                <a:schemeClr val="tx1"/>
              </a:solidFill>
              <a:effectLst/>
            </a:endParaRPr>
          </a:p>
        </p:txBody>
      </p:sp>
      <p:cxnSp>
        <p:nvCxnSpPr>
          <p:cNvPr id="27" name="Straight Arrow Connector 26"/>
          <p:cNvCxnSpPr/>
          <p:nvPr/>
        </p:nvCxnSpPr>
        <p:spPr bwMode="auto">
          <a:xfrm flipH="1" flipV="1">
            <a:off x="6544087" y="3114906"/>
            <a:ext cx="609600" cy="654522"/>
          </a:xfrm>
          <a:prstGeom prst="straightConnector1">
            <a:avLst/>
          </a:prstGeom>
          <a:solidFill>
            <a:schemeClr val="bg2"/>
          </a:solidFill>
          <a:ln w="19050" cap="flat" cmpd="sng" algn="ctr">
            <a:solidFill>
              <a:schemeClr val="accent6"/>
            </a:solidFill>
            <a:prstDash val="solid"/>
            <a:round/>
            <a:headEnd type="none" w="med" len="med"/>
            <a:tailEnd type="triangle" w="lg" len="lg"/>
          </a:ln>
          <a:effectLst/>
        </p:spPr>
      </p:cxnSp>
      <p:cxnSp>
        <p:nvCxnSpPr>
          <p:cNvPr id="28" name="Straight Arrow Connector 27"/>
          <p:cNvCxnSpPr/>
          <p:nvPr/>
        </p:nvCxnSpPr>
        <p:spPr bwMode="auto">
          <a:xfrm flipH="1">
            <a:off x="3328416" y="3880257"/>
            <a:ext cx="3825271" cy="1061631"/>
          </a:xfrm>
          <a:prstGeom prst="straightConnector1">
            <a:avLst/>
          </a:prstGeom>
          <a:solidFill>
            <a:schemeClr val="bg2"/>
          </a:solidFill>
          <a:ln w="19050" cap="flat" cmpd="sng" algn="ctr">
            <a:solidFill>
              <a:schemeClr val="accent6"/>
            </a:solidFill>
            <a:prstDash val="solid"/>
            <a:round/>
            <a:headEnd type="none" w="med" len="med"/>
            <a:tailEnd type="triangle" w="lg" len="lg"/>
          </a:ln>
          <a:effectLst/>
        </p:spPr>
      </p:cxnSp>
      <p:sp>
        <p:nvSpPr>
          <p:cNvPr id="29" name="Espace réservé du contenu 6"/>
          <p:cNvSpPr txBox="1">
            <a:spLocks/>
          </p:cNvSpPr>
          <p:nvPr/>
        </p:nvSpPr>
        <p:spPr bwMode="gray">
          <a:xfrm>
            <a:off x="6302708" y="4189388"/>
            <a:ext cx="2194404"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square" lIns="0" tIns="0" rIns="0" bIns="0">
            <a:spAutoFit/>
          </a:bodyPr>
          <a:lstStyle>
            <a:lvl1pPr marL="342900" indent="-342900" eaLnBrk="0" hangingPunct="0">
              <a:lnSpc>
                <a:spcPct val="90000"/>
              </a:lnSpc>
              <a:spcAft>
                <a:spcPct val="60000"/>
              </a:spcAft>
              <a:defRPr b="1">
                <a:solidFill>
                  <a:schemeClr val="tx1"/>
                </a:solidFill>
                <a:latin typeface="Arial" charset="0"/>
                <a:ea typeface="ＭＳ Ｐゴシック" pitchFamily="34" charset="-128"/>
              </a:defRPr>
            </a:lvl1pPr>
            <a:lvl2pPr marL="288925" indent="-285750" eaLnBrk="0" hangingPunct="0">
              <a:buClr>
                <a:schemeClr val="hlink"/>
              </a:buClr>
              <a:buFont typeface="Wingdings" pitchFamily="2" charset="2"/>
              <a:buChar char="n"/>
              <a:defRPr sz="1600">
                <a:solidFill>
                  <a:schemeClr val="hlink"/>
                </a:solidFill>
                <a:latin typeface="Arial" charset="0"/>
                <a:ea typeface="ＭＳ Ｐゴシック" pitchFamily="34" charset="-128"/>
              </a:defRPr>
            </a:lvl2pPr>
            <a:lvl3pPr marL="539750" indent="-274638" eaLnBrk="0" hangingPunct="0">
              <a:buClr>
                <a:schemeClr val="hlink"/>
              </a:buClr>
              <a:buFont typeface="Arial" charset="0"/>
              <a:buChar char="–"/>
              <a:defRPr sz="1400">
                <a:solidFill>
                  <a:schemeClr val="tx1"/>
                </a:solidFill>
                <a:latin typeface="Arial" charset="0"/>
                <a:ea typeface="ＭＳ Ｐゴシック" pitchFamily="34" charset="-128"/>
              </a:defRPr>
            </a:lvl3pPr>
            <a:lvl4pPr marL="539750" indent="-92075" eaLnBrk="0" hangingPunct="0">
              <a:spcBef>
                <a:spcPct val="25000"/>
              </a:spcBef>
              <a:buClr>
                <a:schemeClr val="hlink"/>
              </a:buClr>
              <a:defRPr sz="1200">
                <a:solidFill>
                  <a:srgbClr val="767A7E"/>
                </a:solidFill>
                <a:latin typeface="Arial" charset="0"/>
                <a:ea typeface="ＭＳ Ｐゴシック" pitchFamily="34" charset="-128"/>
              </a:defRPr>
            </a:lvl4pPr>
            <a:lvl5pPr marL="2057400" indent="-228600" eaLnBrk="0" hangingPunct="0">
              <a:spcBef>
                <a:spcPct val="25000"/>
              </a:spcBef>
              <a:buClr>
                <a:schemeClr val="hlink"/>
              </a:buClr>
              <a:buFont typeface="Wingdings" pitchFamily="2" charset="2"/>
              <a:buChar char="n"/>
              <a:defRPr sz="1000">
                <a:solidFill>
                  <a:schemeClr val="tx1"/>
                </a:solidFill>
                <a:latin typeface="Arial" charset="0"/>
                <a:ea typeface="ＭＳ Ｐゴシック" pitchFamily="34" charset="-128"/>
              </a:defRPr>
            </a:lvl5pPr>
            <a:lvl6pPr marL="2514600" indent="-228600" eaLnBrk="0" fontAlgn="base" hangingPunct="0">
              <a:spcBef>
                <a:spcPct val="25000"/>
              </a:spcBef>
              <a:spcAft>
                <a:spcPct val="0"/>
              </a:spcAft>
              <a:buClr>
                <a:schemeClr val="hlink"/>
              </a:buClr>
              <a:buFont typeface="Wingdings" pitchFamily="2" charset="2"/>
              <a:buChar char="n"/>
              <a:defRPr sz="1000">
                <a:solidFill>
                  <a:schemeClr val="tx1"/>
                </a:solidFill>
                <a:latin typeface="Arial" charset="0"/>
                <a:ea typeface="ＭＳ Ｐゴシック" pitchFamily="34" charset="-128"/>
              </a:defRPr>
            </a:lvl6pPr>
            <a:lvl7pPr marL="2971800" indent="-228600" eaLnBrk="0" fontAlgn="base" hangingPunct="0">
              <a:spcBef>
                <a:spcPct val="25000"/>
              </a:spcBef>
              <a:spcAft>
                <a:spcPct val="0"/>
              </a:spcAft>
              <a:buClr>
                <a:schemeClr val="hlink"/>
              </a:buClr>
              <a:buFont typeface="Wingdings" pitchFamily="2" charset="2"/>
              <a:buChar char="n"/>
              <a:defRPr sz="1000">
                <a:solidFill>
                  <a:schemeClr val="tx1"/>
                </a:solidFill>
                <a:latin typeface="Arial" charset="0"/>
                <a:ea typeface="ＭＳ Ｐゴシック" pitchFamily="34" charset="-128"/>
              </a:defRPr>
            </a:lvl7pPr>
            <a:lvl8pPr marL="3429000" indent="-228600" eaLnBrk="0" fontAlgn="base" hangingPunct="0">
              <a:spcBef>
                <a:spcPct val="25000"/>
              </a:spcBef>
              <a:spcAft>
                <a:spcPct val="0"/>
              </a:spcAft>
              <a:buClr>
                <a:schemeClr val="hlink"/>
              </a:buClr>
              <a:buFont typeface="Wingdings" pitchFamily="2" charset="2"/>
              <a:buChar char="n"/>
              <a:defRPr sz="1000">
                <a:solidFill>
                  <a:schemeClr val="tx1"/>
                </a:solidFill>
                <a:latin typeface="Arial" charset="0"/>
                <a:ea typeface="ＭＳ Ｐゴシック" pitchFamily="34" charset="-128"/>
              </a:defRPr>
            </a:lvl8pPr>
            <a:lvl9pPr marL="3886200" indent="-228600" eaLnBrk="0" fontAlgn="base" hangingPunct="0">
              <a:spcBef>
                <a:spcPct val="25000"/>
              </a:spcBef>
              <a:spcAft>
                <a:spcPct val="0"/>
              </a:spcAft>
              <a:buClr>
                <a:schemeClr val="hlink"/>
              </a:buClr>
              <a:buFont typeface="Wingdings" pitchFamily="2" charset="2"/>
              <a:buChar char="n"/>
              <a:defRPr sz="1000">
                <a:solidFill>
                  <a:schemeClr val="tx1"/>
                </a:solidFill>
                <a:latin typeface="Arial" charset="0"/>
                <a:ea typeface="ＭＳ Ｐゴシック" pitchFamily="34" charset="-128"/>
              </a:defRPr>
            </a:lvl9pPr>
          </a:lstStyle>
          <a:p>
            <a:pPr marL="3175" lvl="1" indent="0" algn="ctr" defTabSz="914400" eaLnBrk="1" hangingPunct="1">
              <a:spcBef>
                <a:spcPts val="600"/>
              </a:spcBef>
              <a:buClr>
                <a:srgbClr val="002060"/>
              </a:buClr>
              <a:buFont typeface="Wingdings" pitchFamily="2" charset="2"/>
              <a:buNone/>
            </a:pPr>
            <a:r>
              <a:rPr lang="en-US" altLang="fr-FR" sz="1800" dirty="0">
                <a:solidFill>
                  <a:srgbClr val="003C64"/>
                </a:solidFill>
                <a:latin typeface="Arial" panose="020B0604020202020204"/>
                <a:cs typeface="Arial" charset="0"/>
              </a:rPr>
              <a:t>Value </a:t>
            </a:r>
            <a:r>
              <a:rPr lang="en-US" altLang="fr-FR" sz="1800" dirty="0" smtClean="0">
                <a:solidFill>
                  <a:srgbClr val="003C64"/>
                </a:solidFill>
                <a:latin typeface="Arial" panose="020B0604020202020204"/>
                <a:cs typeface="Arial" charset="0"/>
              </a:rPr>
              <a:t>factors tend to exhibit high tail market movements</a:t>
            </a:r>
            <a:endParaRPr lang="en-US" altLang="fr-FR" sz="1800" dirty="0">
              <a:solidFill>
                <a:srgbClr val="003C64"/>
              </a:solidFill>
              <a:latin typeface="Arial" panose="020B0604020202020204"/>
              <a:cs typeface="Arial" charset="0"/>
            </a:endParaRPr>
          </a:p>
        </p:txBody>
      </p:sp>
      <p:sp>
        <p:nvSpPr>
          <p:cNvPr id="18" name="TextBox 4">
            <a:extLst>
              <a:ext uri="{FF2B5EF4-FFF2-40B4-BE49-F238E27FC236}">
                <a16:creationId xmlns="" xmlns:a16="http://schemas.microsoft.com/office/drawing/2014/main" id="{BC208369-6968-4A4A-A69A-C9ECFA490CF5}"/>
              </a:ext>
            </a:extLst>
          </p:cNvPr>
          <p:cNvSpPr txBox="1"/>
          <p:nvPr/>
        </p:nvSpPr>
        <p:spPr>
          <a:xfrm>
            <a:off x="2480032" y="1284649"/>
            <a:ext cx="4198585" cy="2446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Bef>
                <a:spcPct val="0"/>
              </a:spcBef>
              <a:defRPr/>
            </a:pPr>
            <a:r>
              <a:rPr lang="en-US" dirty="0">
                <a:solidFill>
                  <a:schemeClr val="bg1"/>
                </a:solidFill>
              </a:rPr>
              <a:t>Monthly </a:t>
            </a:r>
            <a:r>
              <a:rPr lang="en-US" spc="50" dirty="0">
                <a:solidFill>
                  <a:schemeClr val="bg1"/>
                </a:solidFill>
              </a:rPr>
              <a:t>returns of Amundi Value factor vs. </a:t>
            </a:r>
            <a:r>
              <a:rPr lang="en-US" spc="50" dirty="0" err="1">
                <a:solidFill>
                  <a:schemeClr val="bg1"/>
                </a:solidFill>
              </a:rPr>
              <a:t>Eurostoxx</a:t>
            </a:r>
            <a:r>
              <a:rPr lang="en-US" spc="50" dirty="0">
                <a:solidFill>
                  <a:schemeClr val="bg1"/>
                </a:solidFill>
              </a:rPr>
              <a:t> index</a:t>
            </a:r>
            <a:endParaRPr lang="fr-FR" spc="50" dirty="0">
              <a:solidFill>
                <a:schemeClr val="bg1"/>
              </a:solidFill>
            </a:endParaRPr>
          </a:p>
        </p:txBody>
      </p:sp>
      <p:sp>
        <p:nvSpPr>
          <p:cNvPr id="7" name="Espace réservé du numéro de diapositive 6"/>
          <p:cNvSpPr>
            <a:spLocks noGrp="1"/>
          </p:cNvSpPr>
          <p:nvPr>
            <p:ph type="sldNum" sz="quarter" idx="12"/>
          </p:nvPr>
        </p:nvSpPr>
        <p:spPr/>
        <p:txBody>
          <a:bodyPr/>
          <a:lstStyle/>
          <a:p>
            <a:fld id="{C12E7156-0CA6-462A-9A46-AEFB5E440988}" type="slidenum">
              <a:rPr lang="en-US" smtClean="0"/>
              <a:pPr/>
              <a:t>33</a:t>
            </a:fld>
            <a:endParaRPr lang="en-US" dirty="0"/>
          </a:p>
        </p:txBody>
      </p:sp>
      <p:sp>
        <p:nvSpPr>
          <p:cNvPr id="2" name="Espace réservé du pied de page 1"/>
          <p:cNvSpPr>
            <a:spLocks noGrp="1"/>
          </p:cNvSpPr>
          <p:nvPr>
            <p:ph type="ftr" sz="quarter" idx="11"/>
          </p:nvPr>
        </p:nvSpPr>
        <p:spPr/>
        <p:txBody>
          <a:bodyPr/>
          <a:lstStyle/>
          <a:p>
            <a:r>
              <a:rPr lang="en-US" smtClean="0"/>
              <a:t>Smart Beta - Investment Solutions</a:t>
            </a:r>
            <a:endParaRPr lang="en-US" dirty="0"/>
          </a:p>
        </p:txBody>
      </p:sp>
    </p:spTree>
    <p:extLst>
      <p:ext uri="{BB962C8B-B14F-4D97-AF65-F5344CB8AC3E}">
        <p14:creationId xmlns:p14="http://schemas.microsoft.com/office/powerpoint/2010/main" val="117107778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3"/>
          </p:nvPr>
        </p:nvSpPr>
        <p:spPr>
          <a:xfrm>
            <a:off x="540000" y="5924016"/>
            <a:ext cx="7152386" cy="674688"/>
          </a:xfrm>
        </p:spPr>
        <p:txBody>
          <a:bodyPr tIns="46800"/>
          <a:lstStyle/>
          <a:p>
            <a:pPr>
              <a:spcAft>
                <a:spcPct val="0"/>
              </a:spcAft>
            </a:pPr>
            <a:r>
              <a:rPr lang="en-US" altLang="fr-FR" dirty="0"/>
              <a:t>Source: Amundi, DJ </a:t>
            </a:r>
            <a:r>
              <a:rPr lang="en-US" altLang="fr-FR" dirty="0" err="1"/>
              <a:t>Stoxx</a:t>
            </a:r>
            <a:r>
              <a:rPr lang="en-US" altLang="fr-FR" dirty="0"/>
              <a:t> </a:t>
            </a:r>
            <a:r>
              <a:rPr lang="en-US" altLang="fr-FR" dirty="0" err="1"/>
              <a:t>Eurostoxx</a:t>
            </a:r>
            <a:r>
              <a:rPr lang="en-US" altLang="fr-FR" dirty="0"/>
              <a:t>, the </a:t>
            </a:r>
            <a:r>
              <a:rPr lang="en-US" altLang="fr-FR" dirty="0" smtClean="0"/>
              <a:t>low </a:t>
            </a:r>
            <a:r>
              <a:rPr lang="en-US" altLang="fr-FR" dirty="0" err="1" smtClean="0"/>
              <a:t>vol</a:t>
            </a:r>
            <a:r>
              <a:rPr lang="en-US" altLang="fr-FR" dirty="0" smtClean="0"/>
              <a:t> factor </a:t>
            </a:r>
            <a:r>
              <a:rPr lang="en-US" altLang="fr-FR" dirty="0"/>
              <a:t>being constructed by Amundi, 31/03/1997 – 29/09/2017, Past performance is not a reliable indicator of future results or a guarantee of future returns</a:t>
            </a:r>
          </a:p>
        </p:txBody>
      </p:sp>
      <p:sp>
        <p:nvSpPr>
          <p:cNvPr id="3" name="Titre 2"/>
          <p:cNvSpPr>
            <a:spLocks noGrp="1"/>
          </p:cNvSpPr>
          <p:nvPr>
            <p:ph type="title"/>
          </p:nvPr>
        </p:nvSpPr>
        <p:spPr>
          <a:xfrm>
            <a:off x="539999" y="999823"/>
            <a:ext cx="8063999" cy="466228"/>
          </a:xfrm>
        </p:spPr>
        <p:txBody>
          <a:bodyPr/>
          <a:lstStyle/>
          <a:p>
            <a:r>
              <a:rPr lang="en-US" sz="1600" b="0" dirty="0"/>
              <a:t>Payoff of Amundi </a:t>
            </a:r>
            <a:r>
              <a:rPr lang="en-US" sz="1600" b="0" dirty="0" smtClean="0"/>
              <a:t>Low volatility </a:t>
            </a:r>
            <a:r>
              <a:rPr lang="en-US" sz="1600" b="0" dirty="0"/>
              <a:t>factor</a:t>
            </a:r>
            <a:endParaRPr lang="fr-FR" sz="1600" b="0" dirty="0"/>
          </a:p>
        </p:txBody>
      </p:sp>
      <p:sp>
        <p:nvSpPr>
          <p:cNvPr id="8" name="Espace réservé du numéro de diapositive 4">
            <a:extLst>
              <a:ext uri="{FF2B5EF4-FFF2-40B4-BE49-F238E27FC236}">
                <a16:creationId xmlns:a16="http://schemas.microsoft.com/office/drawing/2014/main" xmlns="" id="{ED4BF8AC-9D98-4EE6-A536-02D6778F71E8}"/>
              </a:ext>
            </a:extLst>
          </p:cNvPr>
          <p:cNvSpPr txBox="1">
            <a:spLocks/>
          </p:cNvSpPr>
          <p:nvPr/>
        </p:nvSpPr>
        <p:spPr>
          <a:xfrm>
            <a:off x="540000" y="6480000"/>
            <a:ext cx="180000" cy="180000"/>
          </a:xfrm>
          <a:prstGeom prst="rect">
            <a:avLst/>
          </a:prstGeom>
        </p:spPr>
        <p:txBody>
          <a:bodyPr vert="horz" lIns="0" tIns="0" rIns="0" bIns="0" rtlCol="0" anchor="t" anchorCtr="0">
            <a:noAutofit/>
          </a:bodyPr>
          <a:lstStyle>
            <a:defPPr>
              <a:defRPr lang="fr-FR"/>
            </a:defPPr>
            <a:lvl1pPr marL="0" algn="l" defTabSz="914400" rtl="0" eaLnBrk="1" latinLnBrk="0" hangingPunct="1">
              <a:defRPr lang="en-US" sz="80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B1C6FFC-D040-034F-8B69-20295064E64D}" type="slidenum">
              <a:rPr lang="fr-FR"/>
              <a:pPr/>
              <a:t>34</a:t>
            </a:fld>
            <a:endParaRPr lang="fr-FR" dirty="0"/>
          </a:p>
        </p:txBody>
      </p:sp>
      <p:sp>
        <p:nvSpPr>
          <p:cNvPr id="11" name="Titre 1">
            <a:extLst>
              <a:ext uri="{FF2B5EF4-FFF2-40B4-BE49-F238E27FC236}">
                <a16:creationId xmlns:a16="http://schemas.microsoft.com/office/drawing/2014/main" xmlns="" id="{A125EE26-4ABB-4251-BFAE-F5307D3088F2}"/>
              </a:ext>
            </a:extLst>
          </p:cNvPr>
          <p:cNvSpPr txBox="1">
            <a:spLocks/>
          </p:cNvSpPr>
          <p:nvPr/>
        </p:nvSpPr>
        <p:spPr>
          <a:xfrm>
            <a:off x="539998" y="610204"/>
            <a:ext cx="8370537" cy="38749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1" kern="1200" spc="50" baseline="0">
                <a:solidFill>
                  <a:schemeClr val="tx1"/>
                </a:solidFill>
                <a:latin typeface="+mj-lt"/>
                <a:ea typeface="+mj-ea"/>
                <a:cs typeface="+mj-cs"/>
              </a:defRPr>
            </a:lvl1pPr>
          </a:lstStyle>
          <a:p>
            <a:r>
              <a:rPr lang="en-US" dirty="0" smtClean="0"/>
              <a:t>Construction of our factor portfolios</a:t>
            </a:r>
            <a:endParaRPr lang="fr-FR" dirty="0"/>
          </a:p>
        </p:txBody>
      </p:sp>
      <p:sp>
        <p:nvSpPr>
          <p:cNvPr id="9" name="Espace réservé du pied de page 22">
            <a:extLst>
              <a:ext uri="{FF2B5EF4-FFF2-40B4-BE49-F238E27FC236}">
                <a16:creationId xmlns:a16="http://schemas.microsoft.com/office/drawing/2014/main" xmlns="" id="{F875F4B0-95CC-422D-A5D8-F38302D1A45A}"/>
              </a:ext>
            </a:extLst>
          </p:cNvPr>
          <p:cNvSpPr txBox="1">
            <a:spLocks/>
          </p:cNvSpPr>
          <p:nvPr/>
        </p:nvSpPr>
        <p:spPr>
          <a:xfrm>
            <a:off x="796719" y="6480000"/>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18" name="Line 3"/>
          <p:cNvSpPr>
            <a:spLocks noChangeShapeType="1"/>
          </p:cNvSpPr>
          <p:nvPr/>
        </p:nvSpPr>
        <p:spPr bwMode="auto">
          <a:xfrm flipV="1">
            <a:off x="3995738" y="4508500"/>
            <a:ext cx="2736850" cy="433388"/>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type="triangl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lstStyle/>
          <a:p>
            <a:endParaRPr lang="en-US">
              <a:solidFill>
                <a:srgbClr val="000000"/>
              </a:solidFill>
            </a:endParaRPr>
          </a:p>
        </p:txBody>
      </p:sp>
      <p:pic>
        <p:nvPicPr>
          <p:cNvPr id="1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3585" y="1487973"/>
            <a:ext cx="5982504" cy="4484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Titre 2"/>
          <p:cNvSpPr txBox="1">
            <a:spLocks/>
          </p:cNvSpPr>
          <p:nvPr/>
        </p:nvSpPr>
        <p:spPr>
          <a:xfrm>
            <a:off x="1851517" y="2500037"/>
            <a:ext cx="1867923" cy="46622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1" kern="1200" spc="50" baseline="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50" normalizeH="0" baseline="0" noProof="0" dirty="0" smtClean="0">
                <a:ln>
                  <a:noFill/>
                </a:ln>
                <a:solidFill>
                  <a:srgbClr val="003C64"/>
                </a:solidFill>
                <a:effectLst/>
                <a:uLnTx/>
                <a:uFillTx/>
                <a:latin typeface="Arial" panose="020B0604020202020204"/>
                <a:ea typeface="+mj-ea"/>
                <a:cs typeface="+mj-cs"/>
              </a:rPr>
              <a:t>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50" normalizeH="0" baseline="0" noProof="0" dirty="0" smtClean="0">
                <a:ln>
                  <a:noFill/>
                </a:ln>
                <a:solidFill>
                  <a:srgbClr val="003C64"/>
                </a:solidFill>
                <a:effectLst/>
                <a:uLnTx/>
                <a:uFillTx/>
                <a:latin typeface="Arial" panose="020B0604020202020204"/>
                <a:ea typeface="+mj-ea"/>
                <a:cs typeface="+mj-cs"/>
              </a:rPr>
              <a:t>Low Vol factor</a:t>
            </a:r>
            <a:endParaRPr kumimoji="0" lang="fr-FR" sz="1600" b="0" i="0" u="none" strike="noStrike" kern="1200" cap="none" spc="50" normalizeH="0" baseline="0" noProof="0" dirty="0">
              <a:ln>
                <a:noFill/>
              </a:ln>
              <a:solidFill>
                <a:srgbClr val="003C64"/>
              </a:solidFill>
              <a:effectLst/>
              <a:uLnTx/>
              <a:uFillTx/>
              <a:latin typeface="Arial" panose="020B0604020202020204"/>
              <a:ea typeface="+mj-ea"/>
              <a:cs typeface="+mj-cs"/>
            </a:endParaRPr>
          </a:p>
        </p:txBody>
      </p:sp>
      <p:sp>
        <p:nvSpPr>
          <p:cNvPr id="32" name="Titre 2"/>
          <p:cNvSpPr txBox="1">
            <a:spLocks/>
          </p:cNvSpPr>
          <p:nvPr/>
        </p:nvSpPr>
        <p:spPr>
          <a:xfrm>
            <a:off x="4359855" y="5141110"/>
            <a:ext cx="1867923" cy="46622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1" kern="1200" spc="50" baseline="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50" normalizeH="0" baseline="0" noProof="0" dirty="0" err="1" smtClean="0">
                <a:ln>
                  <a:noFill/>
                </a:ln>
                <a:solidFill>
                  <a:srgbClr val="003C64"/>
                </a:solidFill>
                <a:effectLst/>
                <a:uLnTx/>
                <a:uFillTx/>
                <a:latin typeface="Arial" panose="020B0604020202020204"/>
                <a:ea typeface="+mj-ea"/>
                <a:cs typeface="+mj-cs"/>
              </a:rPr>
              <a:t>Eurostoxx</a:t>
            </a:r>
            <a:r>
              <a:rPr kumimoji="0" lang="en-US" sz="1600" b="0" i="0" u="none" strike="noStrike" kern="1200" cap="none" spc="50" normalizeH="0" baseline="0" noProof="0" dirty="0" smtClean="0">
                <a:ln>
                  <a:noFill/>
                </a:ln>
                <a:solidFill>
                  <a:srgbClr val="003C64"/>
                </a:solidFill>
                <a:effectLst/>
                <a:uLnTx/>
                <a:uFillTx/>
                <a:latin typeface="Arial" panose="020B0604020202020204"/>
                <a:ea typeface="+mj-ea"/>
                <a:cs typeface="+mj-cs"/>
              </a:rPr>
              <a:t> index</a:t>
            </a:r>
            <a:endParaRPr kumimoji="0" lang="fr-FR" sz="1600" b="0" i="0" u="none" strike="noStrike" kern="1200" cap="none" spc="50" normalizeH="0" baseline="0" noProof="0" dirty="0">
              <a:ln>
                <a:noFill/>
              </a:ln>
              <a:solidFill>
                <a:srgbClr val="003C64"/>
              </a:solidFill>
              <a:effectLst/>
              <a:uLnTx/>
              <a:uFillTx/>
              <a:latin typeface="Arial" panose="020B0604020202020204"/>
              <a:ea typeface="+mj-ea"/>
              <a:cs typeface="+mj-cs"/>
            </a:endParaRPr>
          </a:p>
        </p:txBody>
      </p:sp>
      <p:sp>
        <p:nvSpPr>
          <p:cNvPr id="12" name="TextBox 4">
            <a:extLst>
              <a:ext uri="{FF2B5EF4-FFF2-40B4-BE49-F238E27FC236}">
                <a16:creationId xmlns="" xmlns:a16="http://schemas.microsoft.com/office/drawing/2014/main" id="{BC208369-6968-4A4A-A69A-C9ECFA490CF5}"/>
              </a:ext>
            </a:extLst>
          </p:cNvPr>
          <p:cNvSpPr txBox="1"/>
          <p:nvPr/>
        </p:nvSpPr>
        <p:spPr>
          <a:xfrm>
            <a:off x="2403088" y="1284649"/>
            <a:ext cx="4352474" cy="2446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nSpc>
                <a:spcPct val="90000"/>
              </a:lnSpc>
              <a:spcBef>
                <a:spcPct val="0"/>
              </a:spcBef>
              <a:defRPr/>
            </a:pPr>
            <a:r>
              <a:rPr lang="en-US" dirty="0">
                <a:solidFill>
                  <a:schemeClr val="bg1"/>
                </a:solidFill>
              </a:rPr>
              <a:t>Monthly </a:t>
            </a:r>
            <a:r>
              <a:rPr lang="en-US" spc="50" dirty="0">
                <a:solidFill>
                  <a:schemeClr val="bg1"/>
                </a:solidFill>
              </a:rPr>
              <a:t>returns of Amundi Low Vol factor vs. </a:t>
            </a:r>
            <a:r>
              <a:rPr lang="en-US" spc="50" dirty="0" err="1">
                <a:solidFill>
                  <a:schemeClr val="bg1"/>
                </a:solidFill>
              </a:rPr>
              <a:t>Eurostoxx</a:t>
            </a:r>
            <a:r>
              <a:rPr lang="en-US" spc="50" dirty="0">
                <a:solidFill>
                  <a:schemeClr val="bg1"/>
                </a:solidFill>
              </a:rPr>
              <a:t> index</a:t>
            </a:r>
            <a:endParaRPr lang="fr-FR" spc="50" dirty="0">
              <a:solidFill>
                <a:schemeClr val="bg1"/>
              </a:solidFill>
            </a:endParaRPr>
          </a:p>
        </p:txBody>
      </p:sp>
      <p:sp>
        <p:nvSpPr>
          <p:cNvPr id="7" name="Espace réservé du numéro de diapositive 6"/>
          <p:cNvSpPr>
            <a:spLocks noGrp="1"/>
          </p:cNvSpPr>
          <p:nvPr>
            <p:ph type="sldNum" sz="quarter" idx="12"/>
          </p:nvPr>
        </p:nvSpPr>
        <p:spPr/>
        <p:txBody>
          <a:bodyPr/>
          <a:lstStyle/>
          <a:p>
            <a:fld id="{C12E7156-0CA6-462A-9A46-AEFB5E440988}" type="slidenum">
              <a:rPr lang="en-US" smtClean="0"/>
              <a:pPr/>
              <a:t>34</a:t>
            </a:fld>
            <a:endParaRPr lang="en-US" dirty="0"/>
          </a:p>
        </p:txBody>
      </p:sp>
      <p:sp>
        <p:nvSpPr>
          <p:cNvPr id="2" name="Espace réservé du pied de page 1"/>
          <p:cNvSpPr>
            <a:spLocks noGrp="1"/>
          </p:cNvSpPr>
          <p:nvPr>
            <p:ph type="ftr" sz="quarter" idx="11"/>
          </p:nvPr>
        </p:nvSpPr>
        <p:spPr/>
        <p:txBody>
          <a:bodyPr/>
          <a:lstStyle/>
          <a:p>
            <a:r>
              <a:rPr lang="en-US" smtClean="0"/>
              <a:t>Smart Beta - Investment Solutions</a:t>
            </a:r>
            <a:endParaRPr lang="en-US" dirty="0"/>
          </a:p>
        </p:txBody>
      </p:sp>
    </p:spTree>
    <p:extLst>
      <p:ext uri="{BB962C8B-B14F-4D97-AF65-F5344CB8AC3E}">
        <p14:creationId xmlns:p14="http://schemas.microsoft.com/office/powerpoint/2010/main" val="254800709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Espace réservé du numéro de diapositive 1"/>
          <p:cNvSpPr>
            <a:spLocks noGrp="1"/>
          </p:cNvSpPr>
          <p:nvPr>
            <p:ph type="sldNum" sz="quarter" idx="12"/>
          </p:nvPr>
        </p:nvSpPr>
        <p:spPr>
          <a:prstGeom prst="rect">
            <a:avLst/>
          </a:prstGeom>
        </p:spPr>
        <p:txBody>
          <a:bodyPr/>
          <a:lstStyle/>
          <a:p>
            <a:pPr>
              <a:defRPr/>
            </a:pPr>
            <a:fld id="{DBEC58CB-7913-4710-9C85-C75139E48A08}" type="slidenum">
              <a:rPr lang="fr-FR" smtClean="0">
                <a:solidFill>
                  <a:srgbClr val="001C4B"/>
                </a:solidFill>
              </a:rPr>
              <a:pPr>
                <a:defRPr/>
              </a:pPr>
              <a:t>35</a:t>
            </a:fld>
            <a:endParaRPr lang="fr-FR" dirty="0">
              <a:solidFill>
                <a:srgbClr val="001C4B"/>
              </a:solidFill>
            </a:endParaRPr>
          </a:p>
        </p:txBody>
      </p:sp>
      <p:sp>
        <p:nvSpPr>
          <p:cNvPr id="4" name="Espace réservé du texte 3">
            <a:extLst>
              <a:ext uri="{FF2B5EF4-FFF2-40B4-BE49-F238E27FC236}">
                <a16:creationId xmlns:a16="http://schemas.microsoft.com/office/drawing/2014/main" xmlns="" id="{CF0B1799-7EDF-4843-9D2E-1340DD9C40B1}"/>
              </a:ext>
            </a:extLst>
          </p:cNvPr>
          <p:cNvSpPr>
            <a:spLocks noGrp="1"/>
          </p:cNvSpPr>
          <p:nvPr>
            <p:ph type="body" sz="quarter" idx="14"/>
          </p:nvPr>
        </p:nvSpPr>
        <p:spPr>
          <a:xfrm>
            <a:off x="539750" y="5461200"/>
            <a:ext cx="8064248" cy="612000"/>
          </a:xfrm>
        </p:spPr>
        <p:txBody>
          <a:bodyPr/>
          <a:lstStyle/>
          <a:p>
            <a:pPr algn="l"/>
            <a:r>
              <a:rPr lang="en-US" dirty="0"/>
              <a:t>Source: MSCI / Data as of Dec </a:t>
            </a:r>
            <a:r>
              <a:rPr lang="en-US" dirty="0" smtClean="0"/>
              <a:t>2017, net total return in USD</a:t>
            </a:r>
            <a:r>
              <a:rPr lang="en-US" dirty="0"/>
              <a:t/>
            </a:r>
            <a:br>
              <a:rPr lang="en-US" dirty="0"/>
            </a:br>
            <a:r>
              <a:rPr lang="en-US" dirty="0"/>
              <a:t>Past performance is not a reliable indicator of future results or a guarantee of future returns</a:t>
            </a:r>
          </a:p>
        </p:txBody>
      </p:sp>
      <p:sp>
        <p:nvSpPr>
          <p:cNvPr id="232" name="Titre 231">
            <a:extLst>
              <a:ext uri="{FF2B5EF4-FFF2-40B4-BE49-F238E27FC236}">
                <a16:creationId xmlns:a16="http://schemas.microsoft.com/office/drawing/2014/main" xmlns="" id="{043E52FE-3186-40D5-93FA-C20171B45517}"/>
              </a:ext>
            </a:extLst>
          </p:cNvPr>
          <p:cNvSpPr>
            <a:spLocks noGrp="1"/>
          </p:cNvSpPr>
          <p:nvPr>
            <p:ph type="title"/>
          </p:nvPr>
        </p:nvSpPr>
        <p:spPr>
          <a:xfrm>
            <a:off x="539999" y="698265"/>
            <a:ext cx="8063999" cy="387493"/>
          </a:xfrm>
        </p:spPr>
        <p:txBody>
          <a:bodyPr/>
          <a:lstStyle/>
          <a:p>
            <a:r>
              <a:rPr lang="en-US" dirty="0"/>
              <a:t>Factor performance are highly cyclical</a:t>
            </a:r>
            <a:endParaRPr lang="fr-BE" dirty="0">
              <a:solidFill>
                <a:schemeClr val="accent1"/>
              </a:solidFill>
            </a:endParaRPr>
          </a:p>
        </p:txBody>
      </p:sp>
      <p:sp>
        <p:nvSpPr>
          <p:cNvPr id="222" name="TextBox 4">
            <a:extLst>
              <a:ext uri="{FF2B5EF4-FFF2-40B4-BE49-F238E27FC236}">
                <a16:creationId xmlns:a16="http://schemas.microsoft.com/office/drawing/2014/main" xmlns="" id="{076E1FC8-17D1-4A71-BD8D-128631C9A633}"/>
              </a:ext>
            </a:extLst>
          </p:cNvPr>
          <p:cNvSpPr txBox="1"/>
          <p:nvPr/>
        </p:nvSpPr>
        <p:spPr>
          <a:xfrm>
            <a:off x="3148685" y="1278000"/>
            <a:ext cx="2839239"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MSCI World Factor indices vs MSCI World</a:t>
            </a:r>
          </a:p>
        </p:txBody>
      </p:sp>
      <p:grpSp>
        <p:nvGrpSpPr>
          <p:cNvPr id="339" name="Groupe 338">
            <a:extLst>
              <a:ext uri="{FF2B5EF4-FFF2-40B4-BE49-F238E27FC236}">
                <a16:creationId xmlns:a16="http://schemas.microsoft.com/office/drawing/2014/main" xmlns="" id="{F93CA6A7-51E3-45A5-A96B-33B95254A65A}"/>
              </a:ext>
            </a:extLst>
          </p:cNvPr>
          <p:cNvGrpSpPr/>
          <p:nvPr/>
        </p:nvGrpSpPr>
        <p:grpSpPr>
          <a:xfrm>
            <a:off x="300400" y="4738088"/>
            <a:ext cx="8859784" cy="369332"/>
            <a:chOff x="456266" y="4128835"/>
            <a:chExt cx="8859784" cy="369332"/>
          </a:xfrm>
        </p:grpSpPr>
        <p:sp>
          <p:nvSpPr>
            <p:cNvPr id="320" name="TextBox 4">
              <a:extLst>
                <a:ext uri="{FF2B5EF4-FFF2-40B4-BE49-F238E27FC236}">
                  <a16:creationId xmlns:a16="http://schemas.microsoft.com/office/drawing/2014/main" xmlns="" id="{D15039C8-78CB-44C9-932E-0D80A35F61F5}"/>
                </a:ext>
              </a:extLst>
            </p:cNvPr>
            <p:cNvSpPr txBox="1"/>
            <p:nvPr/>
          </p:nvSpPr>
          <p:spPr>
            <a:xfrm>
              <a:off x="456266"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02</a:t>
              </a:r>
            </a:p>
          </p:txBody>
        </p:sp>
        <p:sp>
          <p:nvSpPr>
            <p:cNvPr id="321" name="TextBox 4">
              <a:extLst>
                <a:ext uri="{FF2B5EF4-FFF2-40B4-BE49-F238E27FC236}">
                  <a16:creationId xmlns:a16="http://schemas.microsoft.com/office/drawing/2014/main" xmlns="" id="{458BC8F2-8262-4060-A4DD-30B8EB359F82}"/>
                </a:ext>
              </a:extLst>
            </p:cNvPr>
            <p:cNvSpPr txBox="1"/>
            <p:nvPr/>
          </p:nvSpPr>
          <p:spPr>
            <a:xfrm>
              <a:off x="980901"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03</a:t>
              </a:r>
            </a:p>
          </p:txBody>
        </p:sp>
        <p:sp>
          <p:nvSpPr>
            <p:cNvPr id="322" name="TextBox 4">
              <a:extLst>
                <a:ext uri="{FF2B5EF4-FFF2-40B4-BE49-F238E27FC236}">
                  <a16:creationId xmlns:a16="http://schemas.microsoft.com/office/drawing/2014/main" xmlns="" id="{DDF91C83-18D7-465E-8980-BB5D4E5D2A14}"/>
                </a:ext>
              </a:extLst>
            </p:cNvPr>
            <p:cNvSpPr txBox="1"/>
            <p:nvPr/>
          </p:nvSpPr>
          <p:spPr>
            <a:xfrm>
              <a:off x="1489492"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04</a:t>
              </a:r>
            </a:p>
          </p:txBody>
        </p:sp>
        <p:sp>
          <p:nvSpPr>
            <p:cNvPr id="323" name="TextBox 4">
              <a:extLst>
                <a:ext uri="{FF2B5EF4-FFF2-40B4-BE49-F238E27FC236}">
                  <a16:creationId xmlns:a16="http://schemas.microsoft.com/office/drawing/2014/main" xmlns="" id="{DA004EBA-99AA-4418-9270-A3C47EA3790C}"/>
                </a:ext>
              </a:extLst>
            </p:cNvPr>
            <p:cNvSpPr txBox="1"/>
            <p:nvPr/>
          </p:nvSpPr>
          <p:spPr>
            <a:xfrm>
              <a:off x="1989684"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05</a:t>
              </a:r>
            </a:p>
          </p:txBody>
        </p:sp>
        <p:sp>
          <p:nvSpPr>
            <p:cNvPr id="324" name="TextBox 4">
              <a:extLst>
                <a:ext uri="{FF2B5EF4-FFF2-40B4-BE49-F238E27FC236}">
                  <a16:creationId xmlns:a16="http://schemas.microsoft.com/office/drawing/2014/main" xmlns="" id="{744C4549-9230-4501-90E0-D0F7330FC138}"/>
                </a:ext>
              </a:extLst>
            </p:cNvPr>
            <p:cNvSpPr txBox="1"/>
            <p:nvPr/>
          </p:nvSpPr>
          <p:spPr>
            <a:xfrm>
              <a:off x="2508614"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06</a:t>
              </a:r>
            </a:p>
          </p:txBody>
        </p:sp>
        <p:sp>
          <p:nvSpPr>
            <p:cNvPr id="325" name="TextBox 4">
              <a:extLst>
                <a:ext uri="{FF2B5EF4-FFF2-40B4-BE49-F238E27FC236}">
                  <a16:creationId xmlns:a16="http://schemas.microsoft.com/office/drawing/2014/main" xmlns="" id="{46AA7467-1694-45CA-A18F-C81FB8C76A1F}"/>
                </a:ext>
              </a:extLst>
            </p:cNvPr>
            <p:cNvSpPr txBox="1"/>
            <p:nvPr/>
          </p:nvSpPr>
          <p:spPr>
            <a:xfrm>
              <a:off x="3023611"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07</a:t>
              </a:r>
            </a:p>
          </p:txBody>
        </p:sp>
        <p:sp>
          <p:nvSpPr>
            <p:cNvPr id="326" name="TextBox 4">
              <a:extLst>
                <a:ext uri="{FF2B5EF4-FFF2-40B4-BE49-F238E27FC236}">
                  <a16:creationId xmlns:a16="http://schemas.microsoft.com/office/drawing/2014/main" xmlns="" id="{3F508448-D749-466D-95B8-A0404448E99D}"/>
                </a:ext>
              </a:extLst>
            </p:cNvPr>
            <p:cNvSpPr txBox="1"/>
            <p:nvPr/>
          </p:nvSpPr>
          <p:spPr>
            <a:xfrm>
              <a:off x="3539925"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08</a:t>
              </a:r>
            </a:p>
          </p:txBody>
        </p:sp>
        <p:sp>
          <p:nvSpPr>
            <p:cNvPr id="327" name="TextBox 4">
              <a:extLst>
                <a:ext uri="{FF2B5EF4-FFF2-40B4-BE49-F238E27FC236}">
                  <a16:creationId xmlns:a16="http://schemas.microsoft.com/office/drawing/2014/main" xmlns="" id="{46DEA8F8-5045-47A9-9563-2872AA2EC9E5}"/>
                </a:ext>
              </a:extLst>
            </p:cNvPr>
            <p:cNvSpPr txBox="1"/>
            <p:nvPr/>
          </p:nvSpPr>
          <p:spPr>
            <a:xfrm>
              <a:off x="4046860"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09</a:t>
              </a:r>
            </a:p>
          </p:txBody>
        </p:sp>
        <p:sp>
          <p:nvSpPr>
            <p:cNvPr id="328" name="TextBox 4">
              <a:extLst>
                <a:ext uri="{FF2B5EF4-FFF2-40B4-BE49-F238E27FC236}">
                  <a16:creationId xmlns:a16="http://schemas.microsoft.com/office/drawing/2014/main" xmlns="" id="{750DA02D-8C3E-499A-8474-438F25E91D43}"/>
                </a:ext>
              </a:extLst>
            </p:cNvPr>
            <p:cNvSpPr txBox="1"/>
            <p:nvPr/>
          </p:nvSpPr>
          <p:spPr>
            <a:xfrm>
              <a:off x="4576483"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10</a:t>
              </a:r>
            </a:p>
          </p:txBody>
        </p:sp>
        <p:sp>
          <p:nvSpPr>
            <p:cNvPr id="329" name="TextBox 4">
              <a:extLst>
                <a:ext uri="{FF2B5EF4-FFF2-40B4-BE49-F238E27FC236}">
                  <a16:creationId xmlns:a16="http://schemas.microsoft.com/office/drawing/2014/main" xmlns="" id="{61516AA8-8584-4D15-B9CF-5CEE47E01406}"/>
                </a:ext>
              </a:extLst>
            </p:cNvPr>
            <p:cNvSpPr txBox="1"/>
            <p:nvPr/>
          </p:nvSpPr>
          <p:spPr>
            <a:xfrm>
              <a:off x="5073543"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11</a:t>
              </a:r>
            </a:p>
          </p:txBody>
        </p:sp>
        <p:sp>
          <p:nvSpPr>
            <p:cNvPr id="330" name="TextBox 4">
              <a:extLst>
                <a:ext uri="{FF2B5EF4-FFF2-40B4-BE49-F238E27FC236}">
                  <a16:creationId xmlns:a16="http://schemas.microsoft.com/office/drawing/2014/main" xmlns="" id="{2BDFE8A4-B4C8-4B4A-8CB1-9695B59D8CC2}"/>
                </a:ext>
              </a:extLst>
            </p:cNvPr>
            <p:cNvSpPr txBox="1"/>
            <p:nvPr/>
          </p:nvSpPr>
          <p:spPr>
            <a:xfrm>
              <a:off x="5580478"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12</a:t>
              </a:r>
            </a:p>
          </p:txBody>
        </p:sp>
        <p:sp>
          <p:nvSpPr>
            <p:cNvPr id="331" name="TextBox 4">
              <a:extLst>
                <a:ext uri="{FF2B5EF4-FFF2-40B4-BE49-F238E27FC236}">
                  <a16:creationId xmlns:a16="http://schemas.microsoft.com/office/drawing/2014/main" xmlns="" id="{AAB6BD41-9268-4682-8F02-6BA323D39CF8}"/>
                </a:ext>
              </a:extLst>
            </p:cNvPr>
            <p:cNvSpPr txBox="1"/>
            <p:nvPr/>
          </p:nvSpPr>
          <p:spPr>
            <a:xfrm>
              <a:off x="6128824"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13</a:t>
              </a:r>
            </a:p>
          </p:txBody>
        </p:sp>
        <p:sp>
          <p:nvSpPr>
            <p:cNvPr id="332" name="TextBox 4">
              <a:extLst>
                <a:ext uri="{FF2B5EF4-FFF2-40B4-BE49-F238E27FC236}">
                  <a16:creationId xmlns:a16="http://schemas.microsoft.com/office/drawing/2014/main" xmlns="" id="{481255BC-42D3-4F1E-8EE3-901EF2D19540}"/>
                </a:ext>
              </a:extLst>
            </p:cNvPr>
            <p:cNvSpPr txBox="1"/>
            <p:nvPr/>
          </p:nvSpPr>
          <p:spPr>
            <a:xfrm>
              <a:off x="6658417"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14</a:t>
              </a:r>
            </a:p>
          </p:txBody>
        </p:sp>
        <p:sp>
          <p:nvSpPr>
            <p:cNvPr id="333" name="TextBox 4">
              <a:extLst>
                <a:ext uri="{FF2B5EF4-FFF2-40B4-BE49-F238E27FC236}">
                  <a16:creationId xmlns:a16="http://schemas.microsoft.com/office/drawing/2014/main" xmlns="" id="{2C1F5622-5445-40A1-99B0-539F4A63E416}"/>
                </a:ext>
              </a:extLst>
            </p:cNvPr>
            <p:cNvSpPr txBox="1"/>
            <p:nvPr/>
          </p:nvSpPr>
          <p:spPr>
            <a:xfrm>
              <a:off x="7165386"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2015</a:t>
              </a:r>
            </a:p>
          </p:txBody>
        </p:sp>
        <p:sp>
          <p:nvSpPr>
            <p:cNvPr id="334" name="TextBox 4">
              <a:extLst>
                <a:ext uri="{FF2B5EF4-FFF2-40B4-BE49-F238E27FC236}">
                  <a16:creationId xmlns:a16="http://schemas.microsoft.com/office/drawing/2014/main" xmlns="" id="{803BD4E3-3447-44F2-85C1-63AC95A7F3CE}"/>
                </a:ext>
              </a:extLst>
            </p:cNvPr>
            <p:cNvSpPr txBox="1"/>
            <p:nvPr/>
          </p:nvSpPr>
          <p:spPr>
            <a:xfrm>
              <a:off x="7668120" y="4198085"/>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900" dirty="0" smtClean="0">
                  <a:solidFill>
                    <a:schemeClr val="tx1"/>
                  </a:solidFill>
                </a:rPr>
                <a:t>2016</a:t>
              </a:r>
              <a:endParaRPr lang="en-US" sz="900" dirty="0">
                <a:solidFill>
                  <a:schemeClr val="tx1"/>
                </a:solidFill>
              </a:endParaRPr>
            </a:p>
          </p:txBody>
        </p:sp>
        <p:sp>
          <p:nvSpPr>
            <p:cNvPr id="335" name="TextBox 4">
              <a:extLst>
                <a:ext uri="{FF2B5EF4-FFF2-40B4-BE49-F238E27FC236}">
                  <a16:creationId xmlns:a16="http://schemas.microsoft.com/office/drawing/2014/main" xmlns="" id="{E7D8BEC7-3A90-45BB-B602-CB53A0FD158B}"/>
                </a:ext>
              </a:extLst>
            </p:cNvPr>
            <p:cNvSpPr txBox="1"/>
            <p:nvPr/>
          </p:nvSpPr>
          <p:spPr>
            <a:xfrm>
              <a:off x="8669719" y="4128835"/>
              <a:ext cx="646331"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dirty="0">
                  <a:solidFill>
                    <a:schemeClr val="tx1"/>
                  </a:solidFill>
                </a:rPr>
                <a:t>Since</a:t>
              </a:r>
              <a:br>
                <a:rPr lang="en-US" sz="900" dirty="0">
                  <a:solidFill>
                    <a:schemeClr val="tx1"/>
                  </a:solidFill>
                </a:rPr>
              </a:br>
              <a:r>
                <a:rPr lang="en-US" sz="900" dirty="0">
                  <a:solidFill>
                    <a:schemeClr val="tx1"/>
                  </a:solidFill>
                </a:rPr>
                <a:t>inception</a:t>
              </a:r>
            </a:p>
          </p:txBody>
        </p:sp>
      </p:grpSp>
      <p:sp>
        <p:nvSpPr>
          <p:cNvPr id="49" name="Rectangle 48"/>
          <p:cNvSpPr/>
          <p:nvPr/>
        </p:nvSpPr>
        <p:spPr>
          <a:xfrm>
            <a:off x="7537571" y="3945408"/>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0" name="Rectangle 49"/>
          <p:cNvSpPr/>
          <p:nvPr/>
        </p:nvSpPr>
        <p:spPr>
          <a:xfrm>
            <a:off x="7537571" y="3668064"/>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1" name="Rectangle 50"/>
          <p:cNvSpPr/>
          <p:nvPr/>
        </p:nvSpPr>
        <p:spPr>
          <a:xfrm>
            <a:off x="7537571" y="2791016"/>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2" name="Rectangle 51"/>
          <p:cNvSpPr/>
          <p:nvPr/>
        </p:nvSpPr>
        <p:spPr>
          <a:xfrm>
            <a:off x="7537571" y="3073497"/>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4" name="Rectangle 53"/>
          <p:cNvSpPr/>
          <p:nvPr/>
        </p:nvSpPr>
        <p:spPr>
          <a:xfrm>
            <a:off x="7537571" y="3388604"/>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1" name="Rectangle 220"/>
          <p:cNvSpPr/>
          <p:nvPr/>
        </p:nvSpPr>
        <p:spPr>
          <a:xfrm>
            <a:off x="369116" y="1947045"/>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3" name="Rectangle 222"/>
          <p:cNvSpPr/>
          <p:nvPr/>
        </p:nvSpPr>
        <p:spPr>
          <a:xfrm>
            <a:off x="369116" y="2230622"/>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4" name="Rectangle 223"/>
          <p:cNvSpPr/>
          <p:nvPr/>
        </p:nvSpPr>
        <p:spPr>
          <a:xfrm>
            <a:off x="369116" y="2510256"/>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5" name="Rectangle 224"/>
          <p:cNvSpPr/>
          <p:nvPr/>
        </p:nvSpPr>
        <p:spPr>
          <a:xfrm>
            <a:off x="369116" y="2794782"/>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6" name="Rectangle 225"/>
          <p:cNvSpPr/>
          <p:nvPr/>
        </p:nvSpPr>
        <p:spPr>
          <a:xfrm>
            <a:off x="369116" y="3078972"/>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09" name="Rectangle 208"/>
          <p:cNvSpPr/>
          <p:nvPr/>
        </p:nvSpPr>
        <p:spPr>
          <a:xfrm>
            <a:off x="6003871" y="2514309"/>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0" name="Rectangle 209"/>
          <p:cNvSpPr/>
          <p:nvPr/>
        </p:nvSpPr>
        <p:spPr>
          <a:xfrm>
            <a:off x="6003871" y="2778578"/>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1" name="Rectangle 210"/>
          <p:cNvSpPr/>
          <p:nvPr/>
        </p:nvSpPr>
        <p:spPr>
          <a:xfrm>
            <a:off x="6003871" y="3657428"/>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2" name="Rectangle 211"/>
          <p:cNvSpPr/>
          <p:nvPr/>
        </p:nvSpPr>
        <p:spPr>
          <a:xfrm>
            <a:off x="6003871" y="3374265"/>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4" name="Rectangle 213"/>
          <p:cNvSpPr/>
          <p:nvPr/>
        </p:nvSpPr>
        <p:spPr>
          <a:xfrm>
            <a:off x="6003871" y="3046886"/>
            <a:ext cx="378000" cy="324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6" name="Rectangle 195"/>
          <p:cNvSpPr/>
          <p:nvPr/>
        </p:nvSpPr>
        <p:spPr>
          <a:xfrm>
            <a:off x="6512555" y="2222912"/>
            <a:ext cx="3852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7" name="Rectangle 196"/>
          <p:cNvSpPr/>
          <p:nvPr/>
        </p:nvSpPr>
        <p:spPr>
          <a:xfrm>
            <a:off x="6514650" y="3381399"/>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8" name="Rectangle 197"/>
          <p:cNvSpPr/>
          <p:nvPr/>
        </p:nvSpPr>
        <p:spPr>
          <a:xfrm>
            <a:off x="6512400" y="2494081"/>
            <a:ext cx="3852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9" name="Rectangle 198"/>
          <p:cNvSpPr/>
          <p:nvPr/>
        </p:nvSpPr>
        <p:spPr>
          <a:xfrm>
            <a:off x="6514650" y="2772074"/>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01" name="Rectangle 200"/>
          <p:cNvSpPr/>
          <p:nvPr/>
        </p:nvSpPr>
        <p:spPr>
          <a:xfrm>
            <a:off x="6514650" y="3054600"/>
            <a:ext cx="378000" cy="32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3" name="Rectangle 182"/>
          <p:cNvSpPr/>
          <p:nvPr/>
        </p:nvSpPr>
        <p:spPr>
          <a:xfrm>
            <a:off x="874587" y="2790210"/>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4" name="Rectangle 183"/>
          <p:cNvSpPr/>
          <p:nvPr/>
        </p:nvSpPr>
        <p:spPr>
          <a:xfrm>
            <a:off x="874587" y="3381023"/>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5" name="Rectangle 184"/>
          <p:cNvSpPr/>
          <p:nvPr/>
        </p:nvSpPr>
        <p:spPr>
          <a:xfrm>
            <a:off x="874587" y="3075592"/>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6" name="Rectangle 185"/>
          <p:cNvSpPr/>
          <p:nvPr/>
        </p:nvSpPr>
        <p:spPr>
          <a:xfrm>
            <a:off x="875132" y="3657104"/>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7" name="Rectangle 186"/>
          <p:cNvSpPr/>
          <p:nvPr/>
        </p:nvSpPr>
        <p:spPr>
          <a:xfrm>
            <a:off x="874587" y="3924400"/>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70" name="Rectangle 169"/>
          <p:cNvSpPr/>
          <p:nvPr/>
        </p:nvSpPr>
        <p:spPr>
          <a:xfrm>
            <a:off x="1398103" y="2230472"/>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71" name="Rectangle 170"/>
          <p:cNvSpPr/>
          <p:nvPr/>
        </p:nvSpPr>
        <p:spPr>
          <a:xfrm>
            <a:off x="1398103" y="3075395"/>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72" name="Rectangle 171"/>
          <p:cNvSpPr/>
          <p:nvPr/>
        </p:nvSpPr>
        <p:spPr>
          <a:xfrm>
            <a:off x="1398103" y="2788836"/>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73" name="Rectangle 172"/>
          <p:cNvSpPr/>
          <p:nvPr/>
        </p:nvSpPr>
        <p:spPr>
          <a:xfrm>
            <a:off x="1398103" y="2502668"/>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74" name="Rectangle 173"/>
          <p:cNvSpPr/>
          <p:nvPr/>
        </p:nvSpPr>
        <p:spPr>
          <a:xfrm>
            <a:off x="1398103" y="3393445"/>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58" name="Rectangle 157"/>
          <p:cNvSpPr/>
          <p:nvPr/>
        </p:nvSpPr>
        <p:spPr>
          <a:xfrm>
            <a:off x="1903621" y="2784415"/>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59" name="Rectangle 158"/>
          <p:cNvSpPr/>
          <p:nvPr/>
        </p:nvSpPr>
        <p:spPr>
          <a:xfrm>
            <a:off x="1903621" y="2520041"/>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1" name="Rectangle 160"/>
          <p:cNvSpPr/>
          <p:nvPr/>
        </p:nvSpPr>
        <p:spPr>
          <a:xfrm>
            <a:off x="1903621" y="3068825"/>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2" name="Rectangle 161"/>
          <p:cNvSpPr/>
          <p:nvPr/>
        </p:nvSpPr>
        <p:spPr>
          <a:xfrm>
            <a:off x="1909103" y="3671025"/>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5" name="Rectangle 144"/>
          <p:cNvSpPr/>
          <p:nvPr/>
        </p:nvSpPr>
        <p:spPr>
          <a:xfrm>
            <a:off x="2419661" y="3076004"/>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6" name="Rectangle 145"/>
          <p:cNvSpPr/>
          <p:nvPr/>
        </p:nvSpPr>
        <p:spPr>
          <a:xfrm>
            <a:off x="2419661" y="3375541"/>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7" name="Rectangle 146"/>
          <p:cNvSpPr/>
          <p:nvPr/>
        </p:nvSpPr>
        <p:spPr>
          <a:xfrm>
            <a:off x="2419661" y="2795870"/>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8" name="Rectangle 147"/>
          <p:cNvSpPr/>
          <p:nvPr/>
        </p:nvSpPr>
        <p:spPr>
          <a:xfrm>
            <a:off x="2419661" y="2512272"/>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50" name="Rectangle 149"/>
          <p:cNvSpPr/>
          <p:nvPr/>
        </p:nvSpPr>
        <p:spPr>
          <a:xfrm>
            <a:off x="2419661" y="3659941"/>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3" name="Rectangle 132"/>
          <p:cNvSpPr/>
          <p:nvPr/>
        </p:nvSpPr>
        <p:spPr>
          <a:xfrm>
            <a:off x="2925326" y="3371358"/>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4" name="Rectangle 133"/>
          <p:cNvSpPr/>
          <p:nvPr/>
        </p:nvSpPr>
        <p:spPr>
          <a:xfrm>
            <a:off x="2925326" y="2784350"/>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5" name="Rectangle 134"/>
          <p:cNvSpPr/>
          <p:nvPr/>
        </p:nvSpPr>
        <p:spPr>
          <a:xfrm>
            <a:off x="2925326" y="3657174"/>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6" name="Rectangle 135"/>
          <p:cNvSpPr/>
          <p:nvPr/>
        </p:nvSpPr>
        <p:spPr>
          <a:xfrm>
            <a:off x="2925326" y="3943171"/>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7" name="Rectangle 136"/>
          <p:cNvSpPr/>
          <p:nvPr/>
        </p:nvSpPr>
        <p:spPr>
          <a:xfrm>
            <a:off x="2925326" y="3068750"/>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7" name="Rectangle 126"/>
          <p:cNvSpPr/>
          <p:nvPr/>
        </p:nvSpPr>
        <p:spPr>
          <a:xfrm>
            <a:off x="3441219" y="3379777"/>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8" name="Rectangle 127"/>
          <p:cNvSpPr/>
          <p:nvPr/>
        </p:nvSpPr>
        <p:spPr>
          <a:xfrm>
            <a:off x="3437040" y="3665905"/>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9" name="Rectangle 128"/>
          <p:cNvSpPr/>
          <p:nvPr/>
        </p:nvSpPr>
        <p:spPr>
          <a:xfrm>
            <a:off x="3441219" y="2789855"/>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1" name="Rectangle 130"/>
          <p:cNvSpPr/>
          <p:nvPr/>
        </p:nvSpPr>
        <p:spPr>
          <a:xfrm>
            <a:off x="3441219" y="3075029"/>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2" name="Rectangle 131"/>
          <p:cNvSpPr/>
          <p:nvPr/>
        </p:nvSpPr>
        <p:spPr>
          <a:xfrm>
            <a:off x="3441219" y="3952039"/>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7" name="Rectangle 106"/>
          <p:cNvSpPr/>
          <p:nvPr/>
        </p:nvSpPr>
        <p:spPr>
          <a:xfrm>
            <a:off x="3951998" y="2520008"/>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8" name="Rectangle 107"/>
          <p:cNvSpPr/>
          <p:nvPr/>
        </p:nvSpPr>
        <p:spPr>
          <a:xfrm>
            <a:off x="3951998" y="3676317"/>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9" name="Rectangle 108"/>
          <p:cNvSpPr/>
          <p:nvPr/>
        </p:nvSpPr>
        <p:spPr>
          <a:xfrm>
            <a:off x="3951998" y="3391129"/>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0" name="Rectangle 109"/>
          <p:cNvSpPr/>
          <p:nvPr/>
        </p:nvSpPr>
        <p:spPr>
          <a:xfrm>
            <a:off x="3951998" y="3077678"/>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2" name="Rectangle 111"/>
          <p:cNvSpPr/>
          <p:nvPr/>
        </p:nvSpPr>
        <p:spPr>
          <a:xfrm>
            <a:off x="3951998" y="2794367"/>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4" name="Rectangle 93"/>
          <p:cNvSpPr/>
          <p:nvPr/>
        </p:nvSpPr>
        <p:spPr>
          <a:xfrm>
            <a:off x="4474348" y="3654509"/>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5" name="Rectangle 94"/>
          <p:cNvSpPr/>
          <p:nvPr/>
        </p:nvSpPr>
        <p:spPr>
          <a:xfrm>
            <a:off x="4474348" y="2790396"/>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6" name="Rectangle 95"/>
          <p:cNvSpPr/>
          <p:nvPr/>
        </p:nvSpPr>
        <p:spPr>
          <a:xfrm>
            <a:off x="4474348" y="3374270"/>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7" name="Rectangle 96"/>
          <p:cNvSpPr/>
          <p:nvPr/>
        </p:nvSpPr>
        <p:spPr>
          <a:xfrm>
            <a:off x="4474348" y="3074796"/>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8" name="Rectangle 87"/>
          <p:cNvSpPr/>
          <p:nvPr/>
        </p:nvSpPr>
        <p:spPr>
          <a:xfrm>
            <a:off x="4982313" y="3664121"/>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9" name="Rectangle 88"/>
          <p:cNvSpPr/>
          <p:nvPr/>
        </p:nvSpPr>
        <p:spPr>
          <a:xfrm>
            <a:off x="4982313" y="3099291"/>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0" name="Rectangle 89"/>
          <p:cNvSpPr/>
          <p:nvPr/>
        </p:nvSpPr>
        <p:spPr>
          <a:xfrm>
            <a:off x="4982313" y="2829720"/>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3" name="Rectangle 92"/>
          <p:cNvSpPr/>
          <p:nvPr/>
        </p:nvSpPr>
        <p:spPr>
          <a:xfrm>
            <a:off x="4982313" y="3384613"/>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Rectangle 11"/>
          <p:cNvSpPr/>
          <p:nvPr/>
        </p:nvSpPr>
        <p:spPr>
          <a:xfrm>
            <a:off x="5498688" y="3364731"/>
            <a:ext cx="378000" cy="32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 name="Rectangle 13"/>
          <p:cNvSpPr/>
          <p:nvPr/>
        </p:nvSpPr>
        <p:spPr>
          <a:xfrm>
            <a:off x="5498688" y="3654331"/>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5" name="Rectangle 14"/>
          <p:cNvSpPr/>
          <p:nvPr/>
        </p:nvSpPr>
        <p:spPr>
          <a:xfrm>
            <a:off x="5498688" y="4218993"/>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 name="Rectangle 15"/>
          <p:cNvSpPr/>
          <p:nvPr/>
        </p:nvSpPr>
        <p:spPr>
          <a:xfrm>
            <a:off x="5498688" y="3932766"/>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 name="Rectangle 17"/>
          <p:cNvSpPr/>
          <p:nvPr/>
        </p:nvSpPr>
        <p:spPr>
          <a:xfrm>
            <a:off x="5498688" y="3104777"/>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2" name="Rectangle 61"/>
          <p:cNvSpPr/>
          <p:nvPr/>
        </p:nvSpPr>
        <p:spPr>
          <a:xfrm>
            <a:off x="7027200" y="3660509"/>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3" name="Rectangle 62"/>
          <p:cNvSpPr/>
          <p:nvPr/>
        </p:nvSpPr>
        <p:spPr>
          <a:xfrm>
            <a:off x="7025429" y="2771559"/>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4" name="Rectangle 63"/>
          <p:cNvSpPr/>
          <p:nvPr/>
        </p:nvSpPr>
        <p:spPr>
          <a:xfrm>
            <a:off x="7025429" y="2204589"/>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5" name="Rectangle 64"/>
          <p:cNvSpPr/>
          <p:nvPr/>
        </p:nvSpPr>
        <p:spPr>
          <a:xfrm>
            <a:off x="7025429" y="2487070"/>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7" name="Rectangle 66"/>
          <p:cNvSpPr/>
          <p:nvPr/>
        </p:nvSpPr>
        <p:spPr>
          <a:xfrm>
            <a:off x="7025429" y="3054600"/>
            <a:ext cx="378000" cy="32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7" name="Rectangle 36"/>
          <p:cNvSpPr/>
          <p:nvPr/>
        </p:nvSpPr>
        <p:spPr>
          <a:xfrm>
            <a:off x="8532233" y="1661822"/>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8" name="Rectangle 37"/>
          <p:cNvSpPr/>
          <p:nvPr/>
        </p:nvSpPr>
        <p:spPr>
          <a:xfrm>
            <a:off x="8532234" y="2231445"/>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9" name="Rectangle 38"/>
          <p:cNvSpPr/>
          <p:nvPr/>
        </p:nvSpPr>
        <p:spPr>
          <a:xfrm>
            <a:off x="8532234" y="2513135"/>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0" name="Rectangle 39"/>
          <p:cNvSpPr/>
          <p:nvPr/>
        </p:nvSpPr>
        <p:spPr>
          <a:xfrm>
            <a:off x="8532234" y="3070479"/>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2" name="Rectangle 41"/>
          <p:cNvSpPr/>
          <p:nvPr/>
        </p:nvSpPr>
        <p:spPr>
          <a:xfrm>
            <a:off x="8532234" y="2791973"/>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144" name="Groupe 143">
            <a:extLst>
              <a:ext uri="{FF2B5EF4-FFF2-40B4-BE49-F238E27FC236}">
                <a16:creationId xmlns:a16="http://schemas.microsoft.com/office/drawing/2014/main" xmlns="" id="{19AB1A7C-F054-49F7-BF3E-065FC1740076}"/>
              </a:ext>
            </a:extLst>
          </p:cNvPr>
          <p:cNvGrpSpPr/>
          <p:nvPr/>
        </p:nvGrpSpPr>
        <p:grpSpPr>
          <a:xfrm>
            <a:off x="2208400" y="5234744"/>
            <a:ext cx="836723" cy="230832"/>
            <a:chOff x="2151967" y="5181764"/>
            <a:chExt cx="836723" cy="230832"/>
          </a:xfrm>
        </p:grpSpPr>
        <p:sp>
          <p:nvSpPr>
            <p:cNvPr id="340" name="TextBox 4">
              <a:extLst>
                <a:ext uri="{FF2B5EF4-FFF2-40B4-BE49-F238E27FC236}">
                  <a16:creationId xmlns:a16="http://schemas.microsoft.com/office/drawing/2014/main" xmlns="" id="{B2F88768-19EC-49D3-A2BF-DEDB4D9D7A31}"/>
                </a:ext>
              </a:extLst>
            </p:cNvPr>
            <p:cNvSpPr txBox="1"/>
            <p:nvPr/>
          </p:nvSpPr>
          <p:spPr>
            <a:xfrm>
              <a:off x="2188471" y="5181764"/>
              <a:ext cx="800219"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schemeClr val="accent4"/>
                  </a:solidFill>
                </a:rPr>
                <a:t>Momentum</a:t>
              </a:r>
            </a:p>
          </p:txBody>
        </p:sp>
        <p:sp>
          <p:nvSpPr>
            <p:cNvPr id="345" name="Rectangle 344">
              <a:extLst>
                <a:ext uri="{FF2B5EF4-FFF2-40B4-BE49-F238E27FC236}">
                  <a16:creationId xmlns:a16="http://schemas.microsoft.com/office/drawing/2014/main" xmlns="" id="{31687E7C-8287-448F-93CB-6AA9BD037623}"/>
                </a:ext>
              </a:extLst>
            </p:cNvPr>
            <p:cNvSpPr/>
            <p:nvPr/>
          </p:nvSpPr>
          <p:spPr>
            <a:xfrm>
              <a:off x="2151967" y="5257829"/>
              <a:ext cx="78703" cy="787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nvGrpSpPr>
          <p:cNvPr id="138" name="Groupe 137">
            <a:extLst>
              <a:ext uri="{FF2B5EF4-FFF2-40B4-BE49-F238E27FC236}">
                <a16:creationId xmlns:a16="http://schemas.microsoft.com/office/drawing/2014/main" xmlns="" id="{52511141-4CEF-4ED5-A48F-EC4EB6B731DD}"/>
              </a:ext>
            </a:extLst>
          </p:cNvPr>
          <p:cNvGrpSpPr/>
          <p:nvPr/>
        </p:nvGrpSpPr>
        <p:grpSpPr>
          <a:xfrm>
            <a:off x="3276371" y="5234744"/>
            <a:ext cx="668717" cy="230832"/>
            <a:chOff x="3049721" y="5181764"/>
            <a:chExt cx="668717" cy="230832"/>
          </a:xfrm>
        </p:grpSpPr>
        <p:sp>
          <p:nvSpPr>
            <p:cNvPr id="341" name="TextBox 4">
              <a:extLst>
                <a:ext uri="{FF2B5EF4-FFF2-40B4-BE49-F238E27FC236}">
                  <a16:creationId xmlns:a16="http://schemas.microsoft.com/office/drawing/2014/main" xmlns="" id="{ABBABDD0-46F3-49A5-922D-D625AAB35E3F}"/>
                </a:ext>
              </a:extLst>
            </p:cNvPr>
            <p:cNvSpPr txBox="1"/>
            <p:nvPr/>
          </p:nvSpPr>
          <p:spPr>
            <a:xfrm>
              <a:off x="3084931" y="5181764"/>
              <a:ext cx="63350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schemeClr val="accent1"/>
                  </a:solidFill>
                </a:rPr>
                <a:t>Mid Cap</a:t>
              </a:r>
            </a:p>
          </p:txBody>
        </p:sp>
        <p:sp>
          <p:nvSpPr>
            <p:cNvPr id="346" name="Rectangle 345">
              <a:extLst>
                <a:ext uri="{FF2B5EF4-FFF2-40B4-BE49-F238E27FC236}">
                  <a16:creationId xmlns:a16="http://schemas.microsoft.com/office/drawing/2014/main" xmlns="" id="{B4D385FE-E52F-4260-ACAF-B9CDB618D55E}"/>
                </a:ext>
              </a:extLst>
            </p:cNvPr>
            <p:cNvSpPr/>
            <p:nvPr/>
          </p:nvSpPr>
          <p:spPr>
            <a:xfrm>
              <a:off x="3049721" y="5257829"/>
              <a:ext cx="78703" cy="787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nvGrpSpPr>
          <p:cNvPr id="130" name="Groupe 129">
            <a:extLst>
              <a:ext uri="{FF2B5EF4-FFF2-40B4-BE49-F238E27FC236}">
                <a16:creationId xmlns:a16="http://schemas.microsoft.com/office/drawing/2014/main" xmlns="" id="{23650764-2C60-4487-BDD4-951486043900}"/>
              </a:ext>
            </a:extLst>
          </p:cNvPr>
          <p:cNvGrpSpPr/>
          <p:nvPr/>
        </p:nvGrpSpPr>
        <p:grpSpPr>
          <a:xfrm>
            <a:off x="4176336" y="5234744"/>
            <a:ext cx="1430923" cy="230832"/>
            <a:chOff x="3488087" y="5181764"/>
            <a:chExt cx="1430923" cy="230832"/>
          </a:xfrm>
        </p:grpSpPr>
        <p:sp>
          <p:nvSpPr>
            <p:cNvPr id="342" name="TextBox 4">
              <a:extLst>
                <a:ext uri="{FF2B5EF4-FFF2-40B4-BE49-F238E27FC236}">
                  <a16:creationId xmlns:a16="http://schemas.microsoft.com/office/drawing/2014/main" xmlns="" id="{ECA7A2A4-AB53-46C7-8EA8-4788321B2F8D}"/>
                </a:ext>
              </a:extLst>
            </p:cNvPr>
            <p:cNvSpPr txBox="1"/>
            <p:nvPr/>
          </p:nvSpPr>
          <p:spPr>
            <a:xfrm>
              <a:off x="3682774" y="5181764"/>
              <a:ext cx="1236236"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schemeClr val="tx2">
                      <a:lumMod val="60000"/>
                      <a:lumOff val="40000"/>
                    </a:schemeClr>
                  </a:solidFill>
                </a:rPr>
                <a:t>Minimum </a:t>
              </a:r>
              <a:r>
                <a:rPr lang="en-US" sz="900" b="1" dirty="0" smtClean="0">
                  <a:solidFill>
                    <a:schemeClr val="tx2">
                      <a:lumMod val="60000"/>
                      <a:lumOff val="40000"/>
                    </a:schemeClr>
                  </a:solidFill>
                </a:rPr>
                <a:t>Volatility</a:t>
              </a:r>
              <a:endParaRPr lang="en-US" sz="900" b="1" dirty="0">
                <a:solidFill>
                  <a:schemeClr val="tx2">
                    <a:lumMod val="60000"/>
                    <a:lumOff val="40000"/>
                  </a:schemeClr>
                </a:solidFill>
              </a:endParaRPr>
            </a:p>
          </p:txBody>
        </p:sp>
        <p:sp>
          <p:nvSpPr>
            <p:cNvPr id="347" name="Rectangle 346">
              <a:extLst>
                <a:ext uri="{FF2B5EF4-FFF2-40B4-BE49-F238E27FC236}">
                  <a16:creationId xmlns:a16="http://schemas.microsoft.com/office/drawing/2014/main" xmlns="" id="{DC379A81-8731-47E8-9D99-C7E81C4D2D6C}"/>
                </a:ext>
              </a:extLst>
            </p:cNvPr>
            <p:cNvSpPr/>
            <p:nvPr/>
          </p:nvSpPr>
          <p:spPr>
            <a:xfrm>
              <a:off x="3488087" y="5257829"/>
              <a:ext cx="78703" cy="7870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nvGrpSpPr>
          <p:cNvPr id="350" name="Groupe 349">
            <a:extLst>
              <a:ext uri="{FF2B5EF4-FFF2-40B4-BE49-F238E27FC236}">
                <a16:creationId xmlns:a16="http://schemas.microsoft.com/office/drawing/2014/main" xmlns="" id="{A33A4268-C71E-4F4A-8EC7-CFAF6EF064A0}"/>
              </a:ext>
            </a:extLst>
          </p:cNvPr>
          <p:cNvGrpSpPr/>
          <p:nvPr/>
        </p:nvGrpSpPr>
        <p:grpSpPr>
          <a:xfrm>
            <a:off x="6855868" y="5234744"/>
            <a:ext cx="1337630" cy="230832"/>
            <a:chOff x="6116009" y="5181764"/>
            <a:chExt cx="1337630" cy="230832"/>
          </a:xfrm>
        </p:grpSpPr>
        <p:sp>
          <p:nvSpPr>
            <p:cNvPr id="344" name="TextBox 4">
              <a:extLst>
                <a:ext uri="{FF2B5EF4-FFF2-40B4-BE49-F238E27FC236}">
                  <a16:creationId xmlns:a16="http://schemas.microsoft.com/office/drawing/2014/main" xmlns="" id="{FE911D0B-2758-44F7-B96B-591783460FF4}"/>
                </a:ext>
              </a:extLst>
            </p:cNvPr>
            <p:cNvSpPr txBox="1"/>
            <p:nvPr/>
          </p:nvSpPr>
          <p:spPr>
            <a:xfrm>
              <a:off x="6153283" y="5181764"/>
              <a:ext cx="1300356"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schemeClr val="accent3"/>
                  </a:solidFill>
                </a:rPr>
                <a:t>High Dividend Yield </a:t>
              </a:r>
            </a:p>
          </p:txBody>
        </p:sp>
        <p:sp>
          <p:nvSpPr>
            <p:cNvPr id="349" name="Rectangle 348">
              <a:extLst>
                <a:ext uri="{FF2B5EF4-FFF2-40B4-BE49-F238E27FC236}">
                  <a16:creationId xmlns:a16="http://schemas.microsoft.com/office/drawing/2014/main" xmlns="" id="{1F2D5396-75C9-49E6-BF01-3C2478932BB8}"/>
                </a:ext>
              </a:extLst>
            </p:cNvPr>
            <p:cNvSpPr/>
            <p:nvPr/>
          </p:nvSpPr>
          <p:spPr>
            <a:xfrm>
              <a:off x="6116009" y="5257829"/>
              <a:ext cx="78703" cy="787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nvGrpSpPr>
          <p:cNvPr id="351" name="Groupe 350">
            <a:extLst>
              <a:ext uri="{FF2B5EF4-FFF2-40B4-BE49-F238E27FC236}">
                <a16:creationId xmlns:a16="http://schemas.microsoft.com/office/drawing/2014/main" xmlns="" id="{B2DE269F-B463-45E6-A970-D7EA1C5C7432}"/>
              </a:ext>
            </a:extLst>
          </p:cNvPr>
          <p:cNvGrpSpPr/>
          <p:nvPr/>
        </p:nvGrpSpPr>
        <p:grpSpPr>
          <a:xfrm>
            <a:off x="5998808" y="5234744"/>
            <a:ext cx="625812" cy="230832"/>
            <a:chOff x="4937599" y="5181764"/>
            <a:chExt cx="625812" cy="230832"/>
          </a:xfrm>
        </p:grpSpPr>
        <p:sp>
          <p:nvSpPr>
            <p:cNvPr id="343" name="TextBox 4">
              <a:extLst>
                <a:ext uri="{FF2B5EF4-FFF2-40B4-BE49-F238E27FC236}">
                  <a16:creationId xmlns:a16="http://schemas.microsoft.com/office/drawing/2014/main" xmlns="" id="{99099832-F24E-48C8-936E-0B9E9EC600B4}"/>
                </a:ext>
              </a:extLst>
            </p:cNvPr>
            <p:cNvSpPr txBox="1"/>
            <p:nvPr/>
          </p:nvSpPr>
          <p:spPr>
            <a:xfrm>
              <a:off x="4987612" y="5181764"/>
              <a:ext cx="575799"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schemeClr val="accent5">
                      <a:lumMod val="60000"/>
                      <a:lumOff val="40000"/>
                    </a:schemeClr>
                  </a:solidFill>
                </a:rPr>
                <a:t>Quality</a:t>
              </a:r>
            </a:p>
          </p:txBody>
        </p:sp>
        <p:sp>
          <p:nvSpPr>
            <p:cNvPr id="348" name="Rectangle 347">
              <a:extLst>
                <a:ext uri="{FF2B5EF4-FFF2-40B4-BE49-F238E27FC236}">
                  <a16:creationId xmlns:a16="http://schemas.microsoft.com/office/drawing/2014/main" xmlns="" id="{0BA90AD6-90DC-4834-BC0D-C96C3E009DEC}"/>
                </a:ext>
              </a:extLst>
            </p:cNvPr>
            <p:cNvSpPr/>
            <p:nvPr/>
          </p:nvSpPr>
          <p:spPr>
            <a:xfrm>
              <a:off x="4937599" y="5257829"/>
              <a:ext cx="78703" cy="78703"/>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18" name="Rectangle 217">
            <a:extLst>
              <a:ext uri="{FF2B5EF4-FFF2-40B4-BE49-F238E27FC236}">
                <a16:creationId xmlns:a16="http://schemas.microsoft.com/office/drawing/2014/main" xmlns="" id="{B646D402-9245-4074-B099-DC4F7C0CF41E}"/>
              </a:ext>
            </a:extLst>
          </p:cNvPr>
          <p:cNvSpPr/>
          <p:nvPr/>
        </p:nvSpPr>
        <p:spPr>
          <a:xfrm>
            <a:off x="369116" y="1662695"/>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60000"/>
                  <a:lumOff val="40000"/>
                </a:schemeClr>
              </a:solidFill>
            </a:endParaRPr>
          </a:p>
        </p:txBody>
      </p:sp>
      <p:sp>
        <p:nvSpPr>
          <p:cNvPr id="220" name="Rectangle 219">
            <a:extLst>
              <a:ext uri="{FF2B5EF4-FFF2-40B4-BE49-F238E27FC236}">
                <a16:creationId xmlns:a16="http://schemas.microsoft.com/office/drawing/2014/main" xmlns="" id="{693529D7-A014-47D5-8CC3-2CCEB60F5B12}"/>
              </a:ext>
            </a:extLst>
          </p:cNvPr>
          <p:cNvSpPr/>
          <p:nvPr/>
        </p:nvSpPr>
        <p:spPr>
          <a:xfrm>
            <a:off x="874587" y="4212000"/>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9" name="Rectangle 228">
            <a:extLst>
              <a:ext uri="{FF2B5EF4-FFF2-40B4-BE49-F238E27FC236}">
                <a16:creationId xmlns:a16="http://schemas.microsoft.com/office/drawing/2014/main" xmlns="" id="{344F161C-3137-4FF9-8DE3-743BC00AC509}"/>
              </a:ext>
            </a:extLst>
          </p:cNvPr>
          <p:cNvSpPr/>
          <p:nvPr/>
        </p:nvSpPr>
        <p:spPr>
          <a:xfrm>
            <a:off x="1398103" y="1945972"/>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1" name="Rectangle 230">
            <a:extLst>
              <a:ext uri="{FF2B5EF4-FFF2-40B4-BE49-F238E27FC236}">
                <a16:creationId xmlns:a16="http://schemas.microsoft.com/office/drawing/2014/main" xmlns="" id="{869249E1-9132-4480-AC56-77F7F1E4D7AB}"/>
              </a:ext>
            </a:extLst>
          </p:cNvPr>
          <p:cNvSpPr/>
          <p:nvPr/>
        </p:nvSpPr>
        <p:spPr>
          <a:xfrm>
            <a:off x="1903621" y="3391129"/>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4" name="Rectangle 233">
            <a:extLst>
              <a:ext uri="{FF2B5EF4-FFF2-40B4-BE49-F238E27FC236}">
                <a16:creationId xmlns:a16="http://schemas.microsoft.com/office/drawing/2014/main" xmlns="" id="{A47CD7B6-4E7B-4935-900B-781E801FE667}"/>
              </a:ext>
            </a:extLst>
          </p:cNvPr>
          <p:cNvSpPr/>
          <p:nvPr/>
        </p:nvSpPr>
        <p:spPr>
          <a:xfrm>
            <a:off x="1903621" y="3952820"/>
            <a:ext cx="378000" cy="284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6" name="Rectangle 235">
            <a:extLst>
              <a:ext uri="{FF2B5EF4-FFF2-40B4-BE49-F238E27FC236}">
                <a16:creationId xmlns:a16="http://schemas.microsoft.com/office/drawing/2014/main" xmlns="" id="{73A6FD6D-0F24-442E-8EBB-FBBF69E7F4AD}"/>
              </a:ext>
            </a:extLst>
          </p:cNvPr>
          <p:cNvSpPr/>
          <p:nvPr/>
        </p:nvSpPr>
        <p:spPr>
          <a:xfrm>
            <a:off x="2419661" y="2233049"/>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66" name="Rectangle 365">
            <a:extLst>
              <a:ext uri="{FF2B5EF4-FFF2-40B4-BE49-F238E27FC236}">
                <a16:creationId xmlns:a16="http://schemas.microsoft.com/office/drawing/2014/main" xmlns="" id="{706556A5-74EE-4B51-81E9-8AF4E224FF8B}"/>
              </a:ext>
            </a:extLst>
          </p:cNvPr>
          <p:cNvSpPr/>
          <p:nvPr/>
        </p:nvSpPr>
        <p:spPr>
          <a:xfrm>
            <a:off x="2925326" y="2503198"/>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68" name="Rectangle 367">
            <a:extLst>
              <a:ext uri="{FF2B5EF4-FFF2-40B4-BE49-F238E27FC236}">
                <a16:creationId xmlns:a16="http://schemas.microsoft.com/office/drawing/2014/main" xmlns="" id="{1DD3FA4B-1348-4E6B-A171-4D1CDA345A1D}"/>
              </a:ext>
            </a:extLst>
          </p:cNvPr>
          <p:cNvSpPr/>
          <p:nvPr/>
        </p:nvSpPr>
        <p:spPr>
          <a:xfrm>
            <a:off x="3441219" y="2510776"/>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70" name="Rectangle 369">
            <a:extLst>
              <a:ext uri="{FF2B5EF4-FFF2-40B4-BE49-F238E27FC236}">
                <a16:creationId xmlns:a16="http://schemas.microsoft.com/office/drawing/2014/main" xmlns="" id="{340807A1-F751-4939-BC55-55AEB6B57F8D}"/>
              </a:ext>
            </a:extLst>
          </p:cNvPr>
          <p:cNvSpPr/>
          <p:nvPr/>
        </p:nvSpPr>
        <p:spPr>
          <a:xfrm>
            <a:off x="3951998" y="2235167"/>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72" name="Rectangle 371">
            <a:extLst>
              <a:ext uri="{FF2B5EF4-FFF2-40B4-BE49-F238E27FC236}">
                <a16:creationId xmlns:a16="http://schemas.microsoft.com/office/drawing/2014/main" xmlns="" id="{06F44D90-4AF9-40ED-A823-6E4FF4FE8108}"/>
              </a:ext>
            </a:extLst>
          </p:cNvPr>
          <p:cNvSpPr/>
          <p:nvPr/>
        </p:nvSpPr>
        <p:spPr>
          <a:xfrm>
            <a:off x="4474348" y="3937715"/>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74" name="Rectangle 373">
            <a:extLst>
              <a:ext uri="{FF2B5EF4-FFF2-40B4-BE49-F238E27FC236}">
                <a16:creationId xmlns:a16="http://schemas.microsoft.com/office/drawing/2014/main" xmlns="" id="{D3943988-B75D-42C6-A789-B173DBBE48FE}"/>
              </a:ext>
            </a:extLst>
          </p:cNvPr>
          <p:cNvSpPr/>
          <p:nvPr/>
        </p:nvSpPr>
        <p:spPr>
          <a:xfrm>
            <a:off x="4474348" y="4222023"/>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76" name="Rectangle 375">
            <a:extLst>
              <a:ext uri="{FF2B5EF4-FFF2-40B4-BE49-F238E27FC236}">
                <a16:creationId xmlns:a16="http://schemas.microsoft.com/office/drawing/2014/main" xmlns="" id="{E57607D5-C5A5-4785-9DE0-507FB2D8A164}"/>
              </a:ext>
            </a:extLst>
          </p:cNvPr>
          <p:cNvSpPr/>
          <p:nvPr/>
        </p:nvSpPr>
        <p:spPr>
          <a:xfrm>
            <a:off x="4982313" y="2261911"/>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BC666"/>
              </a:solidFill>
            </a:endParaRPr>
          </a:p>
        </p:txBody>
      </p:sp>
      <p:sp>
        <p:nvSpPr>
          <p:cNvPr id="378" name="Rectangle 377">
            <a:extLst>
              <a:ext uri="{FF2B5EF4-FFF2-40B4-BE49-F238E27FC236}">
                <a16:creationId xmlns:a16="http://schemas.microsoft.com/office/drawing/2014/main" xmlns="" id="{B2F34970-0760-49C7-956E-E99AA30B3956}"/>
              </a:ext>
            </a:extLst>
          </p:cNvPr>
          <p:cNvSpPr/>
          <p:nvPr/>
        </p:nvSpPr>
        <p:spPr>
          <a:xfrm>
            <a:off x="4982313" y="2545096"/>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BC666"/>
              </a:solidFill>
            </a:endParaRPr>
          </a:p>
        </p:txBody>
      </p:sp>
      <p:sp>
        <p:nvSpPr>
          <p:cNvPr id="380" name="Rectangle 379">
            <a:extLst>
              <a:ext uri="{FF2B5EF4-FFF2-40B4-BE49-F238E27FC236}">
                <a16:creationId xmlns:a16="http://schemas.microsoft.com/office/drawing/2014/main" xmlns="" id="{1FFAE1CC-430B-443C-A612-3ACA1DBD7BF3}"/>
              </a:ext>
            </a:extLst>
          </p:cNvPr>
          <p:cNvSpPr/>
          <p:nvPr/>
        </p:nvSpPr>
        <p:spPr>
          <a:xfrm>
            <a:off x="5498688" y="4503122"/>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82" name="Rectangle 381">
            <a:extLst>
              <a:ext uri="{FF2B5EF4-FFF2-40B4-BE49-F238E27FC236}">
                <a16:creationId xmlns:a16="http://schemas.microsoft.com/office/drawing/2014/main" xmlns="" id="{36EECB9E-9343-44A5-AD14-47333CDE05BD}"/>
              </a:ext>
            </a:extLst>
          </p:cNvPr>
          <p:cNvSpPr/>
          <p:nvPr/>
        </p:nvSpPr>
        <p:spPr>
          <a:xfrm>
            <a:off x="6003871" y="2229873"/>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84" name="Rectangle 383">
            <a:extLst>
              <a:ext uri="{FF2B5EF4-FFF2-40B4-BE49-F238E27FC236}">
                <a16:creationId xmlns:a16="http://schemas.microsoft.com/office/drawing/2014/main" xmlns="" id="{CE0F4986-8E6E-4FBF-8C85-24EEA52D175B}"/>
              </a:ext>
            </a:extLst>
          </p:cNvPr>
          <p:cNvSpPr/>
          <p:nvPr/>
        </p:nvSpPr>
        <p:spPr>
          <a:xfrm>
            <a:off x="6514230" y="3663524"/>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86" name="Rectangle 385">
            <a:extLst>
              <a:ext uri="{FF2B5EF4-FFF2-40B4-BE49-F238E27FC236}">
                <a16:creationId xmlns:a16="http://schemas.microsoft.com/office/drawing/2014/main" xmlns="" id="{3B866A40-1DFE-48F1-9F3F-F20684550C1B}"/>
              </a:ext>
            </a:extLst>
          </p:cNvPr>
          <p:cNvSpPr/>
          <p:nvPr/>
        </p:nvSpPr>
        <p:spPr>
          <a:xfrm>
            <a:off x="7025429" y="3377961"/>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88" name="Rectangle 387">
            <a:extLst>
              <a:ext uri="{FF2B5EF4-FFF2-40B4-BE49-F238E27FC236}">
                <a16:creationId xmlns:a16="http://schemas.microsoft.com/office/drawing/2014/main" xmlns="" id="{840D6E9E-A523-45A7-8C1F-A4E6E79959B7}"/>
              </a:ext>
            </a:extLst>
          </p:cNvPr>
          <p:cNvSpPr/>
          <p:nvPr/>
        </p:nvSpPr>
        <p:spPr>
          <a:xfrm>
            <a:off x="7537571" y="4228326"/>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90" name="Rectangle 389">
            <a:extLst>
              <a:ext uri="{FF2B5EF4-FFF2-40B4-BE49-F238E27FC236}">
                <a16:creationId xmlns:a16="http://schemas.microsoft.com/office/drawing/2014/main" xmlns="" id="{CD34E254-F152-4968-9075-919BF20C4BAB}"/>
              </a:ext>
            </a:extLst>
          </p:cNvPr>
          <p:cNvSpPr/>
          <p:nvPr/>
        </p:nvSpPr>
        <p:spPr>
          <a:xfrm>
            <a:off x="8532233" y="1946222"/>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392" name="Groupe 391">
            <a:extLst>
              <a:ext uri="{FF2B5EF4-FFF2-40B4-BE49-F238E27FC236}">
                <a16:creationId xmlns:a16="http://schemas.microsoft.com/office/drawing/2014/main" xmlns="" id="{32C47C00-0906-4136-8896-CC667AE43926}"/>
              </a:ext>
            </a:extLst>
          </p:cNvPr>
          <p:cNvGrpSpPr/>
          <p:nvPr/>
        </p:nvGrpSpPr>
        <p:grpSpPr>
          <a:xfrm>
            <a:off x="927714" y="5234744"/>
            <a:ext cx="792958" cy="230832"/>
            <a:chOff x="2041844" y="5181764"/>
            <a:chExt cx="792958" cy="230832"/>
          </a:xfrm>
        </p:grpSpPr>
        <p:sp>
          <p:nvSpPr>
            <p:cNvPr id="393" name="TextBox 4">
              <a:extLst>
                <a:ext uri="{FF2B5EF4-FFF2-40B4-BE49-F238E27FC236}">
                  <a16:creationId xmlns:a16="http://schemas.microsoft.com/office/drawing/2014/main" xmlns="" id="{2E15074A-6BA0-4FF5-8931-E01B3EB9BC6F}"/>
                </a:ext>
              </a:extLst>
            </p:cNvPr>
            <p:cNvSpPr txBox="1"/>
            <p:nvPr/>
          </p:nvSpPr>
          <p:spPr>
            <a:xfrm>
              <a:off x="2342359" y="5181764"/>
              <a:ext cx="492443"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smtClean="0">
                  <a:solidFill>
                    <a:schemeClr val="tx1"/>
                  </a:solidFill>
                </a:rPr>
                <a:t>Value</a:t>
              </a:r>
              <a:endParaRPr lang="en-US" sz="900" b="1" dirty="0">
                <a:solidFill>
                  <a:schemeClr val="tx1"/>
                </a:solidFill>
              </a:endParaRPr>
            </a:p>
          </p:txBody>
        </p:sp>
        <p:sp>
          <p:nvSpPr>
            <p:cNvPr id="394" name="Rectangle 393">
              <a:extLst>
                <a:ext uri="{FF2B5EF4-FFF2-40B4-BE49-F238E27FC236}">
                  <a16:creationId xmlns:a16="http://schemas.microsoft.com/office/drawing/2014/main" xmlns="" id="{C5F6E28C-7446-47C3-AE02-C71FA3BABB5A}"/>
                </a:ext>
              </a:extLst>
            </p:cNvPr>
            <p:cNvSpPr/>
            <p:nvPr/>
          </p:nvSpPr>
          <p:spPr>
            <a:xfrm>
              <a:off x="2041844" y="5257829"/>
              <a:ext cx="78703" cy="787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cxnSp>
        <p:nvCxnSpPr>
          <p:cNvPr id="395" name="Connecteur droit 394">
            <a:extLst>
              <a:ext uri="{FF2B5EF4-FFF2-40B4-BE49-F238E27FC236}">
                <a16:creationId xmlns:a16="http://schemas.microsoft.com/office/drawing/2014/main" xmlns="" id="{DB2F2633-9FE8-4068-9956-487A9E6EDA8F}"/>
              </a:ext>
            </a:extLst>
          </p:cNvPr>
          <p:cNvCxnSpPr/>
          <p:nvPr/>
        </p:nvCxnSpPr>
        <p:spPr>
          <a:xfrm>
            <a:off x="331688" y="3359992"/>
            <a:ext cx="8798879" cy="2437"/>
          </a:xfrm>
          <a:prstGeom prst="line">
            <a:avLst/>
          </a:prstGeom>
          <a:ln w="38100">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396" name="TextBox 123">
            <a:extLst>
              <a:ext uri="{FF2B5EF4-FFF2-40B4-BE49-F238E27FC236}">
                <a16:creationId xmlns:a16="http://schemas.microsoft.com/office/drawing/2014/main" xmlns="" id="{EBE739C6-30AE-4020-9639-BAAE74AEC3BA}"/>
              </a:ext>
            </a:extLst>
          </p:cNvPr>
          <p:cNvSpPr txBox="1"/>
          <p:nvPr/>
        </p:nvSpPr>
        <p:spPr>
          <a:xfrm>
            <a:off x="7473180" y="3936468"/>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endParaRPr lang="fr-FR" sz="700" dirty="0">
              <a:solidFill>
                <a:srgbClr val="FFFFFF"/>
              </a:solidFill>
              <a:cs typeface="Arial" panose="020B0604020202020204" pitchFamily="34" charset="0"/>
            </a:endParaRPr>
          </a:p>
          <a:p>
            <a:pPr algn="ctr"/>
            <a:r>
              <a:rPr lang="fr-FR" sz="700" dirty="0">
                <a:solidFill>
                  <a:srgbClr val="FFFFFF"/>
                </a:solidFill>
                <a:cs typeface="Arial" panose="020B0604020202020204" pitchFamily="34" charset="0"/>
              </a:rPr>
              <a:t>-3.0%</a:t>
            </a:r>
            <a:endParaRPr lang="en-US" sz="700" dirty="0">
              <a:solidFill>
                <a:srgbClr val="FFFFFF"/>
              </a:solidFill>
              <a:cs typeface="Arial" panose="020B0604020202020204" pitchFamily="34" charset="0"/>
            </a:endParaRPr>
          </a:p>
        </p:txBody>
      </p:sp>
      <p:sp>
        <p:nvSpPr>
          <p:cNvPr id="397" name="TextBox 124">
            <a:extLst>
              <a:ext uri="{FF2B5EF4-FFF2-40B4-BE49-F238E27FC236}">
                <a16:creationId xmlns:a16="http://schemas.microsoft.com/office/drawing/2014/main" xmlns="" id="{0449541F-6600-4DD5-A2A7-4BF49B26533D}"/>
              </a:ext>
            </a:extLst>
          </p:cNvPr>
          <p:cNvSpPr txBox="1"/>
          <p:nvPr/>
        </p:nvSpPr>
        <p:spPr>
          <a:xfrm>
            <a:off x="7459689" y="3657565"/>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a:t>
            </a:r>
          </a:p>
          <a:p>
            <a:pPr algn="ctr"/>
            <a:r>
              <a:rPr lang="fr-FR" sz="700" dirty="0" smtClean="0">
                <a:solidFill>
                  <a:srgbClr val="FFFFFF"/>
                </a:solidFill>
                <a:cs typeface="Arial" panose="020B0604020202020204" pitchFamily="34" charset="0"/>
              </a:rPr>
              <a:t>-0.04%</a:t>
            </a:r>
            <a:endParaRPr lang="en-US" sz="700" dirty="0">
              <a:solidFill>
                <a:srgbClr val="FFFFFF"/>
              </a:solidFill>
              <a:cs typeface="Arial" panose="020B0604020202020204" pitchFamily="34" charset="0"/>
            </a:endParaRPr>
          </a:p>
        </p:txBody>
      </p:sp>
      <p:sp>
        <p:nvSpPr>
          <p:cNvPr id="398" name="TextBox 126">
            <a:extLst>
              <a:ext uri="{FF2B5EF4-FFF2-40B4-BE49-F238E27FC236}">
                <a16:creationId xmlns:a16="http://schemas.microsoft.com/office/drawing/2014/main" xmlns="" id="{37115F89-521A-4029-AD63-BA882A66A010}"/>
              </a:ext>
            </a:extLst>
          </p:cNvPr>
          <p:cNvSpPr txBox="1"/>
          <p:nvPr/>
        </p:nvSpPr>
        <p:spPr>
          <a:xfrm>
            <a:off x="7463967" y="2774011"/>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r>
              <a:rPr lang="fr-FR" sz="700" dirty="0">
                <a:solidFill>
                  <a:srgbClr val="FFFFFF"/>
                </a:solidFill>
                <a:cs typeface="Arial" panose="020B0604020202020204" pitchFamily="34" charset="0"/>
              </a:rPr>
              <a:t> 1.8%</a:t>
            </a:r>
            <a:endParaRPr lang="en-US" sz="700" dirty="0">
              <a:solidFill>
                <a:srgbClr val="FFFFFF"/>
              </a:solidFill>
              <a:cs typeface="Arial" panose="020B0604020202020204" pitchFamily="34" charset="0"/>
            </a:endParaRPr>
          </a:p>
        </p:txBody>
      </p:sp>
      <p:sp>
        <p:nvSpPr>
          <p:cNvPr id="399" name="TextBox 127">
            <a:extLst>
              <a:ext uri="{FF2B5EF4-FFF2-40B4-BE49-F238E27FC236}">
                <a16:creationId xmlns:a16="http://schemas.microsoft.com/office/drawing/2014/main" xmlns="" id="{CC865406-93AD-41B4-9167-F5D979260CC6}"/>
              </a:ext>
            </a:extLst>
          </p:cNvPr>
          <p:cNvSpPr txBox="1"/>
          <p:nvPr/>
        </p:nvSpPr>
        <p:spPr>
          <a:xfrm>
            <a:off x="7480800" y="3079992"/>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a:solidFill>
                  <a:srgbClr val="FFFFFF"/>
                </a:solidFill>
                <a:cs typeface="Arial" panose="020B0604020202020204" pitchFamily="34" charset="0"/>
              </a:rPr>
              <a:t>0.6%</a:t>
            </a:r>
            <a:endParaRPr lang="en-US" sz="700" dirty="0">
              <a:solidFill>
                <a:srgbClr val="FFFFFF"/>
              </a:solidFill>
              <a:cs typeface="Arial" panose="020B0604020202020204" pitchFamily="34" charset="0"/>
            </a:endParaRPr>
          </a:p>
        </p:txBody>
      </p:sp>
      <p:sp>
        <p:nvSpPr>
          <p:cNvPr id="400" name="TextBox 125">
            <a:extLst>
              <a:ext uri="{FF2B5EF4-FFF2-40B4-BE49-F238E27FC236}">
                <a16:creationId xmlns:a16="http://schemas.microsoft.com/office/drawing/2014/main" xmlns="" id="{28BD4A29-79CD-4968-851E-CD8DBA17B56F}"/>
              </a:ext>
            </a:extLst>
          </p:cNvPr>
          <p:cNvSpPr txBox="1"/>
          <p:nvPr/>
        </p:nvSpPr>
        <p:spPr>
          <a:xfrm>
            <a:off x="7450667" y="3360404"/>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d Cap</a:t>
            </a:r>
          </a:p>
          <a:p>
            <a:pPr algn="ctr"/>
            <a:r>
              <a:rPr lang="fr-FR" sz="700" dirty="0">
                <a:solidFill>
                  <a:srgbClr val="FFFFFF"/>
                </a:solidFill>
                <a:cs typeface="Arial" panose="020B0604020202020204" pitchFamily="34" charset="0"/>
              </a:rPr>
              <a:t>-0.01%</a:t>
            </a:r>
            <a:endParaRPr lang="en-US" sz="700" dirty="0">
              <a:solidFill>
                <a:srgbClr val="FFFFFF"/>
              </a:solidFill>
              <a:cs typeface="Arial" panose="020B0604020202020204" pitchFamily="34" charset="0"/>
            </a:endParaRPr>
          </a:p>
        </p:txBody>
      </p:sp>
      <p:sp>
        <p:nvSpPr>
          <p:cNvPr id="401" name="TextBox 123">
            <a:extLst>
              <a:ext uri="{FF2B5EF4-FFF2-40B4-BE49-F238E27FC236}">
                <a16:creationId xmlns:a16="http://schemas.microsoft.com/office/drawing/2014/main" xmlns="" id="{DCEEC822-9B5E-4E62-9689-0EA5D486EA78}"/>
              </a:ext>
            </a:extLst>
          </p:cNvPr>
          <p:cNvSpPr txBox="1"/>
          <p:nvPr/>
        </p:nvSpPr>
        <p:spPr>
          <a:xfrm>
            <a:off x="306088" y="3062060"/>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3.1%</a:t>
            </a:r>
            <a:endParaRPr lang="en-US" sz="700" dirty="0">
              <a:solidFill>
                <a:srgbClr val="FFFFFF"/>
              </a:solidFill>
              <a:cs typeface="Arial" panose="020B0604020202020204" pitchFamily="34" charset="0"/>
            </a:endParaRPr>
          </a:p>
        </p:txBody>
      </p:sp>
      <p:sp>
        <p:nvSpPr>
          <p:cNvPr id="402" name="TextBox 124">
            <a:extLst>
              <a:ext uri="{FF2B5EF4-FFF2-40B4-BE49-F238E27FC236}">
                <a16:creationId xmlns:a16="http://schemas.microsoft.com/office/drawing/2014/main" xmlns="" id="{65877056-6802-43FE-8F47-E7C0C642860E}"/>
              </a:ext>
            </a:extLst>
          </p:cNvPr>
          <p:cNvSpPr txBox="1"/>
          <p:nvPr/>
        </p:nvSpPr>
        <p:spPr>
          <a:xfrm>
            <a:off x="292597" y="2213489"/>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id</a:t>
            </a:r>
            <a:r>
              <a:rPr lang="fr-FR" sz="700" dirty="0">
                <a:solidFill>
                  <a:srgbClr val="FFFFFF"/>
                </a:solidFill>
                <a:cs typeface="Arial" panose="020B0604020202020204" pitchFamily="34" charset="0"/>
              </a:rPr>
              <a:t> Cap</a:t>
            </a:r>
          </a:p>
          <a:p>
            <a:pPr algn="ctr"/>
            <a:r>
              <a:rPr lang="fr-FR" sz="700" dirty="0" smtClean="0">
                <a:solidFill>
                  <a:srgbClr val="FFFFFF"/>
                </a:solidFill>
                <a:cs typeface="Arial" panose="020B0604020202020204" pitchFamily="34" charset="0"/>
              </a:rPr>
              <a:t>5.3%</a:t>
            </a:r>
            <a:endParaRPr lang="en-US" sz="700" dirty="0">
              <a:solidFill>
                <a:srgbClr val="FFFFFF"/>
              </a:solidFill>
              <a:cs typeface="Arial" panose="020B0604020202020204" pitchFamily="34" charset="0"/>
            </a:endParaRPr>
          </a:p>
        </p:txBody>
      </p:sp>
      <p:sp>
        <p:nvSpPr>
          <p:cNvPr id="403" name="TextBox 126">
            <a:extLst>
              <a:ext uri="{FF2B5EF4-FFF2-40B4-BE49-F238E27FC236}">
                <a16:creationId xmlns:a16="http://schemas.microsoft.com/office/drawing/2014/main" xmlns="" id="{F5F52783-A0C7-489A-9536-A7C069647505}"/>
              </a:ext>
            </a:extLst>
          </p:cNvPr>
          <p:cNvSpPr txBox="1"/>
          <p:nvPr/>
        </p:nvSpPr>
        <p:spPr>
          <a:xfrm>
            <a:off x="292597" y="1940238"/>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9.5%</a:t>
            </a:r>
            <a:endParaRPr lang="en-US" sz="700" dirty="0">
              <a:solidFill>
                <a:srgbClr val="FFFFFF"/>
              </a:solidFill>
              <a:cs typeface="Arial" panose="020B0604020202020204" pitchFamily="34" charset="0"/>
            </a:endParaRPr>
          </a:p>
        </p:txBody>
      </p:sp>
      <p:sp>
        <p:nvSpPr>
          <p:cNvPr id="404" name="TextBox 127">
            <a:extLst>
              <a:ext uri="{FF2B5EF4-FFF2-40B4-BE49-F238E27FC236}">
                <a16:creationId xmlns:a16="http://schemas.microsoft.com/office/drawing/2014/main" xmlns="" id="{4B92D76E-1D2A-4EC3-B326-9E6C9DDF202B}"/>
              </a:ext>
            </a:extLst>
          </p:cNvPr>
          <p:cNvSpPr txBox="1"/>
          <p:nvPr/>
        </p:nvSpPr>
        <p:spPr>
          <a:xfrm>
            <a:off x="306088" y="2788836"/>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smtClean="0">
                <a:solidFill>
                  <a:srgbClr val="FFFFFF"/>
                </a:solidFill>
                <a:cs typeface="Arial" panose="020B0604020202020204" pitchFamily="34" charset="0"/>
              </a:rPr>
              <a:t>4.3%</a:t>
            </a:r>
            <a:endParaRPr lang="en-US" sz="700" dirty="0">
              <a:solidFill>
                <a:srgbClr val="FFFFFF"/>
              </a:solidFill>
              <a:cs typeface="Arial" panose="020B0604020202020204" pitchFamily="34" charset="0"/>
            </a:endParaRPr>
          </a:p>
        </p:txBody>
      </p:sp>
      <p:sp>
        <p:nvSpPr>
          <p:cNvPr id="405" name="TextBox 125">
            <a:extLst>
              <a:ext uri="{FF2B5EF4-FFF2-40B4-BE49-F238E27FC236}">
                <a16:creationId xmlns:a16="http://schemas.microsoft.com/office/drawing/2014/main" xmlns="" id="{D691C648-1C6F-4AD3-995F-BADE00D235E0}"/>
              </a:ext>
            </a:extLst>
          </p:cNvPr>
          <p:cNvSpPr txBox="1"/>
          <p:nvPr/>
        </p:nvSpPr>
        <p:spPr>
          <a:xfrm>
            <a:off x="283575" y="2519036"/>
            <a:ext cx="549082"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om</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5.1%</a:t>
            </a:r>
            <a:endParaRPr lang="en-US" sz="700" dirty="0">
              <a:solidFill>
                <a:srgbClr val="FFFFFF"/>
              </a:solidFill>
              <a:cs typeface="Arial" panose="020B0604020202020204" pitchFamily="34" charset="0"/>
            </a:endParaRPr>
          </a:p>
        </p:txBody>
      </p:sp>
      <p:sp>
        <p:nvSpPr>
          <p:cNvPr id="406" name="TextBox 123">
            <a:extLst>
              <a:ext uri="{FF2B5EF4-FFF2-40B4-BE49-F238E27FC236}">
                <a16:creationId xmlns:a16="http://schemas.microsoft.com/office/drawing/2014/main" xmlns="" id="{71DDDD73-DAF1-4A4D-8F23-D020E61AE4DF}"/>
              </a:ext>
            </a:extLst>
          </p:cNvPr>
          <p:cNvSpPr txBox="1"/>
          <p:nvPr/>
        </p:nvSpPr>
        <p:spPr>
          <a:xfrm>
            <a:off x="5940843" y="2490980"/>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om</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3.0%</a:t>
            </a:r>
            <a:endParaRPr lang="en-US" sz="700" dirty="0">
              <a:solidFill>
                <a:srgbClr val="FFFFFF"/>
              </a:solidFill>
              <a:cs typeface="Arial" panose="020B0604020202020204" pitchFamily="34" charset="0"/>
            </a:endParaRPr>
          </a:p>
        </p:txBody>
      </p:sp>
      <p:sp>
        <p:nvSpPr>
          <p:cNvPr id="407" name="TextBox 124">
            <a:extLst>
              <a:ext uri="{FF2B5EF4-FFF2-40B4-BE49-F238E27FC236}">
                <a16:creationId xmlns:a16="http://schemas.microsoft.com/office/drawing/2014/main" xmlns="" id="{A36D02B0-9D40-4390-BCA1-A7CD788FB44F}"/>
              </a:ext>
            </a:extLst>
          </p:cNvPr>
          <p:cNvSpPr txBox="1"/>
          <p:nvPr/>
        </p:nvSpPr>
        <p:spPr>
          <a:xfrm>
            <a:off x="5927352" y="2757229"/>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id</a:t>
            </a:r>
            <a:r>
              <a:rPr lang="fr-FR" sz="700" dirty="0">
                <a:solidFill>
                  <a:srgbClr val="FFFFFF"/>
                </a:solidFill>
                <a:cs typeface="Arial" panose="020B0604020202020204" pitchFamily="34" charset="0"/>
              </a:rPr>
              <a:t> Cap</a:t>
            </a:r>
          </a:p>
          <a:p>
            <a:pPr algn="ctr"/>
            <a:r>
              <a:rPr lang="fr-FR" sz="700" dirty="0" smtClean="0">
                <a:solidFill>
                  <a:srgbClr val="FFFFFF"/>
                </a:solidFill>
                <a:cs typeface="Arial" panose="020B0604020202020204" pitchFamily="34" charset="0"/>
              </a:rPr>
              <a:t>1.3%</a:t>
            </a:r>
            <a:endParaRPr lang="en-US" sz="700" dirty="0">
              <a:solidFill>
                <a:srgbClr val="FFFFFF"/>
              </a:solidFill>
              <a:cs typeface="Arial" panose="020B0604020202020204" pitchFamily="34" charset="0"/>
            </a:endParaRPr>
          </a:p>
        </p:txBody>
      </p:sp>
      <p:sp>
        <p:nvSpPr>
          <p:cNvPr id="408" name="TextBox 126">
            <a:extLst>
              <a:ext uri="{FF2B5EF4-FFF2-40B4-BE49-F238E27FC236}">
                <a16:creationId xmlns:a16="http://schemas.microsoft.com/office/drawing/2014/main" xmlns="" id="{73C6EF5B-3989-4BC7-9281-F154CCAE0892}"/>
              </a:ext>
            </a:extLst>
          </p:cNvPr>
          <p:cNvSpPr txBox="1"/>
          <p:nvPr/>
        </p:nvSpPr>
        <p:spPr>
          <a:xfrm>
            <a:off x="5927352" y="3646124"/>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 </a:t>
            </a:r>
          </a:p>
          <a:p>
            <a:pPr algn="ctr"/>
            <a:r>
              <a:rPr lang="fr-FR" sz="700" dirty="0" smtClean="0">
                <a:solidFill>
                  <a:srgbClr val="FFFFFF"/>
                </a:solidFill>
                <a:cs typeface="Arial" panose="020B0604020202020204" pitchFamily="34" charset="0"/>
              </a:rPr>
              <a:t>-8.1%</a:t>
            </a:r>
            <a:endParaRPr lang="en-US" sz="700" dirty="0">
              <a:solidFill>
                <a:srgbClr val="FFFFFF"/>
              </a:solidFill>
              <a:cs typeface="Arial" panose="020B0604020202020204" pitchFamily="34" charset="0"/>
            </a:endParaRPr>
          </a:p>
        </p:txBody>
      </p:sp>
      <p:sp>
        <p:nvSpPr>
          <p:cNvPr id="409" name="TextBox 127">
            <a:extLst>
              <a:ext uri="{FF2B5EF4-FFF2-40B4-BE49-F238E27FC236}">
                <a16:creationId xmlns:a16="http://schemas.microsoft.com/office/drawing/2014/main" xmlns="" id="{1166A868-AAED-4E9A-BC9B-4620CDF26EAB}"/>
              </a:ext>
            </a:extLst>
          </p:cNvPr>
          <p:cNvSpPr txBox="1"/>
          <p:nvPr/>
        </p:nvSpPr>
        <p:spPr>
          <a:xfrm>
            <a:off x="5940843" y="3366273"/>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endParaRPr lang="fr-FR" sz="700" dirty="0">
              <a:solidFill>
                <a:srgbClr val="FFFFFF"/>
              </a:solidFill>
              <a:cs typeface="Arial" panose="020B0604020202020204" pitchFamily="34" charset="0"/>
            </a:endParaRP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4.8%</a:t>
            </a:r>
            <a:endParaRPr lang="en-US" sz="700" dirty="0">
              <a:solidFill>
                <a:srgbClr val="FFFFFF"/>
              </a:solidFill>
              <a:cs typeface="Arial" panose="020B0604020202020204" pitchFamily="34" charset="0"/>
            </a:endParaRPr>
          </a:p>
        </p:txBody>
      </p:sp>
      <p:sp>
        <p:nvSpPr>
          <p:cNvPr id="410" name="TextBox 125">
            <a:extLst>
              <a:ext uri="{FF2B5EF4-FFF2-40B4-BE49-F238E27FC236}">
                <a16:creationId xmlns:a16="http://schemas.microsoft.com/office/drawing/2014/main" xmlns="" id="{6F842D77-DFD9-41EE-8D0F-26581D275633}"/>
              </a:ext>
            </a:extLst>
          </p:cNvPr>
          <p:cNvSpPr txBox="1"/>
          <p:nvPr/>
        </p:nvSpPr>
        <p:spPr>
          <a:xfrm>
            <a:off x="5918991" y="3047365"/>
            <a:ext cx="549082"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r>
              <a:rPr lang="fr-FR" sz="700" dirty="0">
                <a:solidFill>
                  <a:srgbClr val="FFFFFF"/>
                </a:solidFill>
                <a:cs typeface="Arial" panose="020B0604020202020204" pitchFamily="34" charset="0"/>
              </a:rPr>
              <a:t> 0.4%</a:t>
            </a:r>
            <a:endParaRPr lang="en-US" sz="700" dirty="0">
              <a:solidFill>
                <a:srgbClr val="FFFFFF"/>
              </a:solidFill>
              <a:cs typeface="Arial" panose="020B0604020202020204" pitchFamily="34" charset="0"/>
            </a:endParaRPr>
          </a:p>
        </p:txBody>
      </p:sp>
      <p:sp>
        <p:nvSpPr>
          <p:cNvPr id="411" name="TextBox 123">
            <a:extLst>
              <a:ext uri="{FF2B5EF4-FFF2-40B4-BE49-F238E27FC236}">
                <a16:creationId xmlns:a16="http://schemas.microsoft.com/office/drawing/2014/main" xmlns="" id="{EB77F8A1-1673-4249-8BAF-4F7FB1F240F7}"/>
              </a:ext>
            </a:extLst>
          </p:cNvPr>
          <p:cNvSpPr txBox="1"/>
          <p:nvPr/>
        </p:nvSpPr>
        <p:spPr>
          <a:xfrm>
            <a:off x="6455432" y="2193823"/>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a:t>
            </a:r>
          </a:p>
          <a:p>
            <a:pPr algn="ctr"/>
            <a:r>
              <a:rPr lang="fr-FR" sz="700" dirty="0" smtClean="0">
                <a:solidFill>
                  <a:srgbClr val="FFFFFF"/>
                </a:solidFill>
                <a:cs typeface="Arial" panose="020B0604020202020204" pitchFamily="34" charset="0"/>
              </a:rPr>
              <a:t>6.4%</a:t>
            </a:r>
            <a:endParaRPr lang="en-US" sz="700" dirty="0">
              <a:solidFill>
                <a:srgbClr val="FFFFFF"/>
              </a:solidFill>
              <a:cs typeface="Arial" panose="020B0604020202020204" pitchFamily="34" charset="0"/>
            </a:endParaRPr>
          </a:p>
        </p:txBody>
      </p:sp>
      <p:sp>
        <p:nvSpPr>
          <p:cNvPr id="412" name="TextBox 124">
            <a:extLst>
              <a:ext uri="{FF2B5EF4-FFF2-40B4-BE49-F238E27FC236}">
                <a16:creationId xmlns:a16="http://schemas.microsoft.com/office/drawing/2014/main" xmlns="" id="{99DF478C-76BF-4B87-915B-A6321F28FA54}"/>
              </a:ext>
            </a:extLst>
          </p:cNvPr>
          <p:cNvSpPr txBox="1"/>
          <p:nvPr/>
        </p:nvSpPr>
        <p:spPr>
          <a:xfrm>
            <a:off x="6438131" y="3375635"/>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1.0%</a:t>
            </a:r>
            <a:endParaRPr lang="en-US" sz="700" dirty="0">
              <a:solidFill>
                <a:srgbClr val="FFFFFF"/>
              </a:solidFill>
              <a:cs typeface="Arial" panose="020B0604020202020204" pitchFamily="34" charset="0"/>
            </a:endParaRPr>
          </a:p>
        </p:txBody>
      </p:sp>
      <p:sp>
        <p:nvSpPr>
          <p:cNvPr id="413" name="TextBox 126">
            <a:extLst>
              <a:ext uri="{FF2B5EF4-FFF2-40B4-BE49-F238E27FC236}">
                <a16:creationId xmlns:a16="http://schemas.microsoft.com/office/drawing/2014/main" xmlns="" id="{A8AE7897-A988-4DB9-BFFC-2AB87B25FA5A}"/>
              </a:ext>
            </a:extLst>
          </p:cNvPr>
          <p:cNvSpPr txBox="1"/>
          <p:nvPr/>
        </p:nvSpPr>
        <p:spPr>
          <a:xfrm>
            <a:off x="6441941" y="2487070"/>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r>
              <a:rPr lang="fr-FR" sz="700" dirty="0">
                <a:solidFill>
                  <a:srgbClr val="FFFFFF"/>
                </a:solidFill>
                <a:cs typeface="Arial" panose="020B0604020202020204" pitchFamily="34" charset="0"/>
              </a:rPr>
              <a:t> </a:t>
            </a:r>
            <a:r>
              <a:rPr lang="fr-FR" sz="700" dirty="0" smtClean="0">
                <a:solidFill>
                  <a:srgbClr val="FFFFFF"/>
                </a:solidFill>
                <a:cs typeface="Arial" panose="020B0604020202020204" pitchFamily="34" charset="0"/>
              </a:rPr>
              <a:t>3.5%</a:t>
            </a:r>
            <a:endParaRPr lang="en-US" sz="700" dirty="0">
              <a:solidFill>
                <a:srgbClr val="FFFFFF"/>
              </a:solidFill>
              <a:cs typeface="Arial" panose="020B0604020202020204" pitchFamily="34" charset="0"/>
            </a:endParaRPr>
          </a:p>
        </p:txBody>
      </p:sp>
      <p:sp>
        <p:nvSpPr>
          <p:cNvPr id="414" name="TextBox 127">
            <a:extLst>
              <a:ext uri="{FF2B5EF4-FFF2-40B4-BE49-F238E27FC236}">
                <a16:creationId xmlns:a16="http://schemas.microsoft.com/office/drawing/2014/main" xmlns="" id="{9C958A2A-6094-46FC-9A19-A64273C34A90}"/>
              </a:ext>
            </a:extLst>
          </p:cNvPr>
          <p:cNvSpPr txBox="1"/>
          <p:nvPr/>
        </p:nvSpPr>
        <p:spPr>
          <a:xfrm>
            <a:off x="6451622" y="2770647"/>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om</a:t>
            </a:r>
            <a:endParaRPr lang="fr-FR" sz="700" dirty="0">
              <a:solidFill>
                <a:srgbClr val="FFFFFF"/>
              </a:solidFill>
              <a:cs typeface="Arial" panose="020B0604020202020204" pitchFamily="34" charset="0"/>
            </a:endParaRPr>
          </a:p>
          <a:p>
            <a:pPr algn="ctr"/>
            <a:r>
              <a:rPr lang="fr-FR" sz="700" dirty="0">
                <a:solidFill>
                  <a:srgbClr val="FFFFFF"/>
                </a:solidFill>
                <a:cs typeface="Arial" panose="020B0604020202020204" pitchFamily="34" charset="0"/>
              </a:rPr>
              <a:t>1.6%</a:t>
            </a:r>
            <a:endParaRPr lang="en-US" sz="700" dirty="0">
              <a:solidFill>
                <a:srgbClr val="FFFFFF"/>
              </a:solidFill>
              <a:cs typeface="Arial" panose="020B0604020202020204" pitchFamily="34" charset="0"/>
            </a:endParaRPr>
          </a:p>
        </p:txBody>
      </p:sp>
      <p:sp>
        <p:nvSpPr>
          <p:cNvPr id="415" name="TextBox 125">
            <a:extLst>
              <a:ext uri="{FF2B5EF4-FFF2-40B4-BE49-F238E27FC236}">
                <a16:creationId xmlns:a16="http://schemas.microsoft.com/office/drawing/2014/main" xmlns="" id="{DC6C2085-B39F-4B40-B558-52B714D382C7}"/>
              </a:ext>
            </a:extLst>
          </p:cNvPr>
          <p:cNvSpPr txBox="1"/>
          <p:nvPr/>
        </p:nvSpPr>
        <p:spPr>
          <a:xfrm>
            <a:off x="6432919" y="3050580"/>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d Cap</a:t>
            </a:r>
          </a:p>
          <a:p>
            <a:pPr algn="ctr"/>
            <a:r>
              <a:rPr lang="fr-FR" sz="700" dirty="0" smtClean="0">
                <a:solidFill>
                  <a:srgbClr val="FFFFFF"/>
                </a:solidFill>
                <a:cs typeface="Arial" panose="020B0604020202020204" pitchFamily="34" charset="0"/>
              </a:rPr>
              <a:t>0.2</a:t>
            </a:r>
            <a:r>
              <a:rPr lang="fr-FR" sz="700" dirty="0">
                <a:solidFill>
                  <a:srgbClr val="FFFFFF"/>
                </a:solidFill>
                <a:cs typeface="Arial" panose="020B0604020202020204" pitchFamily="34" charset="0"/>
              </a:rPr>
              <a:t>%</a:t>
            </a:r>
            <a:endParaRPr lang="en-US" sz="700" dirty="0">
              <a:solidFill>
                <a:srgbClr val="FFFFFF"/>
              </a:solidFill>
              <a:cs typeface="Arial" panose="020B0604020202020204" pitchFamily="34" charset="0"/>
            </a:endParaRPr>
          </a:p>
        </p:txBody>
      </p:sp>
      <p:sp>
        <p:nvSpPr>
          <p:cNvPr id="416" name="TextBox 123">
            <a:extLst>
              <a:ext uri="{FF2B5EF4-FFF2-40B4-BE49-F238E27FC236}">
                <a16:creationId xmlns:a16="http://schemas.microsoft.com/office/drawing/2014/main" xmlns="" id="{F182A17A-BDDD-44D7-A6D5-F8888603EF47}"/>
              </a:ext>
            </a:extLst>
          </p:cNvPr>
          <p:cNvSpPr txBox="1"/>
          <p:nvPr/>
        </p:nvSpPr>
        <p:spPr>
          <a:xfrm>
            <a:off x="811559" y="2787379"/>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smtClean="0">
                <a:solidFill>
                  <a:srgbClr val="FFFFFF"/>
                </a:solidFill>
                <a:cs typeface="Arial" panose="020B0604020202020204" pitchFamily="34" charset="0"/>
              </a:rPr>
              <a:t>23.0%</a:t>
            </a:r>
            <a:endParaRPr lang="en-US" sz="700" dirty="0">
              <a:solidFill>
                <a:srgbClr val="FFFFFF"/>
              </a:solidFill>
              <a:cs typeface="Arial" panose="020B0604020202020204" pitchFamily="34" charset="0"/>
            </a:endParaRPr>
          </a:p>
        </p:txBody>
      </p:sp>
      <p:sp>
        <p:nvSpPr>
          <p:cNvPr id="417" name="TextBox 124">
            <a:extLst>
              <a:ext uri="{FF2B5EF4-FFF2-40B4-BE49-F238E27FC236}">
                <a16:creationId xmlns:a16="http://schemas.microsoft.com/office/drawing/2014/main" xmlns="" id="{D20A703C-5E39-4946-B3AE-AF4DA7725E24}"/>
              </a:ext>
            </a:extLst>
          </p:cNvPr>
          <p:cNvSpPr txBox="1"/>
          <p:nvPr/>
        </p:nvSpPr>
        <p:spPr>
          <a:xfrm>
            <a:off x="798068" y="3367523"/>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endParaRPr lang="fr-FR" sz="700" dirty="0">
              <a:solidFill>
                <a:srgbClr val="FFFFFF"/>
              </a:solidFill>
              <a:cs typeface="Arial" panose="020B0604020202020204" pitchFamily="34" charset="0"/>
            </a:endParaRP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3.6%</a:t>
            </a:r>
            <a:endParaRPr lang="en-US" sz="700" dirty="0">
              <a:solidFill>
                <a:srgbClr val="FFFFFF"/>
              </a:solidFill>
              <a:cs typeface="Arial" panose="020B0604020202020204" pitchFamily="34" charset="0"/>
            </a:endParaRPr>
          </a:p>
        </p:txBody>
      </p:sp>
      <p:sp>
        <p:nvSpPr>
          <p:cNvPr id="418" name="TextBox 125">
            <a:extLst>
              <a:ext uri="{FF2B5EF4-FFF2-40B4-BE49-F238E27FC236}">
                <a16:creationId xmlns:a16="http://schemas.microsoft.com/office/drawing/2014/main" xmlns="" id="{BD5770B5-A33C-4598-B5B8-201DF987454D}"/>
              </a:ext>
            </a:extLst>
          </p:cNvPr>
          <p:cNvSpPr txBox="1"/>
          <p:nvPr/>
        </p:nvSpPr>
        <p:spPr>
          <a:xfrm>
            <a:off x="789591" y="3061528"/>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d Cap</a:t>
            </a:r>
          </a:p>
          <a:p>
            <a:pPr algn="ctr"/>
            <a:r>
              <a:rPr lang="fr-FR" sz="700" dirty="0" smtClean="0">
                <a:solidFill>
                  <a:srgbClr val="FFFFFF"/>
                </a:solidFill>
                <a:cs typeface="Arial" panose="020B0604020202020204" pitchFamily="34" charset="0"/>
              </a:rPr>
              <a:t>7.7%</a:t>
            </a:r>
            <a:endParaRPr lang="en-US" sz="700" dirty="0">
              <a:solidFill>
                <a:srgbClr val="FFFFFF"/>
              </a:solidFill>
              <a:cs typeface="Arial" panose="020B0604020202020204" pitchFamily="34" charset="0"/>
            </a:endParaRPr>
          </a:p>
        </p:txBody>
      </p:sp>
      <p:sp>
        <p:nvSpPr>
          <p:cNvPr id="419" name="TextBox 126">
            <a:extLst>
              <a:ext uri="{FF2B5EF4-FFF2-40B4-BE49-F238E27FC236}">
                <a16:creationId xmlns:a16="http://schemas.microsoft.com/office/drawing/2014/main" xmlns="" id="{194DF5A9-754A-4063-98A5-A342D513B698}"/>
              </a:ext>
            </a:extLst>
          </p:cNvPr>
          <p:cNvSpPr txBox="1"/>
          <p:nvPr/>
        </p:nvSpPr>
        <p:spPr>
          <a:xfrm>
            <a:off x="798613" y="3654806"/>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om</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7.7%</a:t>
            </a:r>
            <a:endParaRPr lang="en-US" sz="700" dirty="0">
              <a:solidFill>
                <a:srgbClr val="FFFFFF"/>
              </a:solidFill>
              <a:cs typeface="Arial" panose="020B0604020202020204" pitchFamily="34" charset="0"/>
            </a:endParaRPr>
          </a:p>
        </p:txBody>
      </p:sp>
      <p:sp>
        <p:nvSpPr>
          <p:cNvPr id="420" name="TextBox 127">
            <a:extLst>
              <a:ext uri="{FF2B5EF4-FFF2-40B4-BE49-F238E27FC236}">
                <a16:creationId xmlns:a16="http://schemas.microsoft.com/office/drawing/2014/main" xmlns="" id="{101A7D5C-C464-402C-8E4C-3F64AC3240BC}"/>
              </a:ext>
            </a:extLst>
          </p:cNvPr>
          <p:cNvSpPr txBox="1"/>
          <p:nvPr/>
        </p:nvSpPr>
        <p:spPr>
          <a:xfrm>
            <a:off x="817528" y="3916159"/>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a:t>
            </a:r>
          </a:p>
          <a:p>
            <a:pPr algn="ctr"/>
            <a:r>
              <a:rPr lang="fr-FR" sz="700" dirty="0" smtClean="0">
                <a:solidFill>
                  <a:srgbClr val="FFFFFF"/>
                </a:solidFill>
                <a:cs typeface="Arial" panose="020B0604020202020204" pitchFamily="34" charset="0"/>
              </a:rPr>
              <a:t>-7.9%</a:t>
            </a:r>
            <a:endParaRPr lang="en-US" sz="700" dirty="0">
              <a:solidFill>
                <a:srgbClr val="FFFFFF"/>
              </a:solidFill>
              <a:cs typeface="Arial" panose="020B0604020202020204" pitchFamily="34" charset="0"/>
            </a:endParaRPr>
          </a:p>
        </p:txBody>
      </p:sp>
      <p:sp>
        <p:nvSpPr>
          <p:cNvPr id="421" name="TextBox 123">
            <a:extLst>
              <a:ext uri="{FF2B5EF4-FFF2-40B4-BE49-F238E27FC236}">
                <a16:creationId xmlns:a16="http://schemas.microsoft.com/office/drawing/2014/main" xmlns="" id="{649CBF85-B591-423E-90DA-912A8CFE5F75}"/>
              </a:ext>
            </a:extLst>
          </p:cNvPr>
          <p:cNvSpPr txBox="1"/>
          <p:nvPr/>
        </p:nvSpPr>
        <p:spPr>
          <a:xfrm>
            <a:off x="1321584" y="2208632"/>
            <a:ext cx="517547"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id</a:t>
            </a:r>
            <a:r>
              <a:rPr lang="fr-FR" sz="700" dirty="0">
                <a:solidFill>
                  <a:srgbClr val="FFFFFF"/>
                </a:solidFill>
                <a:cs typeface="Arial" panose="020B0604020202020204" pitchFamily="34" charset="0"/>
              </a:rPr>
              <a:t> Cap</a:t>
            </a:r>
          </a:p>
          <a:p>
            <a:pPr algn="ctr"/>
            <a:r>
              <a:rPr lang="fr-FR" sz="700" dirty="0" smtClean="0">
                <a:solidFill>
                  <a:srgbClr val="FFFFFF"/>
                </a:solidFill>
                <a:cs typeface="Arial" panose="020B0604020202020204" pitchFamily="34" charset="0"/>
              </a:rPr>
              <a:t>9.2%</a:t>
            </a:r>
            <a:endParaRPr lang="en-US" sz="700" dirty="0">
              <a:solidFill>
                <a:srgbClr val="FFFFFF"/>
              </a:solidFill>
              <a:cs typeface="Arial" panose="020B0604020202020204" pitchFamily="34" charset="0"/>
            </a:endParaRPr>
          </a:p>
        </p:txBody>
      </p:sp>
      <p:sp>
        <p:nvSpPr>
          <p:cNvPr id="422" name="TextBox 124">
            <a:extLst>
              <a:ext uri="{FF2B5EF4-FFF2-40B4-BE49-F238E27FC236}">
                <a16:creationId xmlns:a16="http://schemas.microsoft.com/office/drawing/2014/main" xmlns="" id="{BF82090C-54CB-4C5B-81CC-850E29E88D5B}"/>
              </a:ext>
            </a:extLst>
          </p:cNvPr>
          <p:cNvSpPr txBox="1"/>
          <p:nvPr/>
        </p:nvSpPr>
        <p:spPr>
          <a:xfrm>
            <a:off x="1321584" y="3070479"/>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r>
              <a:rPr lang="fr-FR" sz="700" dirty="0">
                <a:solidFill>
                  <a:srgbClr val="FFFFFF"/>
                </a:solidFill>
                <a:cs typeface="Arial" panose="020B0604020202020204" pitchFamily="34" charset="0"/>
              </a:rPr>
              <a:t> </a:t>
            </a:r>
            <a:r>
              <a:rPr lang="fr-FR" sz="700" dirty="0" smtClean="0">
                <a:solidFill>
                  <a:srgbClr val="FFFFFF"/>
                </a:solidFill>
                <a:cs typeface="Arial" panose="020B0604020202020204" pitchFamily="34" charset="0"/>
              </a:rPr>
              <a:t>4.4%</a:t>
            </a:r>
            <a:endParaRPr lang="en-US" sz="700" dirty="0">
              <a:solidFill>
                <a:srgbClr val="FFFFFF"/>
              </a:solidFill>
              <a:cs typeface="Arial" panose="020B0604020202020204" pitchFamily="34" charset="0"/>
            </a:endParaRPr>
          </a:p>
        </p:txBody>
      </p:sp>
      <p:sp>
        <p:nvSpPr>
          <p:cNvPr id="423" name="TextBox 125">
            <a:extLst>
              <a:ext uri="{FF2B5EF4-FFF2-40B4-BE49-F238E27FC236}">
                <a16:creationId xmlns:a16="http://schemas.microsoft.com/office/drawing/2014/main" xmlns="" id="{97A16165-6190-4225-AC65-D3EAB39BDAF8}"/>
              </a:ext>
            </a:extLst>
          </p:cNvPr>
          <p:cNvSpPr txBox="1"/>
          <p:nvPr/>
        </p:nvSpPr>
        <p:spPr>
          <a:xfrm>
            <a:off x="1312562" y="2786348"/>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a:t>
            </a:r>
          </a:p>
          <a:p>
            <a:pPr algn="ctr"/>
            <a:r>
              <a:rPr lang="fr-FR" sz="700" dirty="0" smtClean="0">
                <a:solidFill>
                  <a:srgbClr val="FFFFFF"/>
                </a:solidFill>
                <a:cs typeface="Arial" panose="020B0604020202020204" pitchFamily="34" charset="0"/>
              </a:rPr>
              <a:t>5.3%</a:t>
            </a:r>
            <a:endParaRPr lang="en-US" sz="700" dirty="0">
              <a:solidFill>
                <a:srgbClr val="FFFFFF"/>
              </a:solidFill>
              <a:cs typeface="Arial" panose="020B0604020202020204" pitchFamily="34" charset="0"/>
            </a:endParaRPr>
          </a:p>
        </p:txBody>
      </p:sp>
      <p:sp>
        <p:nvSpPr>
          <p:cNvPr id="424" name="TextBox 126">
            <a:extLst>
              <a:ext uri="{FF2B5EF4-FFF2-40B4-BE49-F238E27FC236}">
                <a16:creationId xmlns:a16="http://schemas.microsoft.com/office/drawing/2014/main" xmlns="" id="{365C55A8-1F9A-4779-AD25-CFADB95A043A}"/>
              </a:ext>
            </a:extLst>
          </p:cNvPr>
          <p:cNvSpPr txBox="1"/>
          <p:nvPr/>
        </p:nvSpPr>
        <p:spPr>
          <a:xfrm>
            <a:off x="1288447" y="2508087"/>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om</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6.1%</a:t>
            </a:r>
            <a:endParaRPr lang="en-US" sz="700" dirty="0">
              <a:solidFill>
                <a:srgbClr val="FFFFFF"/>
              </a:solidFill>
              <a:cs typeface="Arial" panose="020B0604020202020204" pitchFamily="34" charset="0"/>
            </a:endParaRPr>
          </a:p>
        </p:txBody>
      </p:sp>
      <p:sp>
        <p:nvSpPr>
          <p:cNvPr id="425" name="TextBox 127">
            <a:extLst>
              <a:ext uri="{FF2B5EF4-FFF2-40B4-BE49-F238E27FC236}">
                <a16:creationId xmlns:a16="http://schemas.microsoft.com/office/drawing/2014/main" xmlns="" id="{46FBEFBF-2C5B-4C06-93D3-342661BA7880}"/>
              </a:ext>
            </a:extLst>
          </p:cNvPr>
          <p:cNvSpPr txBox="1"/>
          <p:nvPr/>
        </p:nvSpPr>
        <p:spPr>
          <a:xfrm>
            <a:off x="1335075" y="3386653"/>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Quality</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2.6%</a:t>
            </a:r>
            <a:endParaRPr lang="en-US" sz="700" dirty="0">
              <a:solidFill>
                <a:srgbClr val="FFFFFF"/>
              </a:solidFill>
              <a:cs typeface="Arial" panose="020B0604020202020204" pitchFamily="34" charset="0"/>
            </a:endParaRPr>
          </a:p>
        </p:txBody>
      </p:sp>
      <p:sp>
        <p:nvSpPr>
          <p:cNvPr id="426" name="TextBox 123">
            <a:extLst>
              <a:ext uri="{FF2B5EF4-FFF2-40B4-BE49-F238E27FC236}">
                <a16:creationId xmlns:a16="http://schemas.microsoft.com/office/drawing/2014/main" xmlns="" id="{62322E8E-E5B3-416C-B237-7D78AC464313}"/>
              </a:ext>
            </a:extLst>
          </p:cNvPr>
          <p:cNvSpPr txBox="1"/>
          <p:nvPr/>
        </p:nvSpPr>
        <p:spPr>
          <a:xfrm>
            <a:off x="1840593" y="2788217"/>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smtClean="0">
                <a:solidFill>
                  <a:srgbClr val="FFFFFF"/>
                </a:solidFill>
                <a:cs typeface="Arial" panose="020B0604020202020204" pitchFamily="34" charset="0"/>
              </a:rPr>
              <a:t>7.3%</a:t>
            </a:r>
            <a:endParaRPr lang="en-US" sz="700" dirty="0">
              <a:solidFill>
                <a:srgbClr val="FFFFFF"/>
              </a:solidFill>
              <a:cs typeface="Arial" panose="020B0604020202020204" pitchFamily="34" charset="0"/>
            </a:endParaRPr>
          </a:p>
        </p:txBody>
      </p:sp>
      <p:sp>
        <p:nvSpPr>
          <p:cNvPr id="427" name="TextBox 127">
            <a:extLst>
              <a:ext uri="{FF2B5EF4-FFF2-40B4-BE49-F238E27FC236}">
                <a16:creationId xmlns:a16="http://schemas.microsoft.com/office/drawing/2014/main" xmlns="" id="{6E71B917-5A94-49E5-AE87-8DBF74895843}"/>
              </a:ext>
            </a:extLst>
          </p:cNvPr>
          <p:cNvSpPr txBox="1"/>
          <p:nvPr/>
        </p:nvSpPr>
        <p:spPr>
          <a:xfrm>
            <a:off x="1840593" y="3672007"/>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r>
              <a:rPr lang="fr-FR" sz="700" dirty="0">
                <a:solidFill>
                  <a:srgbClr val="FFFFFF"/>
                </a:solidFill>
                <a:cs typeface="Arial" panose="020B0604020202020204" pitchFamily="34" charset="0"/>
              </a:rPr>
              <a:t> </a:t>
            </a:r>
          </a:p>
          <a:p>
            <a:pPr algn="ctr"/>
            <a:r>
              <a:rPr lang="fr-FR" sz="700" dirty="0" smtClean="0">
                <a:solidFill>
                  <a:srgbClr val="FFFFFF"/>
                </a:solidFill>
                <a:cs typeface="Arial" panose="020B0604020202020204" pitchFamily="34" charset="0"/>
              </a:rPr>
              <a:t>-1.8%</a:t>
            </a:r>
            <a:endParaRPr lang="en-US" sz="700" dirty="0">
              <a:solidFill>
                <a:srgbClr val="FFFFFF"/>
              </a:solidFill>
              <a:cs typeface="Arial" panose="020B0604020202020204" pitchFamily="34" charset="0"/>
            </a:endParaRPr>
          </a:p>
        </p:txBody>
      </p:sp>
      <p:sp>
        <p:nvSpPr>
          <p:cNvPr id="428" name="TextBox 124">
            <a:extLst>
              <a:ext uri="{FF2B5EF4-FFF2-40B4-BE49-F238E27FC236}">
                <a16:creationId xmlns:a16="http://schemas.microsoft.com/office/drawing/2014/main" xmlns="" id="{E119D1CA-5225-4451-A0BC-B8DCA6764909}"/>
              </a:ext>
            </a:extLst>
          </p:cNvPr>
          <p:cNvSpPr txBox="1"/>
          <p:nvPr/>
        </p:nvSpPr>
        <p:spPr>
          <a:xfrm>
            <a:off x="1832363" y="2513974"/>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om</a:t>
            </a:r>
          </a:p>
          <a:p>
            <a:pPr algn="ctr"/>
            <a:r>
              <a:rPr lang="fr-FR" sz="700" dirty="0" smtClean="0">
                <a:solidFill>
                  <a:srgbClr val="FFFFFF"/>
                </a:solidFill>
                <a:cs typeface="Arial" panose="020B0604020202020204" pitchFamily="34" charset="0"/>
              </a:rPr>
              <a:t>18.3%</a:t>
            </a:r>
            <a:endParaRPr lang="en-US" sz="700" dirty="0">
              <a:solidFill>
                <a:srgbClr val="FFFFFF"/>
              </a:solidFill>
              <a:cs typeface="Arial" panose="020B0604020202020204" pitchFamily="34" charset="0"/>
            </a:endParaRPr>
          </a:p>
        </p:txBody>
      </p:sp>
      <p:sp>
        <p:nvSpPr>
          <p:cNvPr id="430" name="TextBox 126">
            <a:extLst>
              <a:ext uri="{FF2B5EF4-FFF2-40B4-BE49-F238E27FC236}">
                <a16:creationId xmlns:a16="http://schemas.microsoft.com/office/drawing/2014/main" xmlns="" id="{5A2B0803-2DFE-43A8-8C0F-9D7D30AB6AC5}"/>
              </a:ext>
            </a:extLst>
          </p:cNvPr>
          <p:cNvSpPr txBox="1"/>
          <p:nvPr/>
        </p:nvSpPr>
        <p:spPr>
          <a:xfrm>
            <a:off x="1832363" y="3068340"/>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id</a:t>
            </a:r>
            <a:r>
              <a:rPr lang="fr-FR" sz="700" dirty="0">
                <a:solidFill>
                  <a:srgbClr val="FFFFFF"/>
                </a:solidFill>
                <a:cs typeface="Arial" panose="020B0604020202020204" pitchFamily="34" charset="0"/>
              </a:rPr>
              <a:t> Cap</a:t>
            </a:r>
          </a:p>
          <a:p>
            <a:pPr algn="ctr"/>
            <a:r>
              <a:rPr lang="fr-FR" sz="700" dirty="0">
                <a:solidFill>
                  <a:srgbClr val="FFFFFF"/>
                </a:solidFill>
                <a:cs typeface="Arial" panose="020B0604020202020204" pitchFamily="34" charset="0"/>
              </a:rPr>
              <a:t>6</a:t>
            </a:r>
            <a:r>
              <a:rPr lang="fr-FR" sz="700" dirty="0" smtClean="0">
                <a:solidFill>
                  <a:srgbClr val="FFFFFF"/>
                </a:solidFill>
                <a:cs typeface="Arial" panose="020B0604020202020204" pitchFamily="34" charset="0"/>
              </a:rPr>
              <a:t>.2</a:t>
            </a:r>
            <a:r>
              <a:rPr lang="fr-FR" sz="700" dirty="0">
                <a:solidFill>
                  <a:srgbClr val="FFFFFF"/>
                </a:solidFill>
                <a:cs typeface="Arial" panose="020B0604020202020204" pitchFamily="34" charset="0"/>
              </a:rPr>
              <a:t>%</a:t>
            </a:r>
            <a:endParaRPr lang="en-US" sz="700" dirty="0">
              <a:solidFill>
                <a:srgbClr val="FFFFFF"/>
              </a:solidFill>
              <a:cs typeface="Arial" panose="020B0604020202020204" pitchFamily="34" charset="0"/>
            </a:endParaRPr>
          </a:p>
        </p:txBody>
      </p:sp>
      <p:sp>
        <p:nvSpPr>
          <p:cNvPr id="431" name="TextBox 123">
            <a:extLst>
              <a:ext uri="{FF2B5EF4-FFF2-40B4-BE49-F238E27FC236}">
                <a16:creationId xmlns:a16="http://schemas.microsoft.com/office/drawing/2014/main" xmlns="" id="{361196C9-55BE-4759-A5DD-FB3909B92F74}"/>
              </a:ext>
            </a:extLst>
          </p:cNvPr>
          <p:cNvSpPr txBox="1"/>
          <p:nvPr/>
        </p:nvSpPr>
        <p:spPr>
          <a:xfrm>
            <a:off x="2352748" y="3044583"/>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a:t>
            </a:r>
          </a:p>
          <a:p>
            <a:pPr algn="ctr"/>
            <a:r>
              <a:rPr lang="fr-FR" sz="700" dirty="0">
                <a:solidFill>
                  <a:srgbClr val="FFFFFF"/>
                </a:solidFill>
                <a:cs typeface="Arial" panose="020B0604020202020204" pitchFamily="34" charset="0"/>
              </a:rPr>
              <a:t>0</a:t>
            </a:r>
            <a:r>
              <a:rPr lang="fr-FR" sz="700" dirty="0" smtClean="0">
                <a:solidFill>
                  <a:srgbClr val="FFFFFF"/>
                </a:solidFill>
                <a:cs typeface="Arial" panose="020B0604020202020204" pitchFamily="34" charset="0"/>
              </a:rPr>
              <a:t>.4</a:t>
            </a:r>
            <a:r>
              <a:rPr lang="fr-FR" sz="700" dirty="0">
                <a:solidFill>
                  <a:srgbClr val="FFFFFF"/>
                </a:solidFill>
                <a:cs typeface="Arial" panose="020B0604020202020204" pitchFamily="34" charset="0"/>
              </a:rPr>
              <a:t>%</a:t>
            </a:r>
            <a:endParaRPr lang="en-US" sz="700" dirty="0">
              <a:solidFill>
                <a:srgbClr val="FFFFFF"/>
              </a:solidFill>
              <a:cs typeface="Arial" panose="020B0604020202020204" pitchFamily="34" charset="0"/>
            </a:endParaRPr>
          </a:p>
        </p:txBody>
      </p:sp>
      <p:sp>
        <p:nvSpPr>
          <p:cNvPr id="432" name="TextBox 124">
            <a:extLst>
              <a:ext uri="{FF2B5EF4-FFF2-40B4-BE49-F238E27FC236}">
                <a16:creationId xmlns:a16="http://schemas.microsoft.com/office/drawing/2014/main" xmlns="" id="{68ACCF57-FF78-4159-9FD5-8B8C14AF324D}"/>
              </a:ext>
            </a:extLst>
          </p:cNvPr>
          <p:cNvSpPr txBox="1"/>
          <p:nvPr/>
        </p:nvSpPr>
        <p:spPr>
          <a:xfrm>
            <a:off x="2343142" y="3375635"/>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om</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1.3%</a:t>
            </a:r>
            <a:endParaRPr lang="en-US" sz="700" dirty="0">
              <a:solidFill>
                <a:srgbClr val="FFFFFF"/>
              </a:solidFill>
              <a:cs typeface="Arial" panose="020B0604020202020204" pitchFamily="34" charset="0"/>
            </a:endParaRPr>
          </a:p>
        </p:txBody>
      </p:sp>
      <p:sp>
        <p:nvSpPr>
          <p:cNvPr id="433" name="TextBox 125">
            <a:extLst>
              <a:ext uri="{FF2B5EF4-FFF2-40B4-BE49-F238E27FC236}">
                <a16:creationId xmlns:a16="http://schemas.microsoft.com/office/drawing/2014/main" xmlns="" id="{D8B814DB-79DD-4773-A03C-BEB6BBC72CF0}"/>
              </a:ext>
            </a:extLst>
          </p:cNvPr>
          <p:cNvSpPr txBox="1"/>
          <p:nvPr/>
        </p:nvSpPr>
        <p:spPr>
          <a:xfrm>
            <a:off x="2325098" y="2772074"/>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d Cap</a:t>
            </a:r>
          </a:p>
          <a:p>
            <a:pPr algn="ctr"/>
            <a:r>
              <a:rPr lang="fr-FR" sz="700" dirty="0" smtClean="0">
                <a:solidFill>
                  <a:srgbClr val="FFFFFF"/>
                </a:solidFill>
                <a:cs typeface="Arial" panose="020B0604020202020204" pitchFamily="34" charset="0"/>
              </a:rPr>
              <a:t>1.0%</a:t>
            </a:r>
            <a:endParaRPr lang="en-US" sz="700" dirty="0">
              <a:solidFill>
                <a:srgbClr val="FFFFFF"/>
              </a:solidFill>
              <a:cs typeface="Arial" panose="020B0604020202020204" pitchFamily="34" charset="0"/>
            </a:endParaRPr>
          </a:p>
        </p:txBody>
      </p:sp>
      <p:sp>
        <p:nvSpPr>
          <p:cNvPr id="434" name="TextBox 126">
            <a:extLst>
              <a:ext uri="{FF2B5EF4-FFF2-40B4-BE49-F238E27FC236}">
                <a16:creationId xmlns:a16="http://schemas.microsoft.com/office/drawing/2014/main" xmlns="" id="{4BAC9707-BBFC-46E6-8924-1E6734BCD867}"/>
              </a:ext>
            </a:extLst>
          </p:cNvPr>
          <p:cNvSpPr txBox="1"/>
          <p:nvPr/>
        </p:nvSpPr>
        <p:spPr>
          <a:xfrm>
            <a:off x="2334120" y="2496818"/>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r>
              <a:rPr lang="fr-FR" sz="700" dirty="0">
                <a:solidFill>
                  <a:srgbClr val="FFFFFF"/>
                </a:solidFill>
                <a:cs typeface="Arial" panose="020B0604020202020204" pitchFamily="34" charset="0"/>
              </a:rPr>
              <a:t> </a:t>
            </a:r>
            <a:r>
              <a:rPr lang="fr-FR" sz="700" dirty="0" smtClean="0">
                <a:solidFill>
                  <a:srgbClr val="FFFFFF"/>
                </a:solidFill>
                <a:cs typeface="Arial" panose="020B0604020202020204" pitchFamily="34" charset="0"/>
              </a:rPr>
              <a:t>7.9%</a:t>
            </a:r>
            <a:endParaRPr lang="en-US" sz="700" dirty="0">
              <a:solidFill>
                <a:srgbClr val="FFFFFF"/>
              </a:solidFill>
              <a:cs typeface="Arial" panose="020B0604020202020204" pitchFamily="34" charset="0"/>
            </a:endParaRPr>
          </a:p>
        </p:txBody>
      </p:sp>
      <p:sp>
        <p:nvSpPr>
          <p:cNvPr id="435" name="TextBox 127">
            <a:extLst>
              <a:ext uri="{FF2B5EF4-FFF2-40B4-BE49-F238E27FC236}">
                <a16:creationId xmlns:a16="http://schemas.microsoft.com/office/drawing/2014/main" xmlns="" id="{E8214FA2-5FCD-4FDF-A294-463EFA2F78D2}"/>
              </a:ext>
            </a:extLst>
          </p:cNvPr>
          <p:cNvSpPr txBox="1"/>
          <p:nvPr/>
        </p:nvSpPr>
        <p:spPr>
          <a:xfrm>
            <a:off x="2356633" y="3644617"/>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Quality</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3.9%</a:t>
            </a:r>
            <a:endParaRPr lang="en-US" sz="700" dirty="0">
              <a:solidFill>
                <a:srgbClr val="FFFFFF"/>
              </a:solidFill>
              <a:cs typeface="Arial" panose="020B0604020202020204" pitchFamily="34" charset="0"/>
            </a:endParaRPr>
          </a:p>
        </p:txBody>
      </p:sp>
      <p:sp>
        <p:nvSpPr>
          <p:cNvPr id="436" name="TextBox 123">
            <a:extLst>
              <a:ext uri="{FF2B5EF4-FFF2-40B4-BE49-F238E27FC236}">
                <a16:creationId xmlns:a16="http://schemas.microsoft.com/office/drawing/2014/main" xmlns="" id="{02614AAE-3368-4F15-8EC1-A117162602EB}"/>
              </a:ext>
            </a:extLst>
          </p:cNvPr>
          <p:cNvSpPr txBox="1"/>
          <p:nvPr/>
        </p:nvSpPr>
        <p:spPr>
          <a:xfrm>
            <a:off x="2862298" y="3367752"/>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endParaRPr lang="fr-FR" sz="700" dirty="0">
              <a:solidFill>
                <a:srgbClr val="FFFFFF"/>
              </a:solidFill>
              <a:cs typeface="Arial" panose="020B0604020202020204" pitchFamily="34" charset="0"/>
            </a:endParaRP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2.5%</a:t>
            </a:r>
            <a:endParaRPr lang="en-US" sz="700" dirty="0">
              <a:solidFill>
                <a:srgbClr val="FFFFFF"/>
              </a:solidFill>
              <a:cs typeface="Arial" panose="020B0604020202020204" pitchFamily="34" charset="0"/>
            </a:endParaRPr>
          </a:p>
        </p:txBody>
      </p:sp>
      <p:sp>
        <p:nvSpPr>
          <p:cNvPr id="437" name="TextBox 124">
            <a:extLst>
              <a:ext uri="{FF2B5EF4-FFF2-40B4-BE49-F238E27FC236}">
                <a16:creationId xmlns:a16="http://schemas.microsoft.com/office/drawing/2014/main" xmlns="" id="{D4327E13-5F14-453F-9E2C-6BFB2834BAE7}"/>
              </a:ext>
            </a:extLst>
          </p:cNvPr>
          <p:cNvSpPr txBox="1"/>
          <p:nvPr/>
        </p:nvSpPr>
        <p:spPr>
          <a:xfrm>
            <a:off x="2848807" y="2766919"/>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7.2%</a:t>
            </a:r>
            <a:endParaRPr lang="en-US" sz="700" dirty="0">
              <a:solidFill>
                <a:srgbClr val="FFFFFF"/>
              </a:solidFill>
              <a:cs typeface="Arial" panose="020B0604020202020204" pitchFamily="34" charset="0"/>
            </a:endParaRPr>
          </a:p>
        </p:txBody>
      </p:sp>
      <p:sp>
        <p:nvSpPr>
          <p:cNvPr id="438" name="TextBox 125">
            <a:extLst>
              <a:ext uri="{FF2B5EF4-FFF2-40B4-BE49-F238E27FC236}">
                <a16:creationId xmlns:a16="http://schemas.microsoft.com/office/drawing/2014/main" xmlns="" id="{F1C395A1-2BC7-4982-9DDA-B8E226236487}"/>
              </a:ext>
            </a:extLst>
          </p:cNvPr>
          <p:cNvSpPr txBox="1"/>
          <p:nvPr/>
        </p:nvSpPr>
        <p:spPr>
          <a:xfrm>
            <a:off x="2844899" y="3652847"/>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3.5%</a:t>
            </a:r>
            <a:endParaRPr lang="en-US" sz="700" dirty="0">
              <a:solidFill>
                <a:srgbClr val="FFFFFF"/>
              </a:solidFill>
              <a:cs typeface="Arial" panose="020B0604020202020204" pitchFamily="34" charset="0"/>
            </a:endParaRPr>
          </a:p>
        </p:txBody>
      </p:sp>
      <p:sp>
        <p:nvSpPr>
          <p:cNvPr id="439" name="TextBox 126">
            <a:extLst>
              <a:ext uri="{FF2B5EF4-FFF2-40B4-BE49-F238E27FC236}">
                <a16:creationId xmlns:a16="http://schemas.microsoft.com/office/drawing/2014/main" xmlns="" id="{CE10E4A4-41F2-4F25-B41A-E9D0774A9E90}"/>
              </a:ext>
            </a:extLst>
          </p:cNvPr>
          <p:cNvSpPr txBox="1"/>
          <p:nvPr/>
        </p:nvSpPr>
        <p:spPr>
          <a:xfrm>
            <a:off x="2848807" y="3949580"/>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id</a:t>
            </a:r>
            <a:r>
              <a:rPr lang="fr-FR" sz="700" dirty="0">
                <a:solidFill>
                  <a:srgbClr val="FFFFFF"/>
                </a:solidFill>
                <a:cs typeface="Arial" panose="020B0604020202020204" pitchFamily="34" charset="0"/>
              </a:rPr>
              <a:t> Cap</a:t>
            </a:r>
          </a:p>
          <a:p>
            <a:pPr algn="ctr"/>
            <a:r>
              <a:rPr lang="fr-FR" sz="700" dirty="0" smtClean="0">
                <a:solidFill>
                  <a:srgbClr val="FFFFFF"/>
                </a:solidFill>
                <a:cs typeface="Arial" panose="020B0604020202020204" pitchFamily="34" charset="0"/>
              </a:rPr>
              <a:t>-4.1%</a:t>
            </a:r>
            <a:endParaRPr lang="en-US" sz="700" dirty="0">
              <a:solidFill>
                <a:srgbClr val="FFFFFF"/>
              </a:solidFill>
              <a:cs typeface="Arial" panose="020B0604020202020204" pitchFamily="34" charset="0"/>
            </a:endParaRPr>
          </a:p>
        </p:txBody>
      </p:sp>
      <p:sp>
        <p:nvSpPr>
          <p:cNvPr id="440" name="TextBox 127">
            <a:extLst>
              <a:ext uri="{FF2B5EF4-FFF2-40B4-BE49-F238E27FC236}">
                <a16:creationId xmlns:a16="http://schemas.microsoft.com/office/drawing/2014/main" xmlns="" id="{6E3826EC-2B8C-4866-935E-9E484DD653AC}"/>
              </a:ext>
            </a:extLst>
          </p:cNvPr>
          <p:cNvSpPr txBox="1"/>
          <p:nvPr/>
        </p:nvSpPr>
        <p:spPr>
          <a:xfrm>
            <a:off x="2862298" y="3066493"/>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a:solidFill>
                  <a:srgbClr val="FFFFFF"/>
                </a:solidFill>
                <a:cs typeface="Arial" panose="020B0604020202020204" pitchFamily="34" charset="0"/>
              </a:rPr>
              <a:t>0.7%</a:t>
            </a:r>
            <a:endParaRPr lang="en-US" sz="700" dirty="0">
              <a:solidFill>
                <a:srgbClr val="FFFFFF"/>
              </a:solidFill>
              <a:cs typeface="Arial" panose="020B0604020202020204" pitchFamily="34" charset="0"/>
            </a:endParaRPr>
          </a:p>
        </p:txBody>
      </p:sp>
      <p:sp>
        <p:nvSpPr>
          <p:cNvPr id="441" name="TextBox 123">
            <a:extLst>
              <a:ext uri="{FF2B5EF4-FFF2-40B4-BE49-F238E27FC236}">
                <a16:creationId xmlns:a16="http://schemas.microsoft.com/office/drawing/2014/main" xmlns="" id="{1C021B5A-85A6-4838-85C1-B0E078BA1F23}"/>
              </a:ext>
            </a:extLst>
          </p:cNvPr>
          <p:cNvSpPr txBox="1"/>
          <p:nvPr/>
        </p:nvSpPr>
        <p:spPr>
          <a:xfrm>
            <a:off x="3376306" y="3359196"/>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endParaRPr lang="fr-FR" sz="700" dirty="0">
              <a:solidFill>
                <a:srgbClr val="FFFFFF"/>
              </a:solidFill>
              <a:cs typeface="Arial" panose="020B0604020202020204" pitchFamily="34" charset="0"/>
            </a:endParaRP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2.3%</a:t>
            </a:r>
            <a:endParaRPr lang="en-US" sz="700" dirty="0">
              <a:solidFill>
                <a:srgbClr val="FFFFFF"/>
              </a:solidFill>
              <a:cs typeface="Arial" panose="020B0604020202020204" pitchFamily="34" charset="0"/>
            </a:endParaRPr>
          </a:p>
        </p:txBody>
      </p:sp>
      <p:sp>
        <p:nvSpPr>
          <p:cNvPr id="442" name="TextBox 124">
            <a:extLst>
              <a:ext uri="{FF2B5EF4-FFF2-40B4-BE49-F238E27FC236}">
                <a16:creationId xmlns:a16="http://schemas.microsoft.com/office/drawing/2014/main" xmlns="" id="{059E3889-193B-4AA3-81BB-E8507628B8DF}"/>
              </a:ext>
            </a:extLst>
          </p:cNvPr>
          <p:cNvSpPr txBox="1"/>
          <p:nvPr/>
        </p:nvSpPr>
        <p:spPr>
          <a:xfrm>
            <a:off x="3362815" y="3657428"/>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2.3%</a:t>
            </a:r>
            <a:endParaRPr lang="en-US" sz="700" dirty="0">
              <a:solidFill>
                <a:srgbClr val="FFFFFF"/>
              </a:solidFill>
              <a:cs typeface="Arial" panose="020B0604020202020204" pitchFamily="34" charset="0"/>
            </a:endParaRPr>
          </a:p>
        </p:txBody>
      </p:sp>
      <p:sp>
        <p:nvSpPr>
          <p:cNvPr id="443" name="TextBox 126">
            <a:extLst>
              <a:ext uri="{FF2B5EF4-FFF2-40B4-BE49-F238E27FC236}">
                <a16:creationId xmlns:a16="http://schemas.microsoft.com/office/drawing/2014/main" xmlns="" id="{CFB5D4C0-E0C7-4D13-B468-ADFDF0B8FD3A}"/>
              </a:ext>
            </a:extLst>
          </p:cNvPr>
          <p:cNvSpPr txBox="1"/>
          <p:nvPr/>
        </p:nvSpPr>
        <p:spPr>
          <a:xfrm>
            <a:off x="3364700" y="2789236"/>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r>
              <a:rPr lang="fr-FR" sz="700" dirty="0">
                <a:solidFill>
                  <a:srgbClr val="FFFFFF"/>
                </a:solidFill>
                <a:cs typeface="Arial" panose="020B0604020202020204" pitchFamily="34" charset="0"/>
              </a:rPr>
              <a:t> </a:t>
            </a:r>
            <a:r>
              <a:rPr lang="fr-FR" sz="700" dirty="0" smtClean="0">
                <a:solidFill>
                  <a:srgbClr val="FFFFFF"/>
                </a:solidFill>
                <a:cs typeface="Arial" panose="020B0604020202020204" pitchFamily="34" charset="0"/>
              </a:rPr>
              <a:t>6.9%</a:t>
            </a:r>
            <a:endParaRPr lang="en-US" sz="700" dirty="0">
              <a:solidFill>
                <a:srgbClr val="FFFFFF"/>
              </a:solidFill>
              <a:cs typeface="Arial" panose="020B0604020202020204" pitchFamily="34" charset="0"/>
            </a:endParaRPr>
          </a:p>
        </p:txBody>
      </p:sp>
      <p:sp>
        <p:nvSpPr>
          <p:cNvPr id="444" name="TextBox 127">
            <a:extLst>
              <a:ext uri="{FF2B5EF4-FFF2-40B4-BE49-F238E27FC236}">
                <a16:creationId xmlns:a16="http://schemas.microsoft.com/office/drawing/2014/main" xmlns="" id="{2574775F-63D9-4C90-AE0E-7BD2717DF5A2}"/>
              </a:ext>
            </a:extLst>
          </p:cNvPr>
          <p:cNvSpPr txBox="1"/>
          <p:nvPr/>
        </p:nvSpPr>
        <p:spPr>
          <a:xfrm>
            <a:off x="3378191" y="3068176"/>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om</a:t>
            </a:r>
            <a:endParaRPr lang="fr-FR" sz="700" dirty="0">
              <a:solidFill>
                <a:srgbClr val="FFFFFF"/>
              </a:solidFill>
              <a:cs typeface="Arial" panose="020B0604020202020204" pitchFamily="34" charset="0"/>
            </a:endParaRPr>
          </a:p>
          <a:p>
            <a:pPr algn="ctr"/>
            <a:r>
              <a:rPr lang="fr-FR" sz="700" dirty="0">
                <a:solidFill>
                  <a:srgbClr val="FFFFFF"/>
                </a:solidFill>
                <a:cs typeface="Arial" panose="020B0604020202020204" pitchFamily="34" charset="0"/>
              </a:rPr>
              <a:t>0.5%</a:t>
            </a:r>
            <a:endParaRPr lang="en-US" sz="700" dirty="0">
              <a:solidFill>
                <a:srgbClr val="FFFFFF"/>
              </a:solidFill>
              <a:cs typeface="Arial" panose="020B0604020202020204" pitchFamily="34" charset="0"/>
            </a:endParaRPr>
          </a:p>
        </p:txBody>
      </p:sp>
      <p:sp>
        <p:nvSpPr>
          <p:cNvPr id="445" name="TextBox 125">
            <a:extLst>
              <a:ext uri="{FF2B5EF4-FFF2-40B4-BE49-F238E27FC236}">
                <a16:creationId xmlns:a16="http://schemas.microsoft.com/office/drawing/2014/main" xmlns="" id="{29F817CD-A388-451C-9419-B03935AEAC66}"/>
              </a:ext>
            </a:extLst>
          </p:cNvPr>
          <p:cNvSpPr txBox="1"/>
          <p:nvPr/>
        </p:nvSpPr>
        <p:spPr>
          <a:xfrm>
            <a:off x="3355678" y="3939916"/>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d Cap</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3.3%</a:t>
            </a:r>
            <a:endParaRPr lang="en-US" sz="700" dirty="0">
              <a:solidFill>
                <a:srgbClr val="FFFFFF"/>
              </a:solidFill>
              <a:cs typeface="Arial" panose="020B0604020202020204" pitchFamily="34" charset="0"/>
            </a:endParaRPr>
          </a:p>
        </p:txBody>
      </p:sp>
      <p:sp>
        <p:nvSpPr>
          <p:cNvPr id="446" name="TextBox 123">
            <a:extLst>
              <a:ext uri="{FF2B5EF4-FFF2-40B4-BE49-F238E27FC236}">
                <a16:creationId xmlns:a16="http://schemas.microsoft.com/office/drawing/2014/main" xmlns="" id="{5CC5C600-E4D8-4A60-A5E4-C2A7A8DC78F7}"/>
              </a:ext>
            </a:extLst>
          </p:cNvPr>
          <p:cNvSpPr txBox="1"/>
          <p:nvPr/>
        </p:nvSpPr>
        <p:spPr>
          <a:xfrm>
            <a:off x="3862306" y="2498665"/>
            <a:ext cx="555104"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id</a:t>
            </a:r>
            <a:r>
              <a:rPr lang="fr-FR" sz="700" dirty="0">
                <a:solidFill>
                  <a:srgbClr val="FFFFFF"/>
                </a:solidFill>
                <a:cs typeface="Arial" panose="020B0604020202020204" pitchFamily="34" charset="0"/>
              </a:rPr>
              <a:t> Cap</a:t>
            </a:r>
          </a:p>
          <a:p>
            <a:pPr algn="ctr"/>
            <a:r>
              <a:rPr lang="fr-FR" sz="700" dirty="0" smtClean="0">
                <a:solidFill>
                  <a:srgbClr val="FFFFFF"/>
                </a:solidFill>
                <a:cs typeface="Arial" panose="020B0604020202020204" pitchFamily="34" charset="0"/>
              </a:rPr>
              <a:t>7.8%</a:t>
            </a:r>
            <a:endParaRPr lang="en-US" sz="700" dirty="0">
              <a:solidFill>
                <a:srgbClr val="FFFFFF"/>
              </a:solidFill>
              <a:cs typeface="Arial" panose="020B0604020202020204" pitchFamily="34" charset="0"/>
            </a:endParaRPr>
          </a:p>
        </p:txBody>
      </p:sp>
      <p:sp>
        <p:nvSpPr>
          <p:cNvPr id="447" name="TextBox 124">
            <a:extLst>
              <a:ext uri="{FF2B5EF4-FFF2-40B4-BE49-F238E27FC236}">
                <a16:creationId xmlns:a16="http://schemas.microsoft.com/office/drawing/2014/main" xmlns="" id="{2680AA7A-414D-4A4A-AF6D-849F7B713EE8}"/>
              </a:ext>
            </a:extLst>
          </p:cNvPr>
          <p:cNvSpPr txBox="1"/>
          <p:nvPr/>
        </p:nvSpPr>
        <p:spPr>
          <a:xfrm>
            <a:off x="3884501" y="3652432"/>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om</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15.8%</a:t>
            </a:r>
            <a:endParaRPr lang="en-US" sz="700" dirty="0">
              <a:solidFill>
                <a:srgbClr val="FFFFFF"/>
              </a:solidFill>
              <a:cs typeface="Arial" panose="020B0604020202020204" pitchFamily="34" charset="0"/>
            </a:endParaRPr>
          </a:p>
        </p:txBody>
      </p:sp>
      <p:sp>
        <p:nvSpPr>
          <p:cNvPr id="448" name="TextBox 126">
            <a:extLst>
              <a:ext uri="{FF2B5EF4-FFF2-40B4-BE49-F238E27FC236}">
                <a16:creationId xmlns:a16="http://schemas.microsoft.com/office/drawing/2014/main" xmlns="" id="{9583B657-3B93-42DB-8024-35AED4D97EF2}"/>
              </a:ext>
            </a:extLst>
          </p:cNvPr>
          <p:cNvSpPr txBox="1"/>
          <p:nvPr/>
        </p:nvSpPr>
        <p:spPr>
          <a:xfrm>
            <a:off x="3875479" y="3368088"/>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 </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13.6%</a:t>
            </a:r>
            <a:endParaRPr lang="en-US" sz="700" dirty="0">
              <a:solidFill>
                <a:srgbClr val="FFFFFF"/>
              </a:solidFill>
              <a:cs typeface="Arial" panose="020B0604020202020204" pitchFamily="34" charset="0"/>
            </a:endParaRPr>
          </a:p>
        </p:txBody>
      </p:sp>
      <p:sp>
        <p:nvSpPr>
          <p:cNvPr id="449" name="TextBox 127">
            <a:extLst>
              <a:ext uri="{FF2B5EF4-FFF2-40B4-BE49-F238E27FC236}">
                <a16:creationId xmlns:a16="http://schemas.microsoft.com/office/drawing/2014/main" xmlns="" id="{6F7299A0-3B5E-4DEA-B20C-98BF5611AAA9}"/>
              </a:ext>
            </a:extLst>
          </p:cNvPr>
          <p:cNvSpPr txBox="1"/>
          <p:nvPr/>
        </p:nvSpPr>
        <p:spPr>
          <a:xfrm>
            <a:off x="3888970" y="3060524"/>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2.5%</a:t>
            </a:r>
            <a:endParaRPr lang="en-US" sz="700" dirty="0">
              <a:solidFill>
                <a:srgbClr val="FFFFFF"/>
              </a:solidFill>
              <a:cs typeface="Arial" panose="020B0604020202020204" pitchFamily="34" charset="0"/>
            </a:endParaRPr>
          </a:p>
        </p:txBody>
      </p:sp>
      <p:sp>
        <p:nvSpPr>
          <p:cNvPr id="450" name="TextBox 125">
            <a:extLst>
              <a:ext uri="{FF2B5EF4-FFF2-40B4-BE49-F238E27FC236}">
                <a16:creationId xmlns:a16="http://schemas.microsoft.com/office/drawing/2014/main" xmlns="" id="{AD0936B0-9E22-46A3-AAA5-83C3307480B0}"/>
              </a:ext>
            </a:extLst>
          </p:cNvPr>
          <p:cNvSpPr txBox="1"/>
          <p:nvPr/>
        </p:nvSpPr>
        <p:spPr>
          <a:xfrm>
            <a:off x="3866457" y="2788307"/>
            <a:ext cx="549082"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r>
              <a:rPr lang="fr-FR" sz="700" dirty="0">
                <a:solidFill>
                  <a:srgbClr val="FFFFFF"/>
                </a:solidFill>
                <a:cs typeface="Arial" panose="020B0604020202020204" pitchFamily="34" charset="0"/>
              </a:rPr>
              <a:t> </a:t>
            </a:r>
            <a:r>
              <a:rPr lang="fr-FR" sz="700" dirty="0" smtClean="0">
                <a:solidFill>
                  <a:srgbClr val="FFFFFF"/>
                </a:solidFill>
                <a:cs typeface="Arial" panose="020B0604020202020204" pitchFamily="34" charset="0"/>
              </a:rPr>
              <a:t>2.6%</a:t>
            </a:r>
            <a:endParaRPr lang="en-US" sz="700" dirty="0">
              <a:solidFill>
                <a:srgbClr val="FFFFFF"/>
              </a:solidFill>
              <a:cs typeface="Arial" panose="020B0604020202020204" pitchFamily="34" charset="0"/>
            </a:endParaRPr>
          </a:p>
        </p:txBody>
      </p:sp>
      <p:sp>
        <p:nvSpPr>
          <p:cNvPr id="451" name="TextBox 123">
            <a:extLst>
              <a:ext uri="{FF2B5EF4-FFF2-40B4-BE49-F238E27FC236}">
                <a16:creationId xmlns:a16="http://schemas.microsoft.com/office/drawing/2014/main" xmlns="" id="{77276136-052F-4F53-A8EF-039DC2B7A02C}"/>
              </a:ext>
            </a:extLst>
          </p:cNvPr>
          <p:cNvSpPr txBox="1"/>
          <p:nvPr/>
        </p:nvSpPr>
        <p:spPr>
          <a:xfrm>
            <a:off x="4415603" y="3651806"/>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endParaRPr lang="fr-FR" sz="700" dirty="0">
              <a:solidFill>
                <a:srgbClr val="FFFFFF"/>
              </a:solidFill>
              <a:cs typeface="Arial" panose="020B0604020202020204" pitchFamily="34" charset="0"/>
            </a:endParaRPr>
          </a:p>
          <a:p>
            <a:pPr algn="ctr"/>
            <a:r>
              <a:rPr lang="fr-FR" sz="700" dirty="0">
                <a:solidFill>
                  <a:srgbClr val="FFFFFF"/>
                </a:solidFill>
                <a:cs typeface="Arial" panose="020B0604020202020204" pitchFamily="34" charset="0"/>
              </a:rPr>
              <a:t>-1.1%</a:t>
            </a:r>
            <a:endParaRPr lang="en-US" sz="700" dirty="0">
              <a:solidFill>
                <a:srgbClr val="FFFFFF"/>
              </a:solidFill>
              <a:cs typeface="Arial" panose="020B0604020202020204" pitchFamily="34" charset="0"/>
            </a:endParaRPr>
          </a:p>
        </p:txBody>
      </p:sp>
      <p:sp>
        <p:nvSpPr>
          <p:cNvPr id="452" name="TextBox 124">
            <a:extLst>
              <a:ext uri="{FF2B5EF4-FFF2-40B4-BE49-F238E27FC236}">
                <a16:creationId xmlns:a16="http://schemas.microsoft.com/office/drawing/2014/main" xmlns="" id="{E6444DDB-5535-4FF6-9E10-45DB57A35642}"/>
              </a:ext>
            </a:extLst>
          </p:cNvPr>
          <p:cNvSpPr txBox="1"/>
          <p:nvPr/>
        </p:nvSpPr>
        <p:spPr>
          <a:xfrm>
            <a:off x="4396694" y="2783740"/>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id</a:t>
            </a:r>
            <a:r>
              <a:rPr lang="fr-FR" sz="700" dirty="0">
                <a:solidFill>
                  <a:srgbClr val="FFFFFF"/>
                </a:solidFill>
                <a:cs typeface="Arial" panose="020B0604020202020204" pitchFamily="34" charset="0"/>
              </a:rPr>
              <a:t> Cap</a:t>
            </a:r>
          </a:p>
          <a:p>
            <a:pPr algn="ctr"/>
            <a:r>
              <a:rPr lang="fr-FR" sz="700" dirty="0" smtClean="0">
                <a:solidFill>
                  <a:srgbClr val="FFFFFF"/>
                </a:solidFill>
                <a:cs typeface="Arial" panose="020B0604020202020204" pitchFamily="34" charset="0"/>
              </a:rPr>
              <a:t>8.8%</a:t>
            </a:r>
            <a:endParaRPr lang="en-US" sz="700" dirty="0">
              <a:solidFill>
                <a:srgbClr val="FFFFFF"/>
              </a:solidFill>
              <a:cs typeface="Arial" panose="020B0604020202020204" pitchFamily="34" charset="0"/>
            </a:endParaRPr>
          </a:p>
        </p:txBody>
      </p:sp>
      <p:sp>
        <p:nvSpPr>
          <p:cNvPr id="453" name="TextBox 126">
            <a:extLst>
              <a:ext uri="{FF2B5EF4-FFF2-40B4-BE49-F238E27FC236}">
                <a16:creationId xmlns:a16="http://schemas.microsoft.com/office/drawing/2014/main" xmlns="" id="{EC53200C-DC47-4645-9EE7-8C7F1BB573AB}"/>
              </a:ext>
            </a:extLst>
          </p:cNvPr>
          <p:cNvSpPr txBox="1"/>
          <p:nvPr/>
        </p:nvSpPr>
        <p:spPr>
          <a:xfrm>
            <a:off x="4392476" y="3371905"/>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 </a:t>
            </a:r>
          </a:p>
          <a:p>
            <a:pPr algn="ctr"/>
            <a:r>
              <a:rPr lang="fr-FR" sz="700" dirty="0">
                <a:solidFill>
                  <a:srgbClr val="FFFFFF"/>
                </a:solidFill>
                <a:cs typeface="Arial" panose="020B0604020202020204" pitchFamily="34" charset="0"/>
              </a:rPr>
              <a:t>-0.3%</a:t>
            </a:r>
            <a:endParaRPr lang="en-US" sz="700" dirty="0">
              <a:solidFill>
                <a:srgbClr val="FFFFFF"/>
              </a:solidFill>
              <a:cs typeface="Arial" panose="020B0604020202020204" pitchFamily="34" charset="0"/>
            </a:endParaRPr>
          </a:p>
        </p:txBody>
      </p:sp>
      <p:sp>
        <p:nvSpPr>
          <p:cNvPr id="454" name="TextBox 127">
            <a:extLst>
              <a:ext uri="{FF2B5EF4-FFF2-40B4-BE49-F238E27FC236}">
                <a16:creationId xmlns:a16="http://schemas.microsoft.com/office/drawing/2014/main" xmlns="" id="{7DB06CF2-42BE-4867-9C65-40BDEAE296E8}"/>
              </a:ext>
            </a:extLst>
          </p:cNvPr>
          <p:cNvSpPr txBox="1"/>
          <p:nvPr/>
        </p:nvSpPr>
        <p:spPr>
          <a:xfrm>
            <a:off x="4412753" y="3071589"/>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om</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4.4%</a:t>
            </a:r>
            <a:endParaRPr lang="en-US" sz="700" dirty="0">
              <a:solidFill>
                <a:srgbClr val="FFFFFF"/>
              </a:solidFill>
              <a:cs typeface="Arial" panose="020B0604020202020204" pitchFamily="34" charset="0"/>
            </a:endParaRPr>
          </a:p>
        </p:txBody>
      </p:sp>
      <p:sp>
        <p:nvSpPr>
          <p:cNvPr id="455" name="TextBox 125">
            <a:extLst>
              <a:ext uri="{FF2B5EF4-FFF2-40B4-BE49-F238E27FC236}">
                <a16:creationId xmlns:a16="http://schemas.microsoft.com/office/drawing/2014/main" xmlns="" id="{62803063-82AA-4B19-86D1-D2B569A3C026}"/>
              </a:ext>
            </a:extLst>
          </p:cNvPr>
          <p:cNvSpPr txBox="1"/>
          <p:nvPr/>
        </p:nvSpPr>
        <p:spPr>
          <a:xfrm>
            <a:off x="4896772" y="3384310"/>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d Cap</a:t>
            </a:r>
          </a:p>
          <a:p>
            <a:pPr algn="ctr"/>
            <a:r>
              <a:rPr lang="fr-FR" sz="700" dirty="0">
                <a:solidFill>
                  <a:srgbClr val="FFFFFF"/>
                </a:solidFill>
                <a:cs typeface="Arial" panose="020B0604020202020204" pitchFamily="34" charset="0"/>
              </a:rPr>
              <a:t>-2.2%</a:t>
            </a:r>
            <a:endParaRPr lang="en-US" sz="700" dirty="0">
              <a:solidFill>
                <a:srgbClr val="FFFFFF"/>
              </a:solidFill>
              <a:cs typeface="Arial" panose="020B0604020202020204" pitchFamily="34" charset="0"/>
            </a:endParaRPr>
          </a:p>
        </p:txBody>
      </p:sp>
      <p:sp>
        <p:nvSpPr>
          <p:cNvPr id="456" name="TextBox 123">
            <a:extLst>
              <a:ext uri="{FF2B5EF4-FFF2-40B4-BE49-F238E27FC236}">
                <a16:creationId xmlns:a16="http://schemas.microsoft.com/office/drawing/2014/main" xmlns="" id="{AB0CEBA3-C593-4539-A95B-509A386203DF}"/>
              </a:ext>
            </a:extLst>
          </p:cNvPr>
          <p:cNvSpPr txBox="1"/>
          <p:nvPr/>
        </p:nvSpPr>
        <p:spPr>
          <a:xfrm>
            <a:off x="4919285" y="3632573"/>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a:solidFill>
                  <a:srgbClr val="FFFFFF"/>
                </a:solidFill>
                <a:cs typeface="Arial" panose="020B0604020202020204" pitchFamily="34" charset="0"/>
              </a:rPr>
              <a:t>-6.0%</a:t>
            </a:r>
            <a:endParaRPr lang="en-US" sz="700" dirty="0">
              <a:solidFill>
                <a:srgbClr val="FFFFFF"/>
              </a:solidFill>
              <a:cs typeface="Arial" panose="020B0604020202020204" pitchFamily="34" charset="0"/>
            </a:endParaRPr>
          </a:p>
        </p:txBody>
      </p:sp>
      <p:sp>
        <p:nvSpPr>
          <p:cNvPr id="457" name="TextBox 124">
            <a:extLst>
              <a:ext uri="{FF2B5EF4-FFF2-40B4-BE49-F238E27FC236}">
                <a16:creationId xmlns:a16="http://schemas.microsoft.com/office/drawing/2014/main" xmlns="" id="{BC9CCE68-B505-4BAB-A65D-68E1EA33727E}"/>
              </a:ext>
            </a:extLst>
          </p:cNvPr>
          <p:cNvSpPr txBox="1"/>
          <p:nvPr/>
        </p:nvSpPr>
        <p:spPr>
          <a:xfrm>
            <a:off x="4905794" y="3087603"/>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r>
              <a:rPr lang="fr-FR" sz="700" dirty="0">
                <a:solidFill>
                  <a:srgbClr val="FFFFFF"/>
                </a:solidFill>
                <a:cs typeface="Arial" panose="020B0604020202020204" pitchFamily="34" charset="0"/>
              </a:rPr>
              <a:t> </a:t>
            </a:r>
            <a:r>
              <a:rPr lang="fr-FR" sz="700" dirty="0" smtClean="0">
                <a:solidFill>
                  <a:srgbClr val="FFFFFF"/>
                </a:solidFill>
                <a:cs typeface="Arial" panose="020B0604020202020204" pitchFamily="34" charset="0"/>
              </a:rPr>
              <a:t>9.4%</a:t>
            </a:r>
            <a:endParaRPr lang="en-US" sz="700" dirty="0">
              <a:solidFill>
                <a:srgbClr val="FFFFFF"/>
              </a:solidFill>
              <a:cs typeface="Arial" panose="020B0604020202020204" pitchFamily="34" charset="0"/>
            </a:endParaRPr>
          </a:p>
        </p:txBody>
      </p:sp>
      <p:sp>
        <p:nvSpPr>
          <p:cNvPr id="458" name="TextBox 127">
            <a:extLst>
              <a:ext uri="{FF2B5EF4-FFF2-40B4-BE49-F238E27FC236}">
                <a16:creationId xmlns:a16="http://schemas.microsoft.com/office/drawing/2014/main" xmlns="" id="{CB9BB1CD-1EBF-410A-8954-D821938C7270}"/>
              </a:ext>
            </a:extLst>
          </p:cNvPr>
          <p:cNvSpPr txBox="1"/>
          <p:nvPr/>
        </p:nvSpPr>
        <p:spPr>
          <a:xfrm>
            <a:off x="4919285" y="2819316"/>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9.4%</a:t>
            </a:r>
            <a:endParaRPr lang="en-US" sz="700" dirty="0">
              <a:solidFill>
                <a:srgbClr val="FFFFFF"/>
              </a:solidFill>
              <a:cs typeface="Arial" panose="020B0604020202020204" pitchFamily="34" charset="0"/>
            </a:endParaRPr>
          </a:p>
        </p:txBody>
      </p:sp>
      <p:sp>
        <p:nvSpPr>
          <p:cNvPr id="459" name="TextBox 123">
            <a:extLst>
              <a:ext uri="{FF2B5EF4-FFF2-40B4-BE49-F238E27FC236}">
                <a16:creationId xmlns:a16="http://schemas.microsoft.com/office/drawing/2014/main" xmlns="" id="{E6D55780-991E-4B08-A09D-00B28E2D9F41}"/>
              </a:ext>
            </a:extLst>
          </p:cNvPr>
          <p:cNvSpPr txBox="1"/>
          <p:nvPr/>
        </p:nvSpPr>
        <p:spPr>
          <a:xfrm>
            <a:off x="5441734" y="3363322"/>
            <a:ext cx="48154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1.6%</a:t>
            </a:r>
            <a:endParaRPr lang="en-US" sz="700" dirty="0">
              <a:solidFill>
                <a:srgbClr val="FFFFFF"/>
              </a:solidFill>
              <a:cs typeface="Arial" panose="020B0604020202020204" pitchFamily="34" charset="0"/>
            </a:endParaRPr>
          </a:p>
        </p:txBody>
      </p:sp>
      <p:sp>
        <p:nvSpPr>
          <p:cNvPr id="460" name="TextBox 124">
            <a:extLst>
              <a:ext uri="{FF2B5EF4-FFF2-40B4-BE49-F238E27FC236}">
                <a16:creationId xmlns:a16="http://schemas.microsoft.com/office/drawing/2014/main" xmlns="" id="{147C2D88-C371-4A5E-863F-873ED357700D}"/>
              </a:ext>
            </a:extLst>
          </p:cNvPr>
          <p:cNvSpPr txBox="1"/>
          <p:nvPr/>
        </p:nvSpPr>
        <p:spPr>
          <a:xfrm>
            <a:off x="5428003" y="3635810"/>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om</a:t>
            </a:r>
          </a:p>
          <a:p>
            <a:pPr algn="ctr"/>
            <a:r>
              <a:rPr lang="fr-FR" sz="700" dirty="0">
                <a:solidFill>
                  <a:srgbClr val="FFFFFF"/>
                </a:solidFill>
                <a:cs typeface="Arial" panose="020B0604020202020204" pitchFamily="34" charset="0"/>
              </a:rPr>
              <a:t>-1.7%</a:t>
            </a:r>
            <a:endParaRPr lang="en-US" sz="700" dirty="0">
              <a:solidFill>
                <a:srgbClr val="FFFFFF"/>
              </a:solidFill>
              <a:cs typeface="Arial" panose="020B0604020202020204" pitchFamily="34" charset="0"/>
            </a:endParaRPr>
          </a:p>
        </p:txBody>
      </p:sp>
      <p:sp>
        <p:nvSpPr>
          <p:cNvPr id="461" name="TextBox 126">
            <a:extLst>
              <a:ext uri="{FF2B5EF4-FFF2-40B4-BE49-F238E27FC236}">
                <a16:creationId xmlns:a16="http://schemas.microsoft.com/office/drawing/2014/main" xmlns="" id="{59B25456-018A-4F2A-8B76-31DF5B640213}"/>
              </a:ext>
            </a:extLst>
          </p:cNvPr>
          <p:cNvSpPr txBox="1"/>
          <p:nvPr/>
        </p:nvSpPr>
        <p:spPr>
          <a:xfrm>
            <a:off x="5416573" y="4208800"/>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r>
              <a:rPr lang="fr-FR" sz="700" dirty="0">
                <a:solidFill>
                  <a:srgbClr val="FFFFFF"/>
                </a:solidFill>
                <a:cs typeface="Arial" panose="020B0604020202020204" pitchFamily="34" charset="0"/>
              </a:rPr>
              <a:t> </a:t>
            </a:r>
          </a:p>
          <a:p>
            <a:pPr algn="ctr"/>
            <a:r>
              <a:rPr lang="fr-FR" sz="700" dirty="0">
                <a:solidFill>
                  <a:srgbClr val="FFFFFF"/>
                </a:solidFill>
                <a:cs typeface="Arial" panose="020B0604020202020204" pitchFamily="34" charset="0"/>
              </a:rPr>
              <a:t>-3.5%</a:t>
            </a:r>
            <a:endParaRPr lang="en-US" sz="700" dirty="0">
              <a:solidFill>
                <a:srgbClr val="FFFFFF"/>
              </a:solidFill>
              <a:cs typeface="Arial" panose="020B0604020202020204" pitchFamily="34" charset="0"/>
            </a:endParaRPr>
          </a:p>
        </p:txBody>
      </p:sp>
      <p:sp>
        <p:nvSpPr>
          <p:cNvPr id="462" name="TextBox 127">
            <a:extLst>
              <a:ext uri="{FF2B5EF4-FFF2-40B4-BE49-F238E27FC236}">
                <a16:creationId xmlns:a16="http://schemas.microsoft.com/office/drawing/2014/main" xmlns="" id="{44400798-789A-46D0-84D5-BAF4FF27F2B3}"/>
              </a:ext>
            </a:extLst>
          </p:cNvPr>
          <p:cNvSpPr txBox="1"/>
          <p:nvPr/>
        </p:nvSpPr>
        <p:spPr>
          <a:xfrm>
            <a:off x="5430064" y="3919325"/>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Quality</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2.8%</a:t>
            </a:r>
            <a:endParaRPr lang="en-US" sz="700" dirty="0">
              <a:solidFill>
                <a:srgbClr val="FFFFFF"/>
              </a:solidFill>
              <a:cs typeface="Arial" panose="020B0604020202020204" pitchFamily="34" charset="0"/>
            </a:endParaRPr>
          </a:p>
        </p:txBody>
      </p:sp>
      <p:sp>
        <p:nvSpPr>
          <p:cNvPr id="463" name="TextBox 125">
            <a:extLst>
              <a:ext uri="{FF2B5EF4-FFF2-40B4-BE49-F238E27FC236}">
                <a16:creationId xmlns:a16="http://schemas.microsoft.com/office/drawing/2014/main" xmlns="" id="{402A05E5-EC52-4C58-BDF7-A37A6B0AAA4B}"/>
              </a:ext>
            </a:extLst>
          </p:cNvPr>
          <p:cNvSpPr txBox="1"/>
          <p:nvPr/>
        </p:nvSpPr>
        <p:spPr>
          <a:xfrm>
            <a:off x="5418981" y="3088184"/>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d Cap</a:t>
            </a:r>
          </a:p>
          <a:p>
            <a:pPr algn="ctr"/>
            <a:r>
              <a:rPr lang="fr-FR" sz="700" dirty="0">
                <a:solidFill>
                  <a:srgbClr val="FFFFFF"/>
                </a:solidFill>
                <a:cs typeface="Arial" panose="020B0604020202020204" pitchFamily="34" charset="0"/>
              </a:rPr>
              <a:t>0.5%</a:t>
            </a:r>
            <a:endParaRPr lang="en-US" sz="700" dirty="0">
              <a:solidFill>
                <a:srgbClr val="FFFFFF"/>
              </a:solidFill>
              <a:cs typeface="Arial" panose="020B0604020202020204" pitchFamily="34" charset="0"/>
            </a:endParaRPr>
          </a:p>
        </p:txBody>
      </p:sp>
      <p:sp>
        <p:nvSpPr>
          <p:cNvPr id="464" name="TextBox 123">
            <a:extLst>
              <a:ext uri="{FF2B5EF4-FFF2-40B4-BE49-F238E27FC236}">
                <a16:creationId xmlns:a16="http://schemas.microsoft.com/office/drawing/2014/main" xmlns="" id="{3757C108-DCAF-4BA8-A9F4-F7D3BE5B1C22}"/>
              </a:ext>
            </a:extLst>
          </p:cNvPr>
          <p:cNvSpPr txBox="1"/>
          <p:nvPr/>
        </p:nvSpPr>
        <p:spPr>
          <a:xfrm>
            <a:off x="6966211" y="3665423"/>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a:solidFill>
                  <a:srgbClr val="FFFFFF"/>
                </a:solidFill>
                <a:cs typeface="Arial" panose="020B0604020202020204" pitchFamily="34" charset="0"/>
              </a:rPr>
              <a:t>-2.4%</a:t>
            </a:r>
            <a:endParaRPr lang="en-US" sz="700" dirty="0">
              <a:solidFill>
                <a:srgbClr val="FFFFFF"/>
              </a:solidFill>
              <a:cs typeface="Arial" panose="020B0604020202020204" pitchFamily="34" charset="0"/>
            </a:endParaRPr>
          </a:p>
        </p:txBody>
      </p:sp>
      <p:sp>
        <p:nvSpPr>
          <p:cNvPr id="465" name="TextBox 124">
            <a:extLst>
              <a:ext uri="{FF2B5EF4-FFF2-40B4-BE49-F238E27FC236}">
                <a16:creationId xmlns:a16="http://schemas.microsoft.com/office/drawing/2014/main" xmlns="" id="{15617A59-EDE5-464D-972C-F3809B294406}"/>
              </a:ext>
            </a:extLst>
          </p:cNvPr>
          <p:cNvSpPr txBox="1"/>
          <p:nvPr/>
        </p:nvSpPr>
        <p:spPr>
          <a:xfrm>
            <a:off x="6948910" y="2757936"/>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r>
              <a:rPr lang="fr-FR" sz="700" dirty="0">
                <a:solidFill>
                  <a:srgbClr val="FFFFFF"/>
                </a:solidFill>
                <a:cs typeface="Arial" panose="020B0604020202020204" pitchFamily="34" charset="0"/>
              </a:rPr>
              <a:t> </a:t>
            </a:r>
            <a:r>
              <a:rPr lang="fr-FR" sz="700" dirty="0" smtClean="0">
                <a:solidFill>
                  <a:srgbClr val="FFFFFF"/>
                </a:solidFill>
                <a:cs typeface="Arial" panose="020B0604020202020204" pitchFamily="34" charset="0"/>
              </a:rPr>
              <a:t>4.6%</a:t>
            </a:r>
            <a:endParaRPr lang="en-US" sz="700" dirty="0">
              <a:solidFill>
                <a:srgbClr val="FFFFFF"/>
              </a:solidFill>
              <a:cs typeface="Arial" panose="020B0604020202020204" pitchFamily="34" charset="0"/>
            </a:endParaRPr>
          </a:p>
        </p:txBody>
      </p:sp>
      <p:sp>
        <p:nvSpPr>
          <p:cNvPr id="466" name="TextBox 126">
            <a:extLst>
              <a:ext uri="{FF2B5EF4-FFF2-40B4-BE49-F238E27FC236}">
                <a16:creationId xmlns:a16="http://schemas.microsoft.com/office/drawing/2014/main" xmlns="" id="{15D37D43-7DE0-4470-A469-9B7621323D60}"/>
              </a:ext>
            </a:extLst>
          </p:cNvPr>
          <p:cNvSpPr txBox="1"/>
          <p:nvPr/>
        </p:nvSpPr>
        <p:spPr>
          <a:xfrm>
            <a:off x="6948910" y="2185070"/>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 </a:t>
            </a:r>
          </a:p>
          <a:p>
            <a:pPr algn="ctr"/>
            <a:r>
              <a:rPr lang="fr-FR" sz="700" dirty="0" smtClean="0">
                <a:solidFill>
                  <a:srgbClr val="FFFFFF"/>
                </a:solidFill>
                <a:cs typeface="Arial" panose="020B0604020202020204" pitchFamily="34" charset="0"/>
              </a:rPr>
              <a:t>6.0%</a:t>
            </a:r>
            <a:endParaRPr lang="en-US" sz="700" dirty="0">
              <a:solidFill>
                <a:srgbClr val="FFFFFF"/>
              </a:solidFill>
              <a:cs typeface="Arial" panose="020B0604020202020204" pitchFamily="34" charset="0"/>
            </a:endParaRPr>
          </a:p>
        </p:txBody>
      </p:sp>
      <p:sp>
        <p:nvSpPr>
          <p:cNvPr id="467" name="TextBox 127">
            <a:extLst>
              <a:ext uri="{FF2B5EF4-FFF2-40B4-BE49-F238E27FC236}">
                <a16:creationId xmlns:a16="http://schemas.microsoft.com/office/drawing/2014/main" xmlns="" id="{367BF34B-2030-4CA2-A6E5-20A631630669}"/>
              </a:ext>
            </a:extLst>
          </p:cNvPr>
          <p:cNvSpPr txBox="1"/>
          <p:nvPr/>
        </p:nvSpPr>
        <p:spPr>
          <a:xfrm>
            <a:off x="6962401" y="2483248"/>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om</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4.9%</a:t>
            </a:r>
            <a:endParaRPr lang="en-US" sz="700" dirty="0">
              <a:solidFill>
                <a:srgbClr val="FFFFFF"/>
              </a:solidFill>
              <a:cs typeface="Arial" panose="020B0604020202020204" pitchFamily="34" charset="0"/>
            </a:endParaRPr>
          </a:p>
        </p:txBody>
      </p:sp>
      <p:sp>
        <p:nvSpPr>
          <p:cNvPr id="468" name="TextBox 125">
            <a:extLst>
              <a:ext uri="{FF2B5EF4-FFF2-40B4-BE49-F238E27FC236}">
                <a16:creationId xmlns:a16="http://schemas.microsoft.com/office/drawing/2014/main" xmlns="" id="{2D4439AD-93DB-428D-8BF9-0424A4D52DC6}"/>
              </a:ext>
            </a:extLst>
          </p:cNvPr>
          <p:cNvSpPr txBox="1"/>
          <p:nvPr/>
        </p:nvSpPr>
        <p:spPr>
          <a:xfrm>
            <a:off x="6943698" y="3050580"/>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d Cap</a:t>
            </a:r>
          </a:p>
          <a:p>
            <a:pPr algn="ctr"/>
            <a:r>
              <a:rPr lang="fr-FR" sz="700" dirty="0" smtClean="0">
                <a:solidFill>
                  <a:srgbClr val="FFFFFF"/>
                </a:solidFill>
                <a:cs typeface="Arial" panose="020B0604020202020204" pitchFamily="34" charset="0"/>
              </a:rPr>
              <a:t>0.4%</a:t>
            </a:r>
            <a:endParaRPr lang="en-US" sz="700" dirty="0">
              <a:solidFill>
                <a:srgbClr val="FFFFFF"/>
              </a:solidFill>
              <a:cs typeface="Arial" panose="020B0604020202020204" pitchFamily="34" charset="0"/>
            </a:endParaRPr>
          </a:p>
        </p:txBody>
      </p:sp>
      <p:sp>
        <p:nvSpPr>
          <p:cNvPr id="469" name="TextBox 123">
            <a:extLst>
              <a:ext uri="{FF2B5EF4-FFF2-40B4-BE49-F238E27FC236}">
                <a16:creationId xmlns:a16="http://schemas.microsoft.com/office/drawing/2014/main" xmlns="" id="{4D255416-0933-43DB-B3D6-9C2A2C4BFB21}"/>
              </a:ext>
            </a:extLst>
          </p:cNvPr>
          <p:cNvSpPr txBox="1"/>
          <p:nvPr/>
        </p:nvSpPr>
        <p:spPr>
          <a:xfrm>
            <a:off x="8467458" y="1639318"/>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om</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150.0%</a:t>
            </a:r>
            <a:endParaRPr lang="en-US" sz="700" dirty="0">
              <a:solidFill>
                <a:srgbClr val="FFFFFF"/>
              </a:solidFill>
              <a:cs typeface="Arial" panose="020B0604020202020204" pitchFamily="34" charset="0"/>
            </a:endParaRPr>
          </a:p>
        </p:txBody>
      </p:sp>
      <p:sp>
        <p:nvSpPr>
          <p:cNvPr id="470" name="TextBox 124">
            <a:extLst>
              <a:ext uri="{FF2B5EF4-FFF2-40B4-BE49-F238E27FC236}">
                <a16:creationId xmlns:a16="http://schemas.microsoft.com/office/drawing/2014/main" xmlns="" id="{F9E468AF-8364-44A3-A677-3C2895931582}"/>
              </a:ext>
            </a:extLst>
          </p:cNvPr>
          <p:cNvSpPr txBox="1"/>
          <p:nvPr/>
        </p:nvSpPr>
        <p:spPr>
          <a:xfrm>
            <a:off x="8455715" y="2221871"/>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id</a:t>
            </a:r>
            <a:r>
              <a:rPr lang="fr-FR" sz="700" dirty="0">
                <a:solidFill>
                  <a:srgbClr val="FFFFFF"/>
                </a:solidFill>
                <a:cs typeface="Arial" panose="020B0604020202020204" pitchFamily="34" charset="0"/>
              </a:rPr>
              <a:t> Cap</a:t>
            </a:r>
          </a:p>
          <a:p>
            <a:pPr algn="ctr"/>
            <a:r>
              <a:rPr lang="fr-FR" sz="700" dirty="0" smtClean="0">
                <a:solidFill>
                  <a:srgbClr val="FFFFFF"/>
                </a:solidFill>
                <a:cs typeface="Arial" panose="020B0604020202020204" pitchFamily="34" charset="0"/>
              </a:rPr>
              <a:t>101.7%</a:t>
            </a:r>
            <a:endParaRPr lang="en-US" sz="700" dirty="0">
              <a:solidFill>
                <a:srgbClr val="FFFFFF"/>
              </a:solidFill>
              <a:cs typeface="Arial" panose="020B0604020202020204" pitchFamily="34" charset="0"/>
            </a:endParaRPr>
          </a:p>
        </p:txBody>
      </p:sp>
      <p:sp>
        <p:nvSpPr>
          <p:cNvPr id="471" name="TextBox 126">
            <a:extLst>
              <a:ext uri="{FF2B5EF4-FFF2-40B4-BE49-F238E27FC236}">
                <a16:creationId xmlns:a16="http://schemas.microsoft.com/office/drawing/2014/main" xmlns="" id="{77417CCC-DC37-416A-AAC4-E7A3263ECEAC}"/>
              </a:ext>
            </a:extLst>
          </p:cNvPr>
          <p:cNvSpPr txBox="1"/>
          <p:nvPr/>
        </p:nvSpPr>
        <p:spPr>
          <a:xfrm>
            <a:off x="8455715" y="2500518"/>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r>
              <a:rPr lang="fr-FR" sz="700" dirty="0">
                <a:solidFill>
                  <a:srgbClr val="FFFFFF"/>
                </a:solidFill>
                <a:cs typeface="Arial" panose="020B0604020202020204" pitchFamily="34" charset="0"/>
              </a:rPr>
              <a:t> </a:t>
            </a:r>
            <a:r>
              <a:rPr lang="fr-FR" sz="700" dirty="0" smtClean="0">
                <a:solidFill>
                  <a:srgbClr val="FFFFFF"/>
                </a:solidFill>
                <a:cs typeface="Arial" panose="020B0604020202020204" pitchFamily="34" charset="0"/>
              </a:rPr>
              <a:t>60.0%</a:t>
            </a:r>
            <a:endParaRPr lang="en-US" sz="700" dirty="0">
              <a:solidFill>
                <a:srgbClr val="FFFFFF"/>
              </a:solidFill>
              <a:cs typeface="Arial" panose="020B0604020202020204" pitchFamily="34" charset="0"/>
            </a:endParaRPr>
          </a:p>
        </p:txBody>
      </p:sp>
      <p:sp>
        <p:nvSpPr>
          <p:cNvPr id="472" name="TextBox 127">
            <a:extLst>
              <a:ext uri="{FF2B5EF4-FFF2-40B4-BE49-F238E27FC236}">
                <a16:creationId xmlns:a16="http://schemas.microsoft.com/office/drawing/2014/main" xmlns="" id="{A48F92DE-D4D2-42AF-9062-6B9D18A9C80E}"/>
              </a:ext>
            </a:extLst>
          </p:cNvPr>
          <p:cNvSpPr txBox="1"/>
          <p:nvPr/>
        </p:nvSpPr>
        <p:spPr>
          <a:xfrm>
            <a:off x="8469206" y="3063903"/>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9.9%</a:t>
            </a:r>
            <a:endParaRPr lang="en-US" sz="700" dirty="0">
              <a:solidFill>
                <a:srgbClr val="FFFFFF"/>
              </a:solidFill>
              <a:cs typeface="Arial" panose="020B0604020202020204" pitchFamily="34" charset="0"/>
            </a:endParaRPr>
          </a:p>
        </p:txBody>
      </p:sp>
      <p:sp>
        <p:nvSpPr>
          <p:cNvPr id="473" name="TextBox 125">
            <a:extLst>
              <a:ext uri="{FF2B5EF4-FFF2-40B4-BE49-F238E27FC236}">
                <a16:creationId xmlns:a16="http://schemas.microsoft.com/office/drawing/2014/main" xmlns="" id="{A17EB22E-3E1C-46E0-8AF7-BC2768FA5831}"/>
              </a:ext>
            </a:extLst>
          </p:cNvPr>
          <p:cNvSpPr txBox="1"/>
          <p:nvPr/>
        </p:nvSpPr>
        <p:spPr>
          <a:xfrm>
            <a:off x="8453219" y="2791973"/>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a:t>
            </a:r>
          </a:p>
          <a:p>
            <a:pPr algn="ctr"/>
            <a:r>
              <a:rPr lang="fr-FR" sz="700" dirty="0" smtClean="0">
                <a:solidFill>
                  <a:srgbClr val="FFFFFF"/>
                </a:solidFill>
                <a:cs typeface="Arial" panose="020B0604020202020204" pitchFamily="34" charset="0"/>
              </a:rPr>
              <a:t>57.7%</a:t>
            </a:r>
            <a:endParaRPr lang="en-US" sz="700" dirty="0">
              <a:solidFill>
                <a:srgbClr val="FFFFFF"/>
              </a:solidFill>
              <a:cs typeface="Arial" panose="020B0604020202020204" pitchFamily="34" charset="0"/>
            </a:endParaRPr>
          </a:p>
        </p:txBody>
      </p:sp>
      <p:sp>
        <p:nvSpPr>
          <p:cNvPr id="474" name="TextBox 126">
            <a:extLst>
              <a:ext uri="{FF2B5EF4-FFF2-40B4-BE49-F238E27FC236}">
                <a16:creationId xmlns:a16="http://schemas.microsoft.com/office/drawing/2014/main" xmlns="" id="{2D1A7B82-C059-4B3C-B245-BAB04EBFB393}"/>
              </a:ext>
            </a:extLst>
          </p:cNvPr>
          <p:cNvSpPr txBox="1"/>
          <p:nvPr/>
        </p:nvSpPr>
        <p:spPr>
          <a:xfrm>
            <a:off x="292597" y="1630488"/>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 </a:t>
            </a:r>
          </a:p>
          <a:p>
            <a:pPr algn="ctr"/>
            <a:r>
              <a:rPr lang="fr-FR" sz="700" dirty="0" smtClean="0">
                <a:solidFill>
                  <a:srgbClr val="FFFFFF"/>
                </a:solidFill>
                <a:cs typeface="Arial" panose="020B0604020202020204" pitchFamily="34" charset="0"/>
              </a:rPr>
              <a:t>9.7%</a:t>
            </a:r>
            <a:endParaRPr lang="en-US" sz="700" dirty="0">
              <a:solidFill>
                <a:srgbClr val="FFFFFF"/>
              </a:solidFill>
              <a:cs typeface="Arial" panose="020B0604020202020204" pitchFamily="34" charset="0"/>
            </a:endParaRPr>
          </a:p>
        </p:txBody>
      </p:sp>
      <p:sp>
        <p:nvSpPr>
          <p:cNvPr id="475" name="TextBox 126">
            <a:extLst>
              <a:ext uri="{FF2B5EF4-FFF2-40B4-BE49-F238E27FC236}">
                <a16:creationId xmlns:a16="http://schemas.microsoft.com/office/drawing/2014/main" xmlns="" id="{CD58420C-CD26-4B93-91EE-6A7941D17558}"/>
              </a:ext>
            </a:extLst>
          </p:cNvPr>
          <p:cNvSpPr txBox="1"/>
          <p:nvPr/>
        </p:nvSpPr>
        <p:spPr>
          <a:xfrm>
            <a:off x="780089" y="4200311"/>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r>
              <a:rPr lang="fr-FR" sz="700" dirty="0">
                <a:solidFill>
                  <a:srgbClr val="FFFFFF"/>
                </a:solidFill>
                <a:cs typeface="Arial" panose="020B0604020202020204" pitchFamily="34" charset="0"/>
              </a:rPr>
              <a:t> </a:t>
            </a:r>
            <a:endParaRPr lang="fr-FR" sz="700" dirty="0" smtClean="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11.7</a:t>
            </a:r>
            <a:r>
              <a:rPr lang="fr-FR" sz="700" dirty="0">
                <a:solidFill>
                  <a:srgbClr val="FFFFFF"/>
                </a:solidFill>
                <a:cs typeface="Arial" panose="020B0604020202020204" pitchFamily="34" charset="0"/>
              </a:rPr>
              <a:t>%</a:t>
            </a:r>
            <a:endParaRPr lang="en-US" sz="700" dirty="0">
              <a:solidFill>
                <a:srgbClr val="FFFFFF"/>
              </a:solidFill>
              <a:cs typeface="Arial" panose="020B0604020202020204" pitchFamily="34" charset="0"/>
            </a:endParaRPr>
          </a:p>
        </p:txBody>
      </p:sp>
      <p:sp>
        <p:nvSpPr>
          <p:cNvPr id="476" name="TextBox 123">
            <a:extLst>
              <a:ext uri="{FF2B5EF4-FFF2-40B4-BE49-F238E27FC236}">
                <a16:creationId xmlns:a16="http://schemas.microsoft.com/office/drawing/2014/main" xmlns="" id="{FECF74CD-4319-424F-8886-CFD0805AA9EA}"/>
              </a:ext>
            </a:extLst>
          </p:cNvPr>
          <p:cNvSpPr txBox="1"/>
          <p:nvPr/>
        </p:nvSpPr>
        <p:spPr>
          <a:xfrm>
            <a:off x="1335075" y="1919052"/>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smtClean="0">
                <a:solidFill>
                  <a:srgbClr val="FFFFFF"/>
                </a:solidFill>
                <a:cs typeface="Arial" panose="020B0604020202020204" pitchFamily="34" charset="0"/>
              </a:rPr>
              <a:t>13.4%</a:t>
            </a:r>
            <a:endParaRPr lang="en-US" sz="700" dirty="0">
              <a:solidFill>
                <a:srgbClr val="FFFFFF"/>
              </a:solidFill>
              <a:cs typeface="Arial" panose="020B0604020202020204" pitchFamily="34" charset="0"/>
            </a:endParaRPr>
          </a:p>
        </p:txBody>
      </p:sp>
      <p:sp>
        <p:nvSpPr>
          <p:cNvPr id="477" name="TextBox 124">
            <a:extLst>
              <a:ext uri="{FF2B5EF4-FFF2-40B4-BE49-F238E27FC236}">
                <a16:creationId xmlns:a16="http://schemas.microsoft.com/office/drawing/2014/main" xmlns="" id="{5E3B82E9-1CE5-4810-B408-6A1F2DF444C5}"/>
              </a:ext>
            </a:extLst>
          </p:cNvPr>
          <p:cNvSpPr txBox="1"/>
          <p:nvPr/>
        </p:nvSpPr>
        <p:spPr>
          <a:xfrm>
            <a:off x="1827102" y="3353249"/>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a:t>
            </a:r>
          </a:p>
          <a:p>
            <a:pPr algn="ctr"/>
            <a:r>
              <a:rPr lang="fr-FR" sz="700" dirty="0" smtClean="0">
                <a:solidFill>
                  <a:srgbClr val="FFFFFF"/>
                </a:solidFill>
                <a:cs typeface="Arial" panose="020B0604020202020204" pitchFamily="34" charset="0"/>
              </a:rPr>
              <a:t>-1.8%</a:t>
            </a:r>
            <a:endParaRPr lang="en-US" sz="700" dirty="0">
              <a:solidFill>
                <a:srgbClr val="FFFFFF"/>
              </a:solidFill>
              <a:cs typeface="Arial" panose="020B0604020202020204" pitchFamily="34" charset="0"/>
            </a:endParaRPr>
          </a:p>
        </p:txBody>
      </p:sp>
      <p:sp>
        <p:nvSpPr>
          <p:cNvPr id="478" name="TextBox 124">
            <a:extLst>
              <a:ext uri="{FF2B5EF4-FFF2-40B4-BE49-F238E27FC236}">
                <a16:creationId xmlns:a16="http://schemas.microsoft.com/office/drawing/2014/main" xmlns="" id="{63F44A84-1D72-438C-BFC3-BA00C16B5A3E}"/>
              </a:ext>
            </a:extLst>
          </p:cNvPr>
          <p:cNvSpPr txBox="1"/>
          <p:nvPr/>
        </p:nvSpPr>
        <p:spPr>
          <a:xfrm>
            <a:off x="1832363" y="3941673"/>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endParaRPr lang="fr-FR" sz="700" dirty="0">
              <a:solidFill>
                <a:srgbClr val="FFFFFF"/>
              </a:solidFill>
              <a:cs typeface="Arial" panose="020B0604020202020204" pitchFamily="34" charset="0"/>
            </a:endParaRP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4.0%</a:t>
            </a:r>
            <a:endParaRPr lang="en-US" sz="700" dirty="0">
              <a:solidFill>
                <a:srgbClr val="FFFFFF"/>
              </a:solidFill>
              <a:cs typeface="Arial" panose="020B0604020202020204" pitchFamily="34" charset="0"/>
            </a:endParaRPr>
          </a:p>
        </p:txBody>
      </p:sp>
      <p:sp>
        <p:nvSpPr>
          <p:cNvPr id="479" name="TextBox 127">
            <a:extLst>
              <a:ext uri="{FF2B5EF4-FFF2-40B4-BE49-F238E27FC236}">
                <a16:creationId xmlns:a16="http://schemas.microsoft.com/office/drawing/2014/main" xmlns="" id="{9A42D8AE-8000-4AB0-A3EE-6E031C07746A}"/>
              </a:ext>
            </a:extLst>
          </p:cNvPr>
          <p:cNvSpPr txBox="1"/>
          <p:nvPr/>
        </p:nvSpPr>
        <p:spPr>
          <a:xfrm>
            <a:off x="2356633" y="2210105"/>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smtClean="0">
                <a:solidFill>
                  <a:srgbClr val="FFFFFF"/>
                </a:solidFill>
                <a:cs typeface="Arial" panose="020B0604020202020204" pitchFamily="34" charset="0"/>
              </a:rPr>
              <a:t>10.3%</a:t>
            </a:r>
            <a:endParaRPr lang="en-US" sz="700" dirty="0">
              <a:solidFill>
                <a:srgbClr val="FFFFFF"/>
              </a:solidFill>
              <a:cs typeface="Arial" panose="020B0604020202020204" pitchFamily="34" charset="0"/>
            </a:endParaRPr>
          </a:p>
        </p:txBody>
      </p:sp>
      <p:sp>
        <p:nvSpPr>
          <p:cNvPr id="480" name="TextBox 126">
            <a:extLst>
              <a:ext uri="{FF2B5EF4-FFF2-40B4-BE49-F238E27FC236}">
                <a16:creationId xmlns:a16="http://schemas.microsoft.com/office/drawing/2014/main" xmlns="" id="{F8463E41-67AD-4DC7-A921-D760AF07B018}"/>
              </a:ext>
            </a:extLst>
          </p:cNvPr>
          <p:cNvSpPr txBox="1"/>
          <p:nvPr/>
        </p:nvSpPr>
        <p:spPr>
          <a:xfrm>
            <a:off x="2848807" y="2494367"/>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om</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10.4%</a:t>
            </a:r>
            <a:endParaRPr lang="en-US" sz="700" dirty="0">
              <a:solidFill>
                <a:srgbClr val="FFFFFF"/>
              </a:solidFill>
              <a:cs typeface="Arial" panose="020B0604020202020204" pitchFamily="34" charset="0"/>
            </a:endParaRPr>
          </a:p>
        </p:txBody>
      </p:sp>
      <p:sp>
        <p:nvSpPr>
          <p:cNvPr id="481" name="TextBox 125">
            <a:extLst>
              <a:ext uri="{FF2B5EF4-FFF2-40B4-BE49-F238E27FC236}">
                <a16:creationId xmlns:a16="http://schemas.microsoft.com/office/drawing/2014/main" xmlns="" id="{54310334-8471-496F-BFB7-C2E82412F73A}"/>
              </a:ext>
            </a:extLst>
          </p:cNvPr>
          <p:cNvSpPr txBox="1"/>
          <p:nvPr/>
        </p:nvSpPr>
        <p:spPr>
          <a:xfrm>
            <a:off x="3355678" y="2494081"/>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a:t>
            </a:r>
          </a:p>
          <a:p>
            <a:pPr algn="ctr"/>
            <a:r>
              <a:rPr lang="fr-FR" sz="700" dirty="0" smtClean="0">
                <a:solidFill>
                  <a:srgbClr val="FFFFFF"/>
                </a:solidFill>
                <a:cs typeface="Arial" panose="020B0604020202020204" pitchFamily="34" charset="0"/>
              </a:rPr>
              <a:t>11.0%</a:t>
            </a:r>
            <a:endParaRPr lang="en-US" sz="700" dirty="0">
              <a:solidFill>
                <a:srgbClr val="FFFFFF"/>
              </a:solidFill>
              <a:cs typeface="Arial" panose="020B0604020202020204" pitchFamily="34" charset="0"/>
            </a:endParaRPr>
          </a:p>
        </p:txBody>
      </p:sp>
      <p:sp>
        <p:nvSpPr>
          <p:cNvPr id="482" name="TextBox 126">
            <a:extLst>
              <a:ext uri="{FF2B5EF4-FFF2-40B4-BE49-F238E27FC236}">
                <a16:creationId xmlns:a16="http://schemas.microsoft.com/office/drawing/2014/main" xmlns="" id="{AB533FB1-C2E1-45A0-84E1-046B78A8B4E3}"/>
              </a:ext>
            </a:extLst>
          </p:cNvPr>
          <p:cNvSpPr txBox="1"/>
          <p:nvPr/>
        </p:nvSpPr>
        <p:spPr>
          <a:xfrm>
            <a:off x="3875479" y="2228597"/>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smtClean="0">
                <a:solidFill>
                  <a:srgbClr val="FFFFFF"/>
                </a:solidFill>
                <a:cs typeface="Arial" panose="020B0604020202020204" pitchFamily="34" charset="0"/>
              </a:rPr>
              <a:t>11.1%</a:t>
            </a:r>
            <a:endParaRPr lang="en-US" sz="700" dirty="0">
              <a:solidFill>
                <a:srgbClr val="FFFFFF"/>
              </a:solidFill>
              <a:cs typeface="Arial" panose="020B0604020202020204" pitchFamily="34" charset="0"/>
            </a:endParaRPr>
          </a:p>
        </p:txBody>
      </p:sp>
      <p:sp>
        <p:nvSpPr>
          <p:cNvPr id="483" name="TextBox 125">
            <a:extLst>
              <a:ext uri="{FF2B5EF4-FFF2-40B4-BE49-F238E27FC236}">
                <a16:creationId xmlns:a16="http://schemas.microsoft.com/office/drawing/2014/main" xmlns="" id="{3078B939-2CFA-4384-82B0-93DF26EA226B}"/>
              </a:ext>
            </a:extLst>
          </p:cNvPr>
          <p:cNvSpPr txBox="1"/>
          <p:nvPr/>
        </p:nvSpPr>
        <p:spPr>
          <a:xfrm>
            <a:off x="4385993" y="3929639"/>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3.2%</a:t>
            </a:r>
            <a:endParaRPr lang="en-US" sz="700" dirty="0">
              <a:solidFill>
                <a:srgbClr val="FFFFFF"/>
              </a:solidFill>
              <a:cs typeface="Arial" panose="020B0604020202020204" pitchFamily="34" charset="0"/>
            </a:endParaRPr>
          </a:p>
        </p:txBody>
      </p:sp>
      <p:sp>
        <p:nvSpPr>
          <p:cNvPr id="484" name="TextBox 125">
            <a:extLst>
              <a:ext uri="{FF2B5EF4-FFF2-40B4-BE49-F238E27FC236}">
                <a16:creationId xmlns:a16="http://schemas.microsoft.com/office/drawing/2014/main" xmlns="" id="{E19DF726-E735-48E7-91E0-F50354051FBD}"/>
              </a:ext>
            </a:extLst>
          </p:cNvPr>
          <p:cNvSpPr txBox="1"/>
          <p:nvPr/>
        </p:nvSpPr>
        <p:spPr>
          <a:xfrm>
            <a:off x="4385993" y="4213947"/>
            <a:ext cx="549082" cy="307777"/>
          </a:xfrm>
          <a:prstGeom prst="rect">
            <a:avLst/>
          </a:prstGeom>
          <a:noFill/>
        </p:spPr>
        <p:txBody>
          <a:bodyPr wrap="square" rtlCol="0">
            <a:spAutoFit/>
          </a:bodyPr>
          <a:lstStyle/>
          <a:p>
            <a:pPr algn="ctr"/>
            <a:r>
              <a:rPr lang="fr-FR" sz="700" dirty="0" err="1" smtClean="0">
                <a:solidFill>
                  <a:srgbClr val="FFFFFF"/>
                </a:solidFill>
                <a:cs typeface="Arial" panose="020B0604020202020204" pitchFamily="34" charset="0"/>
              </a:rPr>
              <a:t>Div</a:t>
            </a:r>
            <a:endParaRPr lang="fr-FR" sz="700" dirty="0" smtClean="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 </a:t>
            </a: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5.5%</a:t>
            </a:r>
            <a:endParaRPr lang="en-US" sz="700" dirty="0">
              <a:solidFill>
                <a:srgbClr val="FFFFFF"/>
              </a:solidFill>
              <a:cs typeface="Arial" panose="020B0604020202020204" pitchFamily="34" charset="0"/>
            </a:endParaRPr>
          </a:p>
        </p:txBody>
      </p:sp>
      <p:sp>
        <p:nvSpPr>
          <p:cNvPr id="485" name="TextBox 126">
            <a:extLst>
              <a:ext uri="{FF2B5EF4-FFF2-40B4-BE49-F238E27FC236}">
                <a16:creationId xmlns:a16="http://schemas.microsoft.com/office/drawing/2014/main" xmlns="" id="{6C40508D-A661-4676-95CC-4F989E033921}"/>
              </a:ext>
            </a:extLst>
          </p:cNvPr>
          <p:cNvSpPr txBox="1"/>
          <p:nvPr/>
        </p:nvSpPr>
        <p:spPr>
          <a:xfrm>
            <a:off x="4905794" y="2258655"/>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 </a:t>
            </a:r>
          </a:p>
          <a:p>
            <a:pPr algn="ctr"/>
            <a:r>
              <a:rPr lang="fr-FR" sz="700" dirty="0" smtClean="0">
                <a:solidFill>
                  <a:srgbClr val="FFFFFF"/>
                </a:solidFill>
                <a:cs typeface="Arial" panose="020B0604020202020204" pitchFamily="34" charset="0"/>
              </a:rPr>
              <a:t>12.8%</a:t>
            </a:r>
            <a:endParaRPr lang="en-US" sz="700" dirty="0">
              <a:solidFill>
                <a:srgbClr val="FFFFFF"/>
              </a:solidFill>
              <a:cs typeface="Arial" panose="020B0604020202020204" pitchFamily="34" charset="0"/>
            </a:endParaRPr>
          </a:p>
        </p:txBody>
      </p:sp>
      <p:sp>
        <p:nvSpPr>
          <p:cNvPr id="486" name="TextBox 126">
            <a:extLst>
              <a:ext uri="{FF2B5EF4-FFF2-40B4-BE49-F238E27FC236}">
                <a16:creationId xmlns:a16="http://schemas.microsoft.com/office/drawing/2014/main" xmlns="" id="{1AB6AB2F-8523-47C9-87EA-68BD2A30C106}"/>
              </a:ext>
            </a:extLst>
          </p:cNvPr>
          <p:cNvSpPr txBox="1"/>
          <p:nvPr/>
        </p:nvSpPr>
        <p:spPr>
          <a:xfrm>
            <a:off x="4905794" y="2529648"/>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om</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9.8%</a:t>
            </a:r>
            <a:endParaRPr lang="en-US" sz="700" dirty="0">
              <a:solidFill>
                <a:srgbClr val="FFFFFF"/>
              </a:solidFill>
              <a:cs typeface="Arial" panose="020B0604020202020204" pitchFamily="34" charset="0"/>
            </a:endParaRPr>
          </a:p>
        </p:txBody>
      </p:sp>
      <p:sp>
        <p:nvSpPr>
          <p:cNvPr id="487" name="TextBox 125">
            <a:extLst>
              <a:ext uri="{FF2B5EF4-FFF2-40B4-BE49-F238E27FC236}">
                <a16:creationId xmlns:a16="http://schemas.microsoft.com/office/drawing/2014/main" xmlns="" id="{A99B1A47-4358-4EAC-BED3-2B8697F008AA}"/>
              </a:ext>
            </a:extLst>
          </p:cNvPr>
          <p:cNvSpPr txBox="1"/>
          <p:nvPr/>
        </p:nvSpPr>
        <p:spPr>
          <a:xfrm>
            <a:off x="5415171" y="4490339"/>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7.8%</a:t>
            </a:r>
            <a:endParaRPr lang="en-US" sz="700" dirty="0">
              <a:solidFill>
                <a:srgbClr val="FFFFFF"/>
              </a:solidFill>
              <a:cs typeface="Arial" panose="020B0604020202020204" pitchFamily="34" charset="0"/>
            </a:endParaRPr>
          </a:p>
        </p:txBody>
      </p:sp>
      <p:sp>
        <p:nvSpPr>
          <p:cNvPr id="488" name="TextBox 126">
            <a:extLst>
              <a:ext uri="{FF2B5EF4-FFF2-40B4-BE49-F238E27FC236}">
                <a16:creationId xmlns:a16="http://schemas.microsoft.com/office/drawing/2014/main" xmlns="" id="{EDBF03EF-4B91-4E81-9C52-4BB106A30CB1}"/>
              </a:ext>
            </a:extLst>
          </p:cNvPr>
          <p:cNvSpPr txBox="1"/>
          <p:nvPr/>
        </p:nvSpPr>
        <p:spPr>
          <a:xfrm>
            <a:off x="5890888" y="2221360"/>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smtClean="0">
                <a:solidFill>
                  <a:srgbClr val="FFFFFF"/>
                </a:solidFill>
                <a:cs typeface="Arial" panose="020B0604020202020204" pitchFamily="34" charset="0"/>
              </a:rPr>
              <a:t>5.2%</a:t>
            </a:r>
            <a:endParaRPr lang="en-US" sz="700" dirty="0">
              <a:solidFill>
                <a:srgbClr val="FFFFFF"/>
              </a:solidFill>
              <a:cs typeface="Arial" panose="020B0604020202020204" pitchFamily="34" charset="0"/>
            </a:endParaRPr>
          </a:p>
        </p:txBody>
      </p:sp>
      <p:sp>
        <p:nvSpPr>
          <p:cNvPr id="489" name="TextBox 126">
            <a:extLst>
              <a:ext uri="{FF2B5EF4-FFF2-40B4-BE49-F238E27FC236}">
                <a16:creationId xmlns:a16="http://schemas.microsoft.com/office/drawing/2014/main" xmlns="" id="{3105C53D-1523-4EA4-9D57-EEF6685DA001}"/>
              </a:ext>
            </a:extLst>
          </p:cNvPr>
          <p:cNvSpPr txBox="1"/>
          <p:nvPr/>
        </p:nvSpPr>
        <p:spPr>
          <a:xfrm>
            <a:off x="6437711" y="3640028"/>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r>
              <a:rPr lang="fr-FR" sz="700" dirty="0">
                <a:solidFill>
                  <a:srgbClr val="FFFFFF"/>
                </a:solidFill>
                <a:cs typeface="Arial" panose="020B0604020202020204" pitchFamily="34" charset="0"/>
              </a:rPr>
              <a:t> </a:t>
            </a:r>
          </a:p>
          <a:p>
            <a:pPr algn="ctr"/>
            <a:r>
              <a:rPr lang="fr-FR" sz="700" dirty="0" smtClean="0">
                <a:solidFill>
                  <a:srgbClr val="FFFFFF"/>
                </a:solidFill>
                <a:cs typeface="Arial" panose="020B0604020202020204" pitchFamily="34" charset="0"/>
              </a:rPr>
              <a:t>-2.5%</a:t>
            </a:r>
            <a:endParaRPr lang="en-US" sz="700" dirty="0">
              <a:solidFill>
                <a:srgbClr val="FFFFFF"/>
              </a:solidFill>
              <a:cs typeface="Arial" panose="020B0604020202020204" pitchFamily="34" charset="0"/>
            </a:endParaRPr>
          </a:p>
        </p:txBody>
      </p:sp>
      <p:sp>
        <p:nvSpPr>
          <p:cNvPr id="490" name="TextBox 126">
            <a:extLst>
              <a:ext uri="{FF2B5EF4-FFF2-40B4-BE49-F238E27FC236}">
                <a16:creationId xmlns:a16="http://schemas.microsoft.com/office/drawing/2014/main" xmlns="" id="{DA88624A-5ECC-4316-8174-5EBD06933A77}"/>
              </a:ext>
            </a:extLst>
          </p:cNvPr>
          <p:cNvSpPr txBox="1"/>
          <p:nvPr/>
        </p:nvSpPr>
        <p:spPr>
          <a:xfrm>
            <a:off x="6911397" y="3336484"/>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r>
              <a:rPr lang="fr-FR" sz="700" dirty="0">
                <a:solidFill>
                  <a:srgbClr val="FFFFFF"/>
                </a:solidFill>
                <a:cs typeface="Arial" panose="020B0604020202020204" pitchFamily="34" charset="0"/>
              </a:rPr>
              <a:t> </a:t>
            </a: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2.3%</a:t>
            </a:r>
            <a:endParaRPr lang="en-US" sz="700" dirty="0">
              <a:solidFill>
                <a:srgbClr val="FFFFFF"/>
              </a:solidFill>
              <a:cs typeface="Arial" panose="020B0604020202020204" pitchFamily="34" charset="0"/>
            </a:endParaRPr>
          </a:p>
        </p:txBody>
      </p:sp>
      <p:sp>
        <p:nvSpPr>
          <p:cNvPr id="491" name="TextBox 123">
            <a:extLst>
              <a:ext uri="{FF2B5EF4-FFF2-40B4-BE49-F238E27FC236}">
                <a16:creationId xmlns:a16="http://schemas.microsoft.com/office/drawing/2014/main" xmlns="" id="{7CA1C168-A49D-4671-8C56-B70E88717D09}"/>
              </a:ext>
            </a:extLst>
          </p:cNvPr>
          <p:cNvSpPr txBox="1"/>
          <p:nvPr/>
        </p:nvSpPr>
        <p:spPr>
          <a:xfrm>
            <a:off x="7473180" y="4219386"/>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om</a:t>
            </a:r>
            <a:endParaRPr lang="fr-FR" sz="700" dirty="0">
              <a:solidFill>
                <a:srgbClr val="FFFFFF"/>
              </a:solidFill>
              <a:cs typeface="Arial" panose="020B0604020202020204" pitchFamily="34" charset="0"/>
            </a:endParaRPr>
          </a:p>
          <a:p>
            <a:pPr algn="ctr"/>
            <a:r>
              <a:rPr lang="fr-FR" sz="700" dirty="0">
                <a:solidFill>
                  <a:srgbClr val="FFFFFF"/>
                </a:solidFill>
                <a:cs typeface="Arial" panose="020B0604020202020204" pitchFamily="34" charset="0"/>
              </a:rPr>
              <a:t>-</a:t>
            </a:r>
            <a:r>
              <a:rPr lang="fr-FR" sz="700" dirty="0" smtClean="0">
                <a:solidFill>
                  <a:srgbClr val="FFFFFF"/>
                </a:solidFill>
                <a:cs typeface="Arial" panose="020B0604020202020204" pitchFamily="34" charset="0"/>
              </a:rPr>
              <a:t>3.3%</a:t>
            </a:r>
            <a:endParaRPr lang="en-US" sz="700" dirty="0">
              <a:solidFill>
                <a:srgbClr val="FFFFFF"/>
              </a:solidFill>
              <a:cs typeface="Arial" panose="020B0604020202020204" pitchFamily="34" charset="0"/>
            </a:endParaRPr>
          </a:p>
        </p:txBody>
      </p:sp>
      <p:sp>
        <p:nvSpPr>
          <p:cNvPr id="492" name="TextBox 123">
            <a:extLst>
              <a:ext uri="{FF2B5EF4-FFF2-40B4-BE49-F238E27FC236}">
                <a16:creationId xmlns:a16="http://schemas.microsoft.com/office/drawing/2014/main" xmlns="" id="{A377281F-6D3F-4861-A5A4-6B53A0BEBD04}"/>
              </a:ext>
            </a:extLst>
          </p:cNvPr>
          <p:cNvSpPr txBox="1"/>
          <p:nvPr/>
        </p:nvSpPr>
        <p:spPr>
          <a:xfrm>
            <a:off x="8469206" y="1935356"/>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smtClean="0">
                <a:solidFill>
                  <a:srgbClr val="FFFFFF"/>
                </a:solidFill>
                <a:cs typeface="Arial" panose="020B0604020202020204" pitchFamily="34" charset="0"/>
              </a:rPr>
              <a:t>149.3%</a:t>
            </a:r>
            <a:endParaRPr lang="en-US" sz="700" dirty="0">
              <a:solidFill>
                <a:srgbClr val="FFFFFF"/>
              </a:solidFill>
              <a:cs typeface="Arial" panose="020B0604020202020204" pitchFamily="34" charset="0"/>
            </a:endParaRPr>
          </a:p>
        </p:txBody>
      </p:sp>
      <p:sp>
        <p:nvSpPr>
          <p:cNvPr id="237" name="Rectangle 236"/>
          <p:cNvSpPr/>
          <p:nvPr/>
        </p:nvSpPr>
        <p:spPr>
          <a:xfrm>
            <a:off x="8049600" y="3631607"/>
            <a:ext cx="378000" cy="28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9" name="Rectangle 238"/>
          <p:cNvSpPr/>
          <p:nvPr/>
        </p:nvSpPr>
        <p:spPr>
          <a:xfrm>
            <a:off x="8051071" y="2796431"/>
            <a:ext cx="378000" cy="27239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0" name="Rectangle 239"/>
          <p:cNvSpPr/>
          <p:nvPr/>
        </p:nvSpPr>
        <p:spPr>
          <a:xfrm>
            <a:off x="8049600" y="3916259"/>
            <a:ext cx="378000" cy="284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1" name="Rectangle 240"/>
          <p:cNvSpPr/>
          <p:nvPr/>
        </p:nvSpPr>
        <p:spPr>
          <a:xfrm>
            <a:off x="8051071" y="2521033"/>
            <a:ext cx="378000" cy="28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2" name="Rectangle 241">
            <a:extLst>
              <a:ext uri="{FF2B5EF4-FFF2-40B4-BE49-F238E27FC236}">
                <a16:creationId xmlns:a16="http://schemas.microsoft.com/office/drawing/2014/main" xmlns="" id="{CD34E254-F152-4968-9075-919BF20C4BAB}"/>
              </a:ext>
            </a:extLst>
          </p:cNvPr>
          <p:cNvSpPr/>
          <p:nvPr/>
        </p:nvSpPr>
        <p:spPr>
          <a:xfrm>
            <a:off x="8051071" y="3348173"/>
            <a:ext cx="378000" cy="28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3" name="Rectangle 242"/>
          <p:cNvSpPr/>
          <p:nvPr/>
        </p:nvSpPr>
        <p:spPr>
          <a:xfrm>
            <a:off x="8049600" y="3070102"/>
            <a:ext cx="378000" cy="28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4" name="TextBox 124">
            <a:extLst>
              <a:ext uri="{FF2B5EF4-FFF2-40B4-BE49-F238E27FC236}">
                <a16:creationId xmlns:a16="http://schemas.microsoft.com/office/drawing/2014/main" xmlns="" id="{0449541F-6600-4DD5-A2A7-4BF49B26533D}"/>
              </a:ext>
            </a:extLst>
          </p:cNvPr>
          <p:cNvSpPr txBox="1"/>
          <p:nvPr/>
        </p:nvSpPr>
        <p:spPr>
          <a:xfrm>
            <a:off x="7973081" y="3896859"/>
            <a:ext cx="531038"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n Vol</a:t>
            </a:r>
          </a:p>
          <a:p>
            <a:pPr algn="ctr"/>
            <a:r>
              <a:rPr lang="fr-FR" sz="700" dirty="0" smtClean="0">
                <a:solidFill>
                  <a:srgbClr val="FFFFFF"/>
                </a:solidFill>
                <a:cs typeface="Arial" panose="020B0604020202020204" pitchFamily="34" charset="0"/>
              </a:rPr>
              <a:t>-5.1%</a:t>
            </a:r>
            <a:endParaRPr lang="en-US" sz="700" dirty="0">
              <a:solidFill>
                <a:srgbClr val="FFFFFF"/>
              </a:solidFill>
              <a:cs typeface="Arial" panose="020B0604020202020204" pitchFamily="34" charset="0"/>
            </a:endParaRPr>
          </a:p>
        </p:txBody>
      </p:sp>
      <p:sp>
        <p:nvSpPr>
          <p:cNvPr id="245" name="TextBox 123">
            <a:extLst>
              <a:ext uri="{FF2B5EF4-FFF2-40B4-BE49-F238E27FC236}">
                <a16:creationId xmlns:a16="http://schemas.microsoft.com/office/drawing/2014/main" xmlns="" id="{EBE739C6-30AE-4020-9639-BAAE74AEC3BA}"/>
              </a:ext>
            </a:extLst>
          </p:cNvPr>
          <p:cNvSpPr txBox="1"/>
          <p:nvPr/>
        </p:nvSpPr>
        <p:spPr>
          <a:xfrm>
            <a:off x="7988043" y="2778707"/>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Quality</a:t>
            </a:r>
            <a:endParaRPr lang="fr-FR" sz="700" dirty="0">
              <a:solidFill>
                <a:srgbClr val="FFFFFF"/>
              </a:solidFill>
              <a:cs typeface="Arial" panose="020B0604020202020204" pitchFamily="34" charset="0"/>
            </a:endParaRPr>
          </a:p>
          <a:p>
            <a:pPr algn="ctr"/>
            <a:r>
              <a:rPr lang="fr-FR" sz="700" dirty="0">
                <a:solidFill>
                  <a:srgbClr val="FFFFFF"/>
                </a:solidFill>
                <a:cs typeface="Arial" panose="020B0604020202020204" pitchFamily="34" charset="0"/>
              </a:rPr>
              <a:t> </a:t>
            </a:r>
            <a:r>
              <a:rPr lang="fr-FR" sz="700" dirty="0" smtClean="0">
                <a:solidFill>
                  <a:srgbClr val="FFFFFF"/>
                </a:solidFill>
                <a:cs typeface="Arial" panose="020B0604020202020204" pitchFamily="34" charset="0"/>
              </a:rPr>
              <a:t>3.6%</a:t>
            </a:r>
            <a:endParaRPr lang="en-US" sz="700" dirty="0">
              <a:solidFill>
                <a:srgbClr val="FFFFFF"/>
              </a:solidFill>
              <a:cs typeface="Arial" panose="020B0604020202020204" pitchFamily="34" charset="0"/>
            </a:endParaRPr>
          </a:p>
        </p:txBody>
      </p:sp>
      <p:sp>
        <p:nvSpPr>
          <p:cNvPr id="247" name="TextBox 123">
            <a:extLst>
              <a:ext uri="{FF2B5EF4-FFF2-40B4-BE49-F238E27FC236}">
                <a16:creationId xmlns:a16="http://schemas.microsoft.com/office/drawing/2014/main" xmlns="" id="{7CA1C168-A49D-4671-8C56-B70E88717D09}"/>
              </a:ext>
            </a:extLst>
          </p:cNvPr>
          <p:cNvSpPr txBox="1"/>
          <p:nvPr/>
        </p:nvSpPr>
        <p:spPr>
          <a:xfrm>
            <a:off x="7988043" y="2507312"/>
            <a:ext cx="504056"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Mom</a:t>
            </a:r>
            <a:endParaRPr lang="fr-FR" sz="700" dirty="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9.7%</a:t>
            </a:r>
            <a:endParaRPr lang="en-US" sz="700" dirty="0">
              <a:solidFill>
                <a:srgbClr val="FFFFFF"/>
              </a:solidFill>
              <a:cs typeface="Arial" panose="020B0604020202020204" pitchFamily="34" charset="0"/>
            </a:endParaRPr>
          </a:p>
        </p:txBody>
      </p:sp>
      <p:sp>
        <p:nvSpPr>
          <p:cNvPr id="248" name="TextBox 125">
            <a:extLst>
              <a:ext uri="{FF2B5EF4-FFF2-40B4-BE49-F238E27FC236}">
                <a16:creationId xmlns:a16="http://schemas.microsoft.com/office/drawing/2014/main" xmlns="" id="{28BD4A29-79CD-4968-851E-CD8DBA17B56F}"/>
              </a:ext>
            </a:extLst>
          </p:cNvPr>
          <p:cNvSpPr txBox="1"/>
          <p:nvPr/>
        </p:nvSpPr>
        <p:spPr>
          <a:xfrm>
            <a:off x="7964059" y="3046725"/>
            <a:ext cx="549082"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Mid Cap</a:t>
            </a:r>
          </a:p>
          <a:p>
            <a:pPr algn="ctr"/>
            <a:r>
              <a:rPr lang="fr-FR" sz="700" dirty="0" smtClean="0">
                <a:solidFill>
                  <a:srgbClr val="FFFFFF"/>
                </a:solidFill>
                <a:cs typeface="Arial" panose="020B0604020202020204" pitchFamily="34" charset="0"/>
              </a:rPr>
              <a:t>0.9%</a:t>
            </a:r>
            <a:endParaRPr lang="en-US" sz="700" dirty="0">
              <a:solidFill>
                <a:srgbClr val="FFFFFF"/>
              </a:solidFill>
              <a:cs typeface="Arial" panose="020B0604020202020204" pitchFamily="34" charset="0"/>
            </a:endParaRPr>
          </a:p>
        </p:txBody>
      </p:sp>
      <p:sp>
        <p:nvSpPr>
          <p:cNvPr id="249" name="TextBox 126">
            <a:extLst>
              <a:ext uri="{FF2B5EF4-FFF2-40B4-BE49-F238E27FC236}">
                <a16:creationId xmlns:a16="http://schemas.microsoft.com/office/drawing/2014/main" xmlns="" id="{37115F89-521A-4029-AD63-BA882A66A010}"/>
              </a:ext>
            </a:extLst>
          </p:cNvPr>
          <p:cNvSpPr txBox="1"/>
          <p:nvPr/>
        </p:nvSpPr>
        <p:spPr>
          <a:xfrm>
            <a:off x="7973081" y="3624989"/>
            <a:ext cx="531038" cy="307777"/>
          </a:xfrm>
          <a:prstGeom prst="rect">
            <a:avLst/>
          </a:prstGeom>
          <a:noFill/>
        </p:spPr>
        <p:txBody>
          <a:bodyPr wrap="square" rtlCol="0">
            <a:spAutoFit/>
          </a:bodyPr>
          <a:lstStyle/>
          <a:p>
            <a:pPr algn="ctr"/>
            <a:r>
              <a:rPr lang="fr-FR" sz="700" dirty="0" err="1">
                <a:solidFill>
                  <a:srgbClr val="FFFFFF"/>
                </a:solidFill>
                <a:cs typeface="Arial" panose="020B0604020202020204" pitchFamily="34" charset="0"/>
              </a:rPr>
              <a:t>Div</a:t>
            </a:r>
            <a:r>
              <a:rPr lang="fr-FR" sz="700" dirty="0">
                <a:solidFill>
                  <a:srgbClr val="FFFFFF"/>
                </a:solidFill>
                <a:cs typeface="Arial" panose="020B0604020202020204" pitchFamily="34" charset="0"/>
              </a:rPr>
              <a:t> </a:t>
            </a:r>
            <a:endParaRPr lang="fr-FR" sz="700" dirty="0" smtClean="0">
              <a:solidFill>
                <a:srgbClr val="FFFFFF"/>
              </a:solidFill>
              <a:cs typeface="Arial" panose="020B0604020202020204" pitchFamily="34" charset="0"/>
            </a:endParaRPr>
          </a:p>
          <a:p>
            <a:pPr algn="ctr"/>
            <a:r>
              <a:rPr lang="fr-FR" sz="700" dirty="0" smtClean="0">
                <a:solidFill>
                  <a:srgbClr val="FFFFFF"/>
                </a:solidFill>
                <a:cs typeface="Arial" panose="020B0604020202020204" pitchFamily="34" charset="0"/>
              </a:rPr>
              <a:t>-4.3%</a:t>
            </a:r>
            <a:endParaRPr lang="en-US" sz="700" dirty="0">
              <a:solidFill>
                <a:srgbClr val="FFFFFF"/>
              </a:solidFill>
              <a:cs typeface="Arial" panose="020B0604020202020204" pitchFamily="34" charset="0"/>
            </a:endParaRPr>
          </a:p>
        </p:txBody>
      </p:sp>
      <p:sp>
        <p:nvSpPr>
          <p:cNvPr id="250" name="TextBox 127">
            <a:extLst>
              <a:ext uri="{FF2B5EF4-FFF2-40B4-BE49-F238E27FC236}">
                <a16:creationId xmlns:a16="http://schemas.microsoft.com/office/drawing/2014/main" xmlns="" id="{CC865406-93AD-41B4-9167-F5D979260CC6}"/>
              </a:ext>
            </a:extLst>
          </p:cNvPr>
          <p:cNvSpPr txBox="1"/>
          <p:nvPr/>
        </p:nvSpPr>
        <p:spPr>
          <a:xfrm>
            <a:off x="7986572" y="3355229"/>
            <a:ext cx="504056" cy="307777"/>
          </a:xfrm>
          <a:prstGeom prst="rect">
            <a:avLst/>
          </a:prstGeom>
          <a:noFill/>
        </p:spPr>
        <p:txBody>
          <a:bodyPr wrap="square" rtlCol="0">
            <a:spAutoFit/>
          </a:bodyPr>
          <a:lstStyle/>
          <a:p>
            <a:pPr algn="ctr"/>
            <a:r>
              <a:rPr lang="fr-FR" sz="700" dirty="0">
                <a:solidFill>
                  <a:srgbClr val="FFFFFF"/>
                </a:solidFill>
                <a:cs typeface="Arial" panose="020B0604020202020204" pitchFamily="34" charset="0"/>
              </a:rPr>
              <a:t>Value</a:t>
            </a:r>
          </a:p>
          <a:p>
            <a:pPr algn="ctr"/>
            <a:r>
              <a:rPr lang="fr-FR" sz="700" dirty="0" smtClean="0">
                <a:solidFill>
                  <a:srgbClr val="FFFFFF"/>
                </a:solidFill>
                <a:cs typeface="Arial" panose="020B0604020202020204" pitchFamily="34" charset="0"/>
              </a:rPr>
              <a:t>-0.3%</a:t>
            </a:r>
            <a:endParaRPr lang="en-US" sz="700" dirty="0">
              <a:solidFill>
                <a:srgbClr val="FFFFFF"/>
              </a:solidFill>
              <a:cs typeface="Arial" panose="020B0604020202020204" pitchFamily="34" charset="0"/>
            </a:endParaRPr>
          </a:p>
        </p:txBody>
      </p:sp>
      <p:sp>
        <p:nvSpPr>
          <p:cNvPr id="252" name="TextBox 4">
            <a:extLst>
              <a:ext uri="{FF2B5EF4-FFF2-40B4-BE49-F238E27FC236}">
                <a16:creationId xmlns:a16="http://schemas.microsoft.com/office/drawing/2014/main" xmlns="" id="{803BD4E3-3447-44F2-85C1-63AC95A7F3CE}"/>
              </a:ext>
            </a:extLst>
          </p:cNvPr>
          <p:cNvSpPr txBox="1"/>
          <p:nvPr/>
        </p:nvSpPr>
        <p:spPr>
          <a:xfrm>
            <a:off x="8049481" y="4807338"/>
            <a:ext cx="441147"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900" dirty="0" smtClean="0">
                <a:solidFill>
                  <a:schemeClr val="tx1"/>
                </a:solidFill>
              </a:rPr>
              <a:t>2017</a:t>
            </a:r>
            <a:endParaRPr lang="en-US" sz="900" dirty="0">
              <a:solidFill>
                <a:schemeClr val="tx1"/>
              </a:solidFill>
            </a:endParaRPr>
          </a:p>
        </p:txBody>
      </p:sp>
      <p:sp>
        <p:nvSpPr>
          <p:cNvPr id="2" name="Espace réservé du pied de page 1"/>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137994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54952CB2-3F13-4425-A5AF-B62B0C1F698F}"/>
              </a:ext>
            </a:extLst>
          </p:cNvPr>
          <p:cNvSpPr>
            <a:spLocks noGrp="1"/>
          </p:cNvSpPr>
          <p:nvPr>
            <p:ph type="title"/>
          </p:nvPr>
        </p:nvSpPr>
        <p:spPr/>
        <p:txBody>
          <a:bodyPr/>
          <a:lstStyle/>
          <a:p>
            <a:r>
              <a:rPr lang="en-US" dirty="0"/>
              <a:t>Factor Investing to harvest </a:t>
            </a:r>
            <a:r>
              <a:rPr lang="en-US" dirty="0">
                <a:solidFill>
                  <a:schemeClr val="accent1"/>
                </a:solidFill>
              </a:rPr>
              <a:t>uncorrelated risk factors</a:t>
            </a:r>
            <a:endParaRPr lang="fr-FR" dirty="0">
              <a:solidFill>
                <a:schemeClr val="accent1"/>
              </a:solidFill>
            </a:endParaRPr>
          </a:p>
        </p:txBody>
      </p:sp>
      <p:sp>
        <p:nvSpPr>
          <p:cNvPr id="7" name="Espace réservé du texte 6">
            <a:extLst>
              <a:ext uri="{FF2B5EF4-FFF2-40B4-BE49-F238E27FC236}">
                <a16:creationId xmlns="" xmlns:a16="http://schemas.microsoft.com/office/drawing/2014/main" id="{7D033227-C93D-47E5-9F24-D5B92F0D1EAF}"/>
              </a:ext>
            </a:extLst>
          </p:cNvPr>
          <p:cNvSpPr>
            <a:spLocks noGrp="1"/>
          </p:cNvSpPr>
          <p:nvPr>
            <p:ph type="body" sz="quarter" idx="14"/>
          </p:nvPr>
        </p:nvSpPr>
        <p:spPr>
          <a:xfrm>
            <a:off x="540000" y="5461200"/>
            <a:ext cx="8064248" cy="612000"/>
          </a:xfrm>
        </p:spPr>
        <p:txBody>
          <a:bodyPr/>
          <a:lstStyle/>
          <a:p>
            <a:pPr algn="l"/>
            <a:r>
              <a:rPr lang="en-US" dirty="0"/>
              <a:t>Source: MSCI, Amundi as of </a:t>
            </a:r>
            <a:r>
              <a:rPr lang="en-US" dirty="0" smtClean="0"/>
              <a:t>December 2017, net total returns in USD.</a:t>
            </a:r>
            <a:endParaRPr lang="en-US" dirty="0"/>
          </a:p>
        </p:txBody>
      </p:sp>
      <p:sp>
        <p:nvSpPr>
          <p:cNvPr id="9" name="TextBox 4">
            <a:extLst>
              <a:ext uri="{FF2B5EF4-FFF2-40B4-BE49-F238E27FC236}">
                <a16:creationId xmlns="" xmlns:a16="http://schemas.microsoft.com/office/drawing/2014/main" id="{8A926D0B-C31B-4F49-8B4E-0D064F4643FB}"/>
              </a:ext>
            </a:extLst>
          </p:cNvPr>
          <p:cNvSpPr txBox="1"/>
          <p:nvPr/>
        </p:nvSpPr>
        <p:spPr>
          <a:xfrm>
            <a:off x="539999" y="1651197"/>
            <a:ext cx="4489199" cy="3077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t>Correlations of excess return – Global </a:t>
            </a:r>
            <a:r>
              <a:rPr lang="en-US" sz="1400" dirty="0" smtClean="0"/>
              <a:t>2002-2017</a:t>
            </a:r>
            <a:endParaRPr lang="en-US" dirty="0"/>
          </a:p>
        </p:txBody>
      </p:sp>
      <p:graphicFrame>
        <p:nvGraphicFramePr>
          <p:cNvPr id="22" name="Table 15">
            <a:extLst>
              <a:ext uri="{FF2B5EF4-FFF2-40B4-BE49-F238E27FC236}">
                <a16:creationId xmlns="" xmlns:a16="http://schemas.microsoft.com/office/drawing/2014/main" id="{5CFF998D-2A7B-4968-B1D9-F45076F23FAD}"/>
              </a:ext>
            </a:extLst>
          </p:cNvPr>
          <p:cNvGraphicFramePr>
            <a:graphicFrameLocks noGrp="1"/>
          </p:cNvGraphicFramePr>
          <p:nvPr>
            <p:extLst>
              <p:ext uri="{D42A27DB-BD31-4B8C-83A1-F6EECF244321}">
                <p14:modId xmlns:p14="http://schemas.microsoft.com/office/powerpoint/2010/main" val="2171568302"/>
              </p:ext>
            </p:extLst>
          </p:nvPr>
        </p:nvGraphicFramePr>
        <p:xfrm>
          <a:off x="540000" y="1945871"/>
          <a:ext cx="4489199" cy="3383776"/>
        </p:xfrm>
        <a:graphic>
          <a:graphicData uri="http://schemas.openxmlformats.org/drawingml/2006/table">
            <a:tbl>
              <a:tblPr>
                <a:tableStyleId>{C083E6E3-FA7D-4D7B-A595-EF9225AFEA82}</a:tableStyleId>
              </a:tblPr>
              <a:tblGrid>
                <a:gridCol w="923058">
                  <a:extLst>
                    <a:ext uri="{9D8B030D-6E8A-4147-A177-3AD203B41FA5}">
                      <a16:colId xmlns="" xmlns:a16="http://schemas.microsoft.com/office/drawing/2014/main" val="20000"/>
                    </a:ext>
                  </a:extLst>
                </a:gridCol>
                <a:gridCol w="679617">
                  <a:extLst>
                    <a:ext uri="{9D8B030D-6E8A-4147-A177-3AD203B41FA5}">
                      <a16:colId xmlns="" xmlns:a16="http://schemas.microsoft.com/office/drawing/2014/main" val="20001"/>
                    </a:ext>
                  </a:extLst>
                </a:gridCol>
                <a:gridCol w="745492">
                  <a:extLst>
                    <a:ext uri="{9D8B030D-6E8A-4147-A177-3AD203B41FA5}">
                      <a16:colId xmlns="" xmlns:a16="http://schemas.microsoft.com/office/drawing/2014/main" val="20002"/>
                    </a:ext>
                  </a:extLst>
                </a:gridCol>
                <a:gridCol w="930854">
                  <a:extLst>
                    <a:ext uri="{9D8B030D-6E8A-4147-A177-3AD203B41FA5}">
                      <a16:colId xmlns="" xmlns:a16="http://schemas.microsoft.com/office/drawing/2014/main" val="20003"/>
                    </a:ext>
                  </a:extLst>
                </a:gridCol>
                <a:gridCol w="593291">
                  <a:extLst>
                    <a:ext uri="{9D8B030D-6E8A-4147-A177-3AD203B41FA5}">
                      <a16:colId xmlns="" xmlns:a16="http://schemas.microsoft.com/office/drawing/2014/main" val="20004"/>
                    </a:ext>
                  </a:extLst>
                </a:gridCol>
                <a:gridCol w="616887">
                  <a:extLst>
                    <a:ext uri="{9D8B030D-6E8A-4147-A177-3AD203B41FA5}">
                      <a16:colId xmlns="" xmlns:a16="http://schemas.microsoft.com/office/drawing/2014/main" val="20005"/>
                    </a:ext>
                  </a:extLst>
                </a:gridCol>
              </a:tblGrid>
              <a:tr h="744116">
                <a:tc>
                  <a:txBody>
                    <a:bodyPr/>
                    <a:lstStyle/>
                    <a:p>
                      <a:pPr marL="0" algn="ctr" defTabSz="914400" rtl="0" eaLnBrk="1" fontAlgn="b" latinLnBrk="0" hangingPunct="1"/>
                      <a:endParaRPr lang="fr-FR" sz="1200" b="1" i="0" u="none" strike="noStrike" kern="1200" dirty="0">
                        <a:solidFill>
                          <a:schemeClr val="bg1"/>
                        </a:solidFill>
                        <a:effectLst/>
                        <a:latin typeface="Arial"/>
                        <a:ea typeface="+mn-ea"/>
                        <a:cs typeface="+mn-cs"/>
                      </a:endParaRPr>
                    </a:p>
                  </a:txBody>
                  <a:tcPr marL="0" marR="0" marT="0" marB="0" anchor="b">
                    <a:lnL w="0" cap="flat" cmpd="sng" algn="ctr">
                      <a:solidFill>
                        <a:schemeClr val="tx1">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914400" rtl="0" eaLnBrk="1" fontAlgn="b" latinLnBrk="0" hangingPunct="1"/>
                      <a:r>
                        <a:rPr lang="fr-FR" sz="1200" b="1" i="0" u="none" strike="noStrike" kern="1200" dirty="0" err="1">
                          <a:solidFill>
                            <a:schemeClr val="bg1"/>
                          </a:solidFill>
                          <a:effectLst/>
                          <a:latin typeface="Arial"/>
                          <a:ea typeface="+mn-ea"/>
                          <a:cs typeface="+mn-cs"/>
                        </a:rPr>
                        <a:t>Mid</a:t>
                      </a:r>
                      <a:r>
                        <a:rPr lang="fr-FR" sz="1200" b="1" i="0" u="none" strike="noStrike" kern="1200" dirty="0">
                          <a:solidFill>
                            <a:schemeClr val="bg1"/>
                          </a:solidFill>
                          <a:effectLst/>
                          <a:latin typeface="Arial"/>
                          <a:ea typeface="+mn-ea"/>
                          <a:cs typeface="+mn-cs"/>
                        </a:rPr>
                        <a:t> Cap</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914400" rtl="0" eaLnBrk="1" fontAlgn="b" latinLnBrk="0" hangingPunct="1"/>
                      <a:r>
                        <a:rPr lang="fr-FR" sz="1200" b="1" i="0" u="none" strike="noStrike" kern="1200" dirty="0">
                          <a:solidFill>
                            <a:schemeClr val="bg1"/>
                          </a:solidFill>
                          <a:effectLst/>
                          <a:latin typeface="Arial"/>
                          <a:ea typeface="+mn-ea"/>
                          <a:cs typeface="+mn-cs"/>
                        </a:rPr>
                        <a:t>Minimum </a:t>
                      </a:r>
                      <a:r>
                        <a:rPr lang="fr-FR" sz="1200" b="1" i="0" u="none" strike="noStrike" kern="1200" dirty="0" err="1">
                          <a:solidFill>
                            <a:schemeClr val="bg1"/>
                          </a:solidFill>
                          <a:effectLst/>
                          <a:latin typeface="Arial"/>
                          <a:ea typeface="+mn-ea"/>
                          <a:cs typeface="+mn-cs"/>
                        </a:rPr>
                        <a:t>Volatility</a:t>
                      </a:r>
                      <a:endParaRPr lang="fr-FR" sz="1200" b="1" i="0" u="none" strike="noStrike" kern="1200" dirty="0">
                        <a:solidFill>
                          <a:schemeClr val="bg1"/>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914400" rtl="0" eaLnBrk="1" fontAlgn="b" latinLnBrk="0" hangingPunct="1"/>
                      <a:r>
                        <a:rPr lang="fr-FR" sz="1200" b="1" i="0" u="none" strike="noStrike" kern="1200" dirty="0" err="1">
                          <a:solidFill>
                            <a:schemeClr val="bg1"/>
                          </a:solidFill>
                          <a:effectLst/>
                          <a:latin typeface="Arial"/>
                          <a:ea typeface="+mn-ea"/>
                          <a:cs typeface="+mn-cs"/>
                        </a:rPr>
                        <a:t>Momentum</a:t>
                      </a:r>
                      <a:endParaRPr lang="fr-FR" sz="1200" b="1" i="0" u="none" strike="noStrike" kern="1200" dirty="0">
                        <a:solidFill>
                          <a:schemeClr val="bg1"/>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914400" rtl="0" eaLnBrk="1" fontAlgn="b" latinLnBrk="0" hangingPunct="1"/>
                      <a:r>
                        <a:rPr lang="fr-FR" sz="1200" b="1" i="0" u="none" strike="noStrike" kern="1200" dirty="0" err="1">
                          <a:solidFill>
                            <a:schemeClr val="bg1"/>
                          </a:solidFill>
                          <a:effectLst/>
                          <a:latin typeface="Arial"/>
                          <a:ea typeface="+mn-ea"/>
                          <a:cs typeface="+mn-cs"/>
                        </a:rPr>
                        <a:t>Quality</a:t>
                      </a:r>
                      <a:endParaRPr lang="fr-FR" sz="1200" b="1" i="0" u="none" strike="noStrike" kern="1200" dirty="0">
                        <a:solidFill>
                          <a:schemeClr val="bg1"/>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914400" rtl="0" eaLnBrk="1" fontAlgn="b" latinLnBrk="0" hangingPunct="1"/>
                      <a:r>
                        <a:rPr lang="fr-FR" sz="1200" b="1" i="0" u="none" strike="noStrike" kern="1200" dirty="0">
                          <a:solidFill>
                            <a:schemeClr val="bg1"/>
                          </a:solidFill>
                          <a:effectLst/>
                          <a:latin typeface="Arial"/>
                          <a:ea typeface="+mn-ea"/>
                          <a:cs typeface="+mn-cs"/>
                        </a:rPr>
                        <a:t>Value</a:t>
                      </a:r>
                    </a:p>
                  </a:txBody>
                  <a:tcPr marL="0" marR="0" marT="0" marB="0" anchor="ctr">
                    <a:lnL w="12700" cap="flat" cmpd="sng" algn="ctr">
                      <a:solidFill>
                        <a:schemeClr val="bg1"/>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 xmlns:a16="http://schemas.microsoft.com/office/drawing/2014/main" val="10000"/>
                  </a:ext>
                </a:extLst>
              </a:tr>
              <a:tr h="527932">
                <a:tc>
                  <a:txBody>
                    <a:bodyPr/>
                    <a:lstStyle/>
                    <a:p>
                      <a:pPr marL="0" algn="l" defTabSz="914400" rtl="0" eaLnBrk="1" fontAlgn="b" latinLnBrk="0" hangingPunct="1"/>
                      <a:r>
                        <a:rPr lang="fr-FR" sz="1100" b="1" i="0" u="none" strike="noStrike" kern="1200" dirty="0" err="1">
                          <a:solidFill>
                            <a:schemeClr val="tx1"/>
                          </a:solidFill>
                          <a:effectLst/>
                          <a:latin typeface="Arial"/>
                          <a:ea typeface="+mn-ea"/>
                          <a:cs typeface="+mn-cs"/>
                        </a:rPr>
                        <a:t>Mid</a:t>
                      </a:r>
                      <a:r>
                        <a:rPr lang="fr-FR" sz="1100" b="1" i="0" u="none" strike="noStrike" kern="1200" dirty="0">
                          <a:solidFill>
                            <a:schemeClr val="tx1"/>
                          </a:solidFill>
                          <a:effectLst/>
                          <a:latin typeface="Arial"/>
                          <a:ea typeface="+mn-ea"/>
                          <a:cs typeface="+mn-cs"/>
                        </a:rPr>
                        <a:t> Cap</a:t>
                      </a:r>
                    </a:p>
                  </a:txBody>
                  <a:tcPr marL="0" marR="0" marT="0" marB="0" anchor="ctr">
                    <a:lnL w="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fr-FR" sz="1200" b="0" i="0" u="none" strike="noStrike" kern="1200" dirty="0" smtClean="0">
                          <a:solidFill>
                            <a:srgbClr val="001C4B"/>
                          </a:solidFill>
                          <a:effectLst/>
                          <a:latin typeface="Arial"/>
                          <a:ea typeface="+mn-ea"/>
                          <a:cs typeface="+mn-cs"/>
                        </a:rPr>
                        <a:t>100%</a:t>
                      </a:r>
                      <a:endParaRPr lang="fr-FR" sz="1200" b="0" i="0" u="none" strike="noStrike" kern="1200" dirty="0">
                        <a:solidFill>
                          <a:srgbClr val="001C4B"/>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endParaRPr lang="fr-FR" sz="1200" b="0" i="0" u="none" strike="noStrike" kern="1200" dirty="0">
                        <a:solidFill>
                          <a:srgbClr val="001C4B"/>
                        </a:solidFill>
                        <a:effectLst/>
                        <a:latin typeface="Arial"/>
                        <a:ea typeface="+mn-ea"/>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endParaRPr lang="fr-FR" sz="1200" b="0" i="0" u="none" strike="noStrike" kern="1200">
                        <a:solidFill>
                          <a:srgbClr val="001C4B"/>
                        </a:solidFill>
                        <a:effectLst/>
                        <a:latin typeface="Arial"/>
                        <a:ea typeface="+mn-ea"/>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endParaRPr lang="fr-FR" sz="1200" b="0" i="0" u="none" strike="noStrike" kern="1200">
                        <a:solidFill>
                          <a:srgbClr val="001C4B"/>
                        </a:solidFill>
                        <a:effectLst/>
                        <a:latin typeface="Arial"/>
                        <a:ea typeface="+mn-ea"/>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endParaRPr lang="fr-FR" sz="1200" b="0" i="0" u="none" strike="noStrike" kern="1200">
                        <a:solidFill>
                          <a:srgbClr val="001C4B"/>
                        </a:solidFill>
                        <a:effectLst/>
                        <a:latin typeface="Arial"/>
                        <a:ea typeface="+mn-ea"/>
                        <a:cs typeface="+mn-cs"/>
                      </a:endParaRPr>
                    </a:p>
                  </a:txBody>
                  <a:tcPr marL="0" marR="0" marT="0" marB="0" anchor="b">
                    <a:lnL w="12700" cap="flat" cmpd="sng" algn="ctr">
                      <a:solidFill>
                        <a:schemeClr val="bg1"/>
                      </a:solid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01"/>
                  </a:ext>
                </a:extLst>
              </a:tr>
              <a:tr h="527932">
                <a:tc>
                  <a:txBody>
                    <a:bodyPr/>
                    <a:lstStyle/>
                    <a:p>
                      <a:pPr marL="0" algn="l" defTabSz="914400" rtl="0" eaLnBrk="1" fontAlgn="b" latinLnBrk="0" hangingPunct="1"/>
                      <a:r>
                        <a:rPr lang="fr-FR" sz="1100" b="1" i="0" u="none" strike="noStrike" kern="1200" dirty="0">
                          <a:solidFill>
                            <a:schemeClr val="tx1"/>
                          </a:solidFill>
                          <a:effectLst/>
                          <a:latin typeface="Arial"/>
                          <a:ea typeface="+mn-ea"/>
                          <a:cs typeface="+mn-cs"/>
                        </a:rPr>
                        <a:t>Minimum </a:t>
                      </a:r>
                      <a:r>
                        <a:rPr lang="fr-FR" sz="1100" b="1" i="0" u="none" strike="noStrike" kern="1200" dirty="0" err="1">
                          <a:solidFill>
                            <a:schemeClr val="tx1"/>
                          </a:solidFill>
                          <a:effectLst/>
                          <a:latin typeface="Arial"/>
                          <a:ea typeface="+mn-ea"/>
                          <a:cs typeface="+mn-cs"/>
                        </a:rPr>
                        <a:t>Volatility</a:t>
                      </a:r>
                      <a:endParaRPr lang="fr-FR" sz="1100" b="1" i="0" u="none" strike="noStrike" kern="1200" dirty="0">
                        <a:solidFill>
                          <a:schemeClr val="tx1"/>
                        </a:solidFill>
                        <a:effectLst/>
                        <a:latin typeface="Arial"/>
                        <a:ea typeface="+mn-ea"/>
                        <a:cs typeface="+mn-cs"/>
                      </a:endParaRPr>
                    </a:p>
                  </a:txBody>
                  <a:tcPr marL="0" marR="0" marT="0" marB="0" anchor="ctr">
                    <a:lnL w="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fr-FR" sz="1200" b="0" i="0" u="none" strike="noStrike" kern="1200" dirty="0">
                          <a:solidFill>
                            <a:srgbClr val="001C4B"/>
                          </a:solidFill>
                          <a:effectLst/>
                          <a:latin typeface="Arial"/>
                          <a:ea typeface="+mn-ea"/>
                          <a:cs typeface="+mn-cs"/>
                        </a:rPr>
                        <a:t>-19.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fr-FR" sz="1200" b="0" i="0" u="none" strike="noStrike" kern="1200" dirty="0" smtClean="0">
                          <a:solidFill>
                            <a:srgbClr val="001C4B"/>
                          </a:solidFill>
                          <a:effectLst/>
                          <a:latin typeface="Arial"/>
                          <a:ea typeface="+mn-ea"/>
                          <a:cs typeface="+mn-cs"/>
                        </a:rPr>
                        <a:t>100%</a:t>
                      </a:r>
                      <a:endParaRPr lang="fr-FR" sz="1200" b="0" i="0" u="none" strike="noStrike" kern="1200" dirty="0">
                        <a:solidFill>
                          <a:srgbClr val="001C4B"/>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endParaRPr lang="fr-FR" sz="1200" b="0" i="0" u="none" strike="noStrike" kern="1200" dirty="0">
                        <a:solidFill>
                          <a:srgbClr val="001C4B"/>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endParaRPr lang="fr-FR" sz="1200" b="0" i="0" u="none" strike="noStrike" kern="1200">
                        <a:solidFill>
                          <a:srgbClr val="001C4B"/>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b"/>
                      <a:endParaRPr lang="fr-FR" sz="1200" b="0" i="0" u="none" strike="noStrike" kern="1200" dirty="0">
                        <a:solidFill>
                          <a:srgbClr val="001C4B"/>
                        </a:solidFill>
                        <a:effectLst/>
                        <a:latin typeface="Arial"/>
                        <a:ea typeface="+mn-ea"/>
                        <a:cs typeface="+mn-cs"/>
                      </a:endParaRPr>
                    </a:p>
                  </a:txBody>
                  <a:tcPr marL="0" marR="0" marT="0" marB="0" anchor="b">
                    <a:lnL w="12700" cap="flat" cmpd="sng" algn="ctr">
                      <a:solidFill>
                        <a:schemeClr val="bg1"/>
                      </a:solid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2"/>
                  </a:ext>
                </a:extLst>
              </a:tr>
              <a:tr h="527932">
                <a:tc>
                  <a:txBody>
                    <a:bodyPr/>
                    <a:lstStyle/>
                    <a:p>
                      <a:pPr marL="0" algn="l" defTabSz="914400" rtl="0" eaLnBrk="1" fontAlgn="b" latinLnBrk="0" hangingPunct="1"/>
                      <a:r>
                        <a:rPr lang="fr-FR" sz="1100" b="1" i="0" u="none" strike="noStrike" kern="1200" dirty="0" err="1">
                          <a:solidFill>
                            <a:schemeClr val="tx1"/>
                          </a:solidFill>
                          <a:effectLst/>
                          <a:latin typeface="Arial"/>
                          <a:ea typeface="+mn-ea"/>
                          <a:cs typeface="+mn-cs"/>
                        </a:rPr>
                        <a:t>Momentum</a:t>
                      </a:r>
                      <a:endParaRPr lang="fr-FR" sz="1100" b="1" i="0" u="none" strike="noStrike" kern="1200" dirty="0">
                        <a:solidFill>
                          <a:schemeClr val="tx1"/>
                        </a:solidFill>
                        <a:effectLst/>
                        <a:latin typeface="Arial"/>
                        <a:ea typeface="+mn-ea"/>
                        <a:cs typeface="+mn-cs"/>
                      </a:endParaRPr>
                    </a:p>
                  </a:txBody>
                  <a:tcPr marL="0" marR="0" marT="0" marB="0" anchor="ctr">
                    <a:lnL w="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fr-FR" sz="1200" b="0" i="0" u="none" strike="noStrike" kern="1200">
                          <a:solidFill>
                            <a:srgbClr val="001C4B"/>
                          </a:solidFill>
                          <a:effectLst/>
                          <a:latin typeface="Arial"/>
                          <a:ea typeface="+mn-ea"/>
                          <a:cs typeface="+mn-cs"/>
                        </a:rPr>
                        <a:t>16.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fr-FR" sz="1200" b="0" i="0" u="none" strike="noStrike" kern="1200" dirty="0">
                          <a:solidFill>
                            <a:srgbClr val="001C4B"/>
                          </a:solidFill>
                          <a:effectLst/>
                          <a:latin typeface="Arial"/>
                          <a:ea typeface="+mn-ea"/>
                          <a:cs typeface="+mn-cs"/>
                        </a:rPr>
                        <a:t>31.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fr-FR" sz="1200" b="0" i="0" u="none" strike="noStrike" kern="1200" dirty="0" smtClean="0">
                          <a:solidFill>
                            <a:srgbClr val="001C4B"/>
                          </a:solidFill>
                          <a:effectLst/>
                          <a:latin typeface="Arial"/>
                          <a:ea typeface="+mn-ea"/>
                          <a:cs typeface="+mn-cs"/>
                        </a:rPr>
                        <a:t>100%</a:t>
                      </a:r>
                      <a:endParaRPr lang="fr-FR" sz="1200" b="0" i="0" u="none" strike="noStrike" kern="1200" dirty="0">
                        <a:solidFill>
                          <a:srgbClr val="001C4B"/>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endParaRPr lang="fr-FR" sz="1200" b="0" i="0" u="none" strike="noStrike" kern="1200" dirty="0">
                        <a:solidFill>
                          <a:srgbClr val="001C4B"/>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endParaRPr lang="fr-FR" sz="1200" b="0" i="0" u="none" strike="noStrike" kern="1200" dirty="0">
                        <a:solidFill>
                          <a:srgbClr val="001C4B"/>
                        </a:solidFill>
                        <a:effectLst/>
                        <a:latin typeface="Arial"/>
                        <a:ea typeface="+mn-ea"/>
                        <a:cs typeface="+mn-cs"/>
                      </a:endParaRPr>
                    </a:p>
                  </a:txBody>
                  <a:tcPr marL="0" marR="0" marT="0" marB="0" anchor="b">
                    <a:lnL w="12700" cap="flat" cmpd="sng" algn="ctr">
                      <a:solidFill>
                        <a:schemeClr val="bg1"/>
                      </a:solid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03"/>
                  </a:ext>
                </a:extLst>
              </a:tr>
              <a:tr h="527932">
                <a:tc>
                  <a:txBody>
                    <a:bodyPr/>
                    <a:lstStyle/>
                    <a:p>
                      <a:pPr marL="0" algn="l" defTabSz="914400" rtl="0" eaLnBrk="1" fontAlgn="b" latinLnBrk="0" hangingPunct="1"/>
                      <a:r>
                        <a:rPr lang="fr-FR" sz="1100" b="1" i="0" u="none" strike="noStrike" kern="1200" dirty="0" err="1">
                          <a:solidFill>
                            <a:schemeClr val="tx1"/>
                          </a:solidFill>
                          <a:effectLst/>
                          <a:latin typeface="Arial"/>
                          <a:ea typeface="+mn-ea"/>
                          <a:cs typeface="+mn-cs"/>
                        </a:rPr>
                        <a:t>Quality</a:t>
                      </a:r>
                      <a:endParaRPr lang="fr-FR" sz="1100" b="1" i="0" u="none" strike="noStrike" kern="1200" dirty="0">
                        <a:solidFill>
                          <a:schemeClr val="tx1"/>
                        </a:solidFill>
                        <a:effectLst/>
                        <a:latin typeface="Arial"/>
                        <a:ea typeface="+mn-ea"/>
                        <a:cs typeface="+mn-cs"/>
                      </a:endParaRPr>
                    </a:p>
                  </a:txBody>
                  <a:tcPr marL="0" marR="0" marT="0" marB="0" anchor="ctr">
                    <a:lnL w="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fr-FR" sz="1200" b="0" i="0" u="none" strike="noStrike" kern="1200">
                          <a:solidFill>
                            <a:srgbClr val="001C4B"/>
                          </a:solidFill>
                          <a:effectLst/>
                          <a:latin typeface="Arial"/>
                          <a:ea typeface="+mn-ea"/>
                          <a:cs typeface="+mn-cs"/>
                        </a:rPr>
                        <a:t>-30.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fr-FR" sz="1200" b="0" i="0" u="none" strike="noStrike" kern="1200" dirty="0">
                          <a:solidFill>
                            <a:srgbClr val="001C4B"/>
                          </a:solidFill>
                          <a:effectLst/>
                          <a:latin typeface="Arial"/>
                          <a:ea typeface="+mn-ea"/>
                          <a:cs typeface="+mn-cs"/>
                        </a:rPr>
                        <a:t>39.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fr-FR" sz="1200" b="0" i="0" u="none" strike="noStrike" kern="1200" dirty="0">
                          <a:solidFill>
                            <a:srgbClr val="001C4B"/>
                          </a:solidFill>
                          <a:effectLst/>
                          <a:latin typeface="Arial"/>
                          <a:ea typeface="+mn-ea"/>
                          <a:cs typeface="+mn-cs"/>
                        </a:rPr>
                        <a:t>3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fr-FR" sz="1200" b="0" i="0" u="none" strike="noStrike" kern="1200" dirty="0" smtClean="0">
                          <a:solidFill>
                            <a:srgbClr val="001C4B"/>
                          </a:solidFill>
                          <a:effectLst/>
                          <a:latin typeface="Arial"/>
                          <a:ea typeface="+mn-ea"/>
                          <a:cs typeface="+mn-cs"/>
                        </a:rPr>
                        <a:t>100%</a:t>
                      </a:r>
                      <a:endParaRPr lang="fr-FR" sz="1200" b="0" i="0" u="none" strike="noStrike" kern="1200" dirty="0">
                        <a:solidFill>
                          <a:srgbClr val="001C4B"/>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b"/>
                      <a:endParaRPr lang="fr-FR" sz="1200" b="0" i="0" u="none" strike="noStrike" kern="1200" dirty="0">
                        <a:solidFill>
                          <a:srgbClr val="001C4B"/>
                        </a:solidFill>
                        <a:effectLst/>
                        <a:latin typeface="Arial"/>
                        <a:ea typeface="+mn-ea"/>
                        <a:cs typeface="+mn-cs"/>
                      </a:endParaRPr>
                    </a:p>
                  </a:txBody>
                  <a:tcPr marL="0" marR="0" marT="0" marB="0" anchor="b">
                    <a:lnL w="12700" cap="flat" cmpd="sng" algn="ctr">
                      <a:solidFill>
                        <a:schemeClr val="bg1"/>
                      </a:solid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4"/>
                  </a:ext>
                </a:extLst>
              </a:tr>
              <a:tr h="527932">
                <a:tc>
                  <a:txBody>
                    <a:bodyPr/>
                    <a:lstStyle/>
                    <a:p>
                      <a:pPr marL="0" algn="l" defTabSz="914400" rtl="0" eaLnBrk="1" fontAlgn="b" latinLnBrk="0" hangingPunct="1"/>
                      <a:r>
                        <a:rPr lang="fr-FR" sz="1100" b="1" i="0" u="none" strike="noStrike" kern="1200" dirty="0">
                          <a:solidFill>
                            <a:schemeClr val="tx1"/>
                          </a:solidFill>
                          <a:effectLst/>
                          <a:latin typeface="Arial"/>
                          <a:ea typeface="+mn-ea"/>
                          <a:cs typeface="+mn-cs"/>
                        </a:rPr>
                        <a:t>Value</a:t>
                      </a:r>
                    </a:p>
                  </a:txBody>
                  <a:tcPr marL="0" marR="0" marT="0" marB="0" anchor="ctr">
                    <a:lnL w="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fr-FR" sz="1200" b="0" i="0" u="none" strike="noStrike" kern="1200">
                          <a:solidFill>
                            <a:srgbClr val="001C4B"/>
                          </a:solidFill>
                          <a:effectLst/>
                          <a:latin typeface="Arial"/>
                          <a:ea typeface="+mn-ea"/>
                          <a:cs typeface="+mn-cs"/>
                        </a:rPr>
                        <a:t>28.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fr-FR" sz="1200" b="0" i="0" u="none" strike="noStrike" kern="1200" dirty="0">
                          <a:solidFill>
                            <a:srgbClr val="001C4B"/>
                          </a:solidFill>
                          <a:effectLst/>
                          <a:latin typeface="Arial"/>
                          <a:ea typeface="+mn-ea"/>
                          <a:cs typeface="+mn-cs"/>
                        </a:rPr>
                        <a:t>-35.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fr-FR" sz="1200" b="0" i="0" u="none" strike="noStrike" kern="1200" dirty="0">
                          <a:solidFill>
                            <a:srgbClr val="001C4B"/>
                          </a:solidFill>
                          <a:effectLst/>
                          <a:latin typeface="Arial"/>
                          <a:ea typeface="+mn-ea"/>
                          <a:cs typeface="+mn-cs"/>
                        </a:rPr>
                        <a:t>-2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fr-FR" sz="1200" b="0" i="0" u="none" strike="noStrike" kern="1200" dirty="0">
                          <a:solidFill>
                            <a:srgbClr val="001C4B"/>
                          </a:solidFill>
                          <a:effectLst/>
                          <a:latin typeface="Arial"/>
                          <a:ea typeface="+mn-ea"/>
                          <a:cs typeface="+mn-cs"/>
                        </a:rPr>
                        <a:t>-53.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fr-FR" sz="1200" b="0" i="0" u="none" strike="noStrike" kern="1200" dirty="0" smtClean="0">
                          <a:solidFill>
                            <a:srgbClr val="001C4B"/>
                          </a:solidFill>
                          <a:effectLst/>
                          <a:latin typeface="Arial"/>
                          <a:ea typeface="+mn-ea"/>
                          <a:cs typeface="+mn-cs"/>
                        </a:rPr>
                        <a:t>100%</a:t>
                      </a:r>
                      <a:endParaRPr lang="fr-FR" sz="1200" b="0" i="0" u="none" strike="noStrike" kern="1200" dirty="0">
                        <a:solidFill>
                          <a:srgbClr val="001C4B"/>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05"/>
                  </a:ext>
                </a:extLst>
              </a:tr>
            </a:tbl>
          </a:graphicData>
        </a:graphic>
      </p:graphicFrame>
      <p:sp>
        <p:nvSpPr>
          <p:cNvPr id="27" name="Espace réservé du numéro de diapositive 4">
            <a:extLst>
              <a:ext uri="{FF2B5EF4-FFF2-40B4-BE49-F238E27FC236}">
                <a16:creationId xmlns="" xmlns:a16="http://schemas.microsoft.com/office/drawing/2014/main" id="{350A5822-39B4-4B2C-BDA1-95FEAC17882E}"/>
              </a:ext>
            </a:extLst>
          </p:cNvPr>
          <p:cNvSpPr>
            <a:spLocks noGrp="1"/>
          </p:cNvSpPr>
          <p:nvPr>
            <p:ph type="sldNum" sz="quarter" idx="12"/>
          </p:nvPr>
        </p:nvSpPr>
        <p:spPr>
          <a:xfrm>
            <a:off x="540000" y="6480000"/>
            <a:ext cx="180000" cy="180000"/>
          </a:xfrm>
        </p:spPr>
        <p:txBody>
          <a:bodyPr/>
          <a:lstStyle/>
          <a:p>
            <a:fld id="{2B1C6FFC-D040-034F-8B69-20295064E64D}" type="slidenum">
              <a:rPr lang="fr-FR" smtClean="0"/>
              <a:t>36</a:t>
            </a:fld>
            <a:endParaRPr lang="fr-FR" dirty="0"/>
          </a:p>
        </p:txBody>
      </p:sp>
      <p:sp>
        <p:nvSpPr>
          <p:cNvPr id="28"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3" name="TextBox 2"/>
          <p:cNvSpPr txBox="1"/>
          <p:nvPr/>
        </p:nvSpPr>
        <p:spPr>
          <a:xfrm>
            <a:off x="5238206" y="1674280"/>
            <a:ext cx="3461657" cy="3970318"/>
          </a:xfrm>
          <a:prstGeom prst="rect">
            <a:avLst/>
          </a:prstGeom>
          <a:noFill/>
        </p:spPr>
        <p:txBody>
          <a:bodyPr wrap="square" rtlCol="0">
            <a:spAutoFit/>
          </a:bodyPr>
          <a:lstStyle/>
          <a:p>
            <a:pPr marL="285750" indent="-285750">
              <a:buFont typeface="Arial" panose="020B0604020202020204" pitchFamily="34" charset="0"/>
              <a:buChar char="•"/>
            </a:pPr>
            <a:r>
              <a:rPr lang="en-GB" dirty="0" smtClean="0"/>
              <a:t>Rewarded factors tend to be uncorrelated with one another</a:t>
            </a:r>
          </a:p>
          <a:p>
            <a:pPr marL="285750" indent="-285750">
              <a:buFont typeface="Arial" panose="020B0604020202020204" pitchFamily="34" charset="0"/>
              <a:buChar char="•"/>
            </a:pPr>
            <a:endParaRPr lang="en-GB" dirty="0" smtClean="0"/>
          </a:p>
          <a:p>
            <a:pPr marL="285750" indent="-285750">
              <a:buFont typeface="Arial" panose="020B0604020202020204" pitchFamily="34" charset="0"/>
              <a:buChar char="•"/>
            </a:pPr>
            <a:r>
              <a:rPr lang="en-GB" dirty="0" smtClean="0"/>
              <a:t>In particular, factors such as Value and Momentum offers attractive diversification opportunities</a:t>
            </a:r>
          </a:p>
          <a:p>
            <a:pPr marL="285750" indent="-285750">
              <a:buFont typeface="Arial" panose="020B0604020202020204" pitchFamily="34" charset="0"/>
              <a:buChar char="•"/>
            </a:pPr>
            <a:endParaRPr lang="en-GB" dirty="0" smtClean="0"/>
          </a:p>
          <a:p>
            <a:pPr marL="285750" indent="-285750">
              <a:buFont typeface="Arial" panose="020B0604020202020204" pitchFamily="34" charset="0"/>
              <a:buChar char="•"/>
            </a:pPr>
            <a:r>
              <a:rPr lang="en-GB" dirty="0" smtClean="0"/>
              <a:t>Factors Investors should consider diversified investment to rewarded factors to benefit from diversification</a:t>
            </a:r>
            <a:endParaRPr lang="en-GB" dirty="0"/>
          </a:p>
        </p:txBody>
      </p:sp>
    </p:spTree>
    <p:extLst>
      <p:ext uri="{BB962C8B-B14F-4D97-AF65-F5344CB8AC3E}">
        <p14:creationId xmlns:p14="http://schemas.microsoft.com/office/powerpoint/2010/main" val="301830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 xmlns:a16="http://schemas.microsoft.com/office/drawing/2014/main" id="{E5B3A96C-AFA4-40C1-8ADA-AFE9A3D83D83}"/>
              </a:ext>
            </a:extLst>
          </p:cNvPr>
          <p:cNvSpPr/>
          <p:nvPr/>
        </p:nvSpPr>
        <p:spPr bwMode="auto">
          <a:xfrm>
            <a:off x="2953659" y="2188944"/>
            <a:ext cx="1521884" cy="3462600"/>
          </a:xfrm>
          <a:prstGeom prst="rect">
            <a:avLst/>
          </a:prstGeom>
          <a:solidFill>
            <a:schemeClr val="accent1"/>
          </a:solidFill>
          <a:ln w="19050" cap="flat" cmpd="sng" algn="ctr">
            <a:noFill/>
            <a:prstDash val="solid"/>
            <a:round/>
            <a:headEnd type="none" w="med" len="med"/>
            <a:tailEnd type="none" w="med" len="med"/>
          </a:ln>
          <a:effectLst/>
        </p:spPr>
        <p:txBody>
          <a:bodyPr wrap="none" lIns="0" tIns="0" rIns="0" bIns="0" anchor="ctr"/>
          <a:lstStyle/>
          <a:p>
            <a:pPr marL="3175" indent="-3175" algn="ctr">
              <a:lnSpc>
                <a:spcPct val="90000"/>
              </a:lnSpc>
              <a:spcAft>
                <a:spcPts val="400"/>
              </a:spcAft>
              <a:defRPr/>
            </a:pPr>
            <a:r>
              <a:rPr lang="en-GB" sz="1400" b="1" dirty="0">
                <a:solidFill>
                  <a:schemeClr val="bg1"/>
                </a:solidFill>
                <a:latin typeface="Arial" charset="0"/>
                <a:cs typeface="Arial" charset="0"/>
              </a:rPr>
              <a:t>Diversified </a:t>
            </a:r>
          </a:p>
          <a:p>
            <a:pPr marL="3175" indent="-3175" algn="ctr">
              <a:lnSpc>
                <a:spcPct val="90000"/>
              </a:lnSpc>
              <a:spcAft>
                <a:spcPts val="400"/>
              </a:spcAft>
              <a:defRPr/>
            </a:pPr>
            <a:r>
              <a:rPr lang="en-GB" sz="1400" b="1" dirty="0">
                <a:solidFill>
                  <a:schemeClr val="bg1"/>
                </a:solidFill>
                <a:latin typeface="Arial" charset="0"/>
                <a:cs typeface="Arial" charset="0"/>
              </a:rPr>
              <a:t>Multi-strategy </a:t>
            </a:r>
          </a:p>
          <a:p>
            <a:pPr marL="3175" indent="-3175" algn="ctr">
              <a:lnSpc>
                <a:spcPct val="90000"/>
              </a:lnSpc>
              <a:spcAft>
                <a:spcPts val="400"/>
              </a:spcAft>
              <a:defRPr/>
            </a:pPr>
            <a:r>
              <a:rPr lang="en-GB" sz="1400" b="1" dirty="0">
                <a:solidFill>
                  <a:schemeClr val="bg1"/>
                </a:solidFill>
              </a:rPr>
              <a:t>w</a:t>
            </a:r>
            <a:r>
              <a:rPr lang="en-GB" sz="1400" b="1" dirty="0">
                <a:solidFill>
                  <a:schemeClr val="bg1"/>
                </a:solidFill>
                <a:latin typeface="Arial" charset="0"/>
                <a:cs typeface="Arial" charset="0"/>
              </a:rPr>
              <a:t>eights</a:t>
            </a:r>
          </a:p>
        </p:txBody>
      </p:sp>
      <p:sp>
        <p:nvSpPr>
          <p:cNvPr id="39" name="Right Arrow 20">
            <a:extLst>
              <a:ext uri="{FF2B5EF4-FFF2-40B4-BE49-F238E27FC236}">
                <a16:creationId xmlns="" xmlns:a16="http://schemas.microsoft.com/office/drawing/2014/main" id="{9BFF58EA-E5FB-43F7-A1C4-935EA7F1ADFC}"/>
              </a:ext>
            </a:extLst>
          </p:cNvPr>
          <p:cNvSpPr>
            <a:spLocks noChangeArrowheads="1"/>
          </p:cNvSpPr>
          <p:nvPr/>
        </p:nvSpPr>
        <p:spPr bwMode="auto">
          <a:xfrm rot="5400000">
            <a:off x="2645000" y="2488784"/>
            <a:ext cx="720000" cy="150558"/>
          </a:xfrm>
          <a:prstGeom prst="triangle">
            <a:avLst/>
          </a:prstGeom>
          <a:solidFill>
            <a:schemeClr val="bg1"/>
          </a:solidFill>
          <a:ln w="3175" cap="flat" cmpd="sng" algn="ctr">
            <a:noFill/>
            <a:prstDash val="solid"/>
            <a:round/>
            <a:headEnd type="none" w="med" len="med"/>
            <a:tailEnd type="none" w="med" len="med"/>
          </a:ln>
          <a:effectLst/>
          <a:extLst/>
        </p:spPr>
        <p:txBody>
          <a:bodyPr vert="vert270" wrap="none" lIns="0" tIns="0" rIns="0" bIns="0" anchor="ctr"/>
          <a:lstStyle>
            <a:lvl1pPr marL="3175" indent="-3175"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a:spcAft>
                <a:spcPts val="0"/>
              </a:spcAft>
            </a:pPr>
            <a:endParaRPr lang="fr-FR" altLang="fr-FR" sz="1200">
              <a:solidFill>
                <a:schemeClr val="bg2">
                  <a:lumMod val="50000"/>
                </a:schemeClr>
              </a:solidFill>
              <a:latin typeface="Arial" charset="0"/>
              <a:cs typeface="Arial" charset="0"/>
            </a:endParaRPr>
          </a:p>
        </p:txBody>
      </p:sp>
      <p:sp>
        <p:nvSpPr>
          <p:cNvPr id="33" name="TextBox 74">
            <a:extLst>
              <a:ext uri="{FF2B5EF4-FFF2-40B4-BE49-F238E27FC236}">
                <a16:creationId xmlns="" xmlns:a16="http://schemas.microsoft.com/office/drawing/2014/main" id="{7B23085C-C945-4275-85AB-E0A084F9587A}"/>
              </a:ext>
            </a:extLst>
          </p:cNvPr>
          <p:cNvSpPr txBox="1"/>
          <p:nvPr/>
        </p:nvSpPr>
        <p:spPr>
          <a:xfrm>
            <a:off x="7097863" y="3604494"/>
            <a:ext cx="1376840" cy="646331"/>
          </a:xfrm>
          <a:prstGeom prst="rect">
            <a:avLst/>
          </a:prstGeom>
          <a:solidFill>
            <a:srgbClr val="002060"/>
          </a:solidFill>
          <a:effectLst/>
        </p:spPr>
        <p:txBody>
          <a:bodyPr wrap="square">
            <a:spAutoFit/>
          </a:bodyPr>
          <a:lstStyle/>
          <a:p>
            <a:pPr algn="ctr">
              <a:defRPr/>
            </a:pPr>
            <a:r>
              <a:rPr lang="en-GB" sz="1200" dirty="0">
                <a:solidFill>
                  <a:schemeClr val="bg1"/>
                </a:solidFill>
                <a:latin typeface="Arial" charset="0"/>
                <a:cs typeface="Arial" charset="0"/>
              </a:rPr>
              <a:t>Multi-Beta </a:t>
            </a:r>
            <a:br>
              <a:rPr lang="en-GB" sz="1200" dirty="0">
                <a:solidFill>
                  <a:schemeClr val="bg1"/>
                </a:solidFill>
                <a:latin typeface="Arial" charset="0"/>
                <a:cs typeface="Arial" charset="0"/>
              </a:rPr>
            </a:br>
            <a:r>
              <a:rPr lang="en-GB" sz="1200" dirty="0">
                <a:solidFill>
                  <a:schemeClr val="bg1"/>
                </a:solidFill>
                <a:latin typeface="Arial" charset="0"/>
                <a:cs typeface="Arial" charset="0"/>
              </a:rPr>
              <a:t>Multi-Strategy ERC Index</a:t>
            </a:r>
          </a:p>
        </p:txBody>
      </p:sp>
      <p:sp>
        <p:nvSpPr>
          <p:cNvPr id="35" name="Right Arrow 20">
            <a:extLst>
              <a:ext uri="{FF2B5EF4-FFF2-40B4-BE49-F238E27FC236}">
                <a16:creationId xmlns="" xmlns:a16="http://schemas.microsoft.com/office/drawing/2014/main" id="{86BCEA60-5A66-411D-8336-E6D4C2B23970}"/>
              </a:ext>
            </a:extLst>
          </p:cNvPr>
          <p:cNvSpPr>
            <a:spLocks noChangeArrowheads="1"/>
          </p:cNvSpPr>
          <p:nvPr/>
        </p:nvSpPr>
        <p:spPr bwMode="auto">
          <a:xfrm rot="5400000">
            <a:off x="6190443" y="3819368"/>
            <a:ext cx="1814840" cy="216582"/>
          </a:xfrm>
          <a:prstGeom prst="triangle">
            <a:avLst/>
          </a:prstGeom>
          <a:solidFill>
            <a:schemeClr val="bg1"/>
          </a:solidFill>
          <a:ln w="3175" cap="flat" cmpd="sng" algn="ctr">
            <a:noFill/>
            <a:prstDash val="solid"/>
            <a:round/>
            <a:headEnd type="none" w="med" len="med"/>
            <a:tailEnd type="none" w="med" len="med"/>
          </a:ln>
          <a:effectLst/>
          <a:extLst/>
        </p:spPr>
        <p:txBody>
          <a:bodyPr vert="vert270" wrap="none" lIns="0" tIns="0" rIns="0" bIns="0" anchor="ctr"/>
          <a:lstStyle>
            <a:lvl1pPr marL="3175" indent="-3175"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a:spcAft>
                <a:spcPts val="0"/>
              </a:spcAft>
            </a:pPr>
            <a:endParaRPr lang="fr-FR" altLang="fr-FR" sz="1200">
              <a:solidFill>
                <a:schemeClr val="bg2">
                  <a:lumMod val="50000"/>
                </a:schemeClr>
              </a:solidFill>
              <a:latin typeface="Arial" charset="0"/>
              <a:cs typeface="Arial" charset="0"/>
            </a:endParaRPr>
          </a:p>
        </p:txBody>
      </p:sp>
      <p:sp>
        <p:nvSpPr>
          <p:cNvPr id="2" name="Titre 1">
            <a:extLst>
              <a:ext uri="{FF2B5EF4-FFF2-40B4-BE49-F238E27FC236}">
                <a16:creationId xmlns="" xmlns:a16="http://schemas.microsoft.com/office/drawing/2014/main" id="{BCC7C364-F39B-4C53-B7FA-CD580F6925D4}"/>
              </a:ext>
            </a:extLst>
          </p:cNvPr>
          <p:cNvSpPr>
            <a:spLocks noGrp="1"/>
          </p:cNvSpPr>
          <p:nvPr>
            <p:ph type="title"/>
          </p:nvPr>
        </p:nvSpPr>
        <p:spPr/>
        <p:txBody>
          <a:bodyPr>
            <a:normAutofit/>
          </a:bodyPr>
          <a:lstStyle/>
          <a:p>
            <a:r>
              <a:rPr lang="en-US" sz="2200" dirty="0"/>
              <a:t>Multi-Factor Investing through </a:t>
            </a:r>
            <a:r>
              <a:rPr lang="en-US" sz="2200" dirty="0">
                <a:solidFill>
                  <a:schemeClr val="accent1"/>
                </a:solidFill>
              </a:rPr>
              <a:t>a consistent index design</a:t>
            </a:r>
            <a:endParaRPr lang="fr-FR" sz="2200" dirty="0">
              <a:solidFill>
                <a:schemeClr val="accent1"/>
              </a:solidFill>
            </a:endParaRPr>
          </a:p>
        </p:txBody>
      </p:sp>
      <p:sp>
        <p:nvSpPr>
          <p:cNvPr id="5" name="Espace réservé du numéro de diapositive 4">
            <a:extLst>
              <a:ext uri="{FF2B5EF4-FFF2-40B4-BE49-F238E27FC236}">
                <a16:creationId xmlns="" xmlns:a16="http://schemas.microsoft.com/office/drawing/2014/main" id="{48DD33C8-C4E7-4AF1-BA1A-4E3929BF7CF7}"/>
              </a:ext>
            </a:extLst>
          </p:cNvPr>
          <p:cNvSpPr>
            <a:spLocks noGrp="1"/>
          </p:cNvSpPr>
          <p:nvPr>
            <p:ph type="sldNum" sz="quarter" idx="12"/>
          </p:nvPr>
        </p:nvSpPr>
        <p:spPr/>
        <p:txBody>
          <a:bodyPr/>
          <a:lstStyle/>
          <a:p>
            <a:fld id="{2B1C6FFC-D040-034F-8B69-20295064E64D}" type="slidenum">
              <a:rPr lang="fr-FR" smtClean="0"/>
              <a:t>37</a:t>
            </a:fld>
            <a:endParaRPr lang="fr-FR" dirty="0"/>
          </a:p>
        </p:txBody>
      </p:sp>
      <p:sp>
        <p:nvSpPr>
          <p:cNvPr id="6" name="Espace réservé du texte 5">
            <a:extLst>
              <a:ext uri="{FF2B5EF4-FFF2-40B4-BE49-F238E27FC236}">
                <a16:creationId xmlns="" xmlns:a16="http://schemas.microsoft.com/office/drawing/2014/main" id="{D3AF59CA-5A69-4971-8797-2860BBFA1217}"/>
              </a:ext>
            </a:extLst>
          </p:cNvPr>
          <p:cNvSpPr>
            <a:spLocks noGrp="1"/>
          </p:cNvSpPr>
          <p:nvPr>
            <p:ph type="body" sz="quarter" idx="13"/>
          </p:nvPr>
        </p:nvSpPr>
        <p:spPr/>
        <p:txBody>
          <a:bodyPr/>
          <a:lstStyle/>
          <a:p>
            <a:r>
              <a:rPr lang="it-IT" dirty="0"/>
              <a:t>Scientific Beta Multi-Beta Multi-Strategy Index</a:t>
            </a:r>
          </a:p>
        </p:txBody>
      </p:sp>
      <p:sp>
        <p:nvSpPr>
          <p:cNvPr id="7" name="Espace réservé du texte 6">
            <a:extLst>
              <a:ext uri="{FF2B5EF4-FFF2-40B4-BE49-F238E27FC236}">
                <a16:creationId xmlns="" xmlns:a16="http://schemas.microsoft.com/office/drawing/2014/main" id="{9E5B3822-B73C-4833-9469-26A9E0548E35}"/>
              </a:ext>
            </a:extLst>
          </p:cNvPr>
          <p:cNvSpPr>
            <a:spLocks noGrp="1"/>
          </p:cNvSpPr>
          <p:nvPr>
            <p:ph type="body" sz="quarter" idx="14"/>
          </p:nvPr>
        </p:nvSpPr>
        <p:spPr/>
        <p:txBody>
          <a:bodyPr/>
          <a:lstStyle/>
          <a:p>
            <a:r>
              <a:rPr lang="fr-FR" dirty="0"/>
              <a:t>Source: Scientific Beta</a:t>
            </a:r>
          </a:p>
        </p:txBody>
      </p:sp>
      <p:sp>
        <p:nvSpPr>
          <p:cNvPr id="8" name="Rectangle 7">
            <a:extLst>
              <a:ext uri="{FF2B5EF4-FFF2-40B4-BE49-F238E27FC236}">
                <a16:creationId xmlns="" xmlns:a16="http://schemas.microsoft.com/office/drawing/2014/main" id="{7705276D-166C-438F-BFEA-FEC9983CBD1D}"/>
              </a:ext>
            </a:extLst>
          </p:cNvPr>
          <p:cNvSpPr/>
          <p:nvPr/>
        </p:nvSpPr>
        <p:spPr bwMode="auto">
          <a:xfrm>
            <a:off x="1249591" y="2203775"/>
            <a:ext cx="1595777" cy="720288"/>
          </a:xfrm>
          <a:prstGeom prst="rect">
            <a:avLst/>
          </a:prstGeom>
          <a:solidFill>
            <a:schemeClr val="accent1"/>
          </a:solidFill>
          <a:ln w="19050" cap="flat" cmpd="sng" algn="ctr">
            <a:noFill/>
            <a:prstDash val="solid"/>
            <a:round/>
            <a:headEnd type="none" w="med" len="med"/>
            <a:tailEnd type="none" w="med" len="med"/>
          </a:ln>
          <a:effectLst/>
        </p:spPr>
        <p:txBody>
          <a:bodyPr wrap="none" lIns="0" tIns="0" rIns="0" bIns="0" anchor="ctr"/>
          <a:lstStyle/>
          <a:p>
            <a:pPr marL="3175" indent="-3175" algn="ctr">
              <a:lnSpc>
                <a:spcPct val="90000"/>
              </a:lnSpc>
              <a:spcAft>
                <a:spcPts val="400"/>
              </a:spcAft>
              <a:defRPr/>
            </a:pPr>
            <a:r>
              <a:rPr lang="en-GB" sz="1400" dirty="0">
                <a:solidFill>
                  <a:schemeClr val="bg1"/>
                </a:solidFill>
                <a:latin typeface="Arial" charset="0"/>
                <a:cs typeface="Arial" charset="0"/>
              </a:rPr>
              <a:t>VALUE</a:t>
            </a:r>
            <a:endParaRPr lang="en-GB" sz="1600" dirty="0">
              <a:solidFill>
                <a:schemeClr val="bg1"/>
              </a:solidFill>
              <a:latin typeface="Arial" charset="0"/>
              <a:cs typeface="Arial" charset="0"/>
            </a:endParaRPr>
          </a:p>
          <a:p>
            <a:pPr marL="3175" indent="-3175" algn="ctr">
              <a:lnSpc>
                <a:spcPct val="90000"/>
              </a:lnSpc>
              <a:spcAft>
                <a:spcPts val="0"/>
              </a:spcAft>
              <a:defRPr/>
            </a:pPr>
            <a:r>
              <a:rPr lang="en-GB" sz="1050" b="0" dirty="0">
                <a:solidFill>
                  <a:schemeClr val="bg1"/>
                </a:solidFill>
                <a:latin typeface="Arial" charset="0"/>
                <a:cs typeface="Arial" charset="0"/>
              </a:rPr>
              <a:t>50% highest </a:t>
            </a:r>
          </a:p>
          <a:p>
            <a:pPr marL="3175" indent="-3175" algn="ctr">
              <a:lnSpc>
                <a:spcPct val="90000"/>
              </a:lnSpc>
              <a:spcAft>
                <a:spcPct val="60000"/>
              </a:spcAft>
              <a:defRPr/>
            </a:pPr>
            <a:r>
              <a:rPr lang="en-GB" sz="1050" b="0" dirty="0">
                <a:solidFill>
                  <a:schemeClr val="bg1"/>
                </a:solidFill>
                <a:latin typeface="Arial" charset="0"/>
                <a:cs typeface="Arial" charset="0"/>
              </a:rPr>
              <a:t>book-to-market stocks</a:t>
            </a:r>
          </a:p>
        </p:txBody>
      </p:sp>
      <p:sp>
        <p:nvSpPr>
          <p:cNvPr id="9" name="Rectangle 8">
            <a:extLst>
              <a:ext uri="{FF2B5EF4-FFF2-40B4-BE49-F238E27FC236}">
                <a16:creationId xmlns="" xmlns:a16="http://schemas.microsoft.com/office/drawing/2014/main" id="{19913032-1A26-4FCB-85F1-30BDACAC6A01}"/>
              </a:ext>
            </a:extLst>
          </p:cNvPr>
          <p:cNvSpPr/>
          <p:nvPr/>
        </p:nvSpPr>
        <p:spPr bwMode="auto">
          <a:xfrm>
            <a:off x="1249591" y="3100364"/>
            <a:ext cx="1595777" cy="720288"/>
          </a:xfrm>
          <a:prstGeom prst="rect">
            <a:avLst/>
          </a:prstGeom>
          <a:solidFill>
            <a:schemeClr val="accent1"/>
          </a:solidFill>
          <a:ln w="19050" cap="flat" cmpd="sng" algn="ctr">
            <a:noFill/>
            <a:prstDash val="solid"/>
            <a:round/>
            <a:headEnd type="none" w="med" len="med"/>
            <a:tailEnd type="none" w="med" len="med"/>
          </a:ln>
          <a:effectLst/>
        </p:spPr>
        <p:txBody>
          <a:bodyPr wrap="none" lIns="0" tIns="0" rIns="0" bIns="0" anchor="ctr"/>
          <a:lstStyle/>
          <a:p>
            <a:pPr marL="3175" indent="-3175" algn="ctr">
              <a:lnSpc>
                <a:spcPct val="90000"/>
              </a:lnSpc>
              <a:spcAft>
                <a:spcPts val="0"/>
              </a:spcAft>
              <a:defRPr/>
            </a:pPr>
            <a:r>
              <a:rPr lang="en-GB" sz="1400" dirty="0">
                <a:solidFill>
                  <a:schemeClr val="bg1"/>
                </a:solidFill>
                <a:latin typeface="Arial" charset="0"/>
                <a:cs typeface="Arial" charset="0"/>
              </a:rPr>
              <a:t>HIGH </a:t>
            </a:r>
          </a:p>
          <a:p>
            <a:pPr marL="3175" indent="-3175" algn="ctr">
              <a:lnSpc>
                <a:spcPct val="90000"/>
              </a:lnSpc>
              <a:spcAft>
                <a:spcPts val="400"/>
              </a:spcAft>
              <a:defRPr/>
            </a:pPr>
            <a:r>
              <a:rPr lang="en-GB" sz="1400" dirty="0">
                <a:solidFill>
                  <a:schemeClr val="bg1"/>
                </a:solidFill>
                <a:latin typeface="Arial" charset="0"/>
                <a:cs typeface="Arial" charset="0"/>
              </a:rPr>
              <a:t>MOMENTUM</a:t>
            </a:r>
            <a:br>
              <a:rPr lang="en-GB" sz="1400" dirty="0">
                <a:solidFill>
                  <a:schemeClr val="bg1"/>
                </a:solidFill>
                <a:latin typeface="Arial" charset="0"/>
                <a:cs typeface="Arial" charset="0"/>
              </a:rPr>
            </a:br>
            <a:r>
              <a:rPr lang="en-GB" sz="1050" b="0" dirty="0">
                <a:solidFill>
                  <a:schemeClr val="bg1"/>
                </a:solidFill>
                <a:latin typeface="Arial" charset="0"/>
                <a:cs typeface="Arial" charset="0"/>
              </a:rPr>
              <a:t>50% highest </a:t>
            </a:r>
            <a:br>
              <a:rPr lang="en-GB" sz="1050" b="0" dirty="0">
                <a:solidFill>
                  <a:schemeClr val="bg1"/>
                </a:solidFill>
                <a:latin typeface="Arial" charset="0"/>
                <a:cs typeface="Arial" charset="0"/>
              </a:rPr>
            </a:br>
            <a:r>
              <a:rPr lang="en-GB" sz="1050" b="0" dirty="0">
                <a:solidFill>
                  <a:schemeClr val="bg1"/>
                </a:solidFill>
                <a:latin typeface="Arial" charset="0"/>
                <a:cs typeface="Arial" charset="0"/>
              </a:rPr>
              <a:t>momentum stocks</a:t>
            </a:r>
          </a:p>
        </p:txBody>
      </p:sp>
      <p:sp>
        <p:nvSpPr>
          <p:cNvPr id="10" name="Rectangle 9">
            <a:extLst>
              <a:ext uri="{FF2B5EF4-FFF2-40B4-BE49-F238E27FC236}">
                <a16:creationId xmlns="" xmlns:a16="http://schemas.microsoft.com/office/drawing/2014/main" id="{7D17289B-EA5C-47BD-A431-3B49A5C3FC3E}"/>
              </a:ext>
            </a:extLst>
          </p:cNvPr>
          <p:cNvSpPr/>
          <p:nvPr/>
        </p:nvSpPr>
        <p:spPr bwMode="auto">
          <a:xfrm>
            <a:off x="1249591" y="4931256"/>
            <a:ext cx="1595777" cy="720288"/>
          </a:xfrm>
          <a:prstGeom prst="rect">
            <a:avLst/>
          </a:prstGeom>
          <a:solidFill>
            <a:schemeClr val="accent1"/>
          </a:solidFill>
          <a:ln w="19050" cap="flat" cmpd="sng" algn="ctr">
            <a:noFill/>
            <a:prstDash val="solid"/>
            <a:round/>
            <a:headEnd type="none" w="med" len="med"/>
            <a:tailEnd type="none" w="med" len="med"/>
          </a:ln>
          <a:effectLst/>
        </p:spPr>
        <p:txBody>
          <a:bodyPr wrap="none" lIns="0" tIns="0" rIns="0" bIns="0" anchor="ctr"/>
          <a:lstStyle/>
          <a:p>
            <a:pPr marL="3175" indent="-3175" algn="ctr">
              <a:lnSpc>
                <a:spcPct val="90000"/>
              </a:lnSpc>
              <a:spcAft>
                <a:spcPts val="0"/>
              </a:spcAft>
              <a:defRPr/>
            </a:pPr>
            <a:r>
              <a:rPr lang="en-GB" sz="1400" dirty="0">
                <a:solidFill>
                  <a:schemeClr val="bg1"/>
                </a:solidFill>
                <a:latin typeface="Arial" charset="0"/>
                <a:cs typeface="Arial" charset="0"/>
              </a:rPr>
              <a:t>LOW </a:t>
            </a:r>
          </a:p>
          <a:p>
            <a:pPr marL="3175" indent="-3175" algn="ctr">
              <a:lnSpc>
                <a:spcPct val="90000"/>
              </a:lnSpc>
              <a:spcAft>
                <a:spcPts val="600"/>
              </a:spcAft>
              <a:defRPr/>
            </a:pPr>
            <a:r>
              <a:rPr lang="en-GB" sz="1400" dirty="0">
                <a:solidFill>
                  <a:schemeClr val="bg1"/>
                </a:solidFill>
                <a:latin typeface="Arial" charset="0"/>
                <a:cs typeface="Arial" charset="0"/>
              </a:rPr>
              <a:t>VOLATILITY</a:t>
            </a:r>
            <a:br>
              <a:rPr lang="en-GB" sz="1400" dirty="0">
                <a:solidFill>
                  <a:schemeClr val="bg1"/>
                </a:solidFill>
                <a:latin typeface="Arial" charset="0"/>
                <a:cs typeface="Arial" charset="0"/>
              </a:rPr>
            </a:br>
            <a:r>
              <a:rPr lang="en-GB" sz="1050" b="0" dirty="0">
                <a:solidFill>
                  <a:schemeClr val="bg1"/>
                </a:solidFill>
                <a:latin typeface="Arial" charset="0"/>
                <a:cs typeface="Arial" charset="0"/>
              </a:rPr>
              <a:t>50% lowest </a:t>
            </a:r>
            <a:br>
              <a:rPr lang="en-GB" sz="1050" b="0" dirty="0">
                <a:solidFill>
                  <a:schemeClr val="bg1"/>
                </a:solidFill>
                <a:latin typeface="Arial" charset="0"/>
                <a:cs typeface="Arial" charset="0"/>
              </a:rPr>
            </a:br>
            <a:r>
              <a:rPr lang="en-GB" sz="1050" b="0" dirty="0">
                <a:solidFill>
                  <a:schemeClr val="bg1"/>
                </a:solidFill>
                <a:latin typeface="Arial" charset="0"/>
                <a:cs typeface="Arial" charset="0"/>
              </a:rPr>
              <a:t>volatility stocks</a:t>
            </a:r>
          </a:p>
        </p:txBody>
      </p:sp>
      <p:sp>
        <p:nvSpPr>
          <p:cNvPr id="11" name="Rectangle 10">
            <a:extLst>
              <a:ext uri="{FF2B5EF4-FFF2-40B4-BE49-F238E27FC236}">
                <a16:creationId xmlns="" xmlns:a16="http://schemas.microsoft.com/office/drawing/2014/main" id="{D02D702E-5A05-4BFE-9008-2A02167A8D27}"/>
              </a:ext>
            </a:extLst>
          </p:cNvPr>
          <p:cNvSpPr/>
          <p:nvPr/>
        </p:nvSpPr>
        <p:spPr bwMode="auto">
          <a:xfrm>
            <a:off x="1249591" y="4006383"/>
            <a:ext cx="1595777" cy="720288"/>
          </a:xfrm>
          <a:prstGeom prst="rect">
            <a:avLst/>
          </a:prstGeom>
          <a:solidFill>
            <a:schemeClr val="accent1"/>
          </a:solidFill>
          <a:ln w="19050" cap="flat" cmpd="sng" algn="ctr">
            <a:noFill/>
            <a:prstDash val="solid"/>
            <a:round/>
            <a:headEnd type="none" w="med" len="med"/>
            <a:tailEnd type="none" w="med" len="med"/>
          </a:ln>
          <a:effectLst/>
        </p:spPr>
        <p:txBody>
          <a:bodyPr wrap="none" lIns="0" tIns="0" rIns="0" bIns="0" anchor="ctr"/>
          <a:lstStyle/>
          <a:p>
            <a:pPr marL="3175" indent="-3175" algn="ctr">
              <a:lnSpc>
                <a:spcPct val="90000"/>
              </a:lnSpc>
              <a:spcAft>
                <a:spcPts val="600"/>
              </a:spcAft>
              <a:defRPr/>
            </a:pPr>
            <a:r>
              <a:rPr lang="fr-FR" sz="1400" dirty="0">
                <a:solidFill>
                  <a:schemeClr val="bg1"/>
                </a:solidFill>
                <a:latin typeface="Arial" charset="0"/>
                <a:cs typeface="Arial" charset="0"/>
              </a:rPr>
              <a:t>MID CAP</a:t>
            </a:r>
            <a:br>
              <a:rPr lang="fr-FR" sz="1400" dirty="0">
                <a:solidFill>
                  <a:schemeClr val="bg1"/>
                </a:solidFill>
                <a:latin typeface="Arial" charset="0"/>
                <a:cs typeface="Arial" charset="0"/>
              </a:rPr>
            </a:br>
            <a:r>
              <a:rPr lang="fr-FR" sz="1050" b="0" dirty="0">
                <a:solidFill>
                  <a:schemeClr val="bg1"/>
                </a:solidFill>
                <a:latin typeface="Arial" charset="0"/>
                <a:cs typeface="Arial" charset="0"/>
              </a:rPr>
              <a:t>50% </a:t>
            </a:r>
            <a:r>
              <a:rPr lang="fr-FR" sz="1050" b="0" dirty="0" err="1">
                <a:solidFill>
                  <a:schemeClr val="bg1"/>
                </a:solidFill>
                <a:latin typeface="Arial" charset="0"/>
                <a:cs typeface="Arial" charset="0"/>
              </a:rPr>
              <a:t>mid</a:t>
            </a:r>
            <a:r>
              <a:rPr lang="fr-FR" sz="1050" b="0" dirty="0">
                <a:solidFill>
                  <a:schemeClr val="bg1"/>
                </a:solidFill>
                <a:latin typeface="Arial" charset="0"/>
                <a:cs typeface="Arial" charset="0"/>
              </a:rPr>
              <a:t> cap stocks</a:t>
            </a:r>
          </a:p>
        </p:txBody>
      </p:sp>
      <p:sp>
        <p:nvSpPr>
          <p:cNvPr id="12" name="Rectangle 11">
            <a:extLst>
              <a:ext uri="{FF2B5EF4-FFF2-40B4-BE49-F238E27FC236}">
                <a16:creationId xmlns="" xmlns:a16="http://schemas.microsoft.com/office/drawing/2014/main" id="{77A0346C-BDAB-4A74-B6ED-8FC8D6EB004B}"/>
              </a:ext>
            </a:extLst>
          </p:cNvPr>
          <p:cNvSpPr/>
          <p:nvPr/>
        </p:nvSpPr>
        <p:spPr bwMode="auto">
          <a:xfrm>
            <a:off x="4761197" y="2203775"/>
            <a:ext cx="1669060" cy="720288"/>
          </a:xfrm>
          <a:prstGeom prst="rect">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wrap="none" lIns="0" tIns="0" rIns="0" bIns="0" anchor="ctr"/>
          <a:lstStyle/>
          <a:p>
            <a:pPr marL="3175" indent="-3175" algn="ctr">
              <a:defRPr/>
            </a:pPr>
            <a:r>
              <a:rPr lang="en-GB" sz="1200" dirty="0">
                <a:solidFill>
                  <a:schemeClr val="bg1"/>
                </a:solidFill>
              </a:rPr>
              <a:t>Value Diversified </a:t>
            </a:r>
          </a:p>
          <a:p>
            <a:pPr marL="3175" indent="-3175" algn="ctr">
              <a:defRPr/>
            </a:pPr>
            <a:r>
              <a:rPr lang="en-GB" sz="1200" dirty="0">
                <a:solidFill>
                  <a:schemeClr val="bg1"/>
                </a:solidFill>
              </a:rPr>
              <a:t>Multi-Strategy index</a:t>
            </a:r>
          </a:p>
        </p:txBody>
      </p:sp>
      <p:sp>
        <p:nvSpPr>
          <p:cNvPr id="13" name="Rectangle 12">
            <a:extLst>
              <a:ext uri="{FF2B5EF4-FFF2-40B4-BE49-F238E27FC236}">
                <a16:creationId xmlns="" xmlns:a16="http://schemas.microsoft.com/office/drawing/2014/main" id="{A2123B24-24DE-46F0-A575-5D0AF7E7F49E}"/>
              </a:ext>
            </a:extLst>
          </p:cNvPr>
          <p:cNvSpPr/>
          <p:nvPr/>
        </p:nvSpPr>
        <p:spPr bwMode="auto">
          <a:xfrm>
            <a:off x="4761197" y="3100364"/>
            <a:ext cx="1669060" cy="720288"/>
          </a:xfrm>
          <a:prstGeom prst="rect">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wrap="none" lIns="0" tIns="0" rIns="0" bIns="0" anchor="ctr"/>
          <a:lstStyle/>
          <a:p>
            <a:pPr marL="3175" indent="-3175" algn="ctr">
              <a:defRPr/>
            </a:pPr>
            <a:r>
              <a:rPr lang="en-GB" sz="1200" dirty="0">
                <a:solidFill>
                  <a:schemeClr val="bg1"/>
                </a:solidFill>
              </a:rPr>
              <a:t>High Momentum </a:t>
            </a:r>
          </a:p>
          <a:p>
            <a:pPr marL="3175" indent="-3175" algn="ctr">
              <a:defRPr/>
            </a:pPr>
            <a:r>
              <a:rPr lang="en-GB" sz="1200" dirty="0">
                <a:solidFill>
                  <a:schemeClr val="bg1"/>
                </a:solidFill>
              </a:rPr>
              <a:t>Diversified</a:t>
            </a:r>
          </a:p>
          <a:p>
            <a:pPr marL="3175" indent="-3175" algn="ctr">
              <a:defRPr/>
            </a:pPr>
            <a:r>
              <a:rPr lang="en-GB" sz="1200" dirty="0">
                <a:solidFill>
                  <a:schemeClr val="bg1"/>
                </a:solidFill>
              </a:rPr>
              <a:t>Multi-Strategy index</a:t>
            </a:r>
          </a:p>
        </p:txBody>
      </p:sp>
      <p:sp>
        <p:nvSpPr>
          <p:cNvPr id="14" name="Rectangle 13">
            <a:extLst>
              <a:ext uri="{FF2B5EF4-FFF2-40B4-BE49-F238E27FC236}">
                <a16:creationId xmlns="" xmlns:a16="http://schemas.microsoft.com/office/drawing/2014/main" id="{65E404A0-516B-444D-911F-AB7C043BEAA8}"/>
              </a:ext>
            </a:extLst>
          </p:cNvPr>
          <p:cNvSpPr/>
          <p:nvPr/>
        </p:nvSpPr>
        <p:spPr bwMode="auto">
          <a:xfrm>
            <a:off x="4761197" y="4931256"/>
            <a:ext cx="1669060" cy="720288"/>
          </a:xfrm>
          <a:prstGeom prst="rect">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wrap="none" lIns="0" tIns="0" rIns="0" bIns="0" anchor="ctr"/>
          <a:lstStyle/>
          <a:p>
            <a:pPr marL="3175" indent="-3175" algn="ctr">
              <a:defRPr/>
            </a:pPr>
            <a:r>
              <a:rPr lang="en-GB" sz="1200" dirty="0">
                <a:solidFill>
                  <a:schemeClr val="bg1"/>
                </a:solidFill>
              </a:rPr>
              <a:t>Low Volatility </a:t>
            </a:r>
          </a:p>
          <a:p>
            <a:pPr marL="3175" indent="-3175" algn="ctr">
              <a:defRPr/>
            </a:pPr>
            <a:r>
              <a:rPr lang="en-GB" sz="1200" dirty="0">
                <a:solidFill>
                  <a:schemeClr val="bg1"/>
                </a:solidFill>
              </a:rPr>
              <a:t>Diversified </a:t>
            </a:r>
          </a:p>
          <a:p>
            <a:pPr marL="3175" indent="-3175" algn="ctr">
              <a:defRPr/>
            </a:pPr>
            <a:r>
              <a:rPr lang="en-GB" sz="1200" dirty="0">
                <a:solidFill>
                  <a:schemeClr val="bg1"/>
                </a:solidFill>
              </a:rPr>
              <a:t>Multi-Strategy index</a:t>
            </a:r>
          </a:p>
        </p:txBody>
      </p:sp>
      <p:sp>
        <p:nvSpPr>
          <p:cNvPr id="15" name="Rectangle 14">
            <a:extLst>
              <a:ext uri="{FF2B5EF4-FFF2-40B4-BE49-F238E27FC236}">
                <a16:creationId xmlns="" xmlns:a16="http://schemas.microsoft.com/office/drawing/2014/main" id="{0A9555AF-CDC0-4B0F-AFC6-771E55C9E2F2}"/>
              </a:ext>
            </a:extLst>
          </p:cNvPr>
          <p:cNvSpPr/>
          <p:nvPr/>
        </p:nvSpPr>
        <p:spPr bwMode="auto">
          <a:xfrm>
            <a:off x="4761197" y="4006383"/>
            <a:ext cx="1669060" cy="720288"/>
          </a:xfrm>
          <a:prstGeom prst="rect">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wrap="none" lIns="0" tIns="0" rIns="0" bIns="0" anchor="ctr"/>
          <a:lstStyle/>
          <a:p>
            <a:pPr marL="3175" indent="-3175" algn="ctr">
              <a:defRPr/>
            </a:pPr>
            <a:r>
              <a:rPr lang="en-GB" sz="1200" dirty="0">
                <a:solidFill>
                  <a:schemeClr val="bg1"/>
                </a:solidFill>
              </a:rPr>
              <a:t>Mid Cap Diversified </a:t>
            </a:r>
          </a:p>
          <a:p>
            <a:pPr marL="3175" indent="-3175" algn="ctr">
              <a:defRPr/>
            </a:pPr>
            <a:r>
              <a:rPr lang="en-GB" sz="1200" dirty="0">
                <a:solidFill>
                  <a:schemeClr val="bg1"/>
                </a:solidFill>
              </a:rPr>
              <a:t>Multi-Strategy index</a:t>
            </a:r>
          </a:p>
        </p:txBody>
      </p:sp>
      <p:sp>
        <p:nvSpPr>
          <p:cNvPr id="16" name="Rectangle 15">
            <a:extLst>
              <a:ext uri="{FF2B5EF4-FFF2-40B4-BE49-F238E27FC236}">
                <a16:creationId xmlns="" xmlns:a16="http://schemas.microsoft.com/office/drawing/2014/main" id="{151D98C7-01D3-4EAF-8580-E5BE592C3721}"/>
              </a:ext>
            </a:extLst>
          </p:cNvPr>
          <p:cNvSpPr/>
          <p:nvPr/>
        </p:nvSpPr>
        <p:spPr bwMode="auto">
          <a:xfrm>
            <a:off x="6493072" y="2203773"/>
            <a:ext cx="403805" cy="3447772"/>
          </a:xfrm>
          <a:prstGeom prst="rect">
            <a:avLst/>
          </a:prstGeom>
          <a:solidFill>
            <a:schemeClr val="bg1">
              <a:lumMod val="95000"/>
            </a:schemeClr>
          </a:solidFill>
          <a:ln w="3175" cap="flat" cmpd="sng" algn="ctr">
            <a:noFill/>
            <a:prstDash val="solid"/>
            <a:round/>
            <a:headEnd type="none" w="med" len="med"/>
            <a:tailEnd type="none" w="med" len="med"/>
          </a:ln>
          <a:effectLst/>
        </p:spPr>
        <p:txBody>
          <a:bodyPr vert="vert270" wrap="none" lIns="0" tIns="0" rIns="0" bIns="0" anchor="ctr"/>
          <a:lstStyle/>
          <a:p>
            <a:pPr marL="3175" indent="-3175" algn="ctr">
              <a:lnSpc>
                <a:spcPct val="90000"/>
              </a:lnSpc>
              <a:spcAft>
                <a:spcPts val="0"/>
              </a:spcAft>
              <a:defRPr/>
            </a:pPr>
            <a:r>
              <a:rPr lang="en-GB" sz="1200" dirty="0">
                <a:latin typeface="Arial" charset="0"/>
                <a:cs typeface="Arial" charset="0"/>
              </a:rPr>
              <a:t>EQUAL RISK CONTRIBUTION</a:t>
            </a:r>
          </a:p>
        </p:txBody>
      </p:sp>
      <p:sp>
        <p:nvSpPr>
          <p:cNvPr id="21" name="TextBox 19">
            <a:extLst>
              <a:ext uri="{FF2B5EF4-FFF2-40B4-BE49-F238E27FC236}">
                <a16:creationId xmlns="" xmlns:a16="http://schemas.microsoft.com/office/drawing/2014/main" id="{F468BD71-E897-4FC6-A9DD-2D08A108CE42}"/>
              </a:ext>
            </a:extLst>
          </p:cNvPr>
          <p:cNvSpPr txBox="1">
            <a:spLocks noChangeArrowheads="1"/>
          </p:cNvSpPr>
          <p:nvPr/>
        </p:nvSpPr>
        <p:spPr bwMode="auto">
          <a:xfrm>
            <a:off x="4407504" y="2299780"/>
            <a:ext cx="425116" cy="584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eaLnBrk="1" hangingPunct="1">
              <a:lnSpc>
                <a:spcPct val="100000"/>
              </a:lnSpc>
              <a:spcAft>
                <a:spcPct val="0"/>
              </a:spcAft>
            </a:pPr>
            <a:r>
              <a:rPr lang="fr-FR" altLang="fr-FR" sz="3200" b="0" dirty="0">
                <a:solidFill>
                  <a:schemeClr val="accent3"/>
                </a:solidFill>
              </a:rPr>
              <a:t>=</a:t>
            </a:r>
          </a:p>
        </p:txBody>
      </p:sp>
      <p:sp>
        <p:nvSpPr>
          <p:cNvPr id="22" name="TextBox 50">
            <a:extLst>
              <a:ext uri="{FF2B5EF4-FFF2-40B4-BE49-F238E27FC236}">
                <a16:creationId xmlns="" xmlns:a16="http://schemas.microsoft.com/office/drawing/2014/main" id="{293C3BCF-E713-4577-A420-C74F637130BA}"/>
              </a:ext>
            </a:extLst>
          </p:cNvPr>
          <p:cNvSpPr txBox="1">
            <a:spLocks noChangeArrowheads="1"/>
          </p:cNvSpPr>
          <p:nvPr/>
        </p:nvSpPr>
        <p:spPr bwMode="auto">
          <a:xfrm>
            <a:off x="4407504" y="3182212"/>
            <a:ext cx="425116" cy="584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eaLnBrk="1" hangingPunct="1">
              <a:lnSpc>
                <a:spcPct val="100000"/>
              </a:lnSpc>
              <a:spcAft>
                <a:spcPct val="0"/>
              </a:spcAft>
            </a:pPr>
            <a:r>
              <a:rPr lang="fr-FR" altLang="fr-FR" sz="3200" b="0" dirty="0">
                <a:solidFill>
                  <a:schemeClr val="accent3"/>
                </a:solidFill>
              </a:rPr>
              <a:t>=</a:t>
            </a:r>
          </a:p>
        </p:txBody>
      </p:sp>
      <p:sp>
        <p:nvSpPr>
          <p:cNvPr id="23" name="TextBox 51">
            <a:extLst>
              <a:ext uri="{FF2B5EF4-FFF2-40B4-BE49-F238E27FC236}">
                <a16:creationId xmlns="" xmlns:a16="http://schemas.microsoft.com/office/drawing/2014/main" id="{696044B5-6BAC-4D22-88BD-7A5550216BC5}"/>
              </a:ext>
            </a:extLst>
          </p:cNvPr>
          <p:cNvSpPr txBox="1">
            <a:spLocks noChangeArrowheads="1"/>
          </p:cNvSpPr>
          <p:nvPr/>
        </p:nvSpPr>
        <p:spPr bwMode="auto">
          <a:xfrm>
            <a:off x="4407504" y="4078804"/>
            <a:ext cx="425116" cy="584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eaLnBrk="1" hangingPunct="1">
              <a:lnSpc>
                <a:spcPct val="100000"/>
              </a:lnSpc>
              <a:spcAft>
                <a:spcPct val="0"/>
              </a:spcAft>
            </a:pPr>
            <a:r>
              <a:rPr lang="fr-FR" altLang="fr-FR" sz="3200" b="0" dirty="0">
                <a:solidFill>
                  <a:schemeClr val="accent3"/>
                </a:solidFill>
              </a:rPr>
              <a:t>=</a:t>
            </a:r>
          </a:p>
        </p:txBody>
      </p:sp>
      <p:sp>
        <p:nvSpPr>
          <p:cNvPr id="24" name="TextBox 52">
            <a:extLst>
              <a:ext uri="{FF2B5EF4-FFF2-40B4-BE49-F238E27FC236}">
                <a16:creationId xmlns="" xmlns:a16="http://schemas.microsoft.com/office/drawing/2014/main" id="{25B11E3A-8CF5-43C0-B504-BB55F51D17DC}"/>
              </a:ext>
            </a:extLst>
          </p:cNvPr>
          <p:cNvSpPr txBox="1">
            <a:spLocks noChangeArrowheads="1"/>
          </p:cNvSpPr>
          <p:nvPr/>
        </p:nvSpPr>
        <p:spPr bwMode="auto">
          <a:xfrm>
            <a:off x="4407504" y="5022531"/>
            <a:ext cx="425116" cy="584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eaLnBrk="1" hangingPunct="1">
              <a:lnSpc>
                <a:spcPct val="100000"/>
              </a:lnSpc>
              <a:spcAft>
                <a:spcPct val="0"/>
              </a:spcAft>
            </a:pPr>
            <a:r>
              <a:rPr lang="fr-FR" altLang="fr-FR" sz="3200" b="0" dirty="0">
                <a:solidFill>
                  <a:schemeClr val="accent3"/>
                </a:solidFill>
              </a:rPr>
              <a:t>=</a:t>
            </a:r>
          </a:p>
        </p:txBody>
      </p:sp>
      <p:sp>
        <p:nvSpPr>
          <p:cNvPr id="25" name="Right Arrow 20">
            <a:extLst>
              <a:ext uri="{FF2B5EF4-FFF2-40B4-BE49-F238E27FC236}">
                <a16:creationId xmlns="" xmlns:a16="http://schemas.microsoft.com/office/drawing/2014/main" id="{1599BC76-8BE2-4769-946E-A15B3C4CF41F}"/>
              </a:ext>
            </a:extLst>
          </p:cNvPr>
          <p:cNvSpPr>
            <a:spLocks noChangeArrowheads="1"/>
          </p:cNvSpPr>
          <p:nvPr/>
        </p:nvSpPr>
        <p:spPr bwMode="auto">
          <a:xfrm rot="5400000">
            <a:off x="6097748" y="3819368"/>
            <a:ext cx="1814840" cy="216582"/>
          </a:xfrm>
          <a:prstGeom prst="triangle">
            <a:avLst/>
          </a:prstGeom>
          <a:solidFill>
            <a:schemeClr val="bg1">
              <a:lumMod val="95000"/>
            </a:schemeClr>
          </a:solidFill>
          <a:ln w="3175" cap="flat" cmpd="sng" algn="ctr">
            <a:noFill/>
            <a:prstDash val="solid"/>
            <a:round/>
            <a:headEnd type="none" w="med" len="med"/>
            <a:tailEnd type="none" w="med" len="med"/>
          </a:ln>
          <a:effectLst/>
          <a:extLst/>
        </p:spPr>
        <p:txBody>
          <a:bodyPr vert="vert270" wrap="none" lIns="0" tIns="0" rIns="0" bIns="0" anchor="ctr"/>
          <a:lstStyle>
            <a:lvl1pPr marL="3175" indent="-3175"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a:spcAft>
                <a:spcPts val="0"/>
              </a:spcAft>
            </a:pPr>
            <a:endParaRPr lang="fr-FR" altLang="fr-FR" sz="1200">
              <a:solidFill>
                <a:schemeClr val="bg2">
                  <a:lumMod val="50000"/>
                </a:schemeClr>
              </a:solidFill>
              <a:latin typeface="Arial" charset="0"/>
              <a:cs typeface="Arial" charset="0"/>
            </a:endParaRPr>
          </a:p>
        </p:txBody>
      </p:sp>
      <p:sp>
        <p:nvSpPr>
          <p:cNvPr id="26" name="TextBox 31">
            <a:extLst>
              <a:ext uri="{FF2B5EF4-FFF2-40B4-BE49-F238E27FC236}">
                <a16:creationId xmlns="" xmlns:a16="http://schemas.microsoft.com/office/drawing/2014/main" id="{C2C8B4A9-719C-4748-90E1-F66D9F027FC6}"/>
              </a:ext>
            </a:extLst>
          </p:cNvPr>
          <p:cNvSpPr txBox="1">
            <a:spLocks noChangeArrowheads="1"/>
          </p:cNvSpPr>
          <p:nvPr/>
        </p:nvSpPr>
        <p:spPr bwMode="auto">
          <a:xfrm rot="16200000">
            <a:off x="-830127" y="3618468"/>
            <a:ext cx="3439817" cy="584775"/>
          </a:xfrm>
          <a:prstGeom prst="rect">
            <a:avLst/>
          </a:prstGeom>
          <a:solidFill>
            <a:schemeClr val="accent2"/>
          </a:solidFill>
          <a:ln>
            <a:noFill/>
          </a:ln>
          <a:effectLst/>
          <a:extLst/>
        </p:spPr>
        <p:txBody>
          <a:bodyPr wrap="square" anchor="ctr" anchorCtr="0">
            <a:noAutofit/>
          </a:bodyPr>
          <a:lstStyle>
            <a:lvl1pPr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eaLnBrk="1" hangingPunct="1">
              <a:lnSpc>
                <a:spcPct val="200000"/>
              </a:lnSpc>
              <a:spcAft>
                <a:spcPct val="0"/>
              </a:spcAft>
            </a:pPr>
            <a:r>
              <a:rPr lang="en-GB" altLang="fr-FR" sz="1600" dirty="0">
                <a:solidFill>
                  <a:schemeClr val="bg1"/>
                </a:solidFill>
              </a:rPr>
              <a:t>Investment universe</a:t>
            </a:r>
          </a:p>
        </p:txBody>
      </p:sp>
      <p:sp>
        <p:nvSpPr>
          <p:cNvPr id="27" name="TextBox 57">
            <a:extLst>
              <a:ext uri="{FF2B5EF4-FFF2-40B4-BE49-F238E27FC236}">
                <a16:creationId xmlns="" xmlns:a16="http://schemas.microsoft.com/office/drawing/2014/main" id="{EAB5212A-B567-46EF-AB04-2D06A6175A36}"/>
              </a:ext>
            </a:extLst>
          </p:cNvPr>
          <p:cNvSpPr txBox="1">
            <a:spLocks noChangeArrowheads="1"/>
          </p:cNvSpPr>
          <p:nvPr/>
        </p:nvSpPr>
        <p:spPr bwMode="auto">
          <a:xfrm>
            <a:off x="1618196" y="1951085"/>
            <a:ext cx="1135247"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eaLnBrk="1" hangingPunct="1">
              <a:lnSpc>
                <a:spcPct val="100000"/>
              </a:lnSpc>
              <a:spcAft>
                <a:spcPct val="0"/>
              </a:spcAft>
            </a:pPr>
            <a:r>
              <a:rPr lang="en-GB" altLang="fr-FR" sz="1000" dirty="0">
                <a:solidFill>
                  <a:schemeClr val="accent1"/>
                </a:solidFill>
              </a:rPr>
              <a:t>Stock Selection</a:t>
            </a:r>
          </a:p>
        </p:txBody>
      </p:sp>
      <p:sp>
        <p:nvSpPr>
          <p:cNvPr id="28" name="TextBox 58">
            <a:extLst>
              <a:ext uri="{FF2B5EF4-FFF2-40B4-BE49-F238E27FC236}">
                <a16:creationId xmlns="" xmlns:a16="http://schemas.microsoft.com/office/drawing/2014/main" id="{C8516ECB-DE70-4BDE-BA6C-3D64636ADEED}"/>
              </a:ext>
            </a:extLst>
          </p:cNvPr>
          <p:cNvSpPr txBox="1">
            <a:spLocks noChangeArrowheads="1"/>
          </p:cNvSpPr>
          <p:nvPr/>
        </p:nvSpPr>
        <p:spPr bwMode="auto">
          <a:xfrm>
            <a:off x="3005777" y="1951085"/>
            <a:ext cx="1654834"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eaLnBrk="1" hangingPunct="1">
              <a:lnSpc>
                <a:spcPct val="100000"/>
              </a:lnSpc>
              <a:spcAft>
                <a:spcPct val="0"/>
              </a:spcAft>
            </a:pPr>
            <a:r>
              <a:rPr lang="en-GB" altLang="fr-FR" sz="1000" dirty="0">
                <a:solidFill>
                  <a:schemeClr val="accent1"/>
                </a:solidFill>
              </a:rPr>
              <a:t>Weighting Scheme</a:t>
            </a:r>
          </a:p>
        </p:txBody>
      </p:sp>
      <p:sp>
        <p:nvSpPr>
          <p:cNvPr id="29" name="TextBox 59">
            <a:extLst>
              <a:ext uri="{FF2B5EF4-FFF2-40B4-BE49-F238E27FC236}">
                <a16:creationId xmlns="" xmlns:a16="http://schemas.microsoft.com/office/drawing/2014/main" id="{6D876D0E-ED25-4DAA-92AD-8B2317AE4E8C}"/>
              </a:ext>
            </a:extLst>
          </p:cNvPr>
          <p:cNvSpPr txBox="1">
            <a:spLocks noChangeArrowheads="1"/>
          </p:cNvSpPr>
          <p:nvPr/>
        </p:nvSpPr>
        <p:spPr bwMode="auto">
          <a:xfrm>
            <a:off x="5141116" y="1951085"/>
            <a:ext cx="909223"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eaLnBrk="1" hangingPunct="1">
              <a:lnSpc>
                <a:spcPct val="100000"/>
              </a:lnSpc>
              <a:spcAft>
                <a:spcPct val="0"/>
              </a:spcAft>
            </a:pPr>
            <a:r>
              <a:rPr lang="en-GB" altLang="fr-FR" sz="1000" dirty="0">
                <a:solidFill>
                  <a:schemeClr val="accent3"/>
                </a:solidFill>
              </a:rPr>
              <a:t>Sub-Indices</a:t>
            </a:r>
          </a:p>
        </p:txBody>
      </p:sp>
      <p:sp>
        <p:nvSpPr>
          <p:cNvPr id="30" name="TextBox 60">
            <a:extLst>
              <a:ext uri="{FF2B5EF4-FFF2-40B4-BE49-F238E27FC236}">
                <a16:creationId xmlns="" xmlns:a16="http://schemas.microsoft.com/office/drawing/2014/main" id="{EF374D64-393B-4957-9AF7-09E92212793E}"/>
              </a:ext>
            </a:extLst>
          </p:cNvPr>
          <p:cNvSpPr txBox="1">
            <a:spLocks noChangeArrowheads="1"/>
          </p:cNvSpPr>
          <p:nvPr/>
        </p:nvSpPr>
        <p:spPr bwMode="auto">
          <a:xfrm>
            <a:off x="5725081" y="1951085"/>
            <a:ext cx="1894920"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eaLnBrk="1" hangingPunct="1">
              <a:lnSpc>
                <a:spcPct val="100000"/>
              </a:lnSpc>
              <a:spcAft>
                <a:spcPct val="0"/>
              </a:spcAft>
            </a:pPr>
            <a:r>
              <a:rPr lang="en-GB" altLang="fr-FR" sz="1000" dirty="0"/>
              <a:t>Weighting Scheme</a:t>
            </a:r>
          </a:p>
        </p:txBody>
      </p:sp>
      <p:sp>
        <p:nvSpPr>
          <p:cNvPr id="31" name="TextBox 72">
            <a:extLst>
              <a:ext uri="{FF2B5EF4-FFF2-40B4-BE49-F238E27FC236}">
                <a16:creationId xmlns="" xmlns:a16="http://schemas.microsoft.com/office/drawing/2014/main" id="{22D7BE17-9DB6-481A-984A-4B2F63BFDD40}"/>
              </a:ext>
            </a:extLst>
          </p:cNvPr>
          <p:cNvSpPr txBox="1"/>
          <p:nvPr/>
        </p:nvSpPr>
        <p:spPr>
          <a:xfrm>
            <a:off x="614324" y="1624641"/>
            <a:ext cx="3861219" cy="253916"/>
          </a:xfrm>
          <a:prstGeom prst="rect">
            <a:avLst/>
          </a:prstGeom>
          <a:solidFill>
            <a:schemeClr val="tx1"/>
          </a:solidFill>
          <a:effectLst/>
        </p:spPr>
        <p:txBody>
          <a:bodyPr wrap="square">
            <a:spAutoFit/>
          </a:bodyPr>
          <a:lstStyle/>
          <a:p>
            <a:pPr algn="ctr">
              <a:defRPr/>
            </a:pPr>
            <a:r>
              <a:rPr lang="fr-FR" sz="1050" dirty="0">
                <a:solidFill>
                  <a:schemeClr val="bg1"/>
                </a:solidFill>
                <a:latin typeface="Arial" charset="0"/>
                <a:cs typeface="Arial" charset="0"/>
              </a:rPr>
              <a:t>SUB-INDICES CONSTRUCTION PROCESS</a:t>
            </a:r>
          </a:p>
        </p:txBody>
      </p:sp>
      <p:sp>
        <p:nvSpPr>
          <p:cNvPr id="32" name="TextBox 73">
            <a:extLst>
              <a:ext uri="{FF2B5EF4-FFF2-40B4-BE49-F238E27FC236}">
                <a16:creationId xmlns="" xmlns:a16="http://schemas.microsoft.com/office/drawing/2014/main" id="{58B742F7-EE73-46D9-95E0-DC266DBA2227}"/>
              </a:ext>
            </a:extLst>
          </p:cNvPr>
          <p:cNvSpPr txBox="1"/>
          <p:nvPr/>
        </p:nvSpPr>
        <p:spPr>
          <a:xfrm>
            <a:off x="4761197" y="1624641"/>
            <a:ext cx="3713506" cy="253916"/>
          </a:xfrm>
          <a:prstGeom prst="rect">
            <a:avLst/>
          </a:prstGeom>
          <a:solidFill>
            <a:schemeClr val="tx1"/>
          </a:solidFill>
          <a:effectLst/>
        </p:spPr>
        <p:txBody>
          <a:bodyPr wrap="square">
            <a:spAutoFit/>
          </a:bodyPr>
          <a:lstStyle/>
          <a:p>
            <a:pPr algn="ctr">
              <a:defRPr/>
            </a:pPr>
            <a:r>
              <a:rPr lang="fr-FR" sz="1050" dirty="0">
                <a:solidFill>
                  <a:schemeClr val="bg1"/>
                </a:solidFill>
                <a:latin typeface="Arial" charset="0"/>
                <a:cs typeface="Arial" charset="0"/>
              </a:rPr>
              <a:t>INDEX CONSTRUCTION PROCESS</a:t>
            </a:r>
          </a:p>
        </p:txBody>
      </p:sp>
      <p:sp>
        <p:nvSpPr>
          <p:cNvPr id="37" name="Right Arrow 20">
            <a:extLst>
              <a:ext uri="{FF2B5EF4-FFF2-40B4-BE49-F238E27FC236}">
                <a16:creationId xmlns="" xmlns:a16="http://schemas.microsoft.com/office/drawing/2014/main" id="{BCCAD695-7A69-4514-AAD4-95FA7A4BCE5E}"/>
              </a:ext>
            </a:extLst>
          </p:cNvPr>
          <p:cNvSpPr>
            <a:spLocks noChangeArrowheads="1"/>
          </p:cNvSpPr>
          <p:nvPr/>
        </p:nvSpPr>
        <p:spPr bwMode="auto">
          <a:xfrm rot="5400000">
            <a:off x="2560197" y="2488784"/>
            <a:ext cx="720000" cy="150558"/>
          </a:xfrm>
          <a:prstGeom prst="triangle">
            <a:avLst/>
          </a:prstGeom>
          <a:solidFill>
            <a:schemeClr val="accent1"/>
          </a:solidFill>
          <a:ln w="3175" cap="flat" cmpd="sng" algn="ctr">
            <a:noFill/>
            <a:prstDash val="solid"/>
            <a:round/>
            <a:headEnd type="none" w="med" len="med"/>
            <a:tailEnd type="none" w="med" len="med"/>
          </a:ln>
          <a:effectLst/>
          <a:extLst/>
        </p:spPr>
        <p:txBody>
          <a:bodyPr vert="vert270" wrap="none" lIns="0" tIns="0" rIns="0" bIns="0" anchor="ctr"/>
          <a:lstStyle>
            <a:lvl1pPr marL="3175" indent="-3175"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a:spcAft>
                <a:spcPts val="0"/>
              </a:spcAft>
            </a:pPr>
            <a:endParaRPr lang="fr-FR" altLang="fr-FR" sz="1200">
              <a:solidFill>
                <a:schemeClr val="bg2">
                  <a:lumMod val="50000"/>
                </a:schemeClr>
              </a:solidFill>
              <a:latin typeface="Arial" charset="0"/>
              <a:cs typeface="Arial" charset="0"/>
            </a:endParaRPr>
          </a:p>
        </p:txBody>
      </p:sp>
      <p:sp>
        <p:nvSpPr>
          <p:cNvPr id="41" name="Right Arrow 20">
            <a:extLst>
              <a:ext uri="{FF2B5EF4-FFF2-40B4-BE49-F238E27FC236}">
                <a16:creationId xmlns="" xmlns:a16="http://schemas.microsoft.com/office/drawing/2014/main" id="{11A1318E-1156-403D-B980-C59D1815383E}"/>
              </a:ext>
            </a:extLst>
          </p:cNvPr>
          <p:cNvSpPr>
            <a:spLocks noChangeArrowheads="1"/>
          </p:cNvSpPr>
          <p:nvPr/>
        </p:nvSpPr>
        <p:spPr bwMode="auto">
          <a:xfrm rot="5400000">
            <a:off x="2645000" y="3368951"/>
            <a:ext cx="720000" cy="150558"/>
          </a:xfrm>
          <a:prstGeom prst="triangle">
            <a:avLst/>
          </a:prstGeom>
          <a:solidFill>
            <a:schemeClr val="bg1"/>
          </a:solidFill>
          <a:ln w="3175" cap="flat" cmpd="sng" algn="ctr">
            <a:noFill/>
            <a:prstDash val="solid"/>
            <a:round/>
            <a:headEnd type="none" w="med" len="med"/>
            <a:tailEnd type="none" w="med" len="med"/>
          </a:ln>
          <a:effectLst/>
          <a:extLst/>
        </p:spPr>
        <p:txBody>
          <a:bodyPr vert="vert270" wrap="none" lIns="0" tIns="0" rIns="0" bIns="0" anchor="ctr"/>
          <a:lstStyle>
            <a:lvl1pPr marL="3175" indent="-3175"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a:spcAft>
                <a:spcPts val="0"/>
              </a:spcAft>
            </a:pPr>
            <a:endParaRPr lang="fr-FR" altLang="fr-FR" sz="1200">
              <a:solidFill>
                <a:schemeClr val="bg2">
                  <a:lumMod val="50000"/>
                </a:schemeClr>
              </a:solidFill>
              <a:latin typeface="Arial" charset="0"/>
              <a:cs typeface="Arial" charset="0"/>
            </a:endParaRPr>
          </a:p>
        </p:txBody>
      </p:sp>
      <p:sp>
        <p:nvSpPr>
          <p:cNvPr id="42" name="Right Arrow 20">
            <a:extLst>
              <a:ext uri="{FF2B5EF4-FFF2-40B4-BE49-F238E27FC236}">
                <a16:creationId xmlns="" xmlns:a16="http://schemas.microsoft.com/office/drawing/2014/main" id="{F7E4C3AA-D6AC-4892-98D7-4118453EF5F5}"/>
              </a:ext>
            </a:extLst>
          </p:cNvPr>
          <p:cNvSpPr>
            <a:spLocks noChangeArrowheads="1"/>
          </p:cNvSpPr>
          <p:nvPr/>
        </p:nvSpPr>
        <p:spPr bwMode="auto">
          <a:xfrm rot="5400000">
            <a:off x="2560197" y="3385373"/>
            <a:ext cx="720000" cy="150558"/>
          </a:xfrm>
          <a:prstGeom prst="triangle">
            <a:avLst/>
          </a:prstGeom>
          <a:solidFill>
            <a:schemeClr val="accent1"/>
          </a:solidFill>
          <a:ln w="3175" cap="flat" cmpd="sng" algn="ctr">
            <a:noFill/>
            <a:prstDash val="solid"/>
            <a:round/>
            <a:headEnd type="none" w="med" len="med"/>
            <a:tailEnd type="none" w="med" len="med"/>
          </a:ln>
          <a:effectLst/>
          <a:extLst/>
        </p:spPr>
        <p:txBody>
          <a:bodyPr vert="vert270" wrap="none" lIns="0" tIns="0" rIns="0" bIns="0" anchor="ctr"/>
          <a:lstStyle>
            <a:lvl1pPr marL="3175" indent="-3175"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a:spcAft>
                <a:spcPts val="0"/>
              </a:spcAft>
            </a:pPr>
            <a:endParaRPr lang="fr-FR" altLang="fr-FR" sz="1200">
              <a:solidFill>
                <a:schemeClr val="bg2">
                  <a:lumMod val="50000"/>
                </a:schemeClr>
              </a:solidFill>
              <a:latin typeface="Arial" charset="0"/>
              <a:cs typeface="Arial" charset="0"/>
            </a:endParaRPr>
          </a:p>
        </p:txBody>
      </p:sp>
      <p:sp>
        <p:nvSpPr>
          <p:cNvPr id="43" name="Right Arrow 20">
            <a:extLst>
              <a:ext uri="{FF2B5EF4-FFF2-40B4-BE49-F238E27FC236}">
                <a16:creationId xmlns="" xmlns:a16="http://schemas.microsoft.com/office/drawing/2014/main" id="{636B0AF6-C23D-4C32-917B-8CF29174C2FA}"/>
              </a:ext>
            </a:extLst>
          </p:cNvPr>
          <p:cNvSpPr>
            <a:spLocks noChangeArrowheads="1"/>
          </p:cNvSpPr>
          <p:nvPr/>
        </p:nvSpPr>
        <p:spPr bwMode="auto">
          <a:xfrm rot="5400000">
            <a:off x="2645000" y="4291392"/>
            <a:ext cx="720000" cy="150558"/>
          </a:xfrm>
          <a:prstGeom prst="triangle">
            <a:avLst/>
          </a:prstGeom>
          <a:solidFill>
            <a:schemeClr val="bg1"/>
          </a:solidFill>
          <a:ln w="3175" cap="flat" cmpd="sng" algn="ctr">
            <a:noFill/>
            <a:prstDash val="solid"/>
            <a:round/>
            <a:headEnd type="none" w="med" len="med"/>
            <a:tailEnd type="none" w="med" len="med"/>
          </a:ln>
          <a:effectLst/>
          <a:extLst/>
        </p:spPr>
        <p:txBody>
          <a:bodyPr vert="vert270" wrap="none" lIns="0" tIns="0" rIns="0" bIns="0" anchor="ctr"/>
          <a:lstStyle>
            <a:lvl1pPr marL="3175" indent="-3175"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a:spcAft>
                <a:spcPts val="0"/>
              </a:spcAft>
            </a:pPr>
            <a:endParaRPr lang="fr-FR" altLang="fr-FR" sz="1200">
              <a:solidFill>
                <a:schemeClr val="bg2">
                  <a:lumMod val="50000"/>
                </a:schemeClr>
              </a:solidFill>
              <a:latin typeface="Arial" charset="0"/>
              <a:cs typeface="Arial" charset="0"/>
            </a:endParaRPr>
          </a:p>
        </p:txBody>
      </p:sp>
      <p:sp>
        <p:nvSpPr>
          <p:cNvPr id="44" name="Right Arrow 20">
            <a:extLst>
              <a:ext uri="{FF2B5EF4-FFF2-40B4-BE49-F238E27FC236}">
                <a16:creationId xmlns="" xmlns:a16="http://schemas.microsoft.com/office/drawing/2014/main" id="{250C670B-7BBD-4CBA-B64C-69E3887B3FE6}"/>
              </a:ext>
            </a:extLst>
          </p:cNvPr>
          <p:cNvSpPr>
            <a:spLocks noChangeArrowheads="1"/>
          </p:cNvSpPr>
          <p:nvPr/>
        </p:nvSpPr>
        <p:spPr bwMode="auto">
          <a:xfrm rot="5400000">
            <a:off x="2560197" y="4291392"/>
            <a:ext cx="720000" cy="150558"/>
          </a:xfrm>
          <a:prstGeom prst="triangle">
            <a:avLst/>
          </a:prstGeom>
          <a:solidFill>
            <a:schemeClr val="accent1"/>
          </a:solidFill>
          <a:ln w="3175" cap="flat" cmpd="sng" algn="ctr">
            <a:noFill/>
            <a:prstDash val="solid"/>
            <a:round/>
            <a:headEnd type="none" w="med" len="med"/>
            <a:tailEnd type="none" w="med" len="med"/>
          </a:ln>
          <a:effectLst/>
          <a:extLst/>
        </p:spPr>
        <p:txBody>
          <a:bodyPr vert="vert270" wrap="none" lIns="0" tIns="0" rIns="0" bIns="0" anchor="ctr"/>
          <a:lstStyle>
            <a:lvl1pPr marL="3175" indent="-3175"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a:spcAft>
                <a:spcPts val="0"/>
              </a:spcAft>
            </a:pPr>
            <a:endParaRPr lang="fr-FR" altLang="fr-FR" sz="1200">
              <a:solidFill>
                <a:schemeClr val="bg2">
                  <a:lumMod val="50000"/>
                </a:schemeClr>
              </a:solidFill>
              <a:latin typeface="Arial" charset="0"/>
              <a:cs typeface="Arial" charset="0"/>
            </a:endParaRPr>
          </a:p>
        </p:txBody>
      </p:sp>
      <p:sp>
        <p:nvSpPr>
          <p:cNvPr id="45" name="Right Arrow 20">
            <a:extLst>
              <a:ext uri="{FF2B5EF4-FFF2-40B4-BE49-F238E27FC236}">
                <a16:creationId xmlns="" xmlns:a16="http://schemas.microsoft.com/office/drawing/2014/main" id="{B988517E-567E-4834-89D0-F148E1B7BFB1}"/>
              </a:ext>
            </a:extLst>
          </p:cNvPr>
          <p:cNvSpPr>
            <a:spLocks noChangeArrowheads="1"/>
          </p:cNvSpPr>
          <p:nvPr/>
        </p:nvSpPr>
        <p:spPr bwMode="auto">
          <a:xfrm rot="5400000">
            <a:off x="2645000" y="5198289"/>
            <a:ext cx="720000" cy="150558"/>
          </a:xfrm>
          <a:prstGeom prst="triangle">
            <a:avLst/>
          </a:prstGeom>
          <a:solidFill>
            <a:schemeClr val="bg1"/>
          </a:solidFill>
          <a:ln w="3175" cap="flat" cmpd="sng" algn="ctr">
            <a:noFill/>
            <a:prstDash val="solid"/>
            <a:round/>
            <a:headEnd type="none" w="med" len="med"/>
            <a:tailEnd type="none" w="med" len="med"/>
          </a:ln>
          <a:effectLst/>
          <a:extLst/>
        </p:spPr>
        <p:txBody>
          <a:bodyPr vert="vert270" wrap="none" lIns="0" tIns="0" rIns="0" bIns="0" anchor="ctr"/>
          <a:lstStyle>
            <a:lvl1pPr marL="3175" indent="-3175"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a:spcAft>
                <a:spcPts val="0"/>
              </a:spcAft>
            </a:pPr>
            <a:endParaRPr lang="fr-FR" altLang="fr-FR" sz="1200">
              <a:solidFill>
                <a:schemeClr val="bg2">
                  <a:lumMod val="50000"/>
                </a:schemeClr>
              </a:solidFill>
              <a:latin typeface="Arial" charset="0"/>
              <a:cs typeface="Arial" charset="0"/>
            </a:endParaRPr>
          </a:p>
        </p:txBody>
      </p:sp>
      <p:sp>
        <p:nvSpPr>
          <p:cNvPr id="46" name="Right Arrow 20">
            <a:extLst>
              <a:ext uri="{FF2B5EF4-FFF2-40B4-BE49-F238E27FC236}">
                <a16:creationId xmlns="" xmlns:a16="http://schemas.microsoft.com/office/drawing/2014/main" id="{C2969EC5-DCC5-40D5-B71A-3BB9F33057CC}"/>
              </a:ext>
            </a:extLst>
          </p:cNvPr>
          <p:cNvSpPr>
            <a:spLocks noChangeArrowheads="1"/>
          </p:cNvSpPr>
          <p:nvPr/>
        </p:nvSpPr>
        <p:spPr bwMode="auto">
          <a:xfrm rot="5400000">
            <a:off x="2560197" y="5216265"/>
            <a:ext cx="720000" cy="150558"/>
          </a:xfrm>
          <a:prstGeom prst="triangle">
            <a:avLst/>
          </a:prstGeom>
          <a:solidFill>
            <a:schemeClr val="accent1"/>
          </a:solidFill>
          <a:ln w="3175" cap="flat" cmpd="sng" algn="ctr">
            <a:noFill/>
            <a:prstDash val="solid"/>
            <a:round/>
            <a:headEnd type="none" w="med" len="med"/>
            <a:tailEnd type="none" w="med" len="med"/>
          </a:ln>
          <a:effectLst/>
          <a:extLst/>
        </p:spPr>
        <p:txBody>
          <a:bodyPr vert="vert270" wrap="none" lIns="0" tIns="0" rIns="0" bIns="0" anchor="ctr"/>
          <a:lstStyle>
            <a:lvl1pPr marL="3175" indent="-3175" eaLnBrk="0" hangingPunct="0">
              <a:lnSpc>
                <a:spcPct val="90000"/>
              </a:lnSpc>
              <a:spcAft>
                <a:spcPct val="60000"/>
              </a:spcAft>
              <a:defRPr b="1">
                <a:solidFill>
                  <a:schemeClr val="tx1"/>
                </a:solidFill>
                <a:latin typeface="Arial" pitchFamily="34" charset="0"/>
                <a:cs typeface="Arial" pitchFamily="34" charset="0"/>
              </a:defRPr>
            </a:lvl1pPr>
            <a:lvl2pPr marL="742950" indent="-285750" eaLnBrk="0" hangingPunct="0">
              <a:buClr>
                <a:srgbClr val="EF7E00"/>
              </a:buClr>
              <a:buFont typeface="Wingdings" pitchFamily="2" charset="2"/>
              <a:buChar char="n"/>
              <a:defRPr sz="1600">
                <a:solidFill>
                  <a:schemeClr val="accent2"/>
                </a:solidFill>
                <a:latin typeface="Arial" pitchFamily="34" charset="0"/>
                <a:cs typeface="Arial" pitchFamily="34" charset="0"/>
              </a:defRPr>
            </a:lvl2pPr>
            <a:lvl3pPr marL="1143000" indent="-228600" eaLnBrk="0" hangingPunct="0">
              <a:buClr>
                <a:schemeClr val="accent2"/>
              </a:buClr>
              <a:buFont typeface="Arial" pitchFamily="34" charset="0"/>
              <a:buChar char="–"/>
              <a:defRPr sz="1400">
                <a:solidFill>
                  <a:schemeClr val="tx1"/>
                </a:solidFill>
                <a:latin typeface="Arial" pitchFamily="34" charset="0"/>
                <a:cs typeface="Arial" pitchFamily="34" charset="0"/>
              </a:defRPr>
            </a:lvl3pPr>
            <a:lvl4pPr marL="1600200" indent="-228600" eaLnBrk="0" hangingPunct="0">
              <a:spcBef>
                <a:spcPct val="25000"/>
              </a:spcBef>
              <a:buClr>
                <a:schemeClr val="hlink"/>
              </a:buClr>
              <a:defRPr sz="1200">
                <a:solidFill>
                  <a:srgbClr val="767A7E"/>
                </a:solidFill>
                <a:latin typeface="Arial" pitchFamily="34" charset="0"/>
                <a:cs typeface="Arial" pitchFamily="34" charset="0"/>
              </a:defRPr>
            </a:lvl4pPr>
            <a:lvl5pPr marL="2057400" indent="-228600" eaLnBrk="0" hangingPunct="0">
              <a:spcBef>
                <a:spcPct val="25000"/>
              </a:spcBef>
              <a:buClr>
                <a:srgbClr val="EF7E00"/>
              </a:buClr>
              <a:buFont typeface="Wingdings" pitchFamily="2" charset="2"/>
              <a:buChar char="n"/>
              <a:defRPr sz="1000">
                <a:solidFill>
                  <a:schemeClr val="tx1"/>
                </a:solidFill>
                <a:latin typeface="Arial" pitchFamily="34" charset="0"/>
                <a:cs typeface="Arial" pitchFamily="34" charset="0"/>
              </a:defRPr>
            </a:lvl5pPr>
            <a:lvl6pPr marL="25146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6pPr>
            <a:lvl7pPr marL="29718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7pPr>
            <a:lvl8pPr marL="34290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8pPr>
            <a:lvl9pPr marL="3886200" indent="-228600" eaLnBrk="0" fontAlgn="base" hangingPunct="0">
              <a:spcBef>
                <a:spcPct val="25000"/>
              </a:spcBef>
              <a:spcAft>
                <a:spcPct val="0"/>
              </a:spcAft>
              <a:buClr>
                <a:srgbClr val="EF7E00"/>
              </a:buClr>
              <a:buFont typeface="Wingdings" pitchFamily="2" charset="2"/>
              <a:buChar char="n"/>
              <a:defRPr sz="1000">
                <a:solidFill>
                  <a:schemeClr val="tx1"/>
                </a:solidFill>
                <a:latin typeface="Arial" pitchFamily="34" charset="0"/>
                <a:cs typeface="Arial" pitchFamily="34" charset="0"/>
              </a:defRPr>
            </a:lvl9pPr>
          </a:lstStyle>
          <a:p>
            <a:pPr algn="ctr">
              <a:spcAft>
                <a:spcPts val="0"/>
              </a:spcAft>
            </a:pPr>
            <a:endParaRPr lang="fr-FR" altLang="fr-FR" sz="1200">
              <a:solidFill>
                <a:schemeClr val="bg2">
                  <a:lumMod val="50000"/>
                </a:schemeClr>
              </a:solidFill>
              <a:latin typeface="Arial" charset="0"/>
              <a:cs typeface="Arial" charset="0"/>
            </a:endParaRPr>
          </a:p>
        </p:txBody>
      </p:sp>
      <p:sp>
        <p:nvSpPr>
          <p:cNvPr id="40"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3" name="Rectangle 2"/>
          <p:cNvSpPr/>
          <p:nvPr/>
        </p:nvSpPr>
        <p:spPr>
          <a:xfrm>
            <a:off x="6013525" y="131880"/>
            <a:ext cx="2595083" cy="3839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schemeClr val="tx1"/>
                </a:solidFill>
              </a:rPr>
              <a:t>Scientific Beta</a:t>
            </a:r>
            <a:endParaRPr lang="fr-FR" dirty="0">
              <a:solidFill>
                <a:schemeClr val="tx1"/>
              </a:solidFill>
            </a:endParaRPr>
          </a:p>
        </p:txBody>
      </p:sp>
    </p:spTree>
    <p:extLst>
      <p:ext uri="{BB962C8B-B14F-4D97-AF65-F5344CB8AC3E}">
        <p14:creationId xmlns:p14="http://schemas.microsoft.com/office/powerpoint/2010/main" val="332068462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Multi-Factor Investing </a:t>
            </a:r>
            <a:r>
              <a:rPr lang="en-US" dirty="0">
                <a:solidFill>
                  <a:srgbClr val="00B0F0"/>
                </a:solidFill>
              </a:rPr>
              <a:t>to diversify across factors</a:t>
            </a:r>
            <a:endParaRPr lang="fr-FR" dirty="0"/>
          </a:p>
        </p:txBody>
      </p:sp>
      <p:sp>
        <p:nvSpPr>
          <p:cNvPr id="4" name="Espace réservé du numéro de diapositive 3"/>
          <p:cNvSpPr>
            <a:spLocks noGrp="1"/>
          </p:cNvSpPr>
          <p:nvPr>
            <p:ph type="sldNum" sz="quarter" idx="12"/>
          </p:nvPr>
        </p:nvSpPr>
        <p:spPr/>
        <p:txBody>
          <a:bodyPr/>
          <a:lstStyle/>
          <a:p>
            <a:fld id="{2B1C6FFC-D040-034F-8B69-20295064E64D}" type="slidenum">
              <a:rPr lang="fr-FR" smtClean="0"/>
              <a:t>38</a:t>
            </a:fld>
            <a:endParaRPr lang="fr-FR" dirty="0"/>
          </a:p>
        </p:txBody>
      </p:sp>
      <p:sp>
        <p:nvSpPr>
          <p:cNvPr id="9" name="Rectangle 8"/>
          <p:cNvSpPr/>
          <p:nvPr/>
        </p:nvSpPr>
        <p:spPr>
          <a:xfrm>
            <a:off x="539999" y="5964725"/>
            <a:ext cx="7515429" cy="313932"/>
          </a:xfrm>
          <a:prstGeom prst="rect">
            <a:avLst/>
          </a:prstGeom>
        </p:spPr>
        <p:txBody>
          <a:bodyPr wrap="square">
            <a:spAutoFit/>
          </a:bodyPr>
          <a:lstStyle/>
          <a:p>
            <a:pPr marL="3175" marR="0" lvl="0" indent="-3175" defTabSz="914400" eaLnBrk="0" fontAlgn="base" latinLnBrk="0" hangingPunct="0">
              <a:lnSpc>
                <a:spcPct val="90000"/>
              </a:lnSpc>
              <a:spcBef>
                <a:spcPct val="0"/>
              </a:spcBef>
              <a:spcAft>
                <a:spcPct val="60000"/>
              </a:spcAft>
              <a:buClrTx/>
              <a:buSzTx/>
              <a:buFontTx/>
              <a:buNone/>
              <a:tabLst/>
              <a:defRPr/>
            </a:pPr>
            <a:r>
              <a:rPr kumimoji="0" lang="en-US" sz="800" i="0" u="none" strike="noStrike" kern="0" cap="none" spc="0" normalizeH="0" baseline="0" noProof="0" dirty="0" smtClean="0">
                <a:ln>
                  <a:noFill/>
                </a:ln>
                <a:solidFill>
                  <a:srgbClr val="767A7E"/>
                </a:solidFill>
                <a:effectLst/>
                <a:uLnTx/>
                <a:uFillTx/>
              </a:rPr>
              <a:t>Source: Scientific Beta, Amundi. Data from May 2014 to </a:t>
            </a:r>
            <a:r>
              <a:rPr lang="en-US" sz="800" kern="0" dirty="0" smtClean="0">
                <a:solidFill>
                  <a:srgbClr val="767A7E"/>
                </a:solidFill>
              </a:rPr>
              <a:t>January </a:t>
            </a:r>
            <a:r>
              <a:rPr kumimoji="0" lang="en-US" sz="800" i="0" u="none" strike="noStrike" kern="0" cap="none" spc="0" normalizeH="0" baseline="0" noProof="0" dirty="0" smtClean="0">
                <a:ln>
                  <a:noFill/>
                </a:ln>
                <a:solidFill>
                  <a:srgbClr val="767A7E"/>
                </a:solidFill>
                <a:effectLst/>
                <a:uLnTx/>
                <a:uFillTx/>
              </a:rPr>
              <a:t>2018 in USD</a:t>
            </a:r>
            <a:r>
              <a:rPr kumimoji="0" lang="en-US" sz="800" i="0" u="none" strike="noStrike" kern="0" cap="none" spc="0" normalizeH="0" noProof="0" dirty="0" smtClean="0">
                <a:ln>
                  <a:noFill/>
                </a:ln>
                <a:solidFill>
                  <a:srgbClr val="767A7E"/>
                </a:solidFill>
                <a:effectLst/>
                <a:uLnTx/>
                <a:uFillTx/>
              </a:rPr>
              <a:t> </a:t>
            </a:r>
            <a:r>
              <a:rPr kumimoji="0" lang="en-US" sz="800" i="0" u="none" strike="noStrike" kern="0" cap="none" spc="0" normalizeH="0" baseline="0" noProof="0" dirty="0" smtClean="0">
                <a:ln>
                  <a:noFill/>
                </a:ln>
                <a:solidFill>
                  <a:srgbClr val="767A7E"/>
                </a:solidFill>
                <a:effectLst/>
                <a:uLnTx/>
                <a:uFillTx/>
              </a:rPr>
              <a:t>Investors are reminded that the past performance cannot be regarded as a reliable indicator of future results, nor can they guarantee expected return</a:t>
            </a:r>
            <a:endParaRPr kumimoji="0" lang="en-US" sz="800" i="0" u="none" strike="noStrike" kern="0" cap="none" spc="0" normalizeH="0" baseline="0" noProof="0" dirty="0">
              <a:ln>
                <a:noFill/>
              </a:ln>
              <a:solidFill>
                <a:srgbClr val="767A7E"/>
              </a:solidFill>
              <a:effectLst/>
              <a:uLnTx/>
              <a:uFillTx/>
            </a:endParaRPr>
          </a:p>
        </p:txBody>
      </p:sp>
      <p:sp>
        <p:nvSpPr>
          <p:cNvPr id="8"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10" name="Rectangle 9"/>
          <p:cNvSpPr/>
          <p:nvPr/>
        </p:nvSpPr>
        <p:spPr>
          <a:xfrm>
            <a:off x="6013525" y="131880"/>
            <a:ext cx="2595083" cy="3839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schemeClr val="tx1"/>
                </a:solidFill>
              </a:rPr>
              <a:t>Scientific Beta</a:t>
            </a:r>
            <a:endParaRPr lang="fr-FR" dirty="0">
              <a:solidFill>
                <a:schemeClr val="tx1"/>
              </a:solidFill>
            </a:endParaRPr>
          </a:p>
        </p:txBody>
      </p:sp>
      <p:graphicFrame>
        <p:nvGraphicFramePr>
          <p:cNvPr id="11" name="Chart 14"/>
          <p:cNvGraphicFramePr>
            <a:graphicFrameLocks/>
          </p:cNvGraphicFramePr>
          <p:nvPr>
            <p:extLst>
              <p:ext uri="{D42A27DB-BD31-4B8C-83A1-F6EECF244321}">
                <p14:modId xmlns:p14="http://schemas.microsoft.com/office/powerpoint/2010/main" val="3839668561"/>
              </p:ext>
            </p:extLst>
          </p:nvPr>
        </p:nvGraphicFramePr>
        <p:xfrm>
          <a:off x="796719" y="3424725"/>
          <a:ext cx="7608372" cy="2540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8"/>
          <p:cNvGraphicFramePr>
            <a:graphicFrameLocks/>
          </p:cNvGraphicFramePr>
          <p:nvPr>
            <p:extLst>
              <p:ext uri="{D42A27DB-BD31-4B8C-83A1-F6EECF244321}">
                <p14:modId xmlns:p14="http://schemas.microsoft.com/office/powerpoint/2010/main" val="2604836300"/>
              </p:ext>
            </p:extLst>
          </p:nvPr>
        </p:nvGraphicFramePr>
        <p:xfrm>
          <a:off x="301083" y="1119590"/>
          <a:ext cx="8697951" cy="230513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9966841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dirty="0"/>
              <a:t>Portfolio snapshot – </a:t>
            </a:r>
            <a:r>
              <a:rPr lang="en-GB" dirty="0" smtClean="0"/>
              <a:t>January 2018</a:t>
            </a:r>
            <a:endParaRPr lang="fr-FR" dirty="0"/>
          </a:p>
        </p:txBody>
      </p:sp>
      <p:sp>
        <p:nvSpPr>
          <p:cNvPr id="4" name="Espace réservé du numéro de diapositive 3"/>
          <p:cNvSpPr>
            <a:spLocks noGrp="1"/>
          </p:cNvSpPr>
          <p:nvPr>
            <p:ph type="sldNum" sz="quarter" idx="12"/>
          </p:nvPr>
        </p:nvSpPr>
        <p:spPr/>
        <p:txBody>
          <a:bodyPr/>
          <a:lstStyle/>
          <a:p>
            <a:fld id="{2B1C6FFC-D040-034F-8B69-20295064E64D}" type="slidenum">
              <a:rPr lang="fr-FR" smtClean="0"/>
              <a:t>39</a:t>
            </a:fld>
            <a:endParaRPr lang="fr-FR" dirty="0"/>
          </a:p>
        </p:txBody>
      </p:sp>
      <p:sp>
        <p:nvSpPr>
          <p:cNvPr id="6" name="ZoneTexte 12"/>
          <p:cNvSpPr txBox="1"/>
          <p:nvPr/>
        </p:nvSpPr>
        <p:spPr>
          <a:xfrm>
            <a:off x="478485" y="972804"/>
            <a:ext cx="2905125" cy="401955"/>
          </a:xfrm>
          <a:prstGeom prst="rect">
            <a:avLst/>
          </a:prstGeom>
          <a:noFill/>
        </p:spPr>
        <p:txBody>
          <a:bodyPr wrap="square" tIns="108000" bIns="108000" rtlCol="0" anchor="ctr">
            <a:noAutofit/>
          </a:bodyPr>
          <a:lstStyle/>
          <a:p>
            <a:pPr defTabSz="457200"/>
            <a:r>
              <a:rPr lang="en-US" sz="1200" dirty="0">
                <a:solidFill>
                  <a:srgbClr val="767A7E"/>
                </a:solidFill>
                <a:latin typeface="+mj-lt"/>
                <a:ea typeface="PMingLiU"/>
                <a:cs typeface="Times New Roman"/>
              </a:rPr>
              <a:t>Sector breakdown</a:t>
            </a:r>
            <a:endParaRPr lang="fr-FR" sz="1200" dirty="0">
              <a:solidFill>
                <a:srgbClr val="767A7E"/>
              </a:solidFill>
              <a:latin typeface="+mj-lt"/>
              <a:ea typeface="PMingLiU"/>
              <a:cs typeface="Times New Roman"/>
            </a:endParaRPr>
          </a:p>
        </p:txBody>
      </p:sp>
      <p:cxnSp>
        <p:nvCxnSpPr>
          <p:cNvPr id="7" name="Connecteur droit 19"/>
          <p:cNvCxnSpPr/>
          <p:nvPr/>
        </p:nvCxnSpPr>
        <p:spPr>
          <a:xfrm>
            <a:off x="492606" y="1310667"/>
            <a:ext cx="4032000" cy="0"/>
          </a:xfrm>
          <a:prstGeom prst="line">
            <a:avLst/>
          </a:prstGeom>
          <a:ln w="28575">
            <a:solidFill>
              <a:srgbClr val="ADAFB2"/>
            </a:solidFill>
          </a:ln>
        </p:spPr>
        <p:style>
          <a:lnRef idx="1">
            <a:schemeClr val="accent1"/>
          </a:lnRef>
          <a:fillRef idx="0">
            <a:schemeClr val="accent1"/>
          </a:fillRef>
          <a:effectRef idx="0">
            <a:schemeClr val="accent1"/>
          </a:effectRef>
          <a:fontRef idx="minor">
            <a:schemeClr val="tx1"/>
          </a:fontRef>
        </p:style>
      </p:cxnSp>
      <p:grpSp>
        <p:nvGrpSpPr>
          <p:cNvPr id="8" name="Groupe 24"/>
          <p:cNvGrpSpPr/>
          <p:nvPr/>
        </p:nvGrpSpPr>
        <p:grpSpPr>
          <a:xfrm>
            <a:off x="4877197" y="972804"/>
            <a:ext cx="3727251" cy="401955"/>
            <a:chOff x="-851701" y="75094"/>
            <a:chExt cx="5272735" cy="402055"/>
          </a:xfrm>
        </p:grpSpPr>
        <p:sp>
          <p:nvSpPr>
            <p:cNvPr id="9" name="ZoneTexte 12"/>
            <p:cNvSpPr txBox="1"/>
            <p:nvPr/>
          </p:nvSpPr>
          <p:spPr>
            <a:xfrm>
              <a:off x="-851701" y="75094"/>
              <a:ext cx="4109719" cy="402055"/>
            </a:xfrm>
            <a:prstGeom prst="rect">
              <a:avLst/>
            </a:prstGeom>
            <a:noFill/>
          </p:spPr>
          <p:txBody>
            <a:bodyPr wrap="square" tIns="108000" bIns="108000" rtlCol="0" anchor="ctr">
              <a:noAutofit/>
            </a:bodyPr>
            <a:lstStyle/>
            <a:p>
              <a:r>
                <a:rPr lang="en-US" sz="1200" dirty="0">
                  <a:solidFill>
                    <a:srgbClr val="767A7E"/>
                  </a:solidFill>
                  <a:latin typeface="+mj-lt"/>
                  <a:ea typeface="PMingLiU"/>
                  <a:cs typeface="Times New Roman"/>
                </a:rPr>
                <a:t>Country breakdown</a:t>
              </a:r>
              <a:endParaRPr lang="fr-FR" sz="1200" dirty="0">
                <a:solidFill>
                  <a:srgbClr val="767A7E"/>
                </a:solidFill>
                <a:latin typeface="+mj-lt"/>
                <a:ea typeface="PMingLiU"/>
                <a:cs typeface="Times New Roman"/>
              </a:endParaRPr>
            </a:p>
          </p:txBody>
        </p:sp>
        <p:cxnSp>
          <p:nvCxnSpPr>
            <p:cNvPr id="10" name="Connecteur droit 26"/>
            <p:cNvCxnSpPr/>
            <p:nvPr/>
          </p:nvCxnSpPr>
          <p:spPr>
            <a:xfrm>
              <a:off x="-842156" y="412691"/>
              <a:ext cx="5263190" cy="0"/>
            </a:xfrm>
            <a:prstGeom prst="line">
              <a:avLst/>
            </a:prstGeom>
            <a:ln w="28575">
              <a:solidFill>
                <a:srgbClr val="ADAFB2"/>
              </a:solidFill>
            </a:ln>
          </p:spPr>
          <p:style>
            <a:lnRef idx="1">
              <a:schemeClr val="accent1"/>
            </a:lnRef>
            <a:fillRef idx="0">
              <a:schemeClr val="accent1"/>
            </a:fillRef>
            <a:effectRef idx="0">
              <a:schemeClr val="accent1"/>
            </a:effectRef>
            <a:fontRef idx="minor">
              <a:schemeClr val="tx1"/>
            </a:fontRef>
          </p:style>
        </p:cxnSp>
      </p:grpSp>
      <p:grpSp>
        <p:nvGrpSpPr>
          <p:cNvPr id="11" name="Group 24"/>
          <p:cNvGrpSpPr/>
          <p:nvPr/>
        </p:nvGrpSpPr>
        <p:grpSpPr>
          <a:xfrm>
            <a:off x="500401" y="3386460"/>
            <a:ext cx="4046199" cy="401955"/>
            <a:chOff x="500401" y="1023620"/>
            <a:chExt cx="4046199" cy="401955"/>
          </a:xfrm>
        </p:grpSpPr>
        <p:sp>
          <p:nvSpPr>
            <p:cNvPr id="12" name="ZoneTexte 12"/>
            <p:cNvSpPr txBox="1"/>
            <p:nvPr/>
          </p:nvSpPr>
          <p:spPr>
            <a:xfrm>
              <a:off x="500401" y="1023620"/>
              <a:ext cx="3008372" cy="401955"/>
            </a:xfrm>
            <a:prstGeom prst="rect">
              <a:avLst/>
            </a:prstGeom>
            <a:noFill/>
          </p:spPr>
          <p:txBody>
            <a:bodyPr wrap="square" lIns="0" tIns="108000" bIns="108000" rtlCol="0" anchor="ctr">
              <a:noAutofit/>
            </a:bodyPr>
            <a:lstStyle/>
            <a:p>
              <a:pPr defTabSz="457200"/>
              <a:r>
                <a:rPr lang="fr-FR" sz="1200" dirty="0" smtClean="0">
                  <a:solidFill>
                    <a:srgbClr val="767A7E"/>
                  </a:solidFill>
                  <a:latin typeface="+mj-lt"/>
                  <a:ea typeface="PMingLiU"/>
                  <a:cs typeface="Times New Roman"/>
                </a:rPr>
                <a:t>Top 10 holdings</a:t>
              </a:r>
              <a:endParaRPr lang="fr-FR" sz="1200" dirty="0">
                <a:solidFill>
                  <a:srgbClr val="000000"/>
                </a:solidFill>
                <a:latin typeface="+mj-lt"/>
                <a:ea typeface="PMingLiU"/>
              </a:endParaRPr>
            </a:p>
          </p:txBody>
        </p:sp>
        <p:cxnSp>
          <p:nvCxnSpPr>
            <p:cNvPr id="13" name="Connecteur droit 19"/>
            <p:cNvCxnSpPr/>
            <p:nvPr/>
          </p:nvCxnSpPr>
          <p:spPr>
            <a:xfrm>
              <a:off x="500401" y="1369381"/>
              <a:ext cx="4046199" cy="0"/>
            </a:xfrm>
            <a:prstGeom prst="line">
              <a:avLst/>
            </a:prstGeom>
            <a:ln w="19050" cmpd="sng">
              <a:solidFill>
                <a:srgbClr val="ADAFB2"/>
              </a:solidFill>
            </a:ln>
          </p:spPr>
          <p:style>
            <a:lnRef idx="1">
              <a:schemeClr val="accent1"/>
            </a:lnRef>
            <a:fillRef idx="0">
              <a:schemeClr val="accent1"/>
            </a:fillRef>
            <a:effectRef idx="0">
              <a:schemeClr val="accent1"/>
            </a:effectRef>
            <a:fontRef idx="minor">
              <a:schemeClr val="tx1"/>
            </a:fontRef>
          </p:style>
        </p:cxnSp>
      </p:grpSp>
      <p:graphicFrame>
        <p:nvGraphicFramePr>
          <p:cNvPr id="5" name="Tableau 4"/>
          <p:cNvGraphicFramePr>
            <a:graphicFrameLocks noGrp="1"/>
          </p:cNvGraphicFramePr>
          <p:nvPr>
            <p:extLst>
              <p:ext uri="{D42A27DB-BD31-4B8C-83A1-F6EECF244321}">
                <p14:modId xmlns:p14="http://schemas.microsoft.com/office/powerpoint/2010/main" val="2118014794"/>
              </p:ext>
            </p:extLst>
          </p:nvPr>
        </p:nvGraphicFramePr>
        <p:xfrm>
          <a:off x="478485" y="3788416"/>
          <a:ext cx="4068115" cy="1907475"/>
        </p:xfrm>
        <a:graphic>
          <a:graphicData uri="http://schemas.openxmlformats.org/drawingml/2006/table">
            <a:tbl>
              <a:tblPr/>
              <a:tblGrid>
                <a:gridCol w="2272797">
                  <a:extLst>
                    <a:ext uri="{9D8B030D-6E8A-4147-A177-3AD203B41FA5}">
                      <a16:colId xmlns="" xmlns:a16="http://schemas.microsoft.com/office/drawing/2014/main" val="20000"/>
                    </a:ext>
                  </a:extLst>
                </a:gridCol>
                <a:gridCol w="1795318">
                  <a:extLst>
                    <a:ext uri="{9D8B030D-6E8A-4147-A177-3AD203B41FA5}">
                      <a16:colId xmlns="" xmlns:a16="http://schemas.microsoft.com/office/drawing/2014/main" val="20001"/>
                    </a:ext>
                  </a:extLst>
                </a:gridCol>
              </a:tblGrid>
              <a:tr h="287355">
                <a:tc>
                  <a:txBody>
                    <a:bodyPr/>
                    <a:lstStyle/>
                    <a:p>
                      <a:pPr algn="ctr" fontAlgn="ctr"/>
                      <a:r>
                        <a:rPr lang="fr-FR" sz="1000" b="1" i="0" u="none" strike="noStrike" dirty="0">
                          <a:solidFill>
                            <a:schemeClr val="bg1"/>
                          </a:solidFill>
                          <a:effectLst/>
                          <a:latin typeface="Arial"/>
                        </a:rPr>
                        <a:t>As of </a:t>
                      </a:r>
                      <a:r>
                        <a:rPr lang="fr-FR" sz="1000" b="1" i="0" u="none" strike="noStrike" dirty="0" smtClean="0">
                          <a:solidFill>
                            <a:schemeClr val="bg1"/>
                          </a:solidFill>
                          <a:effectLst/>
                          <a:latin typeface="Arial"/>
                        </a:rPr>
                        <a:t>31/01/2018</a:t>
                      </a:r>
                      <a:endParaRPr lang="fr-FR" sz="1000" b="1" i="0" u="none" strike="noStrike" dirty="0">
                        <a:solidFill>
                          <a:schemeClr val="bg1"/>
                        </a:solidFill>
                        <a:effectLst/>
                        <a:latin typeface="Aria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fr-FR" sz="1000" b="1" i="0" u="none" strike="noStrike" dirty="0" err="1">
                          <a:solidFill>
                            <a:schemeClr val="bg1"/>
                          </a:solidFill>
                          <a:effectLst/>
                          <a:latin typeface="Arial"/>
                        </a:rPr>
                        <a:t>SciBeta</a:t>
                      </a:r>
                      <a:r>
                        <a:rPr lang="fr-FR" sz="1000" b="1" i="0" u="none" strike="noStrike" dirty="0">
                          <a:solidFill>
                            <a:schemeClr val="bg1"/>
                          </a:solidFill>
                          <a:effectLst/>
                          <a:latin typeface="Arial"/>
                        </a:rPr>
                        <a:t> MBMS 4F ERC</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 xmlns:a16="http://schemas.microsoft.com/office/drawing/2014/main" val="10000"/>
                  </a:ext>
                </a:extLst>
              </a:tr>
              <a:tr h="33242">
                <a:tc>
                  <a:txBody>
                    <a:bodyPr/>
                    <a:lstStyle/>
                    <a:p>
                      <a:pPr marL="0" algn="l" defTabSz="914400" rtl="0" eaLnBrk="1" fontAlgn="b" latinLnBrk="0" hangingPunct="1"/>
                      <a:r>
                        <a:rPr lang="en-US" sz="800" b="0" i="0" u="none" strike="noStrike" kern="1200">
                          <a:solidFill>
                            <a:schemeClr val="tx1"/>
                          </a:solidFill>
                          <a:effectLst/>
                          <a:latin typeface="Arial"/>
                          <a:ea typeface="+mn-ea"/>
                          <a:cs typeface="+mn-cs"/>
                        </a:rPr>
                        <a:t>WAL-MART STORES INC</a:t>
                      </a:r>
                    </a:p>
                  </a:txBody>
                  <a:tcPr marL="0" marR="0" marT="0" marB="0" anchor="b">
                    <a:lnL>
                      <a:noFill/>
                    </a:lnL>
                    <a:lnR>
                      <a:noFill/>
                    </a:lnR>
                    <a:lnT w="6350" cap="flat" cmpd="sng" algn="ctr">
                      <a:noFill/>
                      <a:prstDash val="solid"/>
                      <a:round/>
                      <a:headEnd type="none" w="med" len="med"/>
                      <a:tailEnd type="none" w="med" len="med"/>
                    </a:lnT>
                    <a:lnB>
                      <a:noFill/>
                    </a:lnB>
                  </a:tcPr>
                </a:tc>
                <a:tc>
                  <a:txBody>
                    <a:bodyPr/>
                    <a:lstStyle/>
                    <a:p>
                      <a:pPr marL="0" algn="ctr" defTabSz="914400" rtl="0" eaLnBrk="1" fontAlgn="b" latinLnBrk="0" hangingPunct="1"/>
                      <a:r>
                        <a:rPr lang="en-US" sz="800" b="0" i="0" u="none" strike="noStrike" kern="1200">
                          <a:solidFill>
                            <a:schemeClr val="tx1"/>
                          </a:solidFill>
                          <a:effectLst/>
                          <a:latin typeface="Arial"/>
                          <a:ea typeface="+mn-ea"/>
                          <a:cs typeface="+mn-cs"/>
                        </a:rPr>
                        <a:t>0.4%</a:t>
                      </a:r>
                    </a:p>
                  </a:txBody>
                  <a:tcPr marL="0" marR="0" marT="0" marB="0" anchor="b">
                    <a:lnL>
                      <a:noFill/>
                    </a:lnL>
                    <a:lnR>
                      <a:noFill/>
                    </a:lnR>
                    <a:lnT w="6350" cap="flat" cmpd="sng" algn="ctr">
                      <a:noFill/>
                      <a:prstDash val="solid"/>
                      <a:round/>
                      <a:headEnd type="none" w="med" len="med"/>
                      <a:tailEnd type="none" w="med" len="med"/>
                    </a:lnT>
                    <a:lnB>
                      <a:noFill/>
                    </a:lnB>
                  </a:tcPr>
                </a:tc>
                <a:extLst>
                  <a:ext uri="{0D108BD9-81ED-4DB2-BD59-A6C34878D82A}">
                    <a16:rowId xmlns="" xmlns:a16="http://schemas.microsoft.com/office/drawing/2014/main" val="10001"/>
                  </a:ext>
                </a:extLst>
              </a:tr>
              <a:tr h="108091">
                <a:tc>
                  <a:txBody>
                    <a:bodyPr/>
                    <a:lstStyle/>
                    <a:p>
                      <a:pPr marL="0" algn="l" defTabSz="914400" rtl="0" eaLnBrk="1" fontAlgn="b" latinLnBrk="0" hangingPunct="1"/>
                      <a:r>
                        <a:rPr lang="en-US" sz="800" b="0" i="0" u="none" strike="noStrike" kern="1200">
                          <a:solidFill>
                            <a:schemeClr val="tx1"/>
                          </a:solidFill>
                          <a:effectLst/>
                          <a:latin typeface="Arial"/>
                          <a:ea typeface="+mn-ea"/>
                          <a:cs typeface="+mn-cs"/>
                        </a:rPr>
                        <a:t>AETNA INC</a:t>
                      </a:r>
                    </a:p>
                  </a:txBody>
                  <a:tcPr marL="0" marR="0" marT="0" marB="0" anchor="b">
                    <a:lnL>
                      <a:noFill/>
                    </a:lnL>
                    <a:lnR>
                      <a:noFill/>
                    </a:lnR>
                    <a:lnT>
                      <a:noFill/>
                    </a:lnT>
                    <a:lnB>
                      <a:noFill/>
                    </a:lnB>
                  </a:tcPr>
                </a:tc>
                <a:tc>
                  <a:txBody>
                    <a:bodyPr/>
                    <a:lstStyle/>
                    <a:p>
                      <a:pPr marL="0" algn="ctr" defTabSz="914400" rtl="0" eaLnBrk="1" fontAlgn="b" latinLnBrk="0" hangingPunct="1"/>
                      <a:r>
                        <a:rPr lang="en-US" sz="800" b="0" i="0" u="none" strike="noStrike" kern="1200">
                          <a:solidFill>
                            <a:schemeClr val="tx1"/>
                          </a:solidFill>
                          <a:effectLst/>
                          <a:latin typeface="Arial"/>
                          <a:ea typeface="+mn-ea"/>
                          <a:cs typeface="+mn-cs"/>
                        </a:rPr>
                        <a:t>0.4%</a:t>
                      </a:r>
                    </a:p>
                  </a:txBody>
                  <a:tcPr marL="0" marR="0" marT="0" marB="0" anchor="b">
                    <a:lnL>
                      <a:noFill/>
                    </a:lnL>
                    <a:lnR>
                      <a:noFill/>
                    </a:lnR>
                    <a:lnT>
                      <a:noFill/>
                    </a:lnT>
                    <a:lnB>
                      <a:noFill/>
                    </a:lnB>
                  </a:tcPr>
                </a:tc>
                <a:extLst>
                  <a:ext uri="{0D108BD9-81ED-4DB2-BD59-A6C34878D82A}">
                    <a16:rowId xmlns="" xmlns:a16="http://schemas.microsoft.com/office/drawing/2014/main" val="10002"/>
                  </a:ext>
                </a:extLst>
              </a:tr>
              <a:tr h="152920">
                <a:tc>
                  <a:txBody>
                    <a:bodyPr/>
                    <a:lstStyle/>
                    <a:p>
                      <a:pPr marL="0" algn="l" defTabSz="914400" rtl="0" eaLnBrk="1" fontAlgn="b" latinLnBrk="0" hangingPunct="1"/>
                      <a:r>
                        <a:rPr lang="en-US" sz="800" b="0" i="0" u="none" strike="noStrike" kern="1200">
                          <a:solidFill>
                            <a:schemeClr val="tx1"/>
                          </a:solidFill>
                          <a:effectLst/>
                          <a:latin typeface="Arial"/>
                          <a:ea typeface="+mn-ea"/>
                          <a:cs typeface="+mn-cs"/>
                        </a:rPr>
                        <a:t>ANTHEM INC</a:t>
                      </a:r>
                    </a:p>
                  </a:txBody>
                  <a:tcPr marL="0" marR="0" marT="0" marB="0" anchor="b">
                    <a:lnL>
                      <a:noFill/>
                    </a:lnL>
                    <a:lnR>
                      <a:noFill/>
                    </a:lnR>
                    <a:lnT>
                      <a:noFill/>
                    </a:lnT>
                    <a:lnB>
                      <a:noFill/>
                    </a:lnB>
                  </a:tcPr>
                </a:tc>
                <a:tc>
                  <a:txBody>
                    <a:bodyPr/>
                    <a:lstStyle/>
                    <a:p>
                      <a:pPr marL="0" algn="ctr" defTabSz="914400" rtl="0" eaLnBrk="1" fontAlgn="b" latinLnBrk="0" hangingPunct="1"/>
                      <a:r>
                        <a:rPr lang="en-US" sz="800" b="0" i="0" u="none" strike="noStrike" kern="1200">
                          <a:solidFill>
                            <a:schemeClr val="tx1"/>
                          </a:solidFill>
                          <a:effectLst/>
                          <a:latin typeface="Arial"/>
                          <a:ea typeface="+mn-ea"/>
                          <a:cs typeface="+mn-cs"/>
                        </a:rPr>
                        <a:t>0.4%</a:t>
                      </a:r>
                    </a:p>
                  </a:txBody>
                  <a:tcPr marL="0" marR="0" marT="0" marB="0" anchor="b">
                    <a:lnL>
                      <a:noFill/>
                    </a:lnL>
                    <a:lnR>
                      <a:noFill/>
                    </a:lnR>
                    <a:lnT>
                      <a:noFill/>
                    </a:lnT>
                    <a:lnB>
                      <a:noFill/>
                    </a:lnB>
                  </a:tcPr>
                </a:tc>
                <a:extLst>
                  <a:ext uri="{0D108BD9-81ED-4DB2-BD59-A6C34878D82A}">
                    <a16:rowId xmlns="" xmlns:a16="http://schemas.microsoft.com/office/drawing/2014/main" val="10003"/>
                  </a:ext>
                </a:extLst>
              </a:tr>
              <a:tr h="152920">
                <a:tc>
                  <a:txBody>
                    <a:bodyPr/>
                    <a:lstStyle/>
                    <a:p>
                      <a:pPr marL="0" algn="l" defTabSz="914400" rtl="0" eaLnBrk="1" fontAlgn="b" latinLnBrk="0" hangingPunct="1"/>
                      <a:r>
                        <a:rPr lang="en-US" sz="800" b="0" i="0" u="none" strike="noStrike" kern="1200">
                          <a:solidFill>
                            <a:schemeClr val="tx1"/>
                          </a:solidFill>
                          <a:effectLst/>
                          <a:latin typeface="Arial"/>
                          <a:ea typeface="+mn-ea"/>
                          <a:cs typeface="+mn-cs"/>
                        </a:rPr>
                        <a:t>REGIONS FINANCIAL CORP</a:t>
                      </a:r>
                    </a:p>
                  </a:txBody>
                  <a:tcPr marL="0" marR="0" marT="0" marB="0" anchor="b">
                    <a:lnL>
                      <a:noFill/>
                    </a:lnL>
                    <a:lnR>
                      <a:noFill/>
                    </a:lnR>
                    <a:lnT>
                      <a:noFill/>
                    </a:lnT>
                    <a:lnB>
                      <a:noFill/>
                    </a:lnB>
                  </a:tcPr>
                </a:tc>
                <a:tc>
                  <a:txBody>
                    <a:bodyPr/>
                    <a:lstStyle/>
                    <a:p>
                      <a:pPr marL="0" algn="ctr" defTabSz="914400" rtl="0" eaLnBrk="1" fontAlgn="b" latinLnBrk="0" hangingPunct="1"/>
                      <a:r>
                        <a:rPr lang="en-US" sz="800" b="0" i="0" u="none" strike="noStrike" kern="1200">
                          <a:solidFill>
                            <a:schemeClr val="tx1"/>
                          </a:solidFill>
                          <a:effectLst/>
                          <a:latin typeface="Arial"/>
                          <a:ea typeface="+mn-ea"/>
                          <a:cs typeface="+mn-cs"/>
                        </a:rPr>
                        <a:t>0.4%</a:t>
                      </a:r>
                    </a:p>
                  </a:txBody>
                  <a:tcPr marL="0" marR="0" marT="0" marB="0" anchor="b">
                    <a:lnL>
                      <a:noFill/>
                    </a:lnL>
                    <a:lnR>
                      <a:noFill/>
                    </a:lnR>
                    <a:lnT>
                      <a:noFill/>
                    </a:lnT>
                    <a:lnB>
                      <a:noFill/>
                    </a:lnB>
                  </a:tcPr>
                </a:tc>
                <a:extLst>
                  <a:ext uri="{0D108BD9-81ED-4DB2-BD59-A6C34878D82A}">
                    <a16:rowId xmlns="" xmlns:a16="http://schemas.microsoft.com/office/drawing/2014/main" val="10004"/>
                  </a:ext>
                </a:extLst>
              </a:tr>
              <a:tr h="152920">
                <a:tc>
                  <a:txBody>
                    <a:bodyPr/>
                    <a:lstStyle/>
                    <a:p>
                      <a:pPr marL="0" algn="l" defTabSz="914400" rtl="0" eaLnBrk="1" fontAlgn="b" latinLnBrk="0" hangingPunct="1"/>
                      <a:r>
                        <a:rPr lang="en-US" sz="800" b="0" i="0" u="none" strike="noStrike" kern="1200">
                          <a:solidFill>
                            <a:schemeClr val="tx1"/>
                          </a:solidFill>
                          <a:effectLst/>
                          <a:latin typeface="Arial"/>
                          <a:ea typeface="+mn-ea"/>
                          <a:cs typeface="+mn-cs"/>
                        </a:rPr>
                        <a:t>CME GROUP INC</a:t>
                      </a:r>
                    </a:p>
                  </a:txBody>
                  <a:tcPr marL="0" marR="0" marT="0" marB="0" anchor="b">
                    <a:lnL>
                      <a:noFill/>
                    </a:lnL>
                    <a:lnR>
                      <a:noFill/>
                    </a:lnR>
                    <a:lnT>
                      <a:noFill/>
                    </a:lnT>
                    <a:lnB>
                      <a:noFill/>
                    </a:lnB>
                  </a:tcPr>
                </a:tc>
                <a:tc>
                  <a:txBody>
                    <a:bodyPr/>
                    <a:lstStyle/>
                    <a:p>
                      <a:pPr marL="0" algn="ctr" defTabSz="914400" rtl="0" eaLnBrk="1" fontAlgn="b" latinLnBrk="0" hangingPunct="1"/>
                      <a:r>
                        <a:rPr lang="en-US" sz="800" b="0" i="0" u="none" strike="noStrike" kern="1200">
                          <a:solidFill>
                            <a:schemeClr val="tx1"/>
                          </a:solidFill>
                          <a:effectLst/>
                          <a:latin typeface="Arial"/>
                          <a:ea typeface="+mn-ea"/>
                          <a:cs typeface="+mn-cs"/>
                        </a:rPr>
                        <a:t>0.4%</a:t>
                      </a:r>
                    </a:p>
                  </a:txBody>
                  <a:tcPr marL="0" marR="0" marT="0" marB="0" anchor="b">
                    <a:lnL>
                      <a:noFill/>
                    </a:lnL>
                    <a:lnR>
                      <a:noFill/>
                    </a:lnR>
                    <a:lnT>
                      <a:noFill/>
                    </a:lnT>
                    <a:lnB>
                      <a:noFill/>
                    </a:lnB>
                  </a:tcPr>
                </a:tc>
                <a:extLst>
                  <a:ext uri="{0D108BD9-81ED-4DB2-BD59-A6C34878D82A}">
                    <a16:rowId xmlns="" xmlns:a16="http://schemas.microsoft.com/office/drawing/2014/main" val="10005"/>
                  </a:ext>
                </a:extLst>
              </a:tr>
              <a:tr h="152920">
                <a:tc>
                  <a:txBody>
                    <a:bodyPr/>
                    <a:lstStyle/>
                    <a:p>
                      <a:pPr marL="0" algn="l" defTabSz="914400" rtl="0" eaLnBrk="1" fontAlgn="b" latinLnBrk="0" hangingPunct="1"/>
                      <a:r>
                        <a:rPr lang="en-US" sz="800" b="0" i="0" u="none" strike="noStrike" kern="1200">
                          <a:solidFill>
                            <a:schemeClr val="tx1"/>
                          </a:solidFill>
                          <a:effectLst/>
                          <a:latin typeface="Arial"/>
                          <a:ea typeface="+mn-ea"/>
                          <a:cs typeface="+mn-cs"/>
                        </a:rPr>
                        <a:t>CITIZENS FIN GRP INC</a:t>
                      </a:r>
                    </a:p>
                  </a:txBody>
                  <a:tcPr marL="0" marR="0" marT="0" marB="0" anchor="b">
                    <a:lnL>
                      <a:noFill/>
                    </a:lnL>
                    <a:lnR>
                      <a:noFill/>
                    </a:lnR>
                    <a:lnT>
                      <a:noFill/>
                    </a:lnT>
                    <a:lnB>
                      <a:noFill/>
                    </a:lnB>
                  </a:tcPr>
                </a:tc>
                <a:tc>
                  <a:txBody>
                    <a:bodyPr/>
                    <a:lstStyle/>
                    <a:p>
                      <a:pPr marL="0" algn="ctr" defTabSz="914400" rtl="0" eaLnBrk="1" fontAlgn="b" latinLnBrk="0" hangingPunct="1"/>
                      <a:r>
                        <a:rPr lang="en-US" sz="800" b="0" i="0" u="none" strike="noStrike" kern="1200">
                          <a:solidFill>
                            <a:schemeClr val="tx1"/>
                          </a:solidFill>
                          <a:effectLst/>
                          <a:latin typeface="Arial"/>
                          <a:ea typeface="+mn-ea"/>
                          <a:cs typeface="+mn-cs"/>
                        </a:rPr>
                        <a:t>0.4%</a:t>
                      </a:r>
                    </a:p>
                  </a:txBody>
                  <a:tcPr marL="0" marR="0" marT="0" marB="0" anchor="b">
                    <a:lnL>
                      <a:noFill/>
                    </a:lnL>
                    <a:lnR>
                      <a:noFill/>
                    </a:lnR>
                    <a:lnT>
                      <a:noFill/>
                    </a:lnT>
                    <a:lnB>
                      <a:noFill/>
                    </a:lnB>
                  </a:tcPr>
                </a:tc>
                <a:extLst>
                  <a:ext uri="{0D108BD9-81ED-4DB2-BD59-A6C34878D82A}">
                    <a16:rowId xmlns="" xmlns:a16="http://schemas.microsoft.com/office/drawing/2014/main" val="10006"/>
                  </a:ext>
                </a:extLst>
              </a:tr>
              <a:tr h="152920">
                <a:tc>
                  <a:txBody>
                    <a:bodyPr/>
                    <a:lstStyle/>
                    <a:p>
                      <a:pPr marL="0" algn="l" defTabSz="914400" rtl="0" eaLnBrk="1" fontAlgn="b" latinLnBrk="0" hangingPunct="1"/>
                      <a:r>
                        <a:rPr lang="en-US" sz="800" b="0" i="0" u="none" strike="noStrike" kern="1200">
                          <a:solidFill>
                            <a:schemeClr val="tx1"/>
                          </a:solidFill>
                          <a:effectLst/>
                          <a:latin typeface="Arial"/>
                          <a:ea typeface="+mn-ea"/>
                          <a:cs typeface="+mn-cs"/>
                        </a:rPr>
                        <a:t>BEST BUY CO INC</a:t>
                      </a:r>
                    </a:p>
                  </a:txBody>
                  <a:tcPr marL="0" marR="0" marT="0" marB="0" anchor="b">
                    <a:lnL>
                      <a:noFill/>
                    </a:lnL>
                    <a:lnR>
                      <a:noFill/>
                    </a:lnR>
                    <a:lnT>
                      <a:noFill/>
                    </a:lnT>
                    <a:lnB>
                      <a:noFill/>
                    </a:lnB>
                  </a:tcPr>
                </a:tc>
                <a:tc>
                  <a:txBody>
                    <a:bodyPr/>
                    <a:lstStyle/>
                    <a:p>
                      <a:pPr marL="0" algn="ctr" defTabSz="914400" rtl="0" eaLnBrk="1" fontAlgn="b" latinLnBrk="0" hangingPunct="1"/>
                      <a:r>
                        <a:rPr lang="en-US" sz="800" b="0" i="0" u="none" strike="noStrike" kern="1200">
                          <a:solidFill>
                            <a:schemeClr val="tx1"/>
                          </a:solidFill>
                          <a:effectLst/>
                          <a:latin typeface="Arial"/>
                          <a:ea typeface="+mn-ea"/>
                          <a:cs typeface="+mn-cs"/>
                        </a:rPr>
                        <a:t>0.4%</a:t>
                      </a:r>
                    </a:p>
                  </a:txBody>
                  <a:tcPr marL="0" marR="0" marT="0" marB="0" anchor="b">
                    <a:lnL>
                      <a:noFill/>
                    </a:lnL>
                    <a:lnR>
                      <a:noFill/>
                    </a:lnR>
                    <a:lnT>
                      <a:noFill/>
                    </a:lnT>
                    <a:lnB>
                      <a:noFill/>
                    </a:lnB>
                  </a:tcPr>
                </a:tc>
                <a:extLst>
                  <a:ext uri="{0D108BD9-81ED-4DB2-BD59-A6C34878D82A}">
                    <a16:rowId xmlns="" xmlns:a16="http://schemas.microsoft.com/office/drawing/2014/main" val="10007"/>
                  </a:ext>
                </a:extLst>
              </a:tr>
              <a:tr h="152920">
                <a:tc>
                  <a:txBody>
                    <a:bodyPr/>
                    <a:lstStyle/>
                    <a:p>
                      <a:pPr marL="0" algn="l" defTabSz="914400" rtl="0" eaLnBrk="1" fontAlgn="b" latinLnBrk="0" hangingPunct="1"/>
                      <a:r>
                        <a:rPr lang="en-US" sz="800" b="0" i="0" u="none" strike="noStrike" kern="1200">
                          <a:solidFill>
                            <a:schemeClr val="tx1"/>
                          </a:solidFill>
                          <a:effectLst/>
                          <a:latin typeface="Arial"/>
                          <a:ea typeface="+mn-ea"/>
                          <a:cs typeface="+mn-cs"/>
                        </a:rPr>
                        <a:t>COMERICA INC</a:t>
                      </a:r>
                    </a:p>
                  </a:txBody>
                  <a:tcPr marL="0" marR="0" marT="0" marB="0" anchor="b">
                    <a:lnL>
                      <a:noFill/>
                    </a:lnL>
                    <a:lnR>
                      <a:noFill/>
                    </a:lnR>
                    <a:lnT>
                      <a:noFill/>
                    </a:lnT>
                    <a:lnB>
                      <a:noFill/>
                    </a:lnB>
                  </a:tcPr>
                </a:tc>
                <a:tc>
                  <a:txBody>
                    <a:bodyPr/>
                    <a:lstStyle/>
                    <a:p>
                      <a:pPr marL="0" algn="ctr" defTabSz="914400" rtl="0" eaLnBrk="1" fontAlgn="b" latinLnBrk="0" hangingPunct="1"/>
                      <a:r>
                        <a:rPr lang="en-US" sz="800" b="0" i="0" u="none" strike="noStrike" kern="1200">
                          <a:solidFill>
                            <a:schemeClr val="tx1"/>
                          </a:solidFill>
                          <a:effectLst/>
                          <a:latin typeface="Arial"/>
                          <a:ea typeface="+mn-ea"/>
                          <a:cs typeface="+mn-cs"/>
                        </a:rPr>
                        <a:t>0.4%</a:t>
                      </a:r>
                    </a:p>
                  </a:txBody>
                  <a:tcPr marL="0" marR="0" marT="0" marB="0" anchor="b">
                    <a:lnL>
                      <a:noFill/>
                    </a:lnL>
                    <a:lnR>
                      <a:noFill/>
                    </a:lnR>
                    <a:lnT>
                      <a:noFill/>
                    </a:lnT>
                    <a:lnB>
                      <a:noFill/>
                    </a:lnB>
                  </a:tcPr>
                </a:tc>
                <a:extLst>
                  <a:ext uri="{0D108BD9-81ED-4DB2-BD59-A6C34878D82A}">
                    <a16:rowId xmlns="" xmlns:a16="http://schemas.microsoft.com/office/drawing/2014/main" val="10008"/>
                  </a:ext>
                </a:extLst>
              </a:tr>
              <a:tr h="152920">
                <a:tc>
                  <a:txBody>
                    <a:bodyPr/>
                    <a:lstStyle/>
                    <a:p>
                      <a:pPr marL="0" algn="l" defTabSz="914400" rtl="0" eaLnBrk="1" fontAlgn="b" latinLnBrk="0" hangingPunct="1"/>
                      <a:r>
                        <a:rPr lang="en-US" sz="800" b="0" i="0" u="none" strike="noStrike" kern="1200" dirty="0">
                          <a:solidFill>
                            <a:schemeClr val="tx1"/>
                          </a:solidFill>
                          <a:effectLst/>
                          <a:latin typeface="Arial"/>
                          <a:ea typeface="+mn-ea"/>
                          <a:cs typeface="+mn-cs"/>
                        </a:rPr>
                        <a:t>XCEL ENERGY INC</a:t>
                      </a:r>
                    </a:p>
                  </a:txBody>
                  <a:tcPr marL="0" marR="0" marT="0" marB="0" anchor="b">
                    <a:lnL>
                      <a:noFill/>
                    </a:lnL>
                    <a:lnR>
                      <a:noFill/>
                    </a:lnR>
                    <a:lnT>
                      <a:noFill/>
                    </a:lnT>
                    <a:lnB>
                      <a:noFill/>
                    </a:lnB>
                  </a:tcPr>
                </a:tc>
                <a:tc>
                  <a:txBody>
                    <a:bodyPr/>
                    <a:lstStyle/>
                    <a:p>
                      <a:pPr marL="0" algn="ctr" defTabSz="914400" rtl="0" eaLnBrk="1" fontAlgn="b" latinLnBrk="0" hangingPunct="1"/>
                      <a:r>
                        <a:rPr lang="en-US" sz="800" b="0" i="0" u="none" strike="noStrike" kern="1200" dirty="0">
                          <a:solidFill>
                            <a:schemeClr val="tx1"/>
                          </a:solidFill>
                          <a:effectLst/>
                          <a:latin typeface="Arial"/>
                          <a:ea typeface="+mn-ea"/>
                          <a:cs typeface="+mn-cs"/>
                        </a:rPr>
                        <a:t>0.4%</a:t>
                      </a:r>
                    </a:p>
                  </a:txBody>
                  <a:tcPr marL="0" marR="0" marT="0" marB="0" anchor="b">
                    <a:lnL>
                      <a:noFill/>
                    </a:lnL>
                    <a:lnR>
                      <a:noFill/>
                    </a:lnR>
                    <a:lnT>
                      <a:noFill/>
                    </a:lnT>
                    <a:lnB>
                      <a:noFill/>
                    </a:lnB>
                  </a:tcPr>
                </a:tc>
                <a:extLst>
                  <a:ext uri="{0D108BD9-81ED-4DB2-BD59-A6C34878D82A}">
                    <a16:rowId xmlns="" xmlns:a16="http://schemas.microsoft.com/office/drawing/2014/main" val="10009"/>
                  </a:ext>
                </a:extLst>
              </a:tr>
              <a:tr h="152920">
                <a:tc>
                  <a:txBody>
                    <a:bodyPr/>
                    <a:lstStyle/>
                    <a:p>
                      <a:pPr marL="0" algn="l" defTabSz="914400" rtl="0" eaLnBrk="1" fontAlgn="b" latinLnBrk="0" hangingPunct="1"/>
                      <a:r>
                        <a:rPr lang="fr-FR" sz="800" b="0" i="0" u="none" strike="noStrike" kern="1200" dirty="0">
                          <a:solidFill>
                            <a:schemeClr val="tx1"/>
                          </a:solidFill>
                          <a:effectLst/>
                          <a:latin typeface="Arial"/>
                          <a:ea typeface="+mn-ea"/>
                          <a:cs typeface="+mn-cs"/>
                        </a:rPr>
                        <a:t>CITIZENS FIN GRP INC</a:t>
                      </a:r>
                    </a:p>
                  </a:txBody>
                  <a:tcPr marL="0" marR="0" marT="0" marB="0" anchor="b">
                    <a:lnL>
                      <a:noFill/>
                    </a:lnL>
                    <a:lnR>
                      <a:noFill/>
                    </a:lnR>
                    <a:lnT>
                      <a:noFill/>
                    </a:lnT>
                    <a:lnB w="6350" cap="flat" cmpd="sng" algn="ctr">
                      <a:noFill/>
                      <a:prstDash val="solid"/>
                      <a:round/>
                      <a:headEnd type="none" w="med" len="med"/>
                      <a:tailEnd type="none" w="med" len="med"/>
                    </a:lnB>
                  </a:tcPr>
                </a:tc>
                <a:tc>
                  <a:txBody>
                    <a:bodyPr/>
                    <a:lstStyle/>
                    <a:p>
                      <a:pPr marL="0" algn="ctr" defTabSz="914400" rtl="0" eaLnBrk="1" fontAlgn="b" latinLnBrk="0" hangingPunct="1"/>
                      <a:r>
                        <a:rPr lang="fr-FR" sz="800" b="0" i="0" u="none" strike="noStrike" kern="1200" dirty="0" smtClean="0">
                          <a:solidFill>
                            <a:schemeClr val="tx1"/>
                          </a:solidFill>
                          <a:effectLst/>
                          <a:latin typeface="Arial"/>
                          <a:ea typeface="+mn-ea"/>
                          <a:cs typeface="+mn-cs"/>
                        </a:rPr>
                        <a:t>0.4</a:t>
                      </a:r>
                      <a:r>
                        <a:rPr lang="fr-FR" sz="800" b="0" i="0" u="none" strike="noStrike" kern="1200" dirty="0">
                          <a:solidFill>
                            <a:schemeClr val="tx1"/>
                          </a:solidFill>
                          <a:effectLst/>
                          <a:latin typeface="Arial"/>
                          <a:ea typeface="+mn-ea"/>
                          <a:cs typeface="+mn-cs"/>
                        </a:rPr>
                        <a:t>%</a:t>
                      </a:r>
                    </a:p>
                  </a:txBody>
                  <a:tcPr marL="0" marR="0" marT="0" marB="0" anchor="b">
                    <a:lnL>
                      <a:noFill/>
                    </a:lnL>
                    <a:lnR>
                      <a:noFill/>
                    </a:lnR>
                    <a:lnT>
                      <a:noFill/>
                    </a:lnT>
                    <a:lnB w="6350" cap="flat" cmpd="sng" algn="ctr">
                      <a:noFill/>
                      <a:prstDash val="solid"/>
                      <a:round/>
                      <a:headEnd type="none" w="med" len="med"/>
                      <a:tailEnd type="none" w="med" len="med"/>
                    </a:lnB>
                  </a:tcPr>
                </a:tc>
                <a:extLst>
                  <a:ext uri="{0D108BD9-81ED-4DB2-BD59-A6C34878D82A}">
                    <a16:rowId xmlns="" xmlns:a16="http://schemas.microsoft.com/office/drawing/2014/main" val="10010"/>
                  </a:ext>
                </a:extLst>
              </a:tr>
              <a:tr h="152920">
                <a:tc>
                  <a:txBody>
                    <a:bodyPr/>
                    <a:lstStyle/>
                    <a:p>
                      <a:pPr algn="l" fontAlgn="b"/>
                      <a:r>
                        <a:rPr lang="fr-FR" sz="800" b="1" i="0" u="none" strike="noStrike" dirty="0">
                          <a:solidFill>
                            <a:schemeClr val="bg1"/>
                          </a:solidFill>
                          <a:effectLst/>
                          <a:latin typeface="Arial"/>
                        </a:rPr>
                        <a:t>TOTAL</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fr-FR" sz="800" b="1" i="0" u="none" strike="noStrike" dirty="0" smtClean="0">
                          <a:solidFill>
                            <a:schemeClr val="bg1"/>
                          </a:solidFill>
                          <a:effectLst/>
                          <a:latin typeface="Arial"/>
                        </a:rPr>
                        <a:t>3.9%</a:t>
                      </a:r>
                      <a:endParaRPr lang="fr-FR" sz="800" b="1" i="0" u="none" strike="noStrike" dirty="0">
                        <a:solidFill>
                          <a:schemeClr val="bg1"/>
                        </a:solidFill>
                        <a:effectLst/>
                        <a:latin typeface="Arial"/>
                      </a:endParaRPr>
                    </a:p>
                  </a:txBody>
                  <a:tcPr marL="0" marR="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 xmlns:a16="http://schemas.microsoft.com/office/drawing/2014/main" val="10011"/>
                  </a:ext>
                </a:extLst>
              </a:tr>
            </a:tbl>
          </a:graphicData>
        </a:graphic>
      </p:graphicFrame>
      <p:graphicFrame>
        <p:nvGraphicFramePr>
          <p:cNvPr id="16" name="Table 18"/>
          <p:cNvGraphicFramePr>
            <a:graphicFrameLocks noGrp="1"/>
          </p:cNvGraphicFramePr>
          <p:nvPr>
            <p:extLst>
              <p:ext uri="{D42A27DB-BD31-4B8C-83A1-F6EECF244321}">
                <p14:modId xmlns:p14="http://schemas.microsoft.com/office/powerpoint/2010/main" val="4109464918"/>
              </p:ext>
            </p:extLst>
          </p:nvPr>
        </p:nvGraphicFramePr>
        <p:xfrm>
          <a:off x="5308115" y="5560657"/>
          <a:ext cx="2590577" cy="334800"/>
        </p:xfrm>
        <a:graphic>
          <a:graphicData uri="http://schemas.openxmlformats.org/drawingml/2006/table">
            <a:tbl>
              <a:tblPr/>
              <a:tblGrid>
                <a:gridCol w="1537780">
                  <a:extLst>
                    <a:ext uri="{9D8B030D-6E8A-4147-A177-3AD203B41FA5}">
                      <a16:colId xmlns="" xmlns:a16="http://schemas.microsoft.com/office/drawing/2014/main" val="20000"/>
                    </a:ext>
                  </a:extLst>
                </a:gridCol>
                <a:gridCol w="1052797">
                  <a:extLst>
                    <a:ext uri="{9D8B030D-6E8A-4147-A177-3AD203B41FA5}">
                      <a16:colId xmlns="" xmlns:a16="http://schemas.microsoft.com/office/drawing/2014/main" val="20001"/>
                    </a:ext>
                  </a:extLst>
                </a:gridCol>
              </a:tblGrid>
              <a:tr h="334800">
                <a:tc>
                  <a:txBody>
                    <a:bodyPr/>
                    <a:lstStyle/>
                    <a:p>
                      <a:pPr algn="l" fontAlgn="ctr"/>
                      <a:r>
                        <a:rPr lang="fr-FR" sz="1100" b="1" i="0" u="none" strike="noStrike" dirty="0" smtClean="0">
                          <a:solidFill>
                            <a:schemeClr val="bg1"/>
                          </a:solidFill>
                          <a:effectLst/>
                          <a:latin typeface="Arial"/>
                        </a:rPr>
                        <a:t>Number</a:t>
                      </a:r>
                      <a:r>
                        <a:rPr lang="fr-FR" sz="1100" b="1" i="0" u="none" strike="noStrike" baseline="0" dirty="0" smtClean="0">
                          <a:solidFill>
                            <a:schemeClr val="bg1"/>
                          </a:solidFill>
                          <a:effectLst/>
                          <a:latin typeface="Arial"/>
                        </a:rPr>
                        <a:t> of holdings</a:t>
                      </a:r>
                      <a:endParaRPr lang="en-US" sz="1100" b="1" i="0" u="none" strike="noStrike" dirty="0">
                        <a:solidFill>
                          <a:schemeClr val="bg1"/>
                        </a:solidFill>
                        <a:effectLst/>
                        <a:latin typeface="Arial"/>
                      </a:endParaRPr>
                    </a:p>
                  </a:txBody>
                  <a:tcPr marL="9525" marR="9525" marT="9525" marB="0" anchor="ctr">
                    <a:lnL>
                      <a:noFill/>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fr-FR" sz="1100" b="0" i="0" u="none" strike="noStrike" dirty="0" smtClean="0">
                          <a:solidFill>
                            <a:schemeClr val="tx1"/>
                          </a:solidFill>
                          <a:effectLst/>
                          <a:latin typeface="Arial"/>
                        </a:rPr>
                        <a:t>1279</a:t>
                      </a:r>
                      <a:endParaRPr lang="en-US" sz="1100" b="0" i="0" u="none" strike="noStrike" dirty="0">
                        <a:solidFill>
                          <a:schemeClr val="tx1"/>
                        </a:solidFill>
                        <a:effectLst/>
                        <a:latin typeface="Arial"/>
                      </a:endParaRPr>
                    </a:p>
                  </a:txBody>
                  <a:tcPr marL="9525" marR="9525" marT="9525" marB="0" anchor="ctr">
                    <a:lnL>
                      <a:noFill/>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0"/>
                  </a:ext>
                </a:extLst>
              </a:tr>
            </a:tbl>
          </a:graphicData>
        </a:graphic>
      </p:graphicFrame>
      <p:sp>
        <p:nvSpPr>
          <p:cNvPr id="18"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19" name="Rectangle 18"/>
          <p:cNvSpPr/>
          <p:nvPr/>
        </p:nvSpPr>
        <p:spPr>
          <a:xfrm>
            <a:off x="539999" y="5895457"/>
            <a:ext cx="7515429" cy="387798"/>
          </a:xfrm>
          <a:prstGeom prst="rect">
            <a:avLst/>
          </a:prstGeom>
        </p:spPr>
        <p:txBody>
          <a:bodyPr wrap="square">
            <a:spAutoFit/>
          </a:bodyPr>
          <a:lstStyle/>
          <a:p>
            <a:pPr marL="3175" marR="0" lvl="0" indent="-3175" defTabSz="914400" eaLnBrk="0" fontAlgn="base" latinLnBrk="0" hangingPunct="0">
              <a:lnSpc>
                <a:spcPct val="90000"/>
              </a:lnSpc>
              <a:spcBef>
                <a:spcPct val="0"/>
              </a:spcBef>
              <a:spcAft>
                <a:spcPct val="60000"/>
              </a:spcAft>
              <a:buClrTx/>
              <a:buSzTx/>
              <a:buFontTx/>
              <a:buNone/>
              <a:tabLst/>
              <a:defRPr/>
            </a:pPr>
            <a:r>
              <a:rPr kumimoji="0" lang="en-US" sz="800" b="1" i="0" u="none" strike="noStrike" kern="0" cap="none" spc="0" normalizeH="0" baseline="0" noProof="0" dirty="0" smtClean="0">
                <a:ln>
                  <a:noFill/>
                </a:ln>
                <a:solidFill>
                  <a:srgbClr val="767A7E"/>
                </a:solidFill>
                <a:effectLst/>
                <a:uLnTx/>
                <a:uFillTx/>
              </a:rPr>
              <a:t>Source: Scientific Beta, Amundi. Data as per end of </a:t>
            </a:r>
            <a:r>
              <a:rPr lang="en-US" sz="800" b="1" kern="0" dirty="0" smtClean="0">
                <a:solidFill>
                  <a:srgbClr val="767A7E"/>
                </a:solidFill>
              </a:rPr>
              <a:t>January </a:t>
            </a:r>
            <a:r>
              <a:rPr kumimoji="0" lang="en-US" sz="800" b="1" i="0" u="none" strike="noStrike" kern="0" cap="none" spc="0" normalizeH="0" baseline="0" noProof="0" dirty="0" smtClean="0">
                <a:ln>
                  <a:noFill/>
                </a:ln>
                <a:solidFill>
                  <a:srgbClr val="767A7E"/>
                </a:solidFill>
                <a:effectLst/>
                <a:uLnTx/>
                <a:uFillTx/>
              </a:rPr>
              <a:t>2018 in </a:t>
            </a:r>
            <a:r>
              <a:rPr lang="en-US" sz="800" b="1" kern="0" dirty="0" smtClean="0">
                <a:solidFill>
                  <a:srgbClr val="767A7E"/>
                </a:solidFill>
              </a:rPr>
              <a:t>USD</a:t>
            </a:r>
            <a:endParaRPr kumimoji="0" lang="en-US" sz="800" b="1" i="0" u="none" strike="noStrike" kern="0" cap="none" spc="0" normalizeH="0" baseline="0" noProof="0" dirty="0" smtClean="0">
              <a:ln>
                <a:noFill/>
              </a:ln>
              <a:solidFill>
                <a:srgbClr val="767A7E"/>
              </a:solidFill>
              <a:effectLst/>
              <a:uLnTx/>
              <a:uFillTx/>
            </a:endParaRPr>
          </a:p>
          <a:p>
            <a:pPr marL="3175" marR="0" lvl="0" indent="-3175" defTabSz="914400" eaLnBrk="0" fontAlgn="base" latinLnBrk="0" hangingPunct="0">
              <a:lnSpc>
                <a:spcPct val="90000"/>
              </a:lnSpc>
              <a:spcBef>
                <a:spcPct val="0"/>
              </a:spcBef>
              <a:spcAft>
                <a:spcPct val="60000"/>
              </a:spcAft>
              <a:buClrTx/>
              <a:buSzTx/>
              <a:buFontTx/>
              <a:buNone/>
              <a:tabLst/>
              <a:defRPr/>
            </a:pPr>
            <a:r>
              <a:rPr kumimoji="0" lang="en-US" sz="800" b="1" i="0" u="none" strike="noStrike" kern="0" cap="none" spc="0" normalizeH="0" baseline="0" noProof="0" dirty="0" smtClean="0">
                <a:ln>
                  <a:noFill/>
                </a:ln>
                <a:solidFill>
                  <a:srgbClr val="767A7E"/>
                </a:solidFill>
                <a:effectLst/>
                <a:uLnTx/>
                <a:uFillTx/>
              </a:rPr>
              <a:t>Investors are reminded that the past performance cannot be regarded as a reliable indicator of future results, nor can they guarantee expected return</a:t>
            </a:r>
            <a:endParaRPr kumimoji="0" lang="en-US" sz="800" b="1" i="0" u="none" strike="noStrike" kern="0" cap="none" spc="0" normalizeH="0" baseline="0" noProof="0" dirty="0">
              <a:ln>
                <a:noFill/>
              </a:ln>
              <a:solidFill>
                <a:srgbClr val="767A7E"/>
              </a:solidFill>
              <a:effectLst/>
              <a:uLnTx/>
              <a:uFillTx/>
            </a:endParaRPr>
          </a:p>
        </p:txBody>
      </p:sp>
      <p:sp>
        <p:nvSpPr>
          <p:cNvPr id="20" name="Rectangle 19"/>
          <p:cNvSpPr/>
          <p:nvPr/>
        </p:nvSpPr>
        <p:spPr>
          <a:xfrm>
            <a:off x="6013525" y="131880"/>
            <a:ext cx="2595083" cy="3839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schemeClr val="tx1"/>
                </a:solidFill>
              </a:rPr>
              <a:t>Scientific Beta</a:t>
            </a:r>
            <a:endParaRPr lang="fr-FR" dirty="0">
              <a:solidFill>
                <a:schemeClr val="tx1"/>
              </a:solidFill>
            </a:endParaRPr>
          </a:p>
        </p:txBody>
      </p:sp>
      <p:graphicFrame>
        <p:nvGraphicFramePr>
          <p:cNvPr id="21" name="Graphique 3"/>
          <p:cNvGraphicFramePr>
            <a:graphicFrameLocks/>
          </p:cNvGraphicFramePr>
          <p:nvPr>
            <p:extLst>
              <p:ext uri="{D42A27DB-BD31-4B8C-83A1-F6EECF244321}">
                <p14:modId xmlns:p14="http://schemas.microsoft.com/office/powerpoint/2010/main" val="295197154"/>
              </p:ext>
            </p:extLst>
          </p:nvPr>
        </p:nvGraphicFramePr>
        <p:xfrm>
          <a:off x="647954" y="1310667"/>
          <a:ext cx="3715258" cy="21129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3" name="Graphique 22"/>
          <p:cNvGraphicFramePr>
            <a:graphicFrameLocks/>
          </p:cNvGraphicFramePr>
          <p:nvPr>
            <p:extLst>
              <p:ext uri="{D42A27DB-BD31-4B8C-83A1-F6EECF244321}">
                <p14:modId xmlns:p14="http://schemas.microsoft.com/office/powerpoint/2010/main" val="1979093763"/>
              </p:ext>
            </p:extLst>
          </p:nvPr>
        </p:nvGraphicFramePr>
        <p:xfrm>
          <a:off x="4914012" y="1342035"/>
          <a:ext cx="3671951" cy="421862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453032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 client-</a:t>
            </a:r>
            <a:r>
              <a:rPr lang="fr-FR" dirty="0" err="1"/>
              <a:t>centric</a:t>
            </a:r>
            <a:r>
              <a:rPr lang="fr-FR" dirty="0"/>
              <a:t> service model</a:t>
            </a:r>
          </a:p>
        </p:txBody>
      </p:sp>
      <p:sp>
        <p:nvSpPr>
          <p:cNvPr id="8" name="Espace réservé du contenu 7"/>
          <p:cNvSpPr>
            <a:spLocks noGrp="1"/>
          </p:cNvSpPr>
          <p:nvPr>
            <p:ph sz="half" idx="1"/>
          </p:nvPr>
        </p:nvSpPr>
        <p:spPr>
          <a:xfrm>
            <a:off x="539999" y="1680586"/>
            <a:ext cx="3974851" cy="4148455"/>
          </a:xfrm>
        </p:spPr>
        <p:txBody>
          <a:bodyPr/>
          <a:lstStyle/>
          <a:p>
            <a:r>
              <a:rPr lang="fr-FR" sz="1400" spc="-20" dirty="0"/>
              <a:t>Over </a:t>
            </a:r>
            <a:r>
              <a:rPr lang="fr-FR" sz="1400" b="1" spc="-20" dirty="0"/>
              <a:t>100 million </a:t>
            </a:r>
            <a:r>
              <a:rPr lang="fr-FR" sz="1400" spc="-20" dirty="0"/>
              <a:t>clients </a:t>
            </a:r>
            <a:r>
              <a:rPr lang="fr-FR" sz="1400" spc="-20" dirty="0" err="1"/>
              <a:t>worldwide</a:t>
            </a:r>
            <a:r>
              <a:rPr lang="fr-FR" sz="1400" spc="-20" dirty="0"/>
              <a:t>, </a:t>
            </a:r>
            <a:r>
              <a:rPr lang="fr-FR" sz="1400" spc="-20" dirty="0" err="1"/>
              <a:t>with</a:t>
            </a:r>
            <a:r>
              <a:rPr lang="fr-FR" sz="1400" spc="-20" dirty="0"/>
              <a:t> </a:t>
            </a:r>
            <a:br>
              <a:rPr lang="fr-FR" sz="1400" spc="-20" dirty="0"/>
            </a:br>
            <a:r>
              <a:rPr lang="fr-FR" sz="1400" spc="-20" dirty="0"/>
              <a:t>a </a:t>
            </a:r>
            <a:r>
              <a:rPr lang="fr-FR" sz="1400" spc="-20" dirty="0" err="1"/>
              <a:t>diversified</a:t>
            </a:r>
            <a:r>
              <a:rPr lang="fr-FR" sz="1400" spc="-20" dirty="0"/>
              <a:t> base of </a:t>
            </a:r>
            <a:r>
              <a:rPr lang="fr-FR" sz="1400" spc="-20" dirty="0" err="1"/>
              <a:t>retail</a:t>
            </a:r>
            <a:r>
              <a:rPr lang="fr-FR" sz="1400" spc="-20" dirty="0"/>
              <a:t>, </a:t>
            </a:r>
            <a:r>
              <a:rPr lang="fr-FR" sz="1400" spc="-20" dirty="0" err="1"/>
              <a:t>institutional</a:t>
            </a:r>
            <a:r>
              <a:rPr lang="fr-FR" sz="1400" spc="-20" dirty="0"/>
              <a:t> and </a:t>
            </a:r>
            <a:r>
              <a:rPr lang="fr-FR" sz="1400" spc="-20" dirty="0" err="1"/>
              <a:t>government</a:t>
            </a:r>
            <a:r>
              <a:rPr lang="fr-FR" sz="1400" spc="-20" dirty="0"/>
              <a:t> </a:t>
            </a:r>
            <a:r>
              <a:rPr lang="fr-FR" sz="1400" spc="-20" dirty="0" smtClean="0"/>
              <a:t> </a:t>
            </a:r>
            <a:r>
              <a:rPr lang="fr-FR" sz="1400" spc="-20" dirty="0" err="1" smtClean="0"/>
              <a:t>entities</a:t>
            </a:r>
            <a:endParaRPr lang="fr-FR" sz="1400" spc="-20" dirty="0"/>
          </a:p>
          <a:p>
            <a:pPr lvl="4"/>
            <a:endParaRPr lang="fr-FR" dirty="0"/>
          </a:p>
        </p:txBody>
      </p:sp>
      <p:sp>
        <p:nvSpPr>
          <p:cNvPr id="10" name="Espace réservé du contenu 9"/>
          <p:cNvSpPr>
            <a:spLocks noGrp="1"/>
          </p:cNvSpPr>
          <p:nvPr>
            <p:ph sz="half" idx="2"/>
          </p:nvPr>
        </p:nvSpPr>
        <p:spPr>
          <a:xfrm>
            <a:off x="4629150" y="1680586"/>
            <a:ext cx="3974848" cy="3849701"/>
          </a:xfrm>
        </p:spPr>
        <p:txBody>
          <a:bodyPr>
            <a:noAutofit/>
          </a:bodyPr>
          <a:lstStyle/>
          <a:p>
            <a:pPr>
              <a:spcBef>
                <a:spcPts val="1600"/>
              </a:spcBef>
            </a:pPr>
            <a:r>
              <a:rPr lang="fr-FR" sz="1400" dirty="0"/>
              <a:t>Extensive </a:t>
            </a:r>
            <a:r>
              <a:rPr lang="fr-FR" sz="1400" dirty="0" err="1"/>
              <a:t>experience</a:t>
            </a:r>
            <a:r>
              <a:rPr lang="fr-FR" sz="1400" dirty="0"/>
              <a:t> and close </a:t>
            </a:r>
            <a:br>
              <a:rPr lang="fr-FR" sz="1400" dirty="0"/>
            </a:br>
            <a:r>
              <a:rPr lang="fr-FR" sz="1400" dirty="0" err="1"/>
              <a:t>partnerships</a:t>
            </a:r>
            <a:r>
              <a:rPr lang="fr-FR" sz="1400" dirty="0"/>
              <a:t> </a:t>
            </a:r>
            <a:r>
              <a:rPr lang="fr-FR" sz="1400" dirty="0" err="1"/>
              <a:t>with</a:t>
            </a:r>
            <a:endParaRPr lang="fr-FR" sz="1400" dirty="0"/>
          </a:p>
          <a:p>
            <a:pPr lvl="2"/>
            <a:r>
              <a:rPr lang="fr-FR" dirty="0" err="1"/>
              <a:t>wealth</a:t>
            </a:r>
            <a:r>
              <a:rPr lang="fr-FR" dirty="0"/>
              <a:t> managers, distribution </a:t>
            </a:r>
            <a:r>
              <a:rPr lang="fr-FR" dirty="0" err="1"/>
              <a:t>platforms</a:t>
            </a:r>
            <a:r>
              <a:rPr lang="fr-FR" dirty="0"/>
              <a:t>, and </a:t>
            </a:r>
            <a:r>
              <a:rPr lang="fr-FR" dirty="0" err="1"/>
              <a:t>retail</a:t>
            </a:r>
            <a:r>
              <a:rPr lang="fr-FR" dirty="0"/>
              <a:t> networks in </a:t>
            </a:r>
            <a:r>
              <a:rPr lang="fr-FR" dirty="0" smtClean="0"/>
              <a:t>Europe, </a:t>
            </a:r>
            <a:r>
              <a:rPr lang="fr-FR" dirty="0" err="1" smtClean="0"/>
              <a:t>Asia</a:t>
            </a:r>
            <a:r>
              <a:rPr lang="fr-FR" dirty="0" smtClean="0"/>
              <a:t>-Pacific </a:t>
            </a:r>
            <a:r>
              <a:rPr lang="fr-FR" dirty="0"/>
              <a:t>and </a:t>
            </a:r>
            <a:r>
              <a:rPr lang="fr-FR" dirty="0" err="1"/>
              <a:t>North</a:t>
            </a:r>
            <a:r>
              <a:rPr lang="fr-FR" dirty="0"/>
              <a:t> </a:t>
            </a:r>
            <a:r>
              <a:rPr lang="fr-FR" dirty="0" err="1"/>
              <a:t>America</a:t>
            </a:r>
            <a:r>
              <a:rPr lang="fr-FR" dirty="0"/>
              <a:t> to </a:t>
            </a:r>
            <a:r>
              <a:rPr lang="fr-FR" dirty="0" err="1"/>
              <a:t>offer</a:t>
            </a:r>
            <a:r>
              <a:rPr lang="fr-FR" dirty="0"/>
              <a:t> </a:t>
            </a:r>
            <a:r>
              <a:rPr lang="fr-FR" dirty="0" err="1"/>
              <a:t>customized</a:t>
            </a:r>
            <a:r>
              <a:rPr lang="fr-FR" dirty="0"/>
              <a:t> </a:t>
            </a:r>
            <a:r>
              <a:rPr lang="fr-FR" dirty="0" err="1" smtClean="0"/>
              <a:t>products</a:t>
            </a:r>
            <a:r>
              <a:rPr lang="fr-FR" dirty="0" smtClean="0"/>
              <a:t>, </a:t>
            </a:r>
            <a:r>
              <a:rPr lang="fr-FR" dirty="0" err="1" smtClean="0"/>
              <a:t>innovative</a:t>
            </a:r>
            <a:r>
              <a:rPr lang="fr-FR" dirty="0" smtClean="0"/>
              <a:t> </a:t>
            </a:r>
            <a:r>
              <a:rPr lang="fr-FR" dirty="0"/>
              <a:t>services and value-</a:t>
            </a:r>
            <a:r>
              <a:rPr lang="fr-FR" dirty="0" err="1"/>
              <a:t>added</a:t>
            </a:r>
            <a:r>
              <a:rPr lang="fr-FR" dirty="0"/>
              <a:t> investment </a:t>
            </a:r>
            <a:r>
              <a:rPr lang="fr-FR" dirty="0" err="1"/>
              <a:t>advice</a:t>
            </a:r>
            <a:r>
              <a:rPr lang="fr-FR" dirty="0"/>
              <a:t> </a:t>
            </a:r>
          </a:p>
          <a:p>
            <a:pPr>
              <a:spcBef>
                <a:spcPts val="1600"/>
              </a:spcBef>
            </a:pPr>
            <a:r>
              <a:rPr lang="fr-FR" sz="1400" dirty="0"/>
              <a:t>A </a:t>
            </a:r>
            <a:r>
              <a:rPr lang="fr-FR" sz="1400" dirty="0" err="1"/>
              <a:t>comprehensive</a:t>
            </a:r>
            <a:r>
              <a:rPr lang="fr-FR" sz="1400" dirty="0"/>
              <a:t> expertise and </a:t>
            </a:r>
            <a:br>
              <a:rPr lang="fr-FR" sz="1400" dirty="0"/>
            </a:br>
            <a:r>
              <a:rPr lang="fr-FR" sz="1400" dirty="0" smtClean="0"/>
              <a:t>a </a:t>
            </a:r>
            <a:r>
              <a:rPr lang="fr-FR" sz="1400" dirty="0" err="1" smtClean="0"/>
              <a:t>research</a:t>
            </a:r>
            <a:r>
              <a:rPr lang="fr-FR" sz="1400" dirty="0" smtClean="0"/>
              <a:t> </a:t>
            </a:r>
            <a:r>
              <a:rPr lang="fr-FR" sz="1400" dirty="0" err="1" smtClean="0"/>
              <a:t>driven</a:t>
            </a:r>
            <a:r>
              <a:rPr lang="fr-FR" sz="1400" dirty="0"/>
              <a:t> </a:t>
            </a:r>
            <a:r>
              <a:rPr lang="fr-FR" sz="1400" dirty="0" smtClean="0"/>
              <a:t>investment culture</a:t>
            </a:r>
            <a:endParaRPr lang="fr-FR" sz="1400" dirty="0"/>
          </a:p>
          <a:p>
            <a:pPr lvl="2"/>
            <a:r>
              <a:rPr lang="fr-FR" dirty="0"/>
              <a:t>to </a:t>
            </a:r>
            <a:r>
              <a:rPr lang="fr-FR" dirty="0" err="1"/>
              <a:t>provide</a:t>
            </a:r>
            <a:r>
              <a:rPr lang="fr-FR" dirty="0"/>
              <a:t> </a:t>
            </a:r>
            <a:r>
              <a:rPr lang="fr-FR" dirty="0" err="1"/>
              <a:t>holistic</a:t>
            </a:r>
            <a:r>
              <a:rPr lang="fr-FR" dirty="0"/>
              <a:t> and objective </a:t>
            </a:r>
            <a:r>
              <a:rPr lang="fr-FR" dirty="0" smtClean="0"/>
              <a:t>investment solutions</a:t>
            </a:r>
            <a:r>
              <a:rPr lang="fr-FR" dirty="0"/>
              <a:t>, combined </a:t>
            </a:r>
            <a:r>
              <a:rPr lang="fr-FR" dirty="0" err="1"/>
              <a:t>with</a:t>
            </a:r>
            <a:r>
              <a:rPr lang="fr-FR" dirty="0"/>
              <a:t> high </a:t>
            </a:r>
            <a:r>
              <a:rPr lang="fr-FR" dirty="0" err="1"/>
              <a:t>quality</a:t>
            </a:r>
            <a:r>
              <a:rPr lang="fr-FR" dirty="0"/>
              <a:t> service, </a:t>
            </a:r>
            <a:br>
              <a:rPr lang="fr-FR" dirty="0"/>
            </a:br>
            <a:r>
              <a:rPr lang="fr-FR" dirty="0"/>
              <a:t>to </a:t>
            </a:r>
            <a:r>
              <a:rPr lang="fr-FR" dirty="0" err="1"/>
              <a:t>our</a:t>
            </a:r>
            <a:r>
              <a:rPr lang="fr-FR" dirty="0"/>
              <a:t> </a:t>
            </a:r>
            <a:r>
              <a:rPr lang="fr-FR" dirty="0" err="1" smtClean="0"/>
              <a:t>institutional</a:t>
            </a:r>
            <a:r>
              <a:rPr lang="fr-FR" dirty="0"/>
              <a:t> </a:t>
            </a:r>
            <a:r>
              <a:rPr lang="fr-FR" dirty="0" smtClean="0"/>
              <a:t>and </a:t>
            </a:r>
            <a:r>
              <a:rPr lang="fr-FR" dirty="0"/>
              <a:t>corporate clients</a:t>
            </a:r>
          </a:p>
        </p:txBody>
      </p:sp>
      <p:sp>
        <p:nvSpPr>
          <p:cNvPr id="4" name="ZoneTexte 3"/>
          <p:cNvSpPr txBox="1"/>
          <p:nvPr/>
        </p:nvSpPr>
        <p:spPr>
          <a:xfrm>
            <a:off x="753415" y="2267486"/>
            <a:ext cx="34289" cy="300082"/>
          </a:xfrm>
          <a:prstGeom prst="rect">
            <a:avLst/>
          </a:prstGeom>
          <a:noFill/>
        </p:spPr>
        <p:txBody>
          <a:bodyPr wrap="square" rtlCol="0">
            <a:spAutoFit/>
          </a:bodyPr>
          <a:lstStyle/>
          <a:p>
            <a:endParaRPr lang="fr-FR" sz="1350" dirty="0"/>
          </a:p>
        </p:txBody>
      </p:sp>
      <p:sp>
        <p:nvSpPr>
          <p:cNvPr id="11" name="AutoShape 6"/>
          <p:cNvSpPr>
            <a:spLocks noChangeArrowheads="1"/>
          </p:cNvSpPr>
          <p:nvPr>
            <p:custDataLst>
              <p:tags r:id="rId1"/>
            </p:custDataLst>
          </p:nvPr>
        </p:nvSpPr>
        <p:spPr bwMode="gray">
          <a:xfrm>
            <a:off x="539999" y="2552454"/>
            <a:ext cx="3495452" cy="284754"/>
          </a:xfrm>
          <a:prstGeom prst="roundRect">
            <a:avLst>
              <a:gd name="adj" fmla="val 0"/>
            </a:avLst>
          </a:prstGeom>
          <a:solidFill>
            <a:srgbClr val="1496C9"/>
          </a:solidFill>
          <a:ln w="9525">
            <a:noFill/>
          </a:ln>
          <a:extLst/>
        </p:spPr>
        <p:txBody>
          <a:bodyPr wrap="square" tIns="64800" bIns="64800" rtlCol="0" anchor="ctr">
            <a:spAutoFit/>
          </a:bodyPr>
          <a:lstStyle/>
          <a:p>
            <a:pPr algn="ctr" defTabSz="342900"/>
            <a:r>
              <a:rPr lang="en-US" sz="1000" b="1" kern="0" dirty="0">
                <a:solidFill>
                  <a:srgbClr val="FFFFFF"/>
                </a:solidFill>
              </a:rPr>
              <a:t>Breakdown of </a:t>
            </a:r>
            <a:r>
              <a:rPr lang="en-US" sz="1000" b="1" kern="0" dirty="0" err="1">
                <a:solidFill>
                  <a:srgbClr val="FFFFFF"/>
                </a:solidFill>
              </a:rPr>
              <a:t>AuM</a:t>
            </a:r>
            <a:r>
              <a:rPr lang="en-US" sz="1000" b="1" kern="0" dirty="0">
                <a:solidFill>
                  <a:srgbClr val="FFFFFF"/>
                </a:solidFill>
              </a:rPr>
              <a:t> by client segment</a:t>
            </a:r>
            <a:r>
              <a:rPr lang="en-US" sz="1000" b="1" kern="0" baseline="30000" dirty="0">
                <a:solidFill>
                  <a:srgbClr val="FFFFFF"/>
                </a:solidFill>
              </a:rPr>
              <a:t> (1)</a:t>
            </a:r>
          </a:p>
        </p:txBody>
      </p:sp>
      <p:graphicFrame>
        <p:nvGraphicFramePr>
          <p:cNvPr id="14" name="Espace réservé du contenu 6"/>
          <p:cNvGraphicFramePr>
            <a:graphicFrameLocks/>
          </p:cNvGraphicFramePr>
          <p:nvPr>
            <p:extLst>
              <p:ext uri="{D42A27DB-BD31-4B8C-83A1-F6EECF244321}">
                <p14:modId xmlns:p14="http://schemas.microsoft.com/office/powerpoint/2010/main" val="3755993925"/>
              </p:ext>
            </p:extLst>
          </p:nvPr>
        </p:nvGraphicFramePr>
        <p:xfrm>
          <a:off x="660228" y="3037066"/>
          <a:ext cx="3133660" cy="2388785"/>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p:cNvSpPr/>
          <p:nvPr/>
        </p:nvSpPr>
        <p:spPr>
          <a:xfrm>
            <a:off x="539750" y="5566664"/>
            <a:ext cx="2851150" cy="246221"/>
          </a:xfrm>
          <a:prstGeom prst="rect">
            <a:avLst/>
          </a:prstGeom>
        </p:spPr>
        <p:txBody>
          <a:bodyPr wrap="square" lIns="0" tIns="0" rIns="0" bIns="0">
            <a:spAutoFit/>
          </a:bodyPr>
          <a:lstStyle/>
          <a:p>
            <a:pPr marL="6350" indent="0">
              <a:buNone/>
            </a:pPr>
            <a:r>
              <a:rPr lang="fr-FR" sz="800" dirty="0" smtClean="0">
                <a:solidFill>
                  <a:schemeClr val="tx2">
                    <a:lumMod val="60000"/>
                    <a:lumOff val="40000"/>
                  </a:schemeClr>
                </a:solidFill>
              </a:rPr>
              <a:t>(1) Source </a:t>
            </a:r>
            <a:r>
              <a:rPr lang="fr-FR" sz="800" dirty="0">
                <a:solidFill>
                  <a:schemeClr val="tx2">
                    <a:lumMod val="60000"/>
                    <a:lumOff val="40000"/>
                  </a:schemeClr>
                </a:solidFill>
              </a:rPr>
              <a:t>Amundi  &amp; Pioneer </a:t>
            </a:r>
            <a:r>
              <a:rPr lang="fr-FR" sz="800" dirty="0" err="1">
                <a:solidFill>
                  <a:schemeClr val="tx2">
                    <a:lumMod val="60000"/>
                    <a:lumOff val="40000"/>
                  </a:schemeClr>
                </a:solidFill>
              </a:rPr>
              <a:t>Investments</a:t>
            </a:r>
            <a:r>
              <a:rPr lang="fr-FR" sz="800" dirty="0">
                <a:solidFill>
                  <a:schemeClr val="tx2">
                    <a:lumMod val="60000"/>
                    <a:lumOff val="40000"/>
                  </a:schemeClr>
                </a:solidFill>
              </a:rPr>
              <a:t> </a:t>
            </a:r>
            <a:r>
              <a:rPr lang="fr-FR" sz="800" dirty="0" smtClean="0">
                <a:solidFill>
                  <a:schemeClr val="tx2">
                    <a:lumMod val="60000"/>
                    <a:lumOff val="40000"/>
                  </a:schemeClr>
                </a:solidFill>
              </a:rPr>
              <a:t>pro </a:t>
            </a:r>
            <a:r>
              <a:rPr lang="fr-FR" sz="800" dirty="0">
                <a:solidFill>
                  <a:schemeClr val="tx2">
                    <a:lumMod val="60000"/>
                    <a:lumOff val="40000"/>
                  </a:schemeClr>
                </a:solidFill>
              </a:rPr>
              <a:t>forma </a:t>
            </a:r>
            <a:r>
              <a:rPr lang="fr-FR" sz="800" dirty="0" err="1">
                <a:solidFill>
                  <a:schemeClr val="tx2">
                    <a:lumMod val="60000"/>
                    <a:lumOff val="40000"/>
                  </a:schemeClr>
                </a:solidFill>
              </a:rPr>
              <a:t>combined</a:t>
            </a:r>
            <a:r>
              <a:rPr lang="fr-FR" sz="800" dirty="0">
                <a:solidFill>
                  <a:schemeClr val="tx2">
                    <a:lumMod val="60000"/>
                    <a:lumOff val="40000"/>
                  </a:schemeClr>
                </a:solidFill>
              </a:rPr>
              <a:t> figures </a:t>
            </a:r>
            <a:r>
              <a:rPr lang="fr-FR" sz="800" dirty="0" smtClean="0">
                <a:solidFill>
                  <a:schemeClr val="tx2">
                    <a:lumMod val="60000"/>
                    <a:lumOff val="40000"/>
                  </a:schemeClr>
                </a:solidFill>
              </a:rPr>
              <a:t>as </a:t>
            </a:r>
            <a:r>
              <a:rPr lang="fr-FR" sz="800" dirty="0">
                <a:solidFill>
                  <a:schemeClr val="tx2">
                    <a:lumMod val="60000"/>
                    <a:lumOff val="40000"/>
                  </a:schemeClr>
                </a:solidFill>
              </a:rPr>
              <a:t>of end December 2016.</a:t>
            </a:r>
          </a:p>
        </p:txBody>
      </p:sp>
      <p:sp>
        <p:nvSpPr>
          <p:cNvPr id="12" name="Espace réservé du numéro de diapositive 5"/>
          <p:cNvSpPr>
            <a:spLocks noGrp="1"/>
          </p:cNvSpPr>
          <p:nvPr>
            <p:ph type="sldNum" sz="quarter" idx="12"/>
          </p:nvPr>
        </p:nvSpPr>
        <p:spPr>
          <a:xfrm>
            <a:off x="540000" y="6480000"/>
            <a:ext cx="180000" cy="180000"/>
          </a:xfrm>
        </p:spPr>
        <p:txBody>
          <a:bodyPr/>
          <a:lstStyle/>
          <a:p>
            <a:fld id="{2B1C6FFC-D040-034F-8B69-20295064E64D}" type="slidenum">
              <a:rPr lang="fr-FR" smtClean="0"/>
              <a:t>4</a:t>
            </a:fld>
            <a:endParaRPr lang="fr-FR" dirty="0"/>
          </a:p>
        </p:txBody>
      </p:sp>
      <p:sp>
        <p:nvSpPr>
          <p:cNvPr id="13" name="Espace réservé du pied de page 29">
            <a:extLst>
              <a:ext uri="{FF2B5EF4-FFF2-40B4-BE49-F238E27FC236}">
                <a16:creationId xmlns="" xmlns:a16="http://schemas.microsoft.com/office/drawing/2014/main" id="{2F4B790A-6EFD-4658-B73D-98008C1C5B5F}"/>
              </a:ext>
            </a:extLst>
          </p:cNvPr>
          <p:cNvSpPr>
            <a:spLocks noGrp="1"/>
          </p:cNvSpPr>
          <p:nvPr>
            <p:ph type="ftr" sz="quarter" idx="11"/>
          </p:nvPr>
        </p:nvSpPr>
        <p:spPr>
          <a:xfrm>
            <a:off x="796719" y="6480000"/>
            <a:ext cx="5212196" cy="180000"/>
          </a:xfrm>
        </p:spPr>
        <p:txBody>
          <a:bodyPr/>
          <a:lstStyle/>
          <a:p>
            <a:r>
              <a:rPr lang="en-US" dirty="0"/>
              <a:t>Smart Beta - Investment </a:t>
            </a:r>
            <a:r>
              <a:rPr lang="en-US" dirty="0" smtClean="0"/>
              <a:t>Solutions</a:t>
            </a:r>
            <a:endParaRPr lang="fr-FR" dirty="0"/>
          </a:p>
        </p:txBody>
      </p:sp>
    </p:spTree>
    <p:extLst>
      <p:ext uri="{BB962C8B-B14F-4D97-AF65-F5344CB8AC3E}">
        <p14:creationId xmlns:p14="http://schemas.microsoft.com/office/powerpoint/2010/main" val="125478038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 xmlns:a16="http://schemas.microsoft.com/office/drawing/2014/main" id="{0E37FC17-E1F2-471F-9F11-869930DC2C01}"/>
              </a:ext>
            </a:extLst>
          </p:cNvPr>
          <p:cNvSpPr/>
          <p:nvPr/>
        </p:nvSpPr>
        <p:spPr>
          <a:xfrm>
            <a:off x="923925" y="2315183"/>
            <a:ext cx="408764" cy="2366512"/>
          </a:xfrm>
          <a:prstGeom prst="rect">
            <a:avLst/>
          </a:prstGeom>
          <a:solidFill>
            <a:schemeClr val="accent2">
              <a:lumMod val="20000"/>
              <a:lumOff val="80000"/>
              <a:alpha val="78000"/>
            </a:schemeClr>
          </a:solidFill>
          <a:ln w="9525" algn="ctr">
            <a:noFill/>
            <a:miter lim="800000"/>
            <a:headEnd/>
            <a:tailEnd/>
          </a:ln>
          <a:effectLst/>
        </p:spPr>
        <p:txBody>
          <a:bodyPr rot="0" spcFirstLastPara="0" vertOverflow="overflow" horzOverflow="overflow" vert="horz" wrap="square" lIns="96744" tIns="48372" rIns="96744" bIns="48372" numCol="1" spcCol="0" rtlCol="0" fromWordArt="0" anchor="ctr" anchorCtr="0" forceAA="0" compatLnSpc="1">
            <a:prstTxWarp prst="textNoShape">
              <a:avLst/>
            </a:prstTxWarp>
            <a:noAutofit/>
          </a:bodyPr>
          <a:lstStyle/>
          <a:p>
            <a:pPr algn="ctr" defTabSz="966788">
              <a:spcBef>
                <a:spcPct val="0"/>
              </a:spcBef>
            </a:pPr>
            <a:endParaRPr lang="fr-FR" sz="1000" b="1">
              <a:solidFill>
                <a:schemeClr val="accent3"/>
              </a:solidFill>
              <a:latin typeface="Arial" charset="0"/>
            </a:endParaRPr>
          </a:p>
        </p:txBody>
      </p:sp>
      <p:sp>
        <p:nvSpPr>
          <p:cNvPr id="2" name="Titre 1">
            <a:extLst>
              <a:ext uri="{FF2B5EF4-FFF2-40B4-BE49-F238E27FC236}">
                <a16:creationId xmlns="" xmlns:a16="http://schemas.microsoft.com/office/drawing/2014/main" id="{B7C7173C-1EF8-41A9-9FB2-5E11EB86E963}"/>
              </a:ext>
            </a:extLst>
          </p:cNvPr>
          <p:cNvSpPr>
            <a:spLocks noGrp="1"/>
          </p:cNvSpPr>
          <p:nvPr>
            <p:ph type="title"/>
          </p:nvPr>
        </p:nvSpPr>
        <p:spPr/>
        <p:txBody>
          <a:bodyPr/>
          <a:lstStyle/>
          <a:p>
            <a:r>
              <a:rPr lang="fr-FR" dirty="0" err="1"/>
              <a:t>Factors</a:t>
            </a:r>
            <a:r>
              <a:rPr lang="fr-FR" dirty="0"/>
              <a:t> construction </a:t>
            </a:r>
            <a:r>
              <a:rPr lang="fr-FR" dirty="0" err="1"/>
              <a:t>matters</a:t>
            </a:r>
            <a:r>
              <a:rPr lang="fr-FR" dirty="0"/>
              <a:t>: Value</a:t>
            </a:r>
          </a:p>
        </p:txBody>
      </p:sp>
      <p:sp>
        <p:nvSpPr>
          <p:cNvPr id="5" name="Espace réservé du numéro de diapositive 4">
            <a:extLst>
              <a:ext uri="{FF2B5EF4-FFF2-40B4-BE49-F238E27FC236}">
                <a16:creationId xmlns="" xmlns:a16="http://schemas.microsoft.com/office/drawing/2014/main" id="{E8DF0857-5B10-4870-85D8-DF9E863C47F5}"/>
              </a:ext>
            </a:extLst>
          </p:cNvPr>
          <p:cNvSpPr>
            <a:spLocks noGrp="1"/>
          </p:cNvSpPr>
          <p:nvPr>
            <p:ph type="sldNum" sz="quarter" idx="12"/>
          </p:nvPr>
        </p:nvSpPr>
        <p:spPr/>
        <p:txBody>
          <a:bodyPr/>
          <a:lstStyle/>
          <a:p>
            <a:fld id="{2B1C6FFC-D040-034F-8B69-20295064E64D}" type="slidenum">
              <a:rPr lang="fr-FR" smtClean="0"/>
              <a:pPr/>
              <a:t>40</a:t>
            </a:fld>
            <a:endParaRPr lang="fr-FR" dirty="0"/>
          </a:p>
        </p:txBody>
      </p:sp>
      <p:sp>
        <p:nvSpPr>
          <p:cNvPr id="13" name="Espace réservé du texte 12">
            <a:extLst>
              <a:ext uri="{FF2B5EF4-FFF2-40B4-BE49-F238E27FC236}">
                <a16:creationId xmlns="" xmlns:a16="http://schemas.microsoft.com/office/drawing/2014/main" id="{01C9668D-7622-47B9-BC0D-676DC5EE78CB}"/>
              </a:ext>
            </a:extLst>
          </p:cNvPr>
          <p:cNvSpPr>
            <a:spLocks noGrp="1"/>
          </p:cNvSpPr>
          <p:nvPr>
            <p:ph type="body" sz="quarter" idx="13"/>
          </p:nvPr>
        </p:nvSpPr>
        <p:spPr>
          <a:xfrm>
            <a:off x="692281" y="5298291"/>
            <a:ext cx="8064248" cy="304482"/>
          </a:xfrm>
        </p:spPr>
        <p:txBody>
          <a:bodyPr/>
          <a:lstStyle/>
          <a:p>
            <a:r>
              <a:rPr lang="en-US" sz="1200" dirty="0"/>
              <a:t>High Book to Market Value portfolio vs MSCI Europe sector allocation</a:t>
            </a:r>
          </a:p>
        </p:txBody>
      </p:sp>
      <p:sp>
        <p:nvSpPr>
          <p:cNvPr id="14" name="Espace réservé du texte 13">
            <a:extLst>
              <a:ext uri="{FF2B5EF4-FFF2-40B4-BE49-F238E27FC236}">
                <a16:creationId xmlns="" xmlns:a16="http://schemas.microsoft.com/office/drawing/2014/main" id="{9B24FEF0-6FD8-4371-BF65-D8AA8F27D307}"/>
              </a:ext>
            </a:extLst>
          </p:cNvPr>
          <p:cNvSpPr>
            <a:spLocks noGrp="1"/>
          </p:cNvSpPr>
          <p:nvPr>
            <p:ph type="body" sz="quarter" idx="14"/>
          </p:nvPr>
        </p:nvSpPr>
        <p:spPr/>
        <p:txBody>
          <a:bodyPr/>
          <a:lstStyle/>
          <a:p>
            <a:r>
              <a:rPr lang="en-US" dirty="0"/>
              <a:t>Source: FactSet, </a:t>
            </a:r>
            <a:r>
              <a:rPr lang="en-US" dirty="0" err="1"/>
              <a:t>Amundi</a:t>
            </a:r>
            <a:r>
              <a:rPr lang="en-US" dirty="0"/>
              <a:t>, as of 30/09/2016</a:t>
            </a:r>
          </a:p>
        </p:txBody>
      </p:sp>
      <p:sp>
        <p:nvSpPr>
          <p:cNvPr id="8" name="TextBox 4">
            <a:extLst>
              <a:ext uri="{FF2B5EF4-FFF2-40B4-BE49-F238E27FC236}">
                <a16:creationId xmlns="" xmlns:a16="http://schemas.microsoft.com/office/drawing/2014/main" id="{B8B1C8DD-8F21-41A5-B82B-4B0DB6A4A7C3}"/>
              </a:ext>
            </a:extLst>
          </p:cNvPr>
          <p:cNvSpPr txBox="1"/>
          <p:nvPr/>
        </p:nvSpPr>
        <p:spPr>
          <a:xfrm>
            <a:off x="2501539" y="1722928"/>
            <a:ext cx="1337226"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ector Breakdown</a:t>
            </a:r>
          </a:p>
        </p:txBody>
      </p:sp>
      <p:graphicFrame>
        <p:nvGraphicFramePr>
          <p:cNvPr id="15" name="Graphique 1">
            <a:extLst>
              <a:ext uri="{FF2B5EF4-FFF2-40B4-BE49-F238E27FC236}">
                <a16:creationId xmlns="" xmlns:a16="http://schemas.microsoft.com/office/drawing/2014/main" id="{227F3190-D6BD-44EE-BE9B-9B3B26142BC8}"/>
              </a:ext>
            </a:extLst>
          </p:cNvPr>
          <p:cNvGraphicFramePr>
            <a:graphicFrameLocks/>
          </p:cNvGraphicFramePr>
          <p:nvPr>
            <p:extLst>
              <p:ext uri="{D42A27DB-BD31-4B8C-83A1-F6EECF244321}">
                <p14:modId xmlns:p14="http://schemas.microsoft.com/office/powerpoint/2010/main" val="134733960"/>
              </p:ext>
            </p:extLst>
          </p:nvPr>
        </p:nvGraphicFramePr>
        <p:xfrm>
          <a:off x="498325" y="1853733"/>
          <a:ext cx="5302229" cy="3518446"/>
        </p:xfrm>
        <a:graphic>
          <a:graphicData uri="http://schemas.openxmlformats.org/drawingml/2006/chart">
            <c:chart xmlns:c="http://schemas.openxmlformats.org/drawingml/2006/chart" xmlns:r="http://schemas.openxmlformats.org/officeDocument/2006/relationships" r:id="rId2"/>
          </a:graphicData>
        </a:graphic>
      </p:graphicFrame>
      <p:grpSp>
        <p:nvGrpSpPr>
          <p:cNvPr id="17" name="Groupe 16">
            <a:extLst>
              <a:ext uri="{FF2B5EF4-FFF2-40B4-BE49-F238E27FC236}">
                <a16:creationId xmlns="" xmlns:a16="http://schemas.microsoft.com/office/drawing/2014/main" id="{61426A77-20A5-44EC-9F43-90D76B31A23C}"/>
              </a:ext>
            </a:extLst>
          </p:cNvPr>
          <p:cNvGrpSpPr/>
          <p:nvPr/>
        </p:nvGrpSpPr>
        <p:grpSpPr>
          <a:xfrm>
            <a:off x="1849821" y="5570666"/>
            <a:ext cx="2599236" cy="227627"/>
            <a:chOff x="4647101" y="5995586"/>
            <a:chExt cx="2599236" cy="227627"/>
          </a:xfrm>
        </p:grpSpPr>
        <p:sp>
          <p:nvSpPr>
            <p:cNvPr id="18" name="ZoneTexte 17">
              <a:extLst>
                <a:ext uri="{FF2B5EF4-FFF2-40B4-BE49-F238E27FC236}">
                  <a16:creationId xmlns="" xmlns:a16="http://schemas.microsoft.com/office/drawing/2014/main" id="{59F8CADD-65DE-4B0C-BC07-09047AC17F27}"/>
                </a:ext>
              </a:extLst>
            </p:cNvPr>
            <p:cNvSpPr txBox="1"/>
            <p:nvPr/>
          </p:nvSpPr>
          <p:spPr>
            <a:xfrm>
              <a:off x="4717001" y="5995586"/>
              <a:ext cx="1464724" cy="215444"/>
            </a:xfrm>
            <a:prstGeom prst="rect">
              <a:avLst/>
            </a:prstGeom>
            <a:noFill/>
          </p:spPr>
          <p:txBody>
            <a:bodyPr wrap="square" rtlCol="0">
              <a:spAutoFit/>
            </a:bodyPr>
            <a:lstStyle/>
            <a:p>
              <a:pPr lvl="0" defTabSz="457200"/>
              <a:r>
                <a:rPr lang="en-US" sz="800" b="1" kern="0" dirty="0" err="1"/>
                <a:t>Msci</a:t>
              </a:r>
              <a:r>
                <a:rPr lang="en-US" sz="800" b="1" kern="0" dirty="0"/>
                <a:t> World</a:t>
              </a:r>
            </a:p>
          </p:txBody>
        </p:sp>
        <p:sp>
          <p:nvSpPr>
            <p:cNvPr id="19" name="Rectangle 18">
              <a:extLst>
                <a:ext uri="{FF2B5EF4-FFF2-40B4-BE49-F238E27FC236}">
                  <a16:creationId xmlns="" xmlns:a16="http://schemas.microsoft.com/office/drawing/2014/main" id="{0B9B1846-C4C0-46DF-9799-62E4EF742049}"/>
                </a:ext>
              </a:extLst>
            </p:cNvPr>
            <p:cNvSpPr/>
            <p:nvPr/>
          </p:nvSpPr>
          <p:spPr bwMode="auto">
            <a:xfrm>
              <a:off x="4647101" y="6043218"/>
              <a:ext cx="108000" cy="108000"/>
            </a:xfrm>
            <a:prstGeom prst="rect">
              <a:avLst/>
            </a:prstGeom>
            <a:solidFill>
              <a:srgbClr val="001C4B"/>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sp>
          <p:nvSpPr>
            <p:cNvPr id="20" name="ZoneTexte 19">
              <a:extLst>
                <a:ext uri="{FF2B5EF4-FFF2-40B4-BE49-F238E27FC236}">
                  <a16:creationId xmlns="" xmlns:a16="http://schemas.microsoft.com/office/drawing/2014/main" id="{266D1DA9-443C-4234-8061-EF7CA14D1659}"/>
                </a:ext>
              </a:extLst>
            </p:cNvPr>
            <p:cNvSpPr txBox="1"/>
            <p:nvPr/>
          </p:nvSpPr>
          <p:spPr>
            <a:xfrm>
              <a:off x="5768963" y="6007769"/>
              <a:ext cx="1477374" cy="215444"/>
            </a:xfrm>
            <a:prstGeom prst="rect">
              <a:avLst/>
            </a:prstGeom>
            <a:noFill/>
          </p:spPr>
          <p:txBody>
            <a:bodyPr wrap="square" rtlCol="0">
              <a:spAutoFit/>
            </a:bodyPr>
            <a:lstStyle/>
            <a:p>
              <a:pPr lvl="0" defTabSz="457200"/>
              <a:r>
                <a:rPr lang="fr-FR" sz="800" b="1" kern="0" dirty="0">
                  <a:solidFill>
                    <a:schemeClr val="accent1"/>
                  </a:solidFill>
                </a:rPr>
                <a:t>High </a:t>
              </a:r>
              <a:r>
                <a:rPr lang="fr-FR" sz="800" b="1" kern="0" dirty="0" err="1">
                  <a:solidFill>
                    <a:schemeClr val="accent1"/>
                  </a:solidFill>
                </a:rPr>
                <a:t>BtP</a:t>
              </a:r>
              <a:r>
                <a:rPr lang="fr-FR" sz="800" b="1" kern="0" dirty="0">
                  <a:solidFill>
                    <a:schemeClr val="accent1"/>
                  </a:solidFill>
                </a:rPr>
                <a:t> </a:t>
              </a:r>
              <a:r>
                <a:rPr lang="fr-FR" sz="800" b="1" kern="0" dirty="0" err="1">
                  <a:solidFill>
                    <a:schemeClr val="accent1"/>
                  </a:solidFill>
                </a:rPr>
                <a:t>Selection</a:t>
              </a:r>
              <a:endParaRPr lang="fr-FR" sz="800" b="1" kern="0" dirty="0">
                <a:solidFill>
                  <a:schemeClr val="accent1"/>
                </a:solidFill>
              </a:endParaRPr>
            </a:p>
          </p:txBody>
        </p:sp>
        <p:sp>
          <p:nvSpPr>
            <p:cNvPr id="21" name="Rectangle 20">
              <a:extLst>
                <a:ext uri="{FF2B5EF4-FFF2-40B4-BE49-F238E27FC236}">
                  <a16:creationId xmlns="" xmlns:a16="http://schemas.microsoft.com/office/drawing/2014/main" id="{36078162-FAFC-4BE9-B0E0-7FA48DFAAFCC}"/>
                </a:ext>
              </a:extLst>
            </p:cNvPr>
            <p:cNvSpPr/>
            <p:nvPr/>
          </p:nvSpPr>
          <p:spPr bwMode="auto">
            <a:xfrm>
              <a:off x="5699063" y="6055401"/>
              <a:ext cx="108000" cy="10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defTabSz="914400" eaLnBrk="0" fontAlgn="base" latinLnBrk="0" hangingPunct="0">
                <a:lnSpc>
                  <a:spcPct val="85000"/>
                </a:lnSpc>
                <a:spcBef>
                  <a:spcPct val="0"/>
                </a:spcBef>
                <a:spcAft>
                  <a:spcPct val="0"/>
                </a:spcAft>
                <a:buClrTx/>
                <a:buSzTx/>
                <a:buFontTx/>
                <a:buNone/>
                <a:tabLst/>
                <a:defRPr/>
              </a:pPr>
              <a:endParaRPr kumimoji="0" lang="fr-FR" sz="800" b="0" i="0" u="none" strike="noStrike" kern="0" cap="none" spc="0" normalizeH="0" baseline="0" noProof="0">
                <a:ln>
                  <a:noFill/>
                </a:ln>
                <a:solidFill>
                  <a:srgbClr val="000000"/>
                </a:solidFill>
                <a:effectLst/>
                <a:uLnTx/>
                <a:uFillTx/>
              </a:endParaRPr>
            </a:p>
          </p:txBody>
        </p:sp>
      </p:grpSp>
      <p:sp>
        <p:nvSpPr>
          <p:cNvPr id="22" name="Espace réservé du contenu 2">
            <a:extLst>
              <a:ext uri="{FF2B5EF4-FFF2-40B4-BE49-F238E27FC236}">
                <a16:creationId xmlns="" xmlns:a16="http://schemas.microsoft.com/office/drawing/2014/main" id="{F7B5CFA0-9943-4EE1-8B7E-F4607A44128F}"/>
              </a:ext>
            </a:extLst>
          </p:cNvPr>
          <p:cNvSpPr>
            <a:spLocks noGrp="1"/>
          </p:cNvSpPr>
          <p:nvPr>
            <p:ph sz="half" idx="1"/>
          </p:nvPr>
        </p:nvSpPr>
        <p:spPr>
          <a:xfrm>
            <a:off x="6008916" y="2071135"/>
            <a:ext cx="2402544" cy="1359447"/>
          </a:xfrm>
          <a:solidFill>
            <a:schemeClr val="bg1">
              <a:lumMod val="85000"/>
            </a:schemeClr>
          </a:solidFill>
        </p:spPr>
        <p:txBody>
          <a:bodyPr lIns="108000" tIns="108000" rIns="108000" bIns="108000">
            <a:spAutoFit/>
          </a:bodyPr>
          <a:lstStyle/>
          <a:p>
            <a:pPr marL="288925" lvl="1" indent="-285750">
              <a:buClr>
                <a:srgbClr val="002060"/>
              </a:buClr>
              <a:buFont typeface="Arial" panose="020B0604020202020204" pitchFamily="34" charset="0"/>
              <a:buChar char="̶"/>
            </a:pPr>
            <a:r>
              <a:rPr lang="en-US" b="1" dirty="0">
                <a:solidFill>
                  <a:srgbClr val="002060"/>
                </a:solidFill>
                <a:ea typeface="ＭＳ Ｐゴシック" pitchFamily="34" charset="-128"/>
                <a:cs typeface="Arial" charset="0"/>
              </a:rPr>
              <a:t>Problem</a:t>
            </a:r>
            <a:r>
              <a:rPr lang="en-US" dirty="0">
                <a:solidFill>
                  <a:srgbClr val="002060"/>
                </a:solidFill>
                <a:ea typeface="ＭＳ Ｐゴシック" pitchFamily="34" charset="-128"/>
                <a:cs typeface="Arial" charset="0"/>
              </a:rPr>
              <a:t> - </a:t>
            </a:r>
            <a:r>
              <a:rPr lang="en-US" dirty="0">
                <a:ea typeface="ＭＳ Ｐゴシック" pitchFamily="34" charset="-128"/>
                <a:cs typeface="Arial" charset="0"/>
              </a:rPr>
              <a:t>Valuation ratios have significant sector </a:t>
            </a:r>
            <a:r>
              <a:rPr lang="en-US" dirty="0" smtClean="0">
                <a:ea typeface="ＭＳ Ｐゴシック" pitchFamily="34" charset="-128"/>
                <a:cs typeface="Arial" charset="0"/>
              </a:rPr>
              <a:t>biases</a:t>
            </a:r>
            <a:endParaRPr lang="fr-FR" dirty="0">
              <a:solidFill>
                <a:srgbClr val="002060"/>
              </a:solidFill>
              <a:ea typeface="ＭＳ Ｐゴシック" pitchFamily="34" charset="-128"/>
              <a:cs typeface="Arial" charset="0"/>
            </a:endParaRPr>
          </a:p>
          <a:p>
            <a:pPr marL="242888" lvl="1" indent="-239713">
              <a:buClr>
                <a:srgbClr val="002060"/>
              </a:buClr>
              <a:buNone/>
            </a:pPr>
            <a:r>
              <a:rPr lang="en-US" dirty="0">
                <a:solidFill>
                  <a:schemeClr val="accent1"/>
                </a:solidFill>
                <a:ea typeface="ＭＳ Ｐゴシック" pitchFamily="34" charset="-128"/>
                <a:cs typeface="Arial" charset="0"/>
                <a:sym typeface="Wingdings" panose="05000000000000000000" pitchFamily="2" charset="2"/>
              </a:rPr>
              <a:t> </a:t>
            </a:r>
            <a:r>
              <a:rPr lang="en-US" dirty="0">
                <a:solidFill>
                  <a:schemeClr val="accent1"/>
                </a:solidFill>
                <a:ea typeface="ＭＳ Ｐゴシック" pitchFamily="34" charset="-128"/>
                <a:cs typeface="Arial" charset="0"/>
              </a:rPr>
              <a:t>The choice of metrics </a:t>
            </a:r>
            <a:br>
              <a:rPr lang="en-US" dirty="0">
                <a:solidFill>
                  <a:schemeClr val="accent1"/>
                </a:solidFill>
                <a:ea typeface="ＭＳ Ｐゴシック" pitchFamily="34" charset="-128"/>
                <a:cs typeface="Arial" charset="0"/>
              </a:rPr>
            </a:br>
            <a:r>
              <a:rPr lang="en-US" dirty="0">
                <a:solidFill>
                  <a:schemeClr val="accent1"/>
                </a:solidFill>
                <a:ea typeface="ＭＳ Ｐゴシック" pitchFamily="34" charset="-128"/>
                <a:cs typeface="Arial" charset="0"/>
              </a:rPr>
              <a:t>is crucial</a:t>
            </a:r>
          </a:p>
        </p:txBody>
      </p:sp>
      <p:sp>
        <p:nvSpPr>
          <p:cNvPr id="26" name="ZoneTexte 25">
            <a:extLst>
              <a:ext uri="{FF2B5EF4-FFF2-40B4-BE49-F238E27FC236}">
                <a16:creationId xmlns="" xmlns:a16="http://schemas.microsoft.com/office/drawing/2014/main" id="{0F16913E-EF47-4253-A5A2-9C592592D932}"/>
              </a:ext>
            </a:extLst>
          </p:cNvPr>
          <p:cNvSpPr txBox="1"/>
          <p:nvPr/>
        </p:nvSpPr>
        <p:spPr>
          <a:xfrm>
            <a:off x="97355" y="1986494"/>
            <a:ext cx="1837345" cy="276999"/>
          </a:xfrm>
          <a:prstGeom prst="rect">
            <a:avLst/>
          </a:prstGeom>
          <a:noFill/>
        </p:spPr>
        <p:txBody>
          <a:bodyPr wrap="square" rtlCol="0">
            <a:spAutoFit/>
          </a:bodyPr>
          <a:lstStyle/>
          <a:p>
            <a:pPr algn="ctr"/>
            <a:r>
              <a:rPr lang="fr-FR" sz="1200" dirty="0"/>
              <a:t>% allocation</a:t>
            </a:r>
          </a:p>
        </p:txBody>
      </p:sp>
      <p:sp>
        <p:nvSpPr>
          <p:cNvPr id="23" name="Espace réservé du texte 12">
            <a:extLst>
              <a:ext uri="{FF2B5EF4-FFF2-40B4-BE49-F238E27FC236}">
                <a16:creationId xmlns="" xmlns:a16="http://schemas.microsoft.com/office/drawing/2014/main" id="{01C9668D-7622-47B9-BC0D-676DC5EE78CB}"/>
              </a:ext>
            </a:extLst>
          </p:cNvPr>
          <p:cNvSpPr txBox="1">
            <a:spLocks/>
          </p:cNvSpPr>
          <p:nvPr/>
        </p:nvSpPr>
        <p:spPr>
          <a:xfrm>
            <a:off x="540002" y="1039741"/>
            <a:ext cx="8064248" cy="304482"/>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1"/>
              </a:buClr>
              <a:buSzPct val="130000"/>
              <a:buFont typeface="CambriaMath" charset="0"/>
              <a:buNone/>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2"/>
              </a:buClr>
              <a:buFont typeface="CambriaMath" charset="0"/>
              <a:buChar char="⎯"/>
              <a:tabLst/>
              <a:defRPr sz="1400" kern="1200">
                <a:solidFill>
                  <a:schemeClr val="tx2"/>
                </a:solidFill>
                <a:latin typeface="+mn-lt"/>
                <a:ea typeface="+mn-ea"/>
                <a:cs typeface="+mn-cs"/>
              </a:defRPr>
            </a:lvl2pPr>
            <a:lvl3pPr marL="579438" indent="-131763" algn="l" defTabSz="914400" rtl="0" eaLnBrk="1" latinLnBrk="0" hangingPunct="1">
              <a:lnSpc>
                <a:spcPct val="100000"/>
              </a:lnSpc>
              <a:spcBef>
                <a:spcPts val="500"/>
              </a:spcBef>
              <a:buClr>
                <a:schemeClr val="accent2"/>
              </a:buClr>
              <a:buFont typeface="LucidaGrande-Bold" charset="0"/>
              <a:buChar char="⁃"/>
              <a:tabLst/>
              <a:defRPr sz="1200" kern="1200">
                <a:solidFill>
                  <a:schemeClr val="tx2"/>
                </a:solidFill>
                <a:latin typeface="+mn-lt"/>
                <a:ea typeface="+mn-ea"/>
                <a:cs typeface="+mn-cs"/>
              </a:defRPr>
            </a:lvl3pPr>
            <a:lvl4pPr marL="7938" indent="0" algn="l" defTabSz="914400" rtl="0" eaLnBrk="1" latinLnBrk="0" hangingPunct="1">
              <a:lnSpc>
                <a:spcPct val="100000"/>
              </a:lnSpc>
              <a:spcBef>
                <a:spcPts val="500"/>
              </a:spcBef>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sz="12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ector and country biases need to be monitored </a:t>
            </a:r>
            <a:r>
              <a:rPr lang="en-US" dirty="0" smtClean="0"/>
              <a:t>and </a:t>
            </a:r>
            <a:r>
              <a:rPr lang="en-US" dirty="0"/>
              <a:t>mitigated</a:t>
            </a:r>
          </a:p>
        </p:txBody>
      </p:sp>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99576381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E4C710BB-1ACA-4900-9A47-07B833A55F3B}"/>
              </a:ext>
            </a:extLst>
          </p:cNvPr>
          <p:cNvSpPr>
            <a:spLocks noGrp="1"/>
          </p:cNvSpPr>
          <p:nvPr>
            <p:ph type="title"/>
          </p:nvPr>
        </p:nvSpPr>
        <p:spPr/>
        <p:txBody>
          <a:bodyPr>
            <a:noAutofit/>
          </a:bodyPr>
          <a:lstStyle/>
          <a:p>
            <a:r>
              <a:rPr lang="en-US" sz="2000" dirty="0"/>
              <a:t>From theory to practice: </a:t>
            </a:r>
            <a:r>
              <a:rPr lang="en-US" sz="2000" dirty="0">
                <a:solidFill>
                  <a:schemeClr val="accent1"/>
                </a:solidFill>
              </a:rPr>
              <a:t>a </a:t>
            </a:r>
            <a:r>
              <a:rPr lang="en-US" sz="2000" dirty="0" smtClean="0">
                <a:solidFill>
                  <a:schemeClr val="accent1"/>
                </a:solidFill>
              </a:rPr>
              <a:t>robust </a:t>
            </a:r>
            <a:r>
              <a:rPr lang="en-US" sz="2000" dirty="0">
                <a:solidFill>
                  <a:schemeClr val="accent1"/>
                </a:solidFill>
              </a:rPr>
              <a:t>definition of factors</a:t>
            </a:r>
            <a:endParaRPr lang="fr-FR" sz="2000" dirty="0">
              <a:solidFill>
                <a:schemeClr val="accent1"/>
              </a:solidFill>
            </a:endParaRPr>
          </a:p>
        </p:txBody>
      </p:sp>
      <p:sp>
        <p:nvSpPr>
          <p:cNvPr id="5" name="Espace réservé du numéro de diapositive 4">
            <a:extLst>
              <a:ext uri="{FF2B5EF4-FFF2-40B4-BE49-F238E27FC236}">
                <a16:creationId xmlns="" xmlns:a16="http://schemas.microsoft.com/office/drawing/2014/main" id="{C84D1CA2-F004-4E6F-B9E9-694AE1D669A5}"/>
              </a:ext>
            </a:extLst>
          </p:cNvPr>
          <p:cNvSpPr>
            <a:spLocks noGrp="1"/>
          </p:cNvSpPr>
          <p:nvPr>
            <p:ph type="sldNum" sz="quarter" idx="12"/>
          </p:nvPr>
        </p:nvSpPr>
        <p:spPr/>
        <p:txBody>
          <a:bodyPr/>
          <a:lstStyle/>
          <a:p>
            <a:fld id="{2B1C6FFC-D040-034F-8B69-20295064E64D}" type="slidenum">
              <a:rPr lang="fr-FR" smtClean="0"/>
              <a:t>41</a:t>
            </a:fld>
            <a:endParaRPr lang="fr-FR" dirty="0"/>
          </a:p>
        </p:txBody>
      </p:sp>
      <p:graphicFrame>
        <p:nvGraphicFramePr>
          <p:cNvPr id="8" name="Tableau 6">
            <a:extLst>
              <a:ext uri="{FF2B5EF4-FFF2-40B4-BE49-F238E27FC236}">
                <a16:creationId xmlns="" xmlns:a16="http://schemas.microsoft.com/office/drawing/2014/main" id="{88CBA056-3023-4A05-A94A-51E73E2FD38F}"/>
              </a:ext>
            </a:extLst>
          </p:cNvPr>
          <p:cNvGraphicFramePr>
            <a:graphicFrameLocks noGrp="1"/>
          </p:cNvGraphicFramePr>
          <p:nvPr>
            <p:extLst>
              <p:ext uri="{D42A27DB-BD31-4B8C-83A1-F6EECF244321}">
                <p14:modId xmlns:p14="http://schemas.microsoft.com/office/powerpoint/2010/main" val="306594572"/>
              </p:ext>
            </p:extLst>
          </p:nvPr>
        </p:nvGraphicFramePr>
        <p:xfrm>
          <a:off x="540000" y="1233529"/>
          <a:ext cx="8063999" cy="4554425"/>
        </p:xfrm>
        <a:graphic>
          <a:graphicData uri="http://schemas.openxmlformats.org/drawingml/2006/table">
            <a:tbl>
              <a:tblPr/>
              <a:tblGrid>
                <a:gridCol w="1394336">
                  <a:extLst>
                    <a:ext uri="{9D8B030D-6E8A-4147-A177-3AD203B41FA5}">
                      <a16:colId xmlns="" xmlns:a16="http://schemas.microsoft.com/office/drawing/2014/main" val="20000"/>
                    </a:ext>
                  </a:extLst>
                </a:gridCol>
                <a:gridCol w="2710823">
                  <a:extLst>
                    <a:ext uri="{9D8B030D-6E8A-4147-A177-3AD203B41FA5}">
                      <a16:colId xmlns="" xmlns:a16="http://schemas.microsoft.com/office/drawing/2014/main" val="20001"/>
                    </a:ext>
                  </a:extLst>
                </a:gridCol>
                <a:gridCol w="3958840">
                  <a:extLst>
                    <a:ext uri="{9D8B030D-6E8A-4147-A177-3AD203B41FA5}">
                      <a16:colId xmlns="" xmlns:a16="http://schemas.microsoft.com/office/drawing/2014/main" val="20002"/>
                    </a:ext>
                  </a:extLst>
                </a:gridCol>
              </a:tblGrid>
              <a:tr h="701482">
                <a:tc>
                  <a:txBody>
                    <a:bodyPr/>
                    <a:lstStyle/>
                    <a:p>
                      <a:pPr marL="0" algn="l" defTabSz="914400" rtl="0" eaLnBrk="1" fontAlgn="ctr" latinLnBrk="0" hangingPunct="1"/>
                      <a:r>
                        <a:rPr lang="en-US" sz="1200" b="1" i="0" u="none" strike="noStrike" kern="1200" noProof="0" dirty="0">
                          <a:solidFill>
                            <a:schemeClr val="bg1"/>
                          </a:solidFill>
                          <a:effectLst/>
                          <a:latin typeface="+mn-lt"/>
                          <a:ea typeface="+mn-ea"/>
                          <a:cs typeface="+mn-cs"/>
                        </a:rPr>
                        <a:t> Factor</a:t>
                      </a:r>
                    </a:p>
                  </a:txBody>
                  <a:tcPr marL="72000" marR="5514" marT="5514" marB="0" anchor="ctr">
                    <a:lnL>
                      <a:noFill/>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rtl="0" fontAlgn="ctr"/>
                      <a:r>
                        <a:rPr lang="en-US" sz="1200" b="1" i="0" u="none" strike="noStrike" noProof="0" dirty="0">
                          <a:solidFill>
                            <a:schemeClr val="bg1"/>
                          </a:solidFill>
                          <a:effectLst/>
                          <a:latin typeface="+mn-lt"/>
                        </a:rPr>
                        <a:t>Most common definition </a:t>
                      </a:r>
                      <a:br>
                        <a:rPr lang="en-US" sz="1200" b="1" i="0" u="none" strike="noStrike" noProof="0" dirty="0">
                          <a:solidFill>
                            <a:schemeClr val="bg1"/>
                          </a:solidFill>
                          <a:effectLst/>
                          <a:latin typeface="+mn-lt"/>
                        </a:rPr>
                      </a:br>
                      <a:r>
                        <a:rPr lang="en-US" sz="1200" b="1" i="0" u="none" strike="noStrike" noProof="0" dirty="0">
                          <a:solidFill>
                            <a:schemeClr val="bg1"/>
                          </a:solidFill>
                          <a:effectLst/>
                          <a:latin typeface="+mn-lt"/>
                        </a:rPr>
                        <a:t>in theory</a:t>
                      </a:r>
                    </a:p>
                  </a:txBody>
                  <a:tcPr marL="72000" marR="5514" marT="5514"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rtl="0" fontAlgn="ctr"/>
                      <a:r>
                        <a:rPr lang="en-US" sz="1200" b="1" i="0" u="none" strike="noStrike" noProof="0" dirty="0">
                          <a:solidFill>
                            <a:schemeClr val="bg1"/>
                          </a:solidFill>
                          <a:effectLst/>
                          <a:latin typeface="+mn-lt"/>
                        </a:rPr>
                        <a:t>Amundi definition</a:t>
                      </a:r>
                    </a:p>
                  </a:txBody>
                  <a:tcPr marL="72000" marR="5514" marT="5514" marB="0" anchor="ctr">
                    <a:lnL w="12700" cap="flat" cmpd="sng" algn="ctr">
                      <a:solidFill>
                        <a:schemeClr val="bg1"/>
                      </a:solidFill>
                      <a:prstDash val="solid"/>
                      <a:round/>
                      <a:headEnd type="none" w="med" len="med"/>
                      <a:tailEnd type="none" w="med" len="med"/>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 xmlns:a16="http://schemas.microsoft.com/office/drawing/2014/main" val="10000"/>
                  </a:ext>
                </a:extLst>
              </a:tr>
              <a:tr h="1047015">
                <a:tc>
                  <a:txBody>
                    <a:bodyPr/>
                    <a:lstStyle/>
                    <a:p>
                      <a:pPr algn="l" rtl="0" fontAlgn="ctr"/>
                      <a:r>
                        <a:rPr lang="en-US" sz="1200" b="1" i="0" u="none" strike="noStrike" noProof="0" dirty="0">
                          <a:solidFill>
                            <a:srgbClr val="002060"/>
                          </a:solidFill>
                          <a:effectLst/>
                          <a:latin typeface="+mn-lt"/>
                        </a:rPr>
                        <a:t>Value</a:t>
                      </a:r>
                    </a:p>
                  </a:txBody>
                  <a:tcPr marL="72000" marR="5514" marT="5514"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l" rtl="0" fontAlgn="ctr"/>
                      <a:r>
                        <a:rPr lang="en-US" sz="1200" b="0" i="0" u="none" strike="noStrike" noProof="0" dirty="0">
                          <a:solidFill>
                            <a:srgbClr val="002060"/>
                          </a:solidFill>
                          <a:effectLst/>
                          <a:latin typeface="+mn-lt"/>
                        </a:rPr>
                        <a:t>Price to Book</a:t>
                      </a:r>
                    </a:p>
                  </a:txBody>
                  <a:tcPr marL="72000" marR="5514" marT="5514"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171450" indent="-171450" algn="l" rtl="0" fontAlgn="ctr">
                        <a:buFont typeface="Arial" panose="020B0604020202020204" pitchFamily="34" charset="0"/>
                        <a:buChar char="̶"/>
                      </a:pPr>
                      <a:r>
                        <a:rPr lang="en-US" sz="1200" b="0" i="0" u="none" strike="noStrike" noProof="0" dirty="0">
                          <a:solidFill>
                            <a:srgbClr val="00B0F0"/>
                          </a:solidFill>
                          <a:effectLst/>
                          <a:latin typeface="+mn-lt"/>
                        </a:rPr>
                        <a:t>Combination of Price</a:t>
                      </a:r>
                      <a:r>
                        <a:rPr lang="en-US" sz="1200" b="0" i="0" u="none" strike="noStrike" baseline="0" noProof="0" dirty="0">
                          <a:solidFill>
                            <a:srgbClr val="00B0F0"/>
                          </a:solidFill>
                          <a:effectLst/>
                          <a:latin typeface="+mn-lt"/>
                        </a:rPr>
                        <a:t> to Book, Price To Earnings </a:t>
                      </a:r>
                      <a:br>
                        <a:rPr lang="en-US" sz="1200" b="0" i="0" u="none" strike="noStrike" baseline="0" noProof="0" dirty="0">
                          <a:solidFill>
                            <a:srgbClr val="00B0F0"/>
                          </a:solidFill>
                          <a:effectLst/>
                          <a:latin typeface="+mn-lt"/>
                        </a:rPr>
                      </a:br>
                      <a:r>
                        <a:rPr lang="en-US" sz="1200" b="0" i="0" u="none" strike="noStrike" baseline="0" noProof="0" dirty="0">
                          <a:solidFill>
                            <a:srgbClr val="00B0F0"/>
                          </a:solidFill>
                          <a:effectLst/>
                          <a:latin typeface="+mn-lt"/>
                        </a:rPr>
                        <a:t>and Price to Cash Flow</a:t>
                      </a:r>
                    </a:p>
                    <a:p>
                      <a:pPr marL="171450" indent="-171450" algn="l" rtl="0" fontAlgn="ctr">
                        <a:buFont typeface="Arial" panose="020B0604020202020204" pitchFamily="34" charset="0"/>
                        <a:buChar char="̶"/>
                      </a:pPr>
                      <a:r>
                        <a:rPr lang="en-US" sz="1200" b="0" i="0" u="none" strike="noStrike" baseline="0" noProof="0" dirty="0">
                          <a:solidFill>
                            <a:srgbClr val="00B0F0"/>
                          </a:solidFill>
                          <a:effectLst/>
                          <a:latin typeface="+mn-lt"/>
                        </a:rPr>
                        <a:t>Split the universe into Financials and Non Financials</a:t>
                      </a:r>
                      <a:endParaRPr lang="en-US" sz="1200" b="0" i="0" u="none" strike="noStrike" noProof="0" dirty="0">
                        <a:solidFill>
                          <a:srgbClr val="00B0F0"/>
                        </a:solidFill>
                        <a:effectLst/>
                        <a:latin typeface="+mn-lt"/>
                      </a:endParaRPr>
                    </a:p>
                  </a:txBody>
                  <a:tcPr marL="72000" marR="5514" marT="5514"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1"/>
                  </a:ext>
                </a:extLst>
              </a:tr>
              <a:tr h="701482">
                <a:tc>
                  <a:txBody>
                    <a:bodyPr/>
                    <a:lstStyle/>
                    <a:p>
                      <a:pPr algn="l" rtl="0" fontAlgn="ctr"/>
                      <a:r>
                        <a:rPr lang="en-US" sz="1200" b="1" i="0" u="none" strike="noStrike" noProof="0" dirty="0">
                          <a:solidFill>
                            <a:srgbClr val="002060"/>
                          </a:solidFill>
                          <a:effectLst/>
                          <a:latin typeface="+mn-lt"/>
                        </a:rPr>
                        <a:t>Momentum</a:t>
                      </a:r>
                    </a:p>
                  </a:txBody>
                  <a:tcPr marL="72000" marR="5514" marT="5514"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rtl="0" fontAlgn="ctr"/>
                      <a:r>
                        <a:rPr lang="en-US" sz="1200" b="0" i="0" u="none" strike="noStrike" noProof="0" dirty="0">
                          <a:solidFill>
                            <a:srgbClr val="002060"/>
                          </a:solidFill>
                          <a:effectLst/>
                          <a:latin typeface="+mn-lt"/>
                        </a:rPr>
                        <a:t>1-year</a:t>
                      </a:r>
                      <a:r>
                        <a:rPr lang="en-US" sz="1200" b="0" i="0" u="none" strike="noStrike" baseline="0" noProof="0" dirty="0">
                          <a:solidFill>
                            <a:srgbClr val="002060"/>
                          </a:solidFill>
                          <a:effectLst/>
                          <a:latin typeface="+mn-lt"/>
                        </a:rPr>
                        <a:t> Price momentum ex 1 month</a:t>
                      </a:r>
                      <a:endParaRPr lang="en-US" sz="1200" b="0" i="0" u="none" strike="noStrike" noProof="0" dirty="0">
                        <a:solidFill>
                          <a:srgbClr val="002060"/>
                        </a:solidFill>
                        <a:effectLst/>
                        <a:latin typeface="+mn-lt"/>
                      </a:endParaRPr>
                    </a:p>
                  </a:txBody>
                  <a:tcPr marL="72000" marR="5514" marT="5514"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rtl="0" fontAlgn="ctr"/>
                      <a:r>
                        <a:rPr lang="en-US" altLang="ja-JP" sz="1200" b="0" i="0" u="none" strike="noStrike" noProof="0" dirty="0">
                          <a:solidFill>
                            <a:srgbClr val="002060"/>
                          </a:solidFill>
                          <a:effectLst/>
                          <a:latin typeface="+mn-lt"/>
                        </a:rPr>
                        <a:t>1-year</a:t>
                      </a:r>
                      <a:r>
                        <a:rPr lang="en-US" altLang="ja-JP" sz="1200" b="0" i="0" u="none" strike="noStrike" baseline="0" noProof="0" dirty="0">
                          <a:solidFill>
                            <a:srgbClr val="002060"/>
                          </a:solidFill>
                          <a:effectLst/>
                          <a:latin typeface="+mn-lt"/>
                        </a:rPr>
                        <a:t> Price momentum ex 1 month</a:t>
                      </a:r>
                    </a:p>
                    <a:p>
                      <a:pPr algn="l" rtl="0" fontAlgn="ctr"/>
                      <a:r>
                        <a:rPr lang="en-US" sz="1200" b="0" i="0" u="none" strike="noStrike" baseline="0" noProof="0" dirty="0">
                          <a:solidFill>
                            <a:srgbClr val="00B0F0"/>
                          </a:solidFill>
                          <a:effectLst/>
                          <a:latin typeface="+mn-lt"/>
                        </a:rPr>
                        <a:t>Calculated in local currency</a:t>
                      </a:r>
                      <a:endParaRPr lang="en-US" sz="1200" b="0" i="0" u="none" strike="noStrike" noProof="0" dirty="0">
                        <a:solidFill>
                          <a:srgbClr val="00B0F0"/>
                        </a:solidFill>
                        <a:effectLst/>
                        <a:latin typeface="+mn-lt"/>
                      </a:endParaRPr>
                    </a:p>
                  </a:txBody>
                  <a:tcPr marL="72000" marR="5514" marT="5514"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02"/>
                  </a:ext>
                </a:extLst>
              </a:tr>
              <a:tr h="701482">
                <a:tc>
                  <a:txBody>
                    <a:bodyPr/>
                    <a:lstStyle/>
                    <a:p>
                      <a:pPr algn="l" rtl="0" fontAlgn="ctr"/>
                      <a:r>
                        <a:rPr lang="en-US" sz="1200" b="1" i="0" u="none" strike="noStrike" noProof="0" dirty="0">
                          <a:solidFill>
                            <a:srgbClr val="002060"/>
                          </a:solidFill>
                          <a:effectLst/>
                          <a:latin typeface="+mn-lt"/>
                        </a:rPr>
                        <a:t>Low Volatility</a:t>
                      </a:r>
                    </a:p>
                  </a:txBody>
                  <a:tcPr marL="72000" marR="5514" marT="5514"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l" rtl="0" fontAlgn="ctr"/>
                      <a:r>
                        <a:rPr lang="en-US" sz="1200" b="0" i="0" u="none" strike="noStrike" noProof="0" dirty="0">
                          <a:solidFill>
                            <a:srgbClr val="002060"/>
                          </a:solidFill>
                          <a:effectLst/>
                          <a:latin typeface="+mn-lt"/>
                        </a:rPr>
                        <a:t>Lowest volatile stocks</a:t>
                      </a:r>
                    </a:p>
                  </a:txBody>
                  <a:tcPr marL="72000" marR="5514" marT="5514"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l" rtl="0" fontAlgn="ctr"/>
                      <a:r>
                        <a:rPr lang="en-US" altLang="ja-JP" sz="1200" b="0" i="0" u="none" strike="noStrike" noProof="0" dirty="0">
                          <a:solidFill>
                            <a:srgbClr val="002060"/>
                          </a:solidFill>
                          <a:effectLst/>
                          <a:latin typeface="+mn-lt"/>
                        </a:rPr>
                        <a:t>Lowest volatile stocks</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200" b="0" i="0" u="none" strike="noStrike" noProof="0" dirty="0">
                          <a:solidFill>
                            <a:srgbClr val="00B0F0"/>
                          </a:solidFill>
                          <a:effectLst/>
                          <a:latin typeface="+mn-lt"/>
                        </a:rPr>
                        <a:t>Calculated in </a:t>
                      </a:r>
                      <a:r>
                        <a:rPr lang="en-US" sz="1200" b="0" i="0" u="none" strike="noStrike" baseline="0" noProof="0" dirty="0">
                          <a:solidFill>
                            <a:srgbClr val="00B0F0"/>
                          </a:solidFill>
                          <a:effectLst/>
                          <a:latin typeface="+mn-lt"/>
                        </a:rPr>
                        <a:t>local currency</a:t>
                      </a:r>
                      <a:endParaRPr lang="en-US" sz="1200" b="0" i="0" u="none" strike="noStrike" noProof="0" dirty="0">
                        <a:solidFill>
                          <a:srgbClr val="00B0F0"/>
                        </a:solidFill>
                        <a:effectLst/>
                        <a:latin typeface="+mn-lt"/>
                      </a:endParaRPr>
                    </a:p>
                  </a:txBody>
                  <a:tcPr marL="72000" marR="5514" marT="5514"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3"/>
                  </a:ext>
                </a:extLst>
              </a:tr>
              <a:tr h="701482">
                <a:tc>
                  <a:txBody>
                    <a:bodyPr/>
                    <a:lstStyle/>
                    <a:p>
                      <a:pPr algn="l" rtl="0" fontAlgn="ctr"/>
                      <a:r>
                        <a:rPr lang="en-US" sz="1200" b="1" i="0" u="none" strike="noStrike" noProof="0" dirty="0">
                          <a:solidFill>
                            <a:srgbClr val="002060"/>
                          </a:solidFill>
                          <a:effectLst/>
                          <a:latin typeface="+mn-lt"/>
                        </a:rPr>
                        <a:t>Size</a:t>
                      </a:r>
                    </a:p>
                  </a:txBody>
                  <a:tcPr marL="72000" marR="5514" marT="5514"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rtl="0" fontAlgn="ctr"/>
                      <a:r>
                        <a:rPr lang="en-US" sz="1200" b="0" i="0" u="none" strike="noStrike" noProof="0" dirty="0">
                          <a:solidFill>
                            <a:srgbClr val="002060"/>
                          </a:solidFill>
                          <a:effectLst/>
                          <a:latin typeface="+mn-lt"/>
                        </a:rPr>
                        <a:t>Mid cap</a:t>
                      </a:r>
                      <a:r>
                        <a:rPr lang="en-US" sz="1200" b="0" i="0" u="none" strike="noStrike" baseline="0" noProof="0" dirty="0">
                          <a:solidFill>
                            <a:srgbClr val="002060"/>
                          </a:solidFill>
                          <a:effectLst/>
                          <a:latin typeface="+mn-lt"/>
                        </a:rPr>
                        <a:t> stocks</a:t>
                      </a:r>
                      <a:endParaRPr lang="en-US" sz="1200" b="0" i="0" u="none" strike="noStrike" noProof="0" dirty="0">
                        <a:solidFill>
                          <a:srgbClr val="002060"/>
                        </a:solidFill>
                        <a:effectLst/>
                        <a:latin typeface="+mn-lt"/>
                      </a:endParaRPr>
                    </a:p>
                  </a:txBody>
                  <a:tcPr marL="72000" marR="5514" marT="5514"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rtl="0" fontAlgn="ctr"/>
                      <a:r>
                        <a:rPr lang="en-US" altLang="ja-JP" sz="1200" b="0" i="0" u="none" strike="noStrike" noProof="0" dirty="0">
                          <a:solidFill>
                            <a:srgbClr val="002060"/>
                          </a:solidFill>
                          <a:effectLst/>
                          <a:latin typeface="+mn-lt"/>
                        </a:rPr>
                        <a:t>Mid cap</a:t>
                      </a:r>
                      <a:r>
                        <a:rPr lang="en-US" altLang="ja-JP" sz="1200" b="0" i="0" u="none" strike="noStrike" baseline="0" noProof="0" dirty="0">
                          <a:solidFill>
                            <a:srgbClr val="002060"/>
                          </a:solidFill>
                          <a:effectLst/>
                          <a:latin typeface="+mn-lt"/>
                        </a:rPr>
                        <a:t> stocks</a:t>
                      </a:r>
                    </a:p>
                    <a:p>
                      <a:pPr algn="l" rtl="0" fontAlgn="ctr"/>
                      <a:r>
                        <a:rPr lang="en-US" altLang="ja-JP" sz="1200" b="0" i="0" u="none" strike="noStrike" baseline="0" noProof="0" dirty="0">
                          <a:solidFill>
                            <a:srgbClr val="00B0F0"/>
                          </a:solidFill>
                          <a:effectLst/>
                          <a:latin typeface="+mn-lt"/>
                        </a:rPr>
                        <a:t>Identified in each region</a:t>
                      </a:r>
                      <a:endParaRPr lang="en-US" altLang="ja-JP" sz="1200" b="0" i="0" u="none" strike="noStrike" noProof="0" dirty="0">
                        <a:solidFill>
                          <a:srgbClr val="00B0F0"/>
                        </a:solidFill>
                        <a:effectLst/>
                        <a:latin typeface="+mn-lt"/>
                      </a:endParaRPr>
                    </a:p>
                  </a:txBody>
                  <a:tcPr marL="72000" marR="5514" marT="5514"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04"/>
                  </a:ext>
                </a:extLst>
              </a:tr>
              <a:tr h="701482">
                <a:tc>
                  <a:txBody>
                    <a:bodyPr/>
                    <a:lstStyle/>
                    <a:p>
                      <a:pPr algn="l" rtl="0" fontAlgn="ctr"/>
                      <a:r>
                        <a:rPr lang="en-US" sz="1200" b="1" i="0" u="none" strike="noStrike" noProof="0" dirty="0">
                          <a:solidFill>
                            <a:srgbClr val="002060"/>
                          </a:solidFill>
                          <a:effectLst/>
                          <a:latin typeface="+mn-lt"/>
                        </a:rPr>
                        <a:t>Quality</a:t>
                      </a:r>
                    </a:p>
                  </a:txBody>
                  <a:tcPr marL="72000" marR="5514" marT="5514" marB="0" anchor="ct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F5F5F5"/>
                    </a:solidFill>
                  </a:tcPr>
                </a:tc>
                <a:tc>
                  <a:txBody>
                    <a:bodyPr/>
                    <a:lstStyle/>
                    <a:p>
                      <a:pPr algn="l" rtl="0" fontAlgn="ctr"/>
                      <a:r>
                        <a:rPr lang="en-US" sz="1200" b="0" i="0" u="none" strike="noStrike" noProof="0" dirty="0">
                          <a:solidFill>
                            <a:srgbClr val="002060"/>
                          </a:solidFill>
                          <a:effectLst/>
                          <a:latin typeface="+mn-lt"/>
                        </a:rPr>
                        <a:t>ROE</a:t>
                      </a:r>
                    </a:p>
                  </a:txBody>
                  <a:tcPr marL="72000" marR="5514" marT="5514"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F5F5F5"/>
                    </a:solidFill>
                  </a:tcPr>
                </a:tc>
                <a:tc>
                  <a:txBody>
                    <a:bodyPr/>
                    <a:lstStyle/>
                    <a:p>
                      <a:pPr marL="171450" indent="-171450" algn="l" rtl="0" fontAlgn="ctr">
                        <a:buFont typeface="Arial" panose="020B0604020202020204" pitchFamily="34" charset="0"/>
                        <a:buChar char="̶"/>
                      </a:pPr>
                      <a:r>
                        <a:rPr lang="en-US" altLang="ja-JP" sz="1200" b="0" i="0" u="none" strike="noStrike" noProof="0" dirty="0">
                          <a:solidFill>
                            <a:srgbClr val="00B0F0"/>
                          </a:solidFill>
                          <a:effectLst/>
                          <a:latin typeface="+mn-lt"/>
                        </a:rPr>
                        <a:t>Combination of Profitability</a:t>
                      </a:r>
                      <a:r>
                        <a:rPr lang="en-US" altLang="ja-JP" sz="1200" b="0" i="0" u="none" strike="noStrike" baseline="0" noProof="0" dirty="0">
                          <a:solidFill>
                            <a:srgbClr val="00B0F0"/>
                          </a:solidFill>
                          <a:effectLst/>
                          <a:latin typeface="+mn-lt"/>
                        </a:rPr>
                        <a:t> and Leverage indicators</a:t>
                      </a:r>
                    </a:p>
                    <a:p>
                      <a:pPr marL="171450" indent="-171450" algn="l" rtl="0" fontAlgn="ctr">
                        <a:buFont typeface="Arial" panose="020B0604020202020204" pitchFamily="34" charset="0"/>
                        <a:buChar char="̶"/>
                      </a:pPr>
                      <a:r>
                        <a:rPr lang="en-US" altLang="ja-JP" sz="1200" b="0" i="0" u="none" strike="noStrike" baseline="0" noProof="0" dirty="0">
                          <a:solidFill>
                            <a:srgbClr val="00B0F0"/>
                          </a:solidFill>
                          <a:effectLst/>
                          <a:latin typeface="+mn-lt"/>
                        </a:rPr>
                        <a:t>Split the universe into Financials and Non Financials</a:t>
                      </a:r>
                      <a:endParaRPr lang="en-US" altLang="ja-JP" sz="1200" b="0" i="0" u="none" strike="noStrike" noProof="0" dirty="0">
                        <a:solidFill>
                          <a:srgbClr val="00B0F0"/>
                        </a:solidFill>
                        <a:effectLst/>
                        <a:latin typeface="+mn-lt"/>
                      </a:endParaRPr>
                    </a:p>
                  </a:txBody>
                  <a:tcPr marL="72000" marR="5514" marT="5514" marB="0"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5"/>
                  </a:ext>
                </a:extLst>
              </a:tr>
            </a:tbl>
          </a:graphicData>
        </a:graphic>
      </p:graphicFrame>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106402654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A125EE26-4ABB-4251-BFAE-F5307D3088F2}"/>
              </a:ext>
            </a:extLst>
          </p:cNvPr>
          <p:cNvSpPr>
            <a:spLocks noGrp="1"/>
          </p:cNvSpPr>
          <p:nvPr>
            <p:ph type="title"/>
          </p:nvPr>
        </p:nvSpPr>
        <p:spPr>
          <a:xfrm>
            <a:off x="539999" y="698265"/>
            <a:ext cx="8370537" cy="387493"/>
          </a:xfrm>
        </p:spPr>
        <p:txBody>
          <a:bodyPr>
            <a:noAutofit/>
          </a:bodyPr>
          <a:lstStyle/>
          <a:p>
            <a:r>
              <a:rPr lang="en-US" sz="1800" dirty="0"/>
              <a:t>Construction of our factor portfolios: example with Value North America</a:t>
            </a:r>
            <a:endParaRPr lang="fr-FR" sz="1800" dirty="0"/>
          </a:p>
        </p:txBody>
      </p:sp>
      <p:sp>
        <p:nvSpPr>
          <p:cNvPr id="5" name="Espace réservé du numéro de diapositive 4">
            <a:extLst>
              <a:ext uri="{FF2B5EF4-FFF2-40B4-BE49-F238E27FC236}">
                <a16:creationId xmlns="" xmlns:a16="http://schemas.microsoft.com/office/drawing/2014/main" id="{ED4BF8AC-9D98-4EE6-A536-02D6778F71E8}"/>
              </a:ext>
            </a:extLst>
          </p:cNvPr>
          <p:cNvSpPr>
            <a:spLocks noGrp="1"/>
          </p:cNvSpPr>
          <p:nvPr>
            <p:ph type="sldNum" sz="quarter" idx="12"/>
          </p:nvPr>
        </p:nvSpPr>
        <p:spPr/>
        <p:txBody>
          <a:bodyPr/>
          <a:lstStyle/>
          <a:p>
            <a:fld id="{2B1C6FFC-D040-034F-8B69-20295064E64D}" type="slidenum">
              <a:rPr lang="fr-FR" smtClean="0"/>
              <a:t>42</a:t>
            </a:fld>
            <a:endParaRPr lang="fr-FR" dirty="0"/>
          </a:p>
        </p:txBody>
      </p:sp>
      <p:sp>
        <p:nvSpPr>
          <p:cNvPr id="7" name="Espace réservé du texte 6">
            <a:extLst>
              <a:ext uri="{FF2B5EF4-FFF2-40B4-BE49-F238E27FC236}">
                <a16:creationId xmlns="" xmlns:a16="http://schemas.microsoft.com/office/drawing/2014/main" id="{0C1C273C-4E47-44C8-879B-05D672A6C7F5}"/>
              </a:ext>
            </a:extLst>
          </p:cNvPr>
          <p:cNvSpPr>
            <a:spLocks noGrp="1"/>
          </p:cNvSpPr>
          <p:nvPr>
            <p:ph type="body" sz="quarter" idx="14"/>
          </p:nvPr>
        </p:nvSpPr>
        <p:spPr>
          <a:xfrm>
            <a:off x="503238" y="5744558"/>
            <a:ext cx="8064248" cy="612000"/>
          </a:xfrm>
        </p:spPr>
        <p:txBody>
          <a:bodyPr/>
          <a:lstStyle/>
          <a:p>
            <a:r>
              <a:rPr lang="fr-FR" dirty="0" smtClean="0"/>
              <a:t>Financial </a:t>
            </a:r>
            <a:r>
              <a:rPr lang="fr-FR" dirty="0"/>
              <a:t>stocks </a:t>
            </a:r>
            <a:r>
              <a:rPr lang="fr-FR" dirty="0" err="1" smtClean="0"/>
              <a:t>excluded</a:t>
            </a:r>
            <a:r>
              <a:rPr lang="fr-FR" dirty="0"/>
              <a:t> </a:t>
            </a:r>
            <a:r>
              <a:rPr lang="fr-FR" dirty="0" smtClean="0"/>
              <a:t>- </a:t>
            </a:r>
            <a:r>
              <a:rPr lang="en-US" dirty="0" smtClean="0"/>
              <a:t>Given </a:t>
            </a:r>
            <a:r>
              <a:rPr lang="en-US" dirty="0"/>
              <a:t>for illustrative purpose only</a:t>
            </a:r>
            <a:endParaRPr lang="fr-FR" dirty="0"/>
          </a:p>
          <a:p>
            <a:endParaRPr lang="fr-FR" dirty="0"/>
          </a:p>
        </p:txBody>
      </p:sp>
      <p:sp>
        <p:nvSpPr>
          <p:cNvPr id="8" name="Rectangle 85">
            <a:extLst>
              <a:ext uri="{FF2B5EF4-FFF2-40B4-BE49-F238E27FC236}">
                <a16:creationId xmlns="" xmlns:a16="http://schemas.microsoft.com/office/drawing/2014/main" id="{6A6C33D3-55E2-43A5-876C-C12F32B84A5C}"/>
              </a:ext>
            </a:extLst>
          </p:cNvPr>
          <p:cNvSpPr>
            <a:spLocks noChangeArrowheads="1"/>
          </p:cNvSpPr>
          <p:nvPr/>
        </p:nvSpPr>
        <p:spPr bwMode="auto">
          <a:xfrm>
            <a:off x="519113" y="1879114"/>
            <a:ext cx="1050944" cy="3260630"/>
          </a:xfrm>
          <a:prstGeom prst="rect">
            <a:avLst/>
          </a:prstGeom>
          <a:solidFill>
            <a:schemeClr val="bg1">
              <a:lumMod val="95000"/>
            </a:schemeClr>
          </a:solidFill>
          <a:ln w="9525" algn="ctr">
            <a:noFill/>
            <a:miter lim="800000"/>
            <a:headEnd/>
            <a:tailEnd/>
          </a:ln>
          <a:effectLst/>
          <a:extLst/>
        </p:spPr>
        <p:txBody>
          <a:bodyPr lIns="96744" tIns="48372" rIns="96744" bIns="48372" anchor="ctr"/>
          <a:lstStyle>
            <a:lvl1pPr defTabSz="966788" eaLnBrk="0" hangingPunct="0">
              <a:spcBef>
                <a:spcPct val="20000"/>
              </a:spcBef>
              <a:buClr>
                <a:srgbClr val="009EE0"/>
              </a:buClr>
              <a:buSzPct val="25000"/>
              <a:buFont typeface="Arial" charset="0"/>
              <a:buChar char=" "/>
              <a:defRPr sz="1600">
                <a:solidFill>
                  <a:schemeClr val="tx1"/>
                </a:solidFill>
                <a:latin typeface="Arial" charset="0"/>
              </a:defRPr>
            </a:lvl1pPr>
            <a:lvl2pPr marL="742950" indent="-285750" defTabSz="966788" eaLnBrk="0" hangingPunct="0">
              <a:spcBef>
                <a:spcPct val="20000"/>
              </a:spcBef>
              <a:buClr>
                <a:srgbClr val="009EE0"/>
              </a:buClr>
              <a:buFont typeface="Wingdings" pitchFamily="2" charset="2"/>
              <a:buChar char="n"/>
              <a:defRPr sz="1600">
                <a:solidFill>
                  <a:schemeClr val="tx1"/>
                </a:solidFill>
                <a:latin typeface="Arial" charset="0"/>
              </a:defRPr>
            </a:lvl2pPr>
            <a:lvl3pPr marL="1143000" indent="-228600" defTabSz="966788" eaLnBrk="0" hangingPunct="0">
              <a:spcBef>
                <a:spcPct val="20000"/>
              </a:spcBef>
              <a:buClr>
                <a:srgbClr val="009EE0"/>
              </a:buClr>
              <a:buFont typeface="Arial" charset="0"/>
              <a:buChar char="–"/>
              <a:defRPr sz="1400">
                <a:solidFill>
                  <a:schemeClr val="tx1"/>
                </a:solidFill>
                <a:latin typeface="Arial" charset="0"/>
              </a:defRPr>
            </a:lvl3pPr>
            <a:lvl4pPr marL="1600200" indent="-228600" defTabSz="966788" eaLnBrk="0" hangingPunct="0">
              <a:spcBef>
                <a:spcPct val="20000"/>
              </a:spcBef>
              <a:buSzPct val="25000"/>
              <a:buFont typeface="Arial" charset="0"/>
              <a:buChar char=" "/>
              <a:defRPr sz="1200">
                <a:solidFill>
                  <a:schemeClr val="tx1"/>
                </a:solidFill>
                <a:latin typeface="Arial" charset="0"/>
              </a:defRPr>
            </a:lvl4pPr>
            <a:lvl5pPr marL="2057400" indent="-228600" defTabSz="966788" eaLnBrk="0" hangingPunct="0">
              <a:spcBef>
                <a:spcPct val="20000"/>
              </a:spcBef>
              <a:buSzPct val="25000"/>
              <a:buFont typeface="Arial" charset="0"/>
              <a:buChar char=" "/>
              <a:defRPr sz="1100">
                <a:solidFill>
                  <a:schemeClr val="tx1"/>
                </a:solidFill>
                <a:latin typeface="Arial" charset="0"/>
              </a:defRPr>
            </a:lvl5pPr>
            <a:lvl6pPr marL="25146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6pPr>
            <a:lvl7pPr marL="29718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7pPr>
            <a:lvl8pPr marL="34290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8pPr>
            <a:lvl9pPr marL="38862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9pPr>
          </a:lstStyle>
          <a:p>
            <a:pPr algn="ctr" eaLnBrk="1" hangingPunct="1">
              <a:spcBef>
                <a:spcPct val="0"/>
              </a:spcBef>
              <a:buClrTx/>
              <a:buSzTx/>
              <a:buFontTx/>
              <a:buNone/>
            </a:pPr>
            <a:r>
              <a:rPr lang="en-US" altLang="fr-FR" sz="1200" b="1" dirty="0"/>
              <a:t>MSCI North America</a:t>
            </a:r>
          </a:p>
          <a:p>
            <a:pPr algn="ctr" eaLnBrk="1" hangingPunct="1">
              <a:spcBef>
                <a:spcPct val="0"/>
              </a:spcBef>
              <a:buClrTx/>
              <a:buSzTx/>
              <a:buFontTx/>
              <a:buNone/>
            </a:pPr>
            <a:endParaRPr lang="en-US" altLang="fr-FR" sz="1200" b="1" dirty="0"/>
          </a:p>
          <a:p>
            <a:pPr algn="ctr" eaLnBrk="1" hangingPunct="1">
              <a:spcBef>
                <a:spcPct val="0"/>
              </a:spcBef>
              <a:buClrTx/>
              <a:buSzTx/>
              <a:buFontTx/>
              <a:buNone/>
            </a:pPr>
            <a:r>
              <a:rPr lang="en-US" altLang="fr-FR" sz="1200" b="1" dirty="0"/>
              <a:t>Filtered investment universe based on Liquidity</a:t>
            </a:r>
          </a:p>
          <a:p>
            <a:pPr algn="ctr" eaLnBrk="1" hangingPunct="1">
              <a:spcBef>
                <a:spcPct val="0"/>
              </a:spcBef>
              <a:buClrTx/>
              <a:buSzTx/>
              <a:buFontTx/>
              <a:buNone/>
            </a:pPr>
            <a:endParaRPr lang="en-US" altLang="fr-FR" sz="1200" b="1" dirty="0"/>
          </a:p>
          <a:p>
            <a:pPr algn="ctr" eaLnBrk="1" hangingPunct="1">
              <a:spcBef>
                <a:spcPct val="0"/>
              </a:spcBef>
              <a:buClrTx/>
              <a:buSzTx/>
              <a:buFontTx/>
              <a:buNone/>
            </a:pPr>
            <a:r>
              <a:rPr lang="en-US" altLang="fr-FR" sz="1200" b="1" dirty="0"/>
              <a:t>(around 600 stocks)</a:t>
            </a:r>
          </a:p>
        </p:txBody>
      </p:sp>
      <p:sp>
        <p:nvSpPr>
          <p:cNvPr id="9" name="Rectangle 85">
            <a:extLst>
              <a:ext uri="{FF2B5EF4-FFF2-40B4-BE49-F238E27FC236}">
                <a16:creationId xmlns="" xmlns:a16="http://schemas.microsoft.com/office/drawing/2014/main" id="{E936B8C3-C951-4690-A964-249B5B4B3809}"/>
              </a:ext>
            </a:extLst>
          </p:cNvPr>
          <p:cNvSpPr>
            <a:spLocks noChangeArrowheads="1"/>
          </p:cNvSpPr>
          <p:nvPr/>
        </p:nvSpPr>
        <p:spPr bwMode="auto">
          <a:xfrm>
            <a:off x="1895006" y="1879114"/>
            <a:ext cx="1050944" cy="1009325"/>
          </a:xfrm>
          <a:prstGeom prst="rect">
            <a:avLst/>
          </a:prstGeom>
          <a:solidFill>
            <a:schemeClr val="bg1">
              <a:lumMod val="95000"/>
            </a:schemeClr>
          </a:solidFill>
          <a:ln w="19050" algn="ctr">
            <a:noFill/>
            <a:miter lim="800000"/>
            <a:headEnd/>
            <a:tailEnd/>
          </a:ln>
          <a:effectLst/>
          <a:extLst/>
        </p:spPr>
        <p:txBody>
          <a:bodyPr lIns="96744" tIns="48372" rIns="96744" bIns="48372" anchor="ctr"/>
          <a:lstStyle/>
          <a:p>
            <a:pPr algn="ctr" defTabSz="966788">
              <a:spcBef>
                <a:spcPct val="0"/>
              </a:spcBef>
            </a:pPr>
            <a:r>
              <a:rPr lang="en-US" altLang="fr-FR" sz="1200" b="1" dirty="0">
                <a:latin typeface="Arial" charset="0"/>
              </a:rPr>
              <a:t>Financials</a:t>
            </a:r>
          </a:p>
        </p:txBody>
      </p:sp>
      <p:sp>
        <p:nvSpPr>
          <p:cNvPr id="10" name="Rectangle 85">
            <a:extLst>
              <a:ext uri="{FF2B5EF4-FFF2-40B4-BE49-F238E27FC236}">
                <a16:creationId xmlns="" xmlns:a16="http://schemas.microsoft.com/office/drawing/2014/main" id="{5422A52E-B023-4A90-BB74-BE73D3FA2F5F}"/>
              </a:ext>
            </a:extLst>
          </p:cNvPr>
          <p:cNvSpPr>
            <a:spLocks noChangeArrowheads="1"/>
          </p:cNvSpPr>
          <p:nvPr/>
        </p:nvSpPr>
        <p:spPr bwMode="auto">
          <a:xfrm>
            <a:off x="1895006" y="2888439"/>
            <a:ext cx="1050944" cy="2251305"/>
          </a:xfrm>
          <a:prstGeom prst="rect">
            <a:avLst/>
          </a:prstGeom>
          <a:solidFill>
            <a:schemeClr val="bg1">
              <a:lumMod val="95000"/>
            </a:schemeClr>
          </a:solidFill>
          <a:ln w="19050" algn="ctr">
            <a:noFill/>
            <a:miter lim="800000"/>
            <a:headEnd/>
            <a:tailEnd/>
          </a:ln>
          <a:effectLst/>
          <a:extLst/>
        </p:spPr>
        <p:txBody>
          <a:bodyPr lIns="96744" tIns="48372" rIns="96744" bIns="48372" anchor="ctr"/>
          <a:lstStyle>
            <a:lvl1pPr defTabSz="966788" eaLnBrk="0" hangingPunct="0">
              <a:spcBef>
                <a:spcPct val="20000"/>
              </a:spcBef>
              <a:buClr>
                <a:srgbClr val="009EE0"/>
              </a:buClr>
              <a:buSzPct val="25000"/>
              <a:buFont typeface="Arial" charset="0"/>
              <a:buChar char=" "/>
              <a:defRPr sz="1600">
                <a:solidFill>
                  <a:schemeClr val="tx1"/>
                </a:solidFill>
                <a:latin typeface="Arial" charset="0"/>
              </a:defRPr>
            </a:lvl1pPr>
            <a:lvl2pPr marL="742950" indent="-285750" defTabSz="966788" eaLnBrk="0" hangingPunct="0">
              <a:spcBef>
                <a:spcPct val="20000"/>
              </a:spcBef>
              <a:buClr>
                <a:srgbClr val="009EE0"/>
              </a:buClr>
              <a:buFont typeface="Wingdings" pitchFamily="2" charset="2"/>
              <a:buChar char="n"/>
              <a:defRPr sz="1600">
                <a:solidFill>
                  <a:schemeClr val="tx1"/>
                </a:solidFill>
                <a:latin typeface="Arial" charset="0"/>
              </a:defRPr>
            </a:lvl2pPr>
            <a:lvl3pPr marL="1143000" indent="-228600" defTabSz="966788" eaLnBrk="0" hangingPunct="0">
              <a:spcBef>
                <a:spcPct val="20000"/>
              </a:spcBef>
              <a:buClr>
                <a:srgbClr val="009EE0"/>
              </a:buClr>
              <a:buFont typeface="Arial" charset="0"/>
              <a:buChar char="–"/>
              <a:defRPr sz="1400">
                <a:solidFill>
                  <a:schemeClr val="tx1"/>
                </a:solidFill>
                <a:latin typeface="Arial" charset="0"/>
              </a:defRPr>
            </a:lvl3pPr>
            <a:lvl4pPr marL="1600200" indent="-228600" defTabSz="966788" eaLnBrk="0" hangingPunct="0">
              <a:spcBef>
                <a:spcPct val="20000"/>
              </a:spcBef>
              <a:buSzPct val="25000"/>
              <a:buFont typeface="Arial" charset="0"/>
              <a:buChar char=" "/>
              <a:defRPr sz="1200">
                <a:solidFill>
                  <a:schemeClr val="tx1"/>
                </a:solidFill>
                <a:latin typeface="Arial" charset="0"/>
              </a:defRPr>
            </a:lvl4pPr>
            <a:lvl5pPr marL="2057400" indent="-228600" defTabSz="966788" eaLnBrk="0" hangingPunct="0">
              <a:spcBef>
                <a:spcPct val="20000"/>
              </a:spcBef>
              <a:buSzPct val="25000"/>
              <a:buFont typeface="Arial" charset="0"/>
              <a:buChar char=" "/>
              <a:defRPr sz="1100">
                <a:solidFill>
                  <a:schemeClr val="tx1"/>
                </a:solidFill>
                <a:latin typeface="Arial" charset="0"/>
              </a:defRPr>
            </a:lvl5pPr>
            <a:lvl6pPr marL="25146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6pPr>
            <a:lvl7pPr marL="29718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7pPr>
            <a:lvl8pPr marL="34290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8pPr>
            <a:lvl9pPr marL="38862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9pPr>
          </a:lstStyle>
          <a:p>
            <a:pPr algn="ctr" eaLnBrk="1" hangingPunct="1">
              <a:spcBef>
                <a:spcPct val="0"/>
              </a:spcBef>
              <a:buClrTx/>
              <a:buSzTx/>
              <a:buFontTx/>
              <a:buNone/>
            </a:pPr>
            <a:r>
              <a:rPr lang="en-US" altLang="fr-FR" sz="1200" b="1" dirty="0"/>
              <a:t>Non</a:t>
            </a:r>
          </a:p>
          <a:p>
            <a:pPr algn="ctr" eaLnBrk="1" hangingPunct="1">
              <a:spcBef>
                <a:spcPct val="0"/>
              </a:spcBef>
              <a:buClrTx/>
              <a:buSzTx/>
              <a:buFontTx/>
              <a:buNone/>
            </a:pPr>
            <a:r>
              <a:rPr lang="en-US" altLang="fr-FR" sz="1200" b="1" dirty="0"/>
              <a:t>Financials</a:t>
            </a:r>
          </a:p>
        </p:txBody>
      </p:sp>
      <p:sp>
        <p:nvSpPr>
          <p:cNvPr id="13" name="Parenthèses 16">
            <a:extLst>
              <a:ext uri="{FF2B5EF4-FFF2-40B4-BE49-F238E27FC236}">
                <a16:creationId xmlns="" xmlns:a16="http://schemas.microsoft.com/office/drawing/2014/main" id="{277EE0CC-BF54-4C1D-9700-375289919BA8}"/>
              </a:ext>
            </a:extLst>
          </p:cNvPr>
          <p:cNvSpPr>
            <a:spLocks noChangeArrowheads="1"/>
          </p:cNvSpPr>
          <p:nvPr/>
        </p:nvSpPr>
        <p:spPr bwMode="auto">
          <a:xfrm>
            <a:off x="519113" y="1497105"/>
            <a:ext cx="2426837" cy="302790"/>
          </a:xfrm>
          <a:prstGeom prst="rect">
            <a:avLst/>
          </a:prstGeom>
          <a:solidFill>
            <a:schemeClr val="tx1"/>
          </a:solidFill>
          <a:ln>
            <a:noFill/>
          </a:ln>
          <a:effectLst/>
          <a:extLst/>
        </p:spPr>
        <p:txBody>
          <a:bodyPr lIns="100734" tIns="51173" rIns="20146" bIns="51173"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algn="ctr"/>
            <a:r>
              <a:rPr lang="en-GB" altLang="en-US" sz="1200" b="1" dirty="0">
                <a:solidFill>
                  <a:srgbClr val="FFFFFF"/>
                </a:solidFill>
                <a:ea typeface="MS PGothic" pitchFamily="34" charset="-128"/>
                <a:cs typeface="Arial" pitchFamily="34" charset="0"/>
              </a:rPr>
              <a:t>1. Investment universe</a:t>
            </a:r>
          </a:p>
        </p:txBody>
      </p:sp>
      <p:sp>
        <p:nvSpPr>
          <p:cNvPr id="14" name="Rectangle 85">
            <a:extLst>
              <a:ext uri="{FF2B5EF4-FFF2-40B4-BE49-F238E27FC236}">
                <a16:creationId xmlns="" xmlns:a16="http://schemas.microsoft.com/office/drawing/2014/main" id="{56987094-074F-42D0-832A-7C02B299C1A9}"/>
              </a:ext>
            </a:extLst>
          </p:cNvPr>
          <p:cNvSpPr>
            <a:spLocks noChangeArrowheads="1"/>
          </p:cNvSpPr>
          <p:nvPr/>
        </p:nvSpPr>
        <p:spPr bwMode="auto">
          <a:xfrm>
            <a:off x="4932277" y="1877558"/>
            <a:ext cx="1050944" cy="977070"/>
          </a:xfrm>
          <a:prstGeom prst="rect">
            <a:avLst/>
          </a:prstGeom>
          <a:solidFill>
            <a:schemeClr val="bg1">
              <a:lumMod val="95000"/>
            </a:schemeClr>
          </a:solidFill>
          <a:ln w="19050" algn="ctr">
            <a:noFill/>
            <a:miter lim="800000"/>
            <a:headEnd/>
            <a:tailEnd/>
          </a:ln>
          <a:effectLst/>
          <a:extLst/>
        </p:spPr>
        <p:txBody>
          <a:bodyPr lIns="96744" tIns="48372" rIns="96744" bIns="48372" anchor="ctr"/>
          <a:lstStyle/>
          <a:p>
            <a:pPr algn="ctr" defTabSz="966788">
              <a:spcBef>
                <a:spcPct val="0"/>
              </a:spcBef>
            </a:pPr>
            <a:endParaRPr lang="en-US" altLang="fr-FR" sz="1200" b="1" dirty="0">
              <a:solidFill>
                <a:schemeClr val="tx2"/>
              </a:solidFill>
              <a:latin typeface="Arial" charset="0"/>
            </a:endParaRPr>
          </a:p>
        </p:txBody>
      </p:sp>
      <p:sp>
        <p:nvSpPr>
          <p:cNvPr id="15" name="Rectangle 85">
            <a:extLst>
              <a:ext uri="{FF2B5EF4-FFF2-40B4-BE49-F238E27FC236}">
                <a16:creationId xmlns="" xmlns:a16="http://schemas.microsoft.com/office/drawing/2014/main" id="{DB0E467F-A354-4CE7-B753-162B1D4F2B1D}"/>
              </a:ext>
            </a:extLst>
          </p:cNvPr>
          <p:cNvSpPr>
            <a:spLocks noChangeArrowheads="1"/>
          </p:cNvSpPr>
          <p:nvPr/>
        </p:nvSpPr>
        <p:spPr bwMode="auto">
          <a:xfrm>
            <a:off x="4932277" y="2886882"/>
            <a:ext cx="1050944" cy="2251305"/>
          </a:xfrm>
          <a:prstGeom prst="rect">
            <a:avLst/>
          </a:prstGeom>
          <a:solidFill>
            <a:schemeClr val="bg1">
              <a:lumMod val="95000"/>
            </a:schemeClr>
          </a:solidFill>
          <a:ln w="19050" algn="ctr">
            <a:noFill/>
            <a:miter lim="800000"/>
            <a:headEnd/>
            <a:tailEnd/>
          </a:ln>
          <a:effectLst/>
          <a:extLst/>
        </p:spPr>
        <p:txBody>
          <a:bodyPr lIns="96744" tIns="48372" rIns="96744" bIns="48372" anchor="ctr"/>
          <a:lstStyle>
            <a:lvl1pPr defTabSz="966788" eaLnBrk="0" hangingPunct="0">
              <a:spcBef>
                <a:spcPct val="20000"/>
              </a:spcBef>
              <a:buClr>
                <a:srgbClr val="009EE0"/>
              </a:buClr>
              <a:buSzPct val="25000"/>
              <a:buFont typeface="Arial" charset="0"/>
              <a:buChar char=" "/>
              <a:defRPr sz="1600">
                <a:solidFill>
                  <a:schemeClr val="tx1"/>
                </a:solidFill>
                <a:latin typeface="Arial" charset="0"/>
              </a:defRPr>
            </a:lvl1pPr>
            <a:lvl2pPr marL="742950" indent="-285750" defTabSz="966788" eaLnBrk="0" hangingPunct="0">
              <a:spcBef>
                <a:spcPct val="20000"/>
              </a:spcBef>
              <a:buClr>
                <a:srgbClr val="009EE0"/>
              </a:buClr>
              <a:buFont typeface="Wingdings" pitchFamily="2" charset="2"/>
              <a:buChar char="n"/>
              <a:defRPr sz="1600">
                <a:solidFill>
                  <a:schemeClr val="tx1"/>
                </a:solidFill>
                <a:latin typeface="Arial" charset="0"/>
              </a:defRPr>
            </a:lvl2pPr>
            <a:lvl3pPr marL="1143000" indent="-228600" defTabSz="966788" eaLnBrk="0" hangingPunct="0">
              <a:spcBef>
                <a:spcPct val="20000"/>
              </a:spcBef>
              <a:buClr>
                <a:srgbClr val="009EE0"/>
              </a:buClr>
              <a:buFont typeface="Arial" charset="0"/>
              <a:buChar char="–"/>
              <a:defRPr sz="1400">
                <a:solidFill>
                  <a:schemeClr val="tx1"/>
                </a:solidFill>
                <a:latin typeface="Arial" charset="0"/>
              </a:defRPr>
            </a:lvl3pPr>
            <a:lvl4pPr marL="1600200" indent="-228600" defTabSz="966788" eaLnBrk="0" hangingPunct="0">
              <a:spcBef>
                <a:spcPct val="20000"/>
              </a:spcBef>
              <a:buSzPct val="25000"/>
              <a:buFont typeface="Arial" charset="0"/>
              <a:buChar char=" "/>
              <a:defRPr sz="1200">
                <a:solidFill>
                  <a:schemeClr val="tx1"/>
                </a:solidFill>
                <a:latin typeface="Arial" charset="0"/>
              </a:defRPr>
            </a:lvl4pPr>
            <a:lvl5pPr marL="2057400" indent="-228600" defTabSz="966788" eaLnBrk="0" hangingPunct="0">
              <a:spcBef>
                <a:spcPct val="20000"/>
              </a:spcBef>
              <a:buSzPct val="25000"/>
              <a:buFont typeface="Arial" charset="0"/>
              <a:buChar char=" "/>
              <a:defRPr sz="1100">
                <a:solidFill>
                  <a:schemeClr val="tx1"/>
                </a:solidFill>
                <a:latin typeface="Arial" charset="0"/>
              </a:defRPr>
            </a:lvl5pPr>
            <a:lvl6pPr marL="25146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6pPr>
            <a:lvl7pPr marL="29718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7pPr>
            <a:lvl8pPr marL="34290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8pPr>
            <a:lvl9pPr marL="3886200" indent="-228600" defTabSz="966788" eaLnBrk="0" fontAlgn="base" hangingPunct="0">
              <a:spcBef>
                <a:spcPct val="20000"/>
              </a:spcBef>
              <a:spcAft>
                <a:spcPct val="0"/>
              </a:spcAft>
              <a:buSzPct val="25000"/>
              <a:buFont typeface="Arial" charset="0"/>
              <a:buChar char=" "/>
              <a:defRPr sz="1100">
                <a:solidFill>
                  <a:schemeClr val="tx1"/>
                </a:solidFill>
                <a:latin typeface="Arial" charset="0"/>
              </a:defRPr>
            </a:lvl9pPr>
          </a:lstStyle>
          <a:p>
            <a:pPr algn="ctr">
              <a:spcBef>
                <a:spcPct val="0"/>
              </a:spcBef>
            </a:pPr>
            <a:endParaRPr lang="en-US" altLang="fr-FR" sz="1200" b="1" dirty="0">
              <a:solidFill>
                <a:schemeClr val="tx2"/>
              </a:solidFill>
            </a:endParaRPr>
          </a:p>
        </p:txBody>
      </p:sp>
      <p:sp>
        <p:nvSpPr>
          <p:cNvPr id="16" name="Rectangle 85">
            <a:extLst>
              <a:ext uri="{FF2B5EF4-FFF2-40B4-BE49-F238E27FC236}">
                <a16:creationId xmlns="" xmlns:a16="http://schemas.microsoft.com/office/drawing/2014/main" id="{F9035037-06FA-4647-9F19-BBABC92981B1}"/>
              </a:ext>
            </a:extLst>
          </p:cNvPr>
          <p:cNvSpPr>
            <a:spLocks noChangeArrowheads="1"/>
          </p:cNvSpPr>
          <p:nvPr/>
        </p:nvSpPr>
        <p:spPr bwMode="auto">
          <a:xfrm>
            <a:off x="4932277" y="1883077"/>
            <a:ext cx="1050944" cy="271598"/>
          </a:xfrm>
          <a:prstGeom prst="rect">
            <a:avLst/>
          </a:prstGeom>
          <a:solidFill>
            <a:schemeClr val="accent3"/>
          </a:solidFill>
          <a:ln w="19050" algn="ctr">
            <a:no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latin typeface="Arial" charset="0"/>
              </a:rPr>
              <a:t>Quintile 1</a:t>
            </a:r>
          </a:p>
        </p:txBody>
      </p:sp>
      <p:sp>
        <p:nvSpPr>
          <p:cNvPr id="17" name="Rectangle 85">
            <a:extLst>
              <a:ext uri="{FF2B5EF4-FFF2-40B4-BE49-F238E27FC236}">
                <a16:creationId xmlns="" xmlns:a16="http://schemas.microsoft.com/office/drawing/2014/main" id="{EBC3080C-6B0F-4F61-BFD4-50652BAEA25A}"/>
              </a:ext>
            </a:extLst>
          </p:cNvPr>
          <p:cNvSpPr>
            <a:spLocks noChangeArrowheads="1"/>
          </p:cNvSpPr>
          <p:nvPr/>
        </p:nvSpPr>
        <p:spPr bwMode="auto">
          <a:xfrm>
            <a:off x="4932276" y="2854627"/>
            <a:ext cx="1045757" cy="653246"/>
          </a:xfrm>
          <a:prstGeom prst="rect">
            <a:avLst/>
          </a:prstGeom>
          <a:solidFill>
            <a:schemeClr val="accent3"/>
          </a:solidFill>
          <a:ln w="19050" algn="ctr">
            <a:no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latin typeface="Arial" charset="0"/>
              </a:rPr>
              <a:t>Quintile 1</a:t>
            </a:r>
          </a:p>
        </p:txBody>
      </p:sp>
      <p:sp>
        <p:nvSpPr>
          <p:cNvPr id="18" name="Rectangle 85">
            <a:extLst>
              <a:ext uri="{FF2B5EF4-FFF2-40B4-BE49-F238E27FC236}">
                <a16:creationId xmlns="" xmlns:a16="http://schemas.microsoft.com/office/drawing/2014/main" id="{DC6DB795-3F9C-4D3C-83D1-E5EDB40E5A9C}"/>
              </a:ext>
            </a:extLst>
          </p:cNvPr>
          <p:cNvSpPr>
            <a:spLocks noChangeArrowheads="1"/>
          </p:cNvSpPr>
          <p:nvPr/>
        </p:nvSpPr>
        <p:spPr bwMode="auto">
          <a:xfrm>
            <a:off x="6568224" y="2846125"/>
            <a:ext cx="2035773" cy="928810"/>
          </a:xfrm>
          <a:prstGeom prst="rect">
            <a:avLst/>
          </a:prstGeom>
          <a:solidFill>
            <a:schemeClr val="tx1"/>
          </a:solidFill>
          <a:ln>
            <a:noFill/>
          </a:ln>
          <a:effectLst/>
          <a:extLst/>
        </p:spPr>
        <p:txBody>
          <a:bodyPr lIns="100734" tIns="51173" rIns="20146" bIns="51173" anchor="ctr"/>
          <a:lstStyle/>
          <a:p>
            <a:pPr algn="ctr" defTabSz="1022350"/>
            <a:r>
              <a:rPr lang="en-US" altLang="fr-FR" sz="1200" b="1" dirty="0">
                <a:solidFill>
                  <a:srgbClr val="FFFFFF"/>
                </a:solidFill>
                <a:latin typeface="Arial" pitchFamily="34" charset="0"/>
                <a:ea typeface="MS PGothic" pitchFamily="34" charset="-128"/>
                <a:cs typeface="Arial" pitchFamily="34" charset="0"/>
              </a:rPr>
              <a:t>Value Factor</a:t>
            </a:r>
          </a:p>
        </p:txBody>
      </p:sp>
      <p:sp>
        <p:nvSpPr>
          <p:cNvPr id="19" name="Parenthèses 16">
            <a:extLst>
              <a:ext uri="{FF2B5EF4-FFF2-40B4-BE49-F238E27FC236}">
                <a16:creationId xmlns="" xmlns:a16="http://schemas.microsoft.com/office/drawing/2014/main" id="{F792280C-A4BB-4DF2-8E74-9B06D810366C}"/>
              </a:ext>
            </a:extLst>
          </p:cNvPr>
          <p:cNvSpPr>
            <a:spLocks noChangeArrowheads="1"/>
          </p:cNvSpPr>
          <p:nvPr/>
        </p:nvSpPr>
        <p:spPr bwMode="auto">
          <a:xfrm>
            <a:off x="3561013" y="1497105"/>
            <a:ext cx="2429721" cy="302790"/>
          </a:xfrm>
          <a:prstGeom prst="rect">
            <a:avLst/>
          </a:prstGeom>
          <a:solidFill>
            <a:schemeClr val="tx1"/>
          </a:solidFill>
          <a:ln>
            <a:noFill/>
          </a:ln>
          <a:effectLst/>
          <a:extLst/>
        </p:spPr>
        <p:txBody>
          <a:bodyPr lIns="100734" tIns="51173" rIns="20146" bIns="51173"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algn="ctr"/>
            <a:r>
              <a:rPr lang="en-GB" altLang="en-US" sz="1200" b="1" dirty="0">
                <a:solidFill>
                  <a:srgbClr val="FFFFFF"/>
                </a:solidFill>
                <a:ea typeface="MS PGothic" pitchFamily="34" charset="-128"/>
                <a:cs typeface="Arial" pitchFamily="34" charset="0"/>
              </a:rPr>
              <a:t>2. Stock selection</a:t>
            </a:r>
          </a:p>
        </p:txBody>
      </p:sp>
      <p:sp>
        <p:nvSpPr>
          <p:cNvPr id="20" name="Parenthèses 16">
            <a:extLst>
              <a:ext uri="{FF2B5EF4-FFF2-40B4-BE49-F238E27FC236}">
                <a16:creationId xmlns="" xmlns:a16="http://schemas.microsoft.com/office/drawing/2014/main" id="{F1A08F42-ADEE-4A30-A326-2BA7D5D507CA}"/>
              </a:ext>
            </a:extLst>
          </p:cNvPr>
          <p:cNvSpPr>
            <a:spLocks noChangeArrowheads="1"/>
          </p:cNvSpPr>
          <p:nvPr/>
        </p:nvSpPr>
        <p:spPr bwMode="auto">
          <a:xfrm>
            <a:off x="6568225" y="1497105"/>
            <a:ext cx="2070695" cy="302790"/>
          </a:xfrm>
          <a:prstGeom prst="rect">
            <a:avLst/>
          </a:prstGeom>
          <a:solidFill>
            <a:schemeClr val="tx1"/>
          </a:solidFill>
          <a:ln>
            <a:noFill/>
          </a:ln>
          <a:effectLst/>
          <a:extLst/>
        </p:spPr>
        <p:txBody>
          <a:bodyPr lIns="100734" tIns="51173" rIns="20146" bIns="51173"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algn="ctr"/>
            <a:r>
              <a:rPr lang="en-GB" altLang="en-US" sz="1200" b="1" dirty="0">
                <a:solidFill>
                  <a:srgbClr val="FFFFFF"/>
                </a:solidFill>
                <a:ea typeface="MS PGothic" pitchFamily="34" charset="-128"/>
                <a:cs typeface="Arial" pitchFamily="34" charset="0"/>
              </a:rPr>
              <a:t>3. Weighting scheme</a:t>
            </a:r>
          </a:p>
        </p:txBody>
      </p:sp>
      <p:sp>
        <p:nvSpPr>
          <p:cNvPr id="23" name="Rectangle 22">
            <a:extLst>
              <a:ext uri="{FF2B5EF4-FFF2-40B4-BE49-F238E27FC236}">
                <a16:creationId xmlns="" xmlns:a16="http://schemas.microsoft.com/office/drawing/2014/main" id="{0C0CCDBE-C2FA-438A-8082-0B2A79364C96}"/>
              </a:ext>
            </a:extLst>
          </p:cNvPr>
          <p:cNvSpPr/>
          <p:nvPr/>
        </p:nvSpPr>
        <p:spPr>
          <a:xfrm>
            <a:off x="3561012" y="1877558"/>
            <a:ext cx="796979" cy="32606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bg1"/>
              </a:solidFill>
            </a:endParaRPr>
          </a:p>
          <a:p>
            <a:pPr algn="ctr"/>
            <a:r>
              <a:rPr lang="en-US" sz="1200" b="1" dirty="0">
                <a:solidFill>
                  <a:schemeClr val="bg1"/>
                </a:solidFill>
              </a:rPr>
              <a:t>Ranking based on </a:t>
            </a:r>
          </a:p>
          <a:p>
            <a:pPr algn="ctr"/>
            <a:endParaRPr lang="en-US" sz="1600" b="1" dirty="0">
              <a:solidFill>
                <a:schemeClr val="bg1"/>
              </a:solidFill>
            </a:endParaRPr>
          </a:p>
          <a:p>
            <a:pPr algn="ctr"/>
            <a:r>
              <a:rPr lang="en-US" sz="1600" b="1" dirty="0">
                <a:solidFill>
                  <a:schemeClr val="bg1"/>
                </a:solidFill>
              </a:rPr>
              <a:t>P/B</a:t>
            </a:r>
          </a:p>
          <a:p>
            <a:pPr algn="ctr"/>
            <a:endParaRPr lang="en-US" sz="1600" b="1" dirty="0">
              <a:solidFill>
                <a:schemeClr val="bg1"/>
              </a:solidFill>
            </a:endParaRPr>
          </a:p>
          <a:p>
            <a:pPr algn="ctr"/>
            <a:r>
              <a:rPr lang="en-US" sz="1600" b="1" dirty="0">
                <a:solidFill>
                  <a:schemeClr val="bg1"/>
                </a:solidFill>
              </a:rPr>
              <a:t>P/E</a:t>
            </a:r>
          </a:p>
          <a:p>
            <a:pPr algn="ctr"/>
            <a:endParaRPr lang="en-US" sz="1600" b="1" dirty="0">
              <a:solidFill>
                <a:schemeClr val="bg1"/>
              </a:solidFill>
            </a:endParaRPr>
          </a:p>
          <a:p>
            <a:pPr algn="ctr"/>
            <a:r>
              <a:rPr lang="en-US" sz="1600" b="1" dirty="0">
                <a:solidFill>
                  <a:schemeClr val="bg1"/>
                </a:solidFill>
              </a:rPr>
              <a:t>P/CF*</a:t>
            </a:r>
          </a:p>
          <a:p>
            <a:pPr algn="ctr"/>
            <a:endParaRPr lang="en-US" sz="1600" dirty="0">
              <a:solidFill>
                <a:schemeClr val="bg1"/>
              </a:solidFill>
            </a:endParaRPr>
          </a:p>
        </p:txBody>
      </p:sp>
      <mc:AlternateContent xmlns:mc="http://schemas.openxmlformats.org/markup-compatibility/2006" xmlns:a14="http://schemas.microsoft.com/office/drawing/2010/main">
        <mc:Choice Requires="a14">
          <p:sp>
            <p:nvSpPr>
              <p:cNvPr id="24" name="TextBox 15">
                <a:extLst>
                  <a:ext uri="{FF2B5EF4-FFF2-40B4-BE49-F238E27FC236}">
                    <a16:creationId xmlns="" xmlns:a16="http://schemas.microsoft.com/office/drawing/2014/main" id="{54C20663-4B3A-4B3B-BA11-5B167B5DC35F}"/>
                  </a:ext>
                </a:extLst>
              </p:cNvPr>
              <p:cNvSpPr txBox="1"/>
              <p:nvPr/>
            </p:nvSpPr>
            <p:spPr>
              <a:xfrm>
                <a:off x="6568225" y="4014089"/>
                <a:ext cx="2035772" cy="1133007"/>
              </a:xfrm>
              <a:prstGeom prst="rect">
                <a:avLst/>
              </a:prstGeom>
              <a:solidFill>
                <a:schemeClr val="accent2"/>
              </a:solidFill>
              <a:ln>
                <a:noFill/>
              </a:ln>
            </p:spPr>
            <p:txBody>
              <a:bodyPr wrap="square" rtlCol="0" anchor="ctr" anchorCtr="0">
                <a:noAutofit/>
              </a:bodyPr>
              <a:lstStyle/>
              <a:p>
                <a:pPr algn="ctr"/>
                <a:r>
                  <a:rPr lang="en-US" sz="1200" b="1" dirty="0">
                    <a:solidFill>
                      <a:schemeClr val="bg1"/>
                    </a:solidFill>
                  </a:rPr>
                  <a:t>Around 120 stocks</a:t>
                </a:r>
              </a:p>
              <a:p>
                <a:pPr algn="ctr"/>
                <a:endParaRPr lang="en-US" sz="1200" b="1" dirty="0">
                  <a:solidFill>
                    <a:schemeClr val="bg1"/>
                  </a:solidFill>
                </a:endParaRPr>
              </a:p>
              <a:p>
                <a:pPr algn="ctr"/>
                <a:r>
                  <a:rPr lang="en-US" sz="1200" b="1" dirty="0">
                    <a:solidFill>
                      <a:schemeClr val="bg1"/>
                    </a:solidFill>
                  </a:rPr>
                  <a:t>Weighted by </a:t>
                </a:r>
              </a:p>
              <a:p>
                <a:pPr algn="ctr"/>
                <a14:m>
                  <m:oMathPara xmlns:m="http://schemas.openxmlformats.org/officeDocument/2006/math">
                    <m:oMathParaPr>
                      <m:jc m:val="centerGroup"/>
                    </m:oMathParaPr>
                    <m:oMath xmlns:m="http://schemas.openxmlformats.org/officeDocument/2006/math">
                      <m:rad>
                        <m:radPr>
                          <m:degHide m:val="on"/>
                          <m:ctrlPr>
                            <a:rPr lang="en-US" sz="1200" b="1" i="1" smtClean="0">
                              <a:solidFill>
                                <a:schemeClr val="bg1"/>
                              </a:solidFill>
                              <a:latin typeface="Cambria Math"/>
                            </a:rPr>
                          </m:ctrlPr>
                        </m:radPr>
                        <m:deg/>
                        <m:e>
                          <m:r>
                            <a:rPr lang="fr-FR" sz="1200" b="1" smtClean="0">
                              <a:solidFill>
                                <a:schemeClr val="bg1"/>
                              </a:solidFill>
                              <a:latin typeface="Cambria Math"/>
                            </a:rPr>
                            <m:t>𝐌𝐚𝐫𝐤𝐞𝐭</m:t>
                          </m:r>
                          <m:r>
                            <a:rPr lang="fr-FR" sz="1200" b="1" smtClean="0">
                              <a:solidFill>
                                <a:schemeClr val="bg1"/>
                              </a:solidFill>
                              <a:latin typeface="Cambria Math"/>
                            </a:rPr>
                            <m:t> </m:t>
                          </m:r>
                          <m:r>
                            <a:rPr lang="fr-FR" sz="1200" b="1" smtClean="0">
                              <a:solidFill>
                                <a:schemeClr val="bg1"/>
                              </a:solidFill>
                              <a:latin typeface="Cambria Math"/>
                            </a:rPr>
                            <m:t>𝐂𝐚𝐩</m:t>
                          </m:r>
                        </m:e>
                      </m:rad>
                    </m:oMath>
                  </m:oMathPara>
                </a14:m>
                <a:endParaRPr lang="en-US" sz="1200" b="1" dirty="0">
                  <a:solidFill>
                    <a:schemeClr val="bg1"/>
                  </a:solidFill>
                </a:endParaRPr>
              </a:p>
            </p:txBody>
          </p:sp>
        </mc:Choice>
        <mc:Fallback xmlns="">
          <p:sp>
            <p:nvSpPr>
              <p:cNvPr id="24" name="TextBox 15">
                <a:extLst>
                  <a:ext uri="{FF2B5EF4-FFF2-40B4-BE49-F238E27FC236}">
                    <a16:creationId xmlns:a16="http://schemas.microsoft.com/office/drawing/2014/main" id="{54C20663-4B3A-4B3B-BA11-5B167B5DC35F}"/>
                  </a:ext>
                </a:extLst>
              </p:cNvPr>
              <p:cNvSpPr txBox="1">
                <a:spLocks noRot="1" noChangeAspect="1" noMove="1" noResize="1" noEditPoints="1" noAdjustHandles="1" noChangeArrowheads="1" noChangeShapeType="1" noTextEdit="1"/>
              </p:cNvSpPr>
              <p:nvPr/>
            </p:nvSpPr>
            <p:spPr>
              <a:xfrm>
                <a:off x="6568225" y="4014089"/>
                <a:ext cx="2035772" cy="1133007"/>
              </a:xfrm>
              <a:prstGeom prst="rect">
                <a:avLst/>
              </a:prstGeom>
              <a:blipFill>
                <a:blip r:embed="rId2"/>
                <a:stretch>
                  <a:fillRect/>
                </a:stretch>
              </a:blipFill>
              <a:ln>
                <a:noFill/>
              </a:ln>
            </p:spPr>
            <p:txBody>
              <a:bodyPr/>
              <a:lstStyle/>
              <a:p>
                <a:r>
                  <a:rPr lang="fr-FR">
                    <a:noFill/>
                  </a:rPr>
                  <a:t> </a:t>
                </a:r>
              </a:p>
            </p:txBody>
          </p:sp>
        </mc:Fallback>
      </mc:AlternateContent>
      <p:sp>
        <p:nvSpPr>
          <p:cNvPr id="25" name="Rectangle 24">
            <a:extLst>
              <a:ext uri="{FF2B5EF4-FFF2-40B4-BE49-F238E27FC236}">
                <a16:creationId xmlns="" xmlns:a16="http://schemas.microsoft.com/office/drawing/2014/main" id="{8C0AAE24-ECEB-49BC-940A-7B0B56B83431}"/>
              </a:ext>
            </a:extLst>
          </p:cNvPr>
          <p:cNvSpPr/>
          <p:nvPr/>
        </p:nvSpPr>
        <p:spPr bwMode="auto">
          <a:xfrm>
            <a:off x="3561013" y="5189387"/>
            <a:ext cx="2429722" cy="464002"/>
          </a:xfrm>
          <a:prstGeom prst="rect">
            <a:avLst/>
          </a:prstGeom>
          <a:solidFill>
            <a:schemeClr val="accent3"/>
          </a:solidFill>
          <a:ln w="19050" algn="ctr">
            <a:noFill/>
            <a:miter lim="800000"/>
            <a:headEnd/>
            <a:tailEnd/>
          </a:ln>
          <a:effectLst/>
        </p:spPr>
        <p:txBody>
          <a:bodyPr lIns="96744" tIns="48372" rIns="96744" bIns="48372" anchor="ctr"/>
          <a:lstStyle/>
          <a:p>
            <a:pPr algn="ctr" defTabSz="966788">
              <a:spcBef>
                <a:spcPct val="0"/>
              </a:spcBef>
            </a:pPr>
            <a:r>
              <a:rPr lang="fr-FR" sz="1200" b="1" dirty="0" err="1">
                <a:solidFill>
                  <a:schemeClr val="bg1"/>
                </a:solidFill>
                <a:latin typeface="Arial" charset="0"/>
              </a:rPr>
              <a:t>Selection</a:t>
            </a:r>
            <a:r>
              <a:rPr lang="fr-FR" sz="1200" b="1" dirty="0">
                <a:solidFill>
                  <a:schemeClr val="bg1"/>
                </a:solidFill>
                <a:latin typeface="Arial" charset="0"/>
              </a:rPr>
              <a:t> of </a:t>
            </a:r>
            <a:r>
              <a:rPr lang="fr-FR" sz="1200" b="1" dirty="0" err="1">
                <a:solidFill>
                  <a:schemeClr val="bg1"/>
                </a:solidFill>
                <a:latin typeface="Arial" charset="0"/>
              </a:rPr>
              <a:t>highest</a:t>
            </a:r>
            <a:r>
              <a:rPr lang="fr-FR" sz="1200" b="1" dirty="0">
                <a:solidFill>
                  <a:schemeClr val="bg1"/>
                </a:solidFill>
                <a:latin typeface="Arial" charset="0"/>
              </a:rPr>
              <a:t> </a:t>
            </a:r>
            <a:r>
              <a:rPr lang="fr-FR" sz="1200" b="1" dirty="0" err="1">
                <a:solidFill>
                  <a:schemeClr val="bg1"/>
                </a:solidFill>
                <a:latin typeface="Arial" charset="0"/>
              </a:rPr>
              <a:t>ranked</a:t>
            </a:r>
            <a:r>
              <a:rPr lang="fr-FR" sz="1200" b="1" dirty="0">
                <a:solidFill>
                  <a:schemeClr val="bg1"/>
                </a:solidFill>
                <a:latin typeface="Arial" charset="0"/>
              </a:rPr>
              <a:t> stocks</a:t>
            </a:r>
          </a:p>
        </p:txBody>
      </p:sp>
      <p:cxnSp>
        <p:nvCxnSpPr>
          <p:cNvPr id="26" name="Straight Connector 5">
            <a:extLst>
              <a:ext uri="{FF2B5EF4-FFF2-40B4-BE49-F238E27FC236}">
                <a16:creationId xmlns="" xmlns:a16="http://schemas.microsoft.com/office/drawing/2014/main" id="{0154D3ED-277B-4D3C-A740-DFD269415350}"/>
              </a:ext>
            </a:extLst>
          </p:cNvPr>
          <p:cNvCxnSpPr/>
          <p:nvPr/>
        </p:nvCxnSpPr>
        <p:spPr bwMode="auto">
          <a:xfrm>
            <a:off x="1895006" y="2846125"/>
            <a:ext cx="1050944" cy="0"/>
          </a:xfrm>
          <a:prstGeom prst="line">
            <a:avLst/>
          </a:prstGeom>
          <a:solidFill>
            <a:schemeClr val="bg2"/>
          </a:solidFill>
          <a:ln w="9525" cap="flat" cmpd="sng" algn="ctr">
            <a:solidFill>
              <a:srgbClr val="002060"/>
            </a:solidFill>
            <a:prstDash val="solid"/>
            <a:round/>
            <a:headEnd type="none" w="med" len="med"/>
            <a:tailEnd type="none" w="med" len="med"/>
          </a:ln>
          <a:effectLst/>
        </p:spPr>
      </p:cxnSp>
      <p:grpSp>
        <p:nvGrpSpPr>
          <p:cNvPr id="27" name="Groupe 26">
            <a:extLst>
              <a:ext uri="{FF2B5EF4-FFF2-40B4-BE49-F238E27FC236}">
                <a16:creationId xmlns="" xmlns:a16="http://schemas.microsoft.com/office/drawing/2014/main" id="{E53846B0-C079-4809-BB97-F4B0024B6A66}"/>
              </a:ext>
            </a:extLst>
          </p:cNvPr>
          <p:cNvGrpSpPr/>
          <p:nvPr/>
        </p:nvGrpSpPr>
        <p:grpSpPr>
          <a:xfrm>
            <a:off x="4442534" y="1877063"/>
            <a:ext cx="405200" cy="3261124"/>
            <a:chOff x="4773750" y="2699009"/>
            <a:chExt cx="3151935" cy="1690043"/>
          </a:xfrm>
          <a:solidFill>
            <a:schemeClr val="accent1"/>
          </a:solidFill>
        </p:grpSpPr>
        <p:sp>
          <p:nvSpPr>
            <p:cNvPr id="28" name="Flèche : chevron 27">
              <a:extLst>
                <a:ext uri="{FF2B5EF4-FFF2-40B4-BE49-F238E27FC236}">
                  <a16:creationId xmlns="" xmlns:a16="http://schemas.microsoft.com/office/drawing/2014/main" id="{63C5163A-0ECC-47B3-8F2E-1759926BB4E2}"/>
                </a:ext>
              </a:extLst>
            </p:cNvPr>
            <p:cNvSpPr/>
            <p:nvPr/>
          </p:nvSpPr>
          <p:spPr>
            <a:xfrm rot="5400000" flipV="1">
              <a:off x="5766356" y="2229731"/>
              <a:ext cx="1166715" cy="3151928"/>
            </a:xfrm>
            <a:prstGeom prst="chevron">
              <a:avLst>
                <a:gd name="adj" fmla="val 2635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sp>
          <p:nvSpPr>
            <p:cNvPr id="29" name="Flèche : pentagone 28">
              <a:extLst>
                <a:ext uri="{FF2B5EF4-FFF2-40B4-BE49-F238E27FC236}">
                  <a16:creationId xmlns="" xmlns:a16="http://schemas.microsoft.com/office/drawing/2014/main" id="{25B3F440-FDA2-45E5-9C32-19EA0DB4DB01}"/>
                </a:ext>
              </a:extLst>
            </p:cNvPr>
            <p:cNvSpPr/>
            <p:nvPr/>
          </p:nvSpPr>
          <p:spPr>
            <a:xfrm rot="5400000" flipV="1">
              <a:off x="6079017" y="1393761"/>
              <a:ext cx="541420" cy="3151916"/>
            </a:xfrm>
            <a:prstGeom prst="homePlate">
              <a:avLst>
                <a:gd name="adj" fmla="val 2583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cxnSp>
        <p:nvCxnSpPr>
          <p:cNvPr id="33" name="Connecteur : en angle 32">
            <a:extLst>
              <a:ext uri="{FF2B5EF4-FFF2-40B4-BE49-F238E27FC236}">
                <a16:creationId xmlns="" xmlns:a16="http://schemas.microsoft.com/office/drawing/2014/main" id="{FEFC0D38-D0A3-4790-8161-4A3128C0A424}"/>
              </a:ext>
            </a:extLst>
          </p:cNvPr>
          <p:cNvCxnSpPr>
            <a:stCxn id="16" idx="3"/>
            <a:endCxn id="18" idx="1"/>
          </p:cNvCxnSpPr>
          <p:nvPr/>
        </p:nvCxnSpPr>
        <p:spPr>
          <a:xfrm>
            <a:off x="5983221" y="2018876"/>
            <a:ext cx="585003" cy="1291654"/>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 xmlns:a16="http://schemas.microsoft.com/office/drawing/2014/main" id="{4C5045A5-36D4-4FD0-91AC-A5347228FB79}"/>
              </a:ext>
            </a:extLst>
          </p:cNvPr>
          <p:cNvCxnSpPr>
            <a:cxnSpLocks/>
          </p:cNvCxnSpPr>
          <p:nvPr/>
        </p:nvCxnSpPr>
        <p:spPr>
          <a:xfrm>
            <a:off x="5978033" y="3310530"/>
            <a:ext cx="2865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3842066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3" grpId="0" animBg="1"/>
      <p:bldP spid="24" grpId="0" animBg="1"/>
      <p:bldP spid="25"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15435638-A690-4C2A-BF71-B7F0133D8DA5}"/>
              </a:ext>
            </a:extLst>
          </p:cNvPr>
          <p:cNvSpPr>
            <a:spLocks noGrp="1"/>
          </p:cNvSpPr>
          <p:nvPr>
            <p:ph type="title"/>
          </p:nvPr>
        </p:nvSpPr>
        <p:spPr/>
        <p:txBody>
          <a:bodyPr>
            <a:noAutofit/>
          </a:bodyPr>
          <a:lstStyle/>
          <a:p>
            <a:r>
              <a:rPr lang="en-US" sz="2000" dirty="0"/>
              <a:t>Our factor allocation approach: a dynamic risk allocation</a:t>
            </a:r>
            <a:endParaRPr lang="fr-FR" sz="2000" dirty="0"/>
          </a:p>
        </p:txBody>
      </p:sp>
      <p:sp>
        <p:nvSpPr>
          <p:cNvPr id="3" name="Espace réservé du contenu 2">
            <a:extLst>
              <a:ext uri="{FF2B5EF4-FFF2-40B4-BE49-F238E27FC236}">
                <a16:creationId xmlns="" xmlns:a16="http://schemas.microsoft.com/office/drawing/2014/main" id="{22938801-3671-4393-9C23-4E00228FBDBA}"/>
              </a:ext>
            </a:extLst>
          </p:cNvPr>
          <p:cNvSpPr>
            <a:spLocks noGrp="1"/>
          </p:cNvSpPr>
          <p:nvPr>
            <p:ph idx="1"/>
          </p:nvPr>
        </p:nvSpPr>
        <p:spPr>
          <a:xfrm>
            <a:off x="540000" y="2014832"/>
            <a:ext cx="8063998" cy="3141886"/>
          </a:xfrm>
        </p:spPr>
        <p:txBody>
          <a:bodyPr>
            <a:spAutoFit/>
          </a:bodyPr>
          <a:lstStyle/>
          <a:p>
            <a:r>
              <a:rPr lang="en-US" dirty="0"/>
              <a:t>Strategic allocation:</a:t>
            </a:r>
          </a:p>
          <a:p>
            <a:pPr lvl="1"/>
            <a:r>
              <a:rPr lang="en-US" dirty="0"/>
              <a:t>The strategic allocation needs to be long-term oriented</a:t>
            </a:r>
          </a:p>
          <a:p>
            <a:pPr lvl="1"/>
            <a:r>
              <a:rPr lang="en-US" dirty="0"/>
              <a:t>And should be based on factor risks</a:t>
            </a:r>
          </a:p>
          <a:p>
            <a:pPr lvl="1"/>
            <a:r>
              <a:rPr lang="en-US" dirty="0"/>
              <a:t>With the objective to limit the expected drawdowns</a:t>
            </a:r>
          </a:p>
          <a:p>
            <a:endParaRPr lang="en-US" dirty="0"/>
          </a:p>
          <a:p>
            <a:r>
              <a:rPr lang="en-US" dirty="0"/>
              <a:t>Tactical allocation:</a:t>
            </a:r>
          </a:p>
          <a:p>
            <a:pPr lvl="1"/>
            <a:r>
              <a:rPr lang="en-US" dirty="0"/>
              <a:t>The tactical allocation should capture short-term risks</a:t>
            </a:r>
          </a:p>
          <a:p>
            <a:pPr lvl="1"/>
            <a:r>
              <a:rPr lang="en-US" dirty="0"/>
              <a:t>And could introduce a limited deviation from the strategic allocation</a:t>
            </a:r>
          </a:p>
          <a:p>
            <a:endParaRPr lang="en-US" dirty="0"/>
          </a:p>
          <a:p>
            <a:r>
              <a:rPr lang="en-US" dirty="0"/>
              <a:t>This allocation is solely based on risks and doesn’t use any expected return scenario</a:t>
            </a:r>
          </a:p>
        </p:txBody>
      </p:sp>
      <p:sp>
        <p:nvSpPr>
          <p:cNvPr id="5" name="Espace réservé du numéro de diapositive 4">
            <a:extLst>
              <a:ext uri="{FF2B5EF4-FFF2-40B4-BE49-F238E27FC236}">
                <a16:creationId xmlns="" xmlns:a16="http://schemas.microsoft.com/office/drawing/2014/main" id="{3F06509D-E98E-4040-B1B3-6208FF520D6D}"/>
              </a:ext>
            </a:extLst>
          </p:cNvPr>
          <p:cNvSpPr>
            <a:spLocks noGrp="1"/>
          </p:cNvSpPr>
          <p:nvPr>
            <p:ph type="sldNum" sz="quarter" idx="12"/>
          </p:nvPr>
        </p:nvSpPr>
        <p:spPr/>
        <p:txBody>
          <a:bodyPr/>
          <a:lstStyle/>
          <a:p>
            <a:fld id="{2B1C6FFC-D040-034F-8B69-20295064E64D}" type="slidenum">
              <a:rPr lang="fr-FR" smtClean="0"/>
              <a:t>43</a:t>
            </a:fld>
            <a:endParaRPr lang="fr-FR" dirty="0"/>
          </a:p>
        </p:txBody>
      </p:sp>
      <p:sp>
        <p:nvSpPr>
          <p:cNvPr id="6" name="Espace réservé du texte 5">
            <a:extLst>
              <a:ext uri="{FF2B5EF4-FFF2-40B4-BE49-F238E27FC236}">
                <a16:creationId xmlns="" xmlns:a16="http://schemas.microsoft.com/office/drawing/2014/main" id="{EBB9B0B9-FCD0-4027-96D0-4AB36346FDF2}"/>
              </a:ext>
            </a:extLst>
          </p:cNvPr>
          <p:cNvSpPr>
            <a:spLocks noGrp="1"/>
          </p:cNvSpPr>
          <p:nvPr>
            <p:ph type="body" sz="quarter" idx="13"/>
          </p:nvPr>
        </p:nvSpPr>
        <p:spPr/>
        <p:txBody>
          <a:bodyPr/>
          <a:lstStyle/>
          <a:p>
            <a:r>
              <a:rPr lang="en-US" dirty="0"/>
              <a:t>We believe that the combination of factors should be risk based and should rely </a:t>
            </a:r>
            <a:br>
              <a:rPr lang="en-US" dirty="0"/>
            </a:br>
            <a:r>
              <a:rPr lang="en-US" dirty="0"/>
              <a:t>on a strategic allocation and a tactical allocation</a:t>
            </a:r>
          </a:p>
        </p:txBody>
      </p:sp>
      <p:sp>
        <p:nvSpPr>
          <p:cNvPr id="7" name="Espace réservé du texte 6">
            <a:extLst>
              <a:ext uri="{FF2B5EF4-FFF2-40B4-BE49-F238E27FC236}">
                <a16:creationId xmlns="" xmlns:a16="http://schemas.microsoft.com/office/drawing/2014/main" id="{8B406519-1776-47C8-91C4-E629CFE1C03A}"/>
              </a:ext>
            </a:extLst>
          </p:cNvPr>
          <p:cNvSpPr>
            <a:spLocks noGrp="1"/>
          </p:cNvSpPr>
          <p:nvPr>
            <p:ph type="body" sz="quarter" idx="14"/>
          </p:nvPr>
        </p:nvSpPr>
        <p:spPr/>
        <p:txBody>
          <a:bodyPr/>
          <a:lstStyle/>
          <a:p>
            <a:r>
              <a:rPr lang="fr-FR" dirty="0"/>
              <a:t>Source: Amundi </a:t>
            </a:r>
          </a:p>
        </p:txBody>
      </p:sp>
      <p:sp>
        <p:nvSpPr>
          <p:cNvPr id="9"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8" name="Rectangle 7"/>
          <p:cNvSpPr/>
          <p:nvPr/>
        </p:nvSpPr>
        <p:spPr>
          <a:xfrm>
            <a:off x="5153025" y="131880"/>
            <a:ext cx="3455583" cy="3839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schemeClr val="tx1"/>
                </a:solidFill>
              </a:rPr>
              <a:t>Dynamic</a:t>
            </a:r>
            <a:r>
              <a:rPr lang="fr-FR" dirty="0" smtClean="0">
                <a:solidFill>
                  <a:schemeClr val="tx1"/>
                </a:solidFill>
              </a:rPr>
              <a:t> Factor Allocation</a:t>
            </a:r>
            <a:endParaRPr lang="fr-FR" dirty="0">
              <a:solidFill>
                <a:schemeClr val="tx1"/>
              </a:solidFill>
            </a:endParaRPr>
          </a:p>
        </p:txBody>
      </p:sp>
    </p:spTree>
    <p:extLst>
      <p:ext uri="{BB962C8B-B14F-4D97-AF65-F5344CB8AC3E}">
        <p14:creationId xmlns:p14="http://schemas.microsoft.com/office/powerpoint/2010/main" val="29120936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4528E5FC-B268-43FA-AC4F-96A4860AE278}"/>
              </a:ext>
            </a:extLst>
          </p:cNvPr>
          <p:cNvSpPr>
            <a:spLocks noGrp="1"/>
          </p:cNvSpPr>
          <p:nvPr>
            <p:ph type="title"/>
          </p:nvPr>
        </p:nvSpPr>
        <p:spPr/>
        <p:txBody>
          <a:bodyPr/>
          <a:lstStyle/>
          <a:p>
            <a:r>
              <a:rPr lang="en-US" dirty="0"/>
              <a:t>Strategic allocation: Minimize expected drawdowns</a:t>
            </a:r>
            <a:endParaRPr lang="fr-FR" dirty="0"/>
          </a:p>
        </p:txBody>
      </p:sp>
      <p:sp>
        <p:nvSpPr>
          <p:cNvPr id="5" name="Espace réservé du numéro de diapositive 4">
            <a:extLst>
              <a:ext uri="{FF2B5EF4-FFF2-40B4-BE49-F238E27FC236}">
                <a16:creationId xmlns="" xmlns:a16="http://schemas.microsoft.com/office/drawing/2014/main" id="{644972FE-E6DE-457C-B7E1-C27331DF5C39}"/>
              </a:ext>
            </a:extLst>
          </p:cNvPr>
          <p:cNvSpPr>
            <a:spLocks noGrp="1"/>
          </p:cNvSpPr>
          <p:nvPr>
            <p:ph type="sldNum" sz="quarter" idx="12"/>
          </p:nvPr>
        </p:nvSpPr>
        <p:spPr/>
        <p:txBody>
          <a:bodyPr/>
          <a:lstStyle/>
          <a:p>
            <a:fld id="{2B1C6FFC-D040-034F-8B69-20295064E64D}" type="slidenum">
              <a:rPr lang="fr-FR" smtClean="0"/>
              <a:t>44</a:t>
            </a:fld>
            <a:endParaRPr lang="fr-FR" dirty="0"/>
          </a:p>
        </p:txBody>
      </p:sp>
      <p:sp>
        <p:nvSpPr>
          <p:cNvPr id="9" name="Parenthèses 16">
            <a:extLst>
              <a:ext uri="{FF2B5EF4-FFF2-40B4-BE49-F238E27FC236}">
                <a16:creationId xmlns="" xmlns:a16="http://schemas.microsoft.com/office/drawing/2014/main" id="{EFD44E3F-BEB5-499B-B235-9B3405690B1B}"/>
              </a:ext>
            </a:extLst>
          </p:cNvPr>
          <p:cNvSpPr>
            <a:spLocks noChangeArrowheads="1"/>
          </p:cNvSpPr>
          <p:nvPr/>
        </p:nvSpPr>
        <p:spPr bwMode="auto">
          <a:xfrm>
            <a:off x="735147" y="1611208"/>
            <a:ext cx="1050945" cy="513455"/>
          </a:xfrm>
          <a:prstGeom prst="rect">
            <a:avLst/>
          </a:prstGeom>
          <a:solidFill>
            <a:schemeClr val="tx1"/>
          </a:solidFill>
          <a:ln w="2857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00734" tIns="51173" rIns="20146" bIns="51173"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algn="ctr"/>
            <a:r>
              <a:rPr lang="en-GB" altLang="en-US" sz="1200" b="1" dirty="0">
                <a:solidFill>
                  <a:srgbClr val="FFFFFF"/>
                </a:solidFill>
                <a:latin typeface="+mn-lt"/>
                <a:ea typeface="MS PGothic" pitchFamily="34" charset="-128"/>
                <a:cs typeface="Arial" pitchFamily="34" charset="0"/>
              </a:rPr>
              <a:t>FACTORS</a:t>
            </a:r>
          </a:p>
        </p:txBody>
      </p:sp>
      <p:sp>
        <p:nvSpPr>
          <p:cNvPr id="10" name="Rectangle 85">
            <a:extLst>
              <a:ext uri="{FF2B5EF4-FFF2-40B4-BE49-F238E27FC236}">
                <a16:creationId xmlns="" xmlns:a16="http://schemas.microsoft.com/office/drawing/2014/main" id="{D08CD4D1-198B-4675-BF92-FA4D681340E9}"/>
              </a:ext>
            </a:extLst>
          </p:cNvPr>
          <p:cNvSpPr>
            <a:spLocks noChangeArrowheads="1"/>
          </p:cNvSpPr>
          <p:nvPr/>
        </p:nvSpPr>
        <p:spPr bwMode="auto">
          <a:xfrm>
            <a:off x="735148" y="2132980"/>
            <a:ext cx="1050944" cy="737734"/>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rPr>
              <a:t>Factor 1</a:t>
            </a:r>
          </a:p>
        </p:txBody>
      </p:sp>
      <p:sp>
        <p:nvSpPr>
          <p:cNvPr id="11" name="Parenthèses 16">
            <a:extLst>
              <a:ext uri="{FF2B5EF4-FFF2-40B4-BE49-F238E27FC236}">
                <a16:creationId xmlns="" xmlns:a16="http://schemas.microsoft.com/office/drawing/2014/main" id="{AE572A3C-1082-4C7E-A941-7F63E7A1E792}"/>
              </a:ext>
            </a:extLst>
          </p:cNvPr>
          <p:cNvSpPr>
            <a:spLocks noChangeArrowheads="1"/>
          </p:cNvSpPr>
          <p:nvPr/>
        </p:nvSpPr>
        <p:spPr bwMode="auto">
          <a:xfrm>
            <a:off x="6720370" y="1611209"/>
            <a:ext cx="1347306" cy="508892"/>
          </a:xfrm>
          <a:prstGeom prst="rect">
            <a:avLst/>
          </a:prstGeom>
          <a:solidFill>
            <a:schemeClr val="tx1"/>
          </a:solidFill>
          <a:ln w="2857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00734" tIns="51173" rIns="20146" bIns="51173"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algn="ctr"/>
            <a:r>
              <a:rPr lang="en-GB" altLang="en-US" sz="1200" b="1" dirty="0">
                <a:solidFill>
                  <a:srgbClr val="FFFFFF"/>
                </a:solidFill>
                <a:latin typeface="+mn-lt"/>
                <a:ea typeface="MS PGothic" pitchFamily="34" charset="-128"/>
                <a:cs typeface="Arial" pitchFamily="34" charset="0"/>
              </a:rPr>
              <a:t>Min Drawdown </a:t>
            </a:r>
            <a:br>
              <a:rPr lang="en-GB" altLang="en-US" sz="1200" b="1" dirty="0">
                <a:solidFill>
                  <a:srgbClr val="FFFFFF"/>
                </a:solidFill>
                <a:latin typeface="+mn-lt"/>
                <a:ea typeface="MS PGothic" pitchFamily="34" charset="-128"/>
                <a:cs typeface="Arial" pitchFamily="34" charset="0"/>
              </a:rPr>
            </a:br>
            <a:r>
              <a:rPr lang="en-GB" altLang="en-US" sz="1200" b="1" dirty="0">
                <a:solidFill>
                  <a:srgbClr val="FFFFFF"/>
                </a:solidFill>
                <a:latin typeface="+mn-lt"/>
                <a:ea typeface="MS PGothic" pitchFamily="34" charset="-128"/>
                <a:cs typeface="Arial" pitchFamily="34" charset="0"/>
              </a:rPr>
              <a:t>allocation</a:t>
            </a:r>
          </a:p>
        </p:txBody>
      </p:sp>
      <p:sp>
        <p:nvSpPr>
          <p:cNvPr id="13" name="Rectangle 85">
            <a:extLst>
              <a:ext uri="{FF2B5EF4-FFF2-40B4-BE49-F238E27FC236}">
                <a16:creationId xmlns="" xmlns:a16="http://schemas.microsoft.com/office/drawing/2014/main" id="{E7F1D990-FB70-48A4-A094-5915F6A69C6E}"/>
              </a:ext>
            </a:extLst>
          </p:cNvPr>
          <p:cNvSpPr>
            <a:spLocks noChangeArrowheads="1"/>
          </p:cNvSpPr>
          <p:nvPr/>
        </p:nvSpPr>
        <p:spPr bwMode="auto">
          <a:xfrm>
            <a:off x="735148" y="2870745"/>
            <a:ext cx="1050944" cy="737734"/>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rPr>
              <a:t>Factor 2</a:t>
            </a:r>
          </a:p>
        </p:txBody>
      </p:sp>
      <p:sp>
        <p:nvSpPr>
          <p:cNvPr id="14" name="Rectangle 85">
            <a:extLst>
              <a:ext uri="{FF2B5EF4-FFF2-40B4-BE49-F238E27FC236}">
                <a16:creationId xmlns="" xmlns:a16="http://schemas.microsoft.com/office/drawing/2014/main" id="{0A6D20D5-5BCF-425B-83F2-709725C311F1}"/>
              </a:ext>
            </a:extLst>
          </p:cNvPr>
          <p:cNvSpPr>
            <a:spLocks noChangeArrowheads="1"/>
          </p:cNvSpPr>
          <p:nvPr/>
        </p:nvSpPr>
        <p:spPr bwMode="auto">
          <a:xfrm>
            <a:off x="735148" y="3608510"/>
            <a:ext cx="1050944" cy="737734"/>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rPr>
              <a:t>Factor 3</a:t>
            </a:r>
          </a:p>
        </p:txBody>
      </p:sp>
      <p:sp>
        <p:nvSpPr>
          <p:cNvPr id="15" name="Rectangle 85">
            <a:extLst>
              <a:ext uri="{FF2B5EF4-FFF2-40B4-BE49-F238E27FC236}">
                <a16:creationId xmlns="" xmlns:a16="http://schemas.microsoft.com/office/drawing/2014/main" id="{5FFF4AAE-B0D8-4991-9B65-F1A7F120C781}"/>
              </a:ext>
            </a:extLst>
          </p:cNvPr>
          <p:cNvSpPr>
            <a:spLocks noChangeArrowheads="1"/>
          </p:cNvSpPr>
          <p:nvPr/>
        </p:nvSpPr>
        <p:spPr bwMode="auto">
          <a:xfrm>
            <a:off x="735148" y="4346275"/>
            <a:ext cx="1050944" cy="737734"/>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rPr>
              <a:t>Factor 4</a:t>
            </a:r>
          </a:p>
        </p:txBody>
      </p:sp>
      <p:sp>
        <p:nvSpPr>
          <p:cNvPr id="17" name="Parenthèses 16">
            <a:extLst>
              <a:ext uri="{FF2B5EF4-FFF2-40B4-BE49-F238E27FC236}">
                <a16:creationId xmlns="" xmlns:a16="http://schemas.microsoft.com/office/drawing/2014/main" id="{5646BCB5-882D-4B6B-8774-1464EDB6779A}"/>
              </a:ext>
            </a:extLst>
          </p:cNvPr>
          <p:cNvSpPr>
            <a:spLocks noChangeArrowheads="1"/>
          </p:cNvSpPr>
          <p:nvPr/>
        </p:nvSpPr>
        <p:spPr bwMode="auto">
          <a:xfrm>
            <a:off x="3991282" y="1612213"/>
            <a:ext cx="1050945" cy="512451"/>
          </a:xfrm>
          <a:prstGeom prst="rect">
            <a:avLst/>
          </a:prstGeom>
          <a:solidFill>
            <a:schemeClr val="tx1"/>
          </a:solidFill>
          <a:ln w="2857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51173" rIns="0" bIns="51173"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algn="ctr"/>
            <a:r>
              <a:rPr lang="en-GB" altLang="en-US" sz="1200" b="1" dirty="0" smtClean="0">
                <a:solidFill>
                  <a:srgbClr val="FFFFFF"/>
                </a:solidFill>
                <a:latin typeface="+mn-lt"/>
                <a:ea typeface="MS PGothic" pitchFamily="34" charset="-128"/>
                <a:cs typeface="Arial" pitchFamily="34" charset="0"/>
              </a:rPr>
              <a:t>ERC* </a:t>
            </a:r>
            <a:r>
              <a:rPr lang="en-GB" altLang="en-US" sz="1200" b="1" dirty="0">
                <a:solidFill>
                  <a:srgbClr val="FFFFFF"/>
                </a:solidFill>
                <a:latin typeface="+mn-lt"/>
                <a:ea typeface="MS PGothic" pitchFamily="34" charset="-128"/>
                <a:cs typeface="Arial" pitchFamily="34" charset="0"/>
              </a:rPr>
              <a:t>factor </a:t>
            </a:r>
            <a:br>
              <a:rPr lang="en-GB" altLang="en-US" sz="1200" b="1" dirty="0">
                <a:solidFill>
                  <a:srgbClr val="FFFFFF"/>
                </a:solidFill>
                <a:latin typeface="+mn-lt"/>
                <a:ea typeface="MS PGothic" pitchFamily="34" charset="-128"/>
                <a:cs typeface="Arial" pitchFamily="34" charset="0"/>
              </a:rPr>
            </a:br>
            <a:r>
              <a:rPr lang="en-GB" altLang="en-US" sz="1200" b="1" dirty="0">
                <a:solidFill>
                  <a:srgbClr val="FFFFFF"/>
                </a:solidFill>
                <a:latin typeface="+mn-lt"/>
                <a:ea typeface="MS PGothic" pitchFamily="34" charset="-128"/>
                <a:cs typeface="Arial" pitchFamily="34" charset="0"/>
              </a:rPr>
              <a:t>allocation</a:t>
            </a:r>
          </a:p>
        </p:txBody>
      </p:sp>
      <p:sp>
        <p:nvSpPr>
          <p:cNvPr id="18" name="ZoneTexte 17">
            <a:extLst>
              <a:ext uri="{FF2B5EF4-FFF2-40B4-BE49-F238E27FC236}">
                <a16:creationId xmlns="" xmlns:a16="http://schemas.microsoft.com/office/drawing/2014/main" id="{CFD63DED-F39D-417E-9B8B-0839BCDB9350}"/>
              </a:ext>
            </a:extLst>
          </p:cNvPr>
          <p:cNvSpPr txBox="1"/>
          <p:nvPr/>
        </p:nvSpPr>
        <p:spPr>
          <a:xfrm>
            <a:off x="2314707" y="2502121"/>
            <a:ext cx="1352281" cy="1015663"/>
          </a:xfrm>
          <a:prstGeom prst="rect">
            <a:avLst/>
          </a:prstGeom>
          <a:noFill/>
        </p:spPr>
        <p:txBody>
          <a:bodyPr wrap="square" rtlCol="0">
            <a:spAutoFit/>
          </a:bodyPr>
          <a:lstStyle/>
          <a:p>
            <a:r>
              <a:rPr lang="fr-FR" sz="6000" dirty="0"/>
              <a:t>∑</a:t>
            </a:r>
          </a:p>
        </p:txBody>
      </p:sp>
      <p:sp>
        <p:nvSpPr>
          <p:cNvPr id="19" name="TextBox 15">
            <a:extLst>
              <a:ext uri="{FF2B5EF4-FFF2-40B4-BE49-F238E27FC236}">
                <a16:creationId xmlns="" xmlns:a16="http://schemas.microsoft.com/office/drawing/2014/main" id="{26FA6297-4D6F-4775-A0F0-632977226F62}"/>
              </a:ext>
            </a:extLst>
          </p:cNvPr>
          <p:cNvSpPr txBox="1"/>
          <p:nvPr/>
        </p:nvSpPr>
        <p:spPr>
          <a:xfrm>
            <a:off x="1786092" y="3683757"/>
            <a:ext cx="2205191" cy="1384995"/>
          </a:xfrm>
          <a:prstGeom prst="rect">
            <a:avLst/>
          </a:prstGeom>
          <a:noFill/>
          <a:ln>
            <a:noFill/>
          </a:ln>
        </p:spPr>
        <p:txBody>
          <a:bodyPr wrap="square" rtlCol="0">
            <a:spAutoFit/>
          </a:bodyPr>
          <a:lstStyle/>
          <a:p>
            <a:pPr algn="ctr"/>
            <a:r>
              <a:rPr lang="en-US" sz="1200" dirty="0"/>
              <a:t>Covariance matrix</a:t>
            </a:r>
          </a:p>
          <a:p>
            <a:pPr algn="ctr"/>
            <a:r>
              <a:rPr lang="en-US" sz="1200" dirty="0"/>
              <a:t>Returns of </a:t>
            </a:r>
            <a:r>
              <a:rPr lang="en-US" sz="1200" dirty="0" smtClean="0"/>
              <a:t>4 </a:t>
            </a:r>
            <a:r>
              <a:rPr lang="en-US" sz="1200" dirty="0"/>
              <a:t>factors</a:t>
            </a:r>
          </a:p>
          <a:p>
            <a:pPr algn="ctr"/>
            <a:endParaRPr lang="en-US" sz="1200" dirty="0"/>
          </a:p>
          <a:p>
            <a:pPr algn="ctr"/>
            <a:r>
              <a:rPr lang="en-US" sz="1200" dirty="0"/>
              <a:t>Each factor weight </a:t>
            </a:r>
            <a:br>
              <a:rPr lang="en-US" sz="1200" dirty="0"/>
            </a:br>
            <a:r>
              <a:rPr lang="en-US" sz="1200" dirty="0"/>
              <a:t>will be dependent on </a:t>
            </a:r>
            <a:br>
              <a:rPr lang="en-US" sz="1200" dirty="0"/>
            </a:br>
            <a:r>
              <a:rPr lang="en-US" sz="1200" dirty="0"/>
              <a:t>its contribution to the volatility of the multi-factor portfolio</a:t>
            </a:r>
          </a:p>
        </p:txBody>
      </p:sp>
      <p:sp>
        <p:nvSpPr>
          <p:cNvPr id="20" name="Rectangle 85">
            <a:extLst>
              <a:ext uri="{FF2B5EF4-FFF2-40B4-BE49-F238E27FC236}">
                <a16:creationId xmlns="" xmlns:a16="http://schemas.microsoft.com/office/drawing/2014/main" id="{D1E7A6C4-BF34-4D11-A28B-460F7265C6A1}"/>
              </a:ext>
            </a:extLst>
          </p:cNvPr>
          <p:cNvSpPr>
            <a:spLocks noChangeArrowheads="1"/>
          </p:cNvSpPr>
          <p:nvPr/>
        </p:nvSpPr>
        <p:spPr bwMode="auto">
          <a:xfrm>
            <a:off x="3991283" y="2136071"/>
            <a:ext cx="1050944" cy="623465"/>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rPr>
              <a:t>Factor 1</a:t>
            </a:r>
          </a:p>
        </p:txBody>
      </p:sp>
      <p:sp>
        <p:nvSpPr>
          <p:cNvPr id="21" name="Rectangle 85">
            <a:extLst>
              <a:ext uri="{FF2B5EF4-FFF2-40B4-BE49-F238E27FC236}">
                <a16:creationId xmlns="" xmlns:a16="http://schemas.microsoft.com/office/drawing/2014/main" id="{8D15BE2B-C949-4170-BD1C-486DA142C965}"/>
              </a:ext>
            </a:extLst>
          </p:cNvPr>
          <p:cNvSpPr>
            <a:spLocks noChangeArrowheads="1"/>
          </p:cNvSpPr>
          <p:nvPr/>
        </p:nvSpPr>
        <p:spPr bwMode="auto">
          <a:xfrm>
            <a:off x="3991283" y="2759536"/>
            <a:ext cx="1050944" cy="867973"/>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rPr>
              <a:t>Factor 2</a:t>
            </a:r>
          </a:p>
        </p:txBody>
      </p:sp>
      <p:sp>
        <p:nvSpPr>
          <p:cNvPr id="22" name="Rectangle 85">
            <a:extLst>
              <a:ext uri="{FF2B5EF4-FFF2-40B4-BE49-F238E27FC236}">
                <a16:creationId xmlns="" xmlns:a16="http://schemas.microsoft.com/office/drawing/2014/main" id="{8F44E172-425E-41BD-9B53-4906E8C26009}"/>
              </a:ext>
            </a:extLst>
          </p:cNvPr>
          <p:cNvSpPr>
            <a:spLocks noChangeArrowheads="1"/>
          </p:cNvSpPr>
          <p:nvPr/>
        </p:nvSpPr>
        <p:spPr bwMode="auto">
          <a:xfrm>
            <a:off x="3991283" y="3638915"/>
            <a:ext cx="1050944" cy="479209"/>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rPr>
              <a:t>Factor 3</a:t>
            </a:r>
          </a:p>
        </p:txBody>
      </p:sp>
      <p:sp>
        <p:nvSpPr>
          <p:cNvPr id="23" name="Rectangle 85">
            <a:extLst>
              <a:ext uri="{FF2B5EF4-FFF2-40B4-BE49-F238E27FC236}">
                <a16:creationId xmlns="" xmlns:a16="http://schemas.microsoft.com/office/drawing/2014/main" id="{5DCBCC2B-542C-457F-A8F9-FCDACFDF06E7}"/>
              </a:ext>
            </a:extLst>
          </p:cNvPr>
          <p:cNvSpPr>
            <a:spLocks noChangeArrowheads="1"/>
          </p:cNvSpPr>
          <p:nvPr/>
        </p:nvSpPr>
        <p:spPr bwMode="auto">
          <a:xfrm>
            <a:off x="3991283" y="4118125"/>
            <a:ext cx="1050944" cy="996260"/>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rPr>
              <a:t>Factor 4</a:t>
            </a:r>
          </a:p>
        </p:txBody>
      </p:sp>
      <p:sp>
        <p:nvSpPr>
          <p:cNvPr id="27" name="Rectangle 85">
            <a:extLst>
              <a:ext uri="{FF2B5EF4-FFF2-40B4-BE49-F238E27FC236}">
                <a16:creationId xmlns="" xmlns:a16="http://schemas.microsoft.com/office/drawing/2014/main" id="{B92E3062-4D14-45A0-BA1C-EC5F25165C0B}"/>
              </a:ext>
            </a:extLst>
          </p:cNvPr>
          <p:cNvSpPr>
            <a:spLocks noChangeArrowheads="1"/>
          </p:cNvSpPr>
          <p:nvPr/>
        </p:nvSpPr>
        <p:spPr bwMode="auto">
          <a:xfrm>
            <a:off x="6720370" y="2136071"/>
            <a:ext cx="1347305" cy="731552"/>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rPr>
              <a:t>Factor 1</a:t>
            </a:r>
          </a:p>
        </p:txBody>
      </p:sp>
      <p:sp>
        <p:nvSpPr>
          <p:cNvPr id="28" name="Rectangle 85">
            <a:extLst>
              <a:ext uri="{FF2B5EF4-FFF2-40B4-BE49-F238E27FC236}">
                <a16:creationId xmlns="" xmlns:a16="http://schemas.microsoft.com/office/drawing/2014/main" id="{666C9381-1AF4-4164-B5CC-16D4C615A3F9}"/>
              </a:ext>
            </a:extLst>
          </p:cNvPr>
          <p:cNvSpPr>
            <a:spLocks noChangeArrowheads="1"/>
          </p:cNvSpPr>
          <p:nvPr/>
        </p:nvSpPr>
        <p:spPr bwMode="auto">
          <a:xfrm>
            <a:off x="6720370" y="2883593"/>
            <a:ext cx="1347305" cy="743916"/>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rPr>
              <a:t>Factor 2</a:t>
            </a:r>
          </a:p>
        </p:txBody>
      </p:sp>
      <p:sp>
        <p:nvSpPr>
          <p:cNvPr id="29" name="Rectangle 85">
            <a:extLst>
              <a:ext uri="{FF2B5EF4-FFF2-40B4-BE49-F238E27FC236}">
                <a16:creationId xmlns="" xmlns:a16="http://schemas.microsoft.com/office/drawing/2014/main" id="{1196D867-BD85-406C-BEAD-4D707358B08D}"/>
              </a:ext>
            </a:extLst>
          </p:cNvPr>
          <p:cNvSpPr>
            <a:spLocks noChangeArrowheads="1"/>
          </p:cNvSpPr>
          <p:nvPr/>
        </p:nvSpPr>
        <p:spPr bwMode="auto">
          <a:xfrm>
            <a:off x="6720370" y="3638915"/>
            <a:ext cx="1347305" cy="479209"/>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rPr>
              <a:t>Factor 3</a:t>
            </a:r>
          </a:p>
        </p:txBody>
      </p:sp>
      <p:sp>
        <p:nvSpPr>
          <p:cNvPr id="30" name="Rectangle 85">
            <a:extLst>
              <a:ext uri="{FF2B5EF4-FFF2-40B4-BE49-F238E27FC236}">
                <a16:creationId xmlns="" xmlns:a16="http://schemas.microsoft.com/office/drawing/2014/main" id="{A72432E8-D26D-4314-8AA7-FEBC75AD3B9C}"/>
              </a:ext>
            </a:extLst>
          </p:cNvPr>
          <p:cNvSpPr>
            <a:spLocks noChangeArrowheads="1"/>
          </p:cNvSpPr>
          <p:nvPr/>
        </p:nvSpPr>
        <p:spPr bwMode="auto">
          <a:xfrm>
            <a:off x="6720370" y="4118125"/>
            <a:ext cx="1347305" cy="830288"/>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rPr>
              <a:t>Factor 4</a:t>
            </a:r>
          </a:p>
        </p:txBody>
      </p:sp>
      <p:cxnSp>
        <p:nvCxnSpPr>
          <p:cNvPr id="33" name="Connecteur droit avec flèche 32">
            <a:extLst>
              <a:ext uri="{FF2B5EF4-FFF2-40B4-BE49-F238E27FC236}">
                <a16:creationId xmlns="" xmlns:a16="http://schemas.microsoft.com/office/drawing/2014/main" id="{78D52C41-80A2-4BB1-B624-783A96B8A3F4}"/>
              </a:ext>
            </a:extLst>
          </p:cNvPr>
          <p:cNvCxnSpPr>
            <a:cxnSpLocks/>
          </p:cNvCxnSpPr>
          <p:nvPr/>
        </p:nvCxnSpPr>
        <p:spPr>
          <a:xfrm>
            <a:off x="3200400" y="3142930"/>
            <a:ext cx="67627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eur droit avec flèche 34">
            <a:extLst>
              <a:ext uri="{FF2B5EF4-FFF2-40B4-BE49-F238E27FC236}">
                <a16:creationId xmlns="" xmlns:a16="http://schemas.microsoft.com/office/drawing/2014/main" id="{E003D889-324C-4864-B276-D7C9ADEF9A3A}"/>
              </a:ext>
            </a:extLst>
          </p:cNvPr>
          <p:cNvCxnSpPr>
            <a:cxnSpLocks/>
          </p:cNvCxnSpPr>
          <p:nvPr/>
        </p:nvCxnSpPr>
        <p:spPr>
          <a:xfrm>
            <a:off x="6276229" y="3154423"/>
            <a:ext cx="3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Espace réservé du contenu 2">
            <a:extLst>
              <a:ext uri="{FF2B5EF4-FFF2-40B4-BE49-F238E27FC236}">
                <a16:creationId xmlns="" xmlns:a16="http://schemas.microsoft.com/office/drawing/2014/main" id="{7C46187B-6A76-4531-9471-B76AB338E900}"/>
              </a:ext>
            </a:extLst>
          </p:cNvPr>
          <p:cNvSpPr txBox="1">
            <a:spLocks/>
          </p:cNvSpPr>
          <p:nvPr/>
        </p:nvSpPr>
        <p:spPr>
          <a:xfrm>
            <a:off x="568882" y="5400039"/>
            <a:ext cx="8129587" cy="398782"/>
          </a:xfrm>
          <a:prstGeom prst="rect">
            <a:avLst/>
          </a:prstGeom>
        </p:spPr>
        <p:txBody>
          <a:bodyPr vert="horz" lIns="0" tIns="0" rIns="0" bIns="0" rtlCol="0">
            <a:normAutofit fontScale="92500" lnSpcReduction="20000"/>
          </a:bodyPr>
          <a:lstStyle>
            <a:lvl1pPr indent="0" defTabSz="914400">
              <a:spcBef>
                <a:spcPct val="20000"/>
              </a:spcBef>
              <a:buClr>
                <a:schemeClr val="accent3"/>
              </a:buClr>
              <a:buSzPct val="25000"/>
              <a:buFont typeface="Arial" pitchFamily="34" charset="0"/>
              <a:buChar char=" "/>
              <a:defRPr sz="1600"/>
            </a:lvl1pPr>
            <a:lvl2pPr marL="333375" lvl="1" indent="-342900" defTabSz="914400">
              <a:spcBef>
                <a:spcPct val="20000"/>
              </a:spcBef>
              <a:buClr>
                <a:srgbClr val="002060"/>
              </a:buClr>
              <a:buFont typeface="Wingdings" pitchFamily="2" charset="2"/>
              <a:buChar char="n"/>
              <a:defRPr sz="1700"/>
            </a:lvl2pPr>
            <a:lvl3pPr marL="608012" lvl="2" indent="-342900" defTabSz="914400">
              <a:spcBef>
                <a:spcPct val="20000"/>
              </a:spcBef>
              <a:buClr>
                <a:srgbClr val="002060"/>
              </a:buClr>
              <a:buFont typeface="Arial" pitchFamily="34" charset="0"/>
              <a:buChar char="–"/>
              <a:defRPr sz="1400"/>
            </a:lvl3pPr>
            <a:lvl4pPr marL="539750" indent="-92075" defTabSz="914400">
              <a:spcBef>
                <a:spcPct val="20000"/>
              </a:spcBef>
              <a:buSzPct val="25000"/>
              <a:buFont typeface="Arial" pitchFamily="34" charset="0"/>
              <a:buChar char=" "/>
              <a:defRPr sz="1200"/>
            </a:lvl4pPr>
            <a:lvl5pPr marL="804863" indent="0" defTabSz="914400">
              <a:spcBef>
                <a:spcPct val="20000"/>
              </a:spcBef>
              <a:buSzPct val="25000"/>
              <a:buFont typeface="Arial" pitchFamily="34" charset="0"/>
              <a:buChar char=" "/>
              <a:defRPr sz="1100"/>
            </a:lvl5pPr>
            <a:lvl6pPr marL="2514600" indent="-228600" defTabSz="914400">
              <a:spcBef>
                <a:spcPct val="20000"/>
              </a:spcBef>
              <a:buFont typeface="Arial" pitchFamily="34" charset="0"/>
              <a:buChar char="•"/>
            </a:lvl6pPr>
            <a:lvl7pPr marL="2971800" indent="-228600" defTabSz="914400">
              <a:spcBef>
                <a:spcPct val="20000"/>
              </a:spcBef>
              <a:buFont typeface="Arial" pitchFamily="34" charset="0"/>
              <a:buChar char="•"/>
            </a:lvl7pPr>
            <a:lvl8pPr marL="3429000" indent="-228600" defTabSz="914400">
              <a:spcBef>
                <a:spcPct val="20000"/>
              </a:spcBef>
              <a:buFont typeface="Arial" pitchFamily="34" charset="0"/>
              <a:buChar char="•"/>
            </a:lvl8pPr>
            <a:lvl9pPr marL="3886200" indent="-228600" defTabSz="914400">
              <a:spcBef>
                <a:spcPct val="20000"/>
              </a:spcBef>
              <a:buFont typeface="Arial" pitchFamily="34" charset="0"/>
              <a:buChar char="•"/>
            </a:lvl9pPr>
          </a:lstStyle>
          <a:p>
            <a:pPr marL="223838" lvl="1" indent="-217488">
              <a:spcBef>
                <a:spcPts val="1000"/>
              </a:spcBef>
              <a:buClr>
                <a:schemeClr val="accent1"/>
              </a:buClr>
              <a:buSzPct val="130000"/>
              <a:buFont typeface="CambriaMath" charset="0"/>
              <a:buChar char="⎯"/>
            </a:pPr>
            <a:r>
              <a:rPr lang="en-US" sz="1600" dirty="0" smtClean="0">
                <a:solidFill>
                  <a:schemeClr val="tx2"/>
                </a:solidFill>
              </a:rPr>
              <a:t>The covariance matrix needs to take into account turning points in macro-economic regimes</a:t>
            </a:r>
            <a:r>
              <a:rPr lang="en-US" sz="1600" dirty="0">
                <a:solidFill>
                  <a:schemeClr val="tx2"/>
                </a:solidFill>
              </a:rPr>
              <a:t> </a:t>
            </a:r>
            <a:r>
              <a:rPr lang="en-US" sz="1600" dirty="0" smtClean="0">
                <a:solidFill>
                  <a:schemeClr val="tx2"/>
                </a:solidFill>
              </a:rPr>
              <a:t>to better reflect the current risk environment that could impact the factors</a:t>
            </a:r>
          </a:p>
        </p:txBody>
      </p:sp>
      <p:sp>
        <p:nvSpPr>
          <p:cNvPr id="32" name="Text Placeholder 4"/>
          <p:cNvSpPr>
            <a:spLocks noGrp="1"/>
          </p:cNvSpPr>
          <p:nvPr>
            <p:ph type="body" sz="quarter" idx="13"/>
          </p:nvPr>
        </p:nvSpPr>
        <p:spPr>
          <a:xfrm>
            <a:off x="519113" y="5981700"/>
            <a:ext cx="4364614" cy="403860"/>
          </a:xfrm>
        </p:spPr>
        <p:txBody>
          <a:bodyPr/>
          <a:lstStyle/>
          <a:p>
            <a:pPr>
              <a:spcBef>
                <a:spcPts val="0"/>
              </a:spcBef>
            </a:pPr>
            <a:r>
              <a:rPr lang="en-US" sz="800" dirty="0" smtClean="0">
                <a:solidFill>
                  <a:srgbClr val="767A7E"/>
                </a:solidFill>
              </a:rPr>
              <a:t>* Equal Risk Contribution</a:t>
            </a:r>
            <a:endParaRPr lang="en-US" sz="800" dirty="0">
              <a:solidFill>
                <a:srgbClr val="767A7E"/>
              </a:solidFill>
            </a:endParaRPr>
          </a:p>
          <a:p>
            <a:pPr>
              <a:spcBef>
                <a:spcPts val="0"/>
              </a:spcBef>
            </a:pPr>
            <a:endParaRPr lang="en-US" dirty="0"/>
          </a:p>
        </p:txBody>
      </p:sp>
      <p:sp>
        <p:nvSpPr>
          <p:cNvPr id="36" name="Rectangle 35"/>
          <p:cNvSpPr/>
          <p:nvPr/>
        </p:nvSpPr>
        <p:spPr>
          <a:xfrm>
            <a:off x="5153025" y="131880"/>
            <a:ext cx="3455583" cy="3839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schemeClr val="tx1"/>
                </a:solidFill>
              </a:rPr>
              <a:t>Dynamic</a:t>
            </a:r>
            <a:r>
              <a:rPr lang="fr-FR" dirty="0" smtClean="0">
                <a:solidFill>
                  <a:schemeClr val="tx1"/>
                </a:solidFill>
              </a:rPr>
              <a:t> Factor Allocation</a:t>
            </a:r>
            <a:endParaRPr lang="fr-FR" dirty="0">
              <a:solidFill>
                <a:schemeClr val="tx1"/>
              </a:solidFill>
            </a:endParaRPr>
          </a:p>
        </p:txBody>
      </p:sp>
      <p:sp>
        <p:nvSpPr>
          <p:cNvPr id="37" name="TextBox 15">
            <a:extLst>
              <a:ext uri="{FF2B5EF4-FFF2-40B4-BE49-F238E27FC236}">
                <a16:creationId xmlns="" xmlns:a16="http://schemas.microsoft.com/office/drawing/2014/main" id="{1EE0816A-86B4-4B3C-A5BB-29C0F8723F8A}"/>
              </a:ext>
            </a:extLst>
          </p:cNvPr>
          <p:cNvSpPr txBox="1"/>
          <p:nvPr/>
        </p:nvSpPr>
        <p:spPr>
          <a:xfrm>
            <a:off x="5089247" y="4062325"/>
            <a:ext cx="1584102" cy="830997"/>
          </a:xfrm>
          <a:prstGeom prst="rect">
            <a:avLst/>
          </a:prstGeom>
          <a:noFill/>
          <a:ln>
            <a:noFill/>
          </a:ln>
        </p:spPr>
        <p:txBody>
          <a:bodyPr wrap="square" rtlCol="0">
            <a:spAutoFit/>
          </a:bodyPr>
          <a:lstStyle/>
          <a:p>
            <a:pPr algn="ctr"/>
            <a:r>
              <a:rPr lang="en-US" sz="1200" dirty="0"/>
              <a:t>A</a:t>
            </a:r>
            <a:r>
              <a:rPr lang="en-US" sz="1200" dirty="0" smtClean="0"/>
              <a:t>djustment </a:t>
            </a:r>
            <a:r>
              <a:rPr lang="en-US" sz="1200" dirty="0"/>
              <a:t>based on </a:t>
            </a:r>
            <a:r>
              <a:rPr lang="en-US" sz="1200" dirty="0" smtClean="0"/>
              <a:t>risks that would change in different macro environments</a:t>
            </a:r>
            <a:endParaRPr lang="en-US" sz="1200" dirty="0"/>
          </a:p>
        </p:txBody>
      </p:sp>
      <p:sp>
        <p:nvSpPr>
          <p:cNvPr id="38" name="ZoneTexte 24">
            <a:extLst>
              <a:ext uri="{FF2B5EF4-FFF2-40B4-BE49-F238E27FC236}">
                <a16:creationId xmlns="" xmlns:a16="http://schemas.microsoft.com/office/drawing/2014/main" id="{97F5491D-199F-4088-8F9F-D7FC67A13D16}"/>
              </a:ext>
            </a:extLst>
          </p:cNvPr>
          <p:cNvSpPr txBox="1"/>
          <p:nvPr/>
        </p:nvSpPr>
        <p:spPr>
          <a:xfrm>
            <a:off x="5171597" y="2657214"/>
            <a:ext cx="1428632" cy="1169551"/>
          </a:xfrm>
          <a:prstGeom prst="rect">
            <a:avLst/>
          </a:prstGeom>
          <a:noFill/>
        </p:spPr>
        <p:txBody>
          <a:bodyPr wrap="square" rtlCol="0">
            <a:spAutoFit/>
          </a:bodyPr>
          <a:lstStyle/>
          <a:p>
            <a:r>
              <a:rPr lang="fr-FR" sz="1400" b="1" dirty="0" smtClean="0"/>
              <a:t>Inflexion points in macro-</a:t>
            </a:r>
            <a:endParaRPr lang="fr-FR" sz="1400" b="1" dirty="0"/>
          </a:p>
          <a:p>
            <a:r>
              <a:rPr lang="fr-FR" sz="1400" b="1" dirty="0" err="1"/>
              <a:t>e</a:t>
            </a:r>
            <a:r>
              <a:rPr lang="fr-FR" sz="1400" b="1" dirty="0" err="1" smtClean="0"/>
              <a:t>conomic</a:t>
            </a:r>
            <a:endParaRPr lang="fr-FR" sz="1400" b="1" dirty="0"/>
          </a:p>
          <a:p>
            <a:r>
              <a:rPr lang="fr-FR" sz="1400" b="1" dirty="0" err="1"/>
              <a:t>regimes</a:t>
            </a:r>
            <a:endParaRPr lang="fr-FR" sz="1400" b="1" dirty="0"/>
          </a:p>
        </p:txBody>
      </p:sp>
      <p:sp>
        <p:nvSpPr>
          <p:cNvPr id="3" name="Espace réservé du pied de page 2"/>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2486933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2D2BEBBE-6240-4A6E-996C-DB0394F6CAB7}"/>
              </a:ext>
            </a:extLst>
          </p:cNvPr>
          <p:cNvSpPr>
            <a:spLocks noGrp="1"/>
          </p:cNvSpPr>
          <p:nvPr>
            <p:ph type="title"/>
          </p:nvPr>
        </p:nvSpPr>
        <p:spPr/>
        <p:txBody>
          <a:bodyPr/>
          <a:lstStyle/>
          <a:p>
            <a:r>
              <a:rPr lang="en-US" dirty="0"/>
              <a:t>Strategic allocation - Minimize expected drawdowns</a:t>
            </a:r>
            <a:endParaRPr lang="fr-FR" dirty="0"/>
          </a:p>
        </p:txBody>
      </p:sp>
      <p:sp>
        <p:nvSpPr>
          <p:cNvPr id="5" name="Espace réservé du numéro de diapositive 4">
            <a:extLst>
              <a:ext uri="{FF2B5EF4-FFF2-40B4-BE49-F238E27FC236}">
                <a16:creationId xmlns="" xmlns:a16="http://schemas.microsoft.com/office/drawing/2014/main" id="{51C89A78-015F-479A-A2CB-BDF43E8D1B6D}"/>
              </a:ext>
            </a:extLst>
          </p:cNvPr>
          <p:cNvSpPr>
            <a:spLocks noGrp="1"/>
          </p:cNvSpPr>
          <p:nvPr>
            <p:ph type="sldNum" sz="quarter" idx="12"/>
          </p:nvPr>
        </p:nvSpPr>
        <p:spPr/>
        <p:txBody>
          <a:bodyPr/>
          <a:lstStyle/>
          <a:p>
            <a:fld id="{2B1C6FFC-D040-034F-8B69-20295064E64D}" type="slidenum">
              <a:rPr lang="fr-FR" smtClean="0"/>
              <a:t>45</a:t>
            </a:fld>
            <a:endParaRPr lang="fr-FR" dirty="0"/>
          </a:p>
        </p:txBody>
      </p:sp>
      <p:sp>
        <p:nvSpPr>
          <p:cNvPr id="6" name="Espace réservé du texte 5">
            <a:extLst>
              <a:ext uri="{FF2B5EF4-FFF2-40B4-BE49-F238E27FC236}">
                <a16:creationId xmlns="" xmlns:a16="http://schemas.microsoft.com/office/drawing/2014/main" id="{95C67F70-0886-482F-9806-4FCEDAA0EAE1}"/>
              </a:ext>
            </a:extLst>
          </p:cNvPr>
          <p:cNvSpPr>
            <a:spLocks noGrp="1"/>
          </p:cNvSpPr>
          <p:nvPr>
            <p:ph type="body" sz="quarter" idx="13"/>
          </p:nvPr>
        </p:nvSpPr>
        <p:spPr/>
        <p:txBody>
          <a:bodyPr/>
          <a:lstStyle/>
          <a:p>
            <a:r>
              <a:rPr lang="en-US" dirty="0"/>
              <a:t>Expected drawdowns of each factor depending on a changing market context</a:t>
            </a:r>
          </a:p>
        </p:txBody>
      </p:sp>
      <p:sp>
        <p:nvSpPr>
          <p:cNvPr id="7" name="Espace réservé du texte 6">
            <a:extLst>
              <a:ext uri="{FF2B5EF4-FFF2-40B4-BE49-F238E27FC236}">
                <a16:creationId xmlns="" xmlns:a16="http://schemas.microsoft.com/office/drawing/2014/main" id="{DD957C2C-6F54-4C32-9CB1-605E4FD8B528}"/>
              </a:ext>
            </a:extLst>
          </p:cNvPr>
          <p:cNvSpPr>
            <a:spLocks noGrp="1"/>
          </p:cNvSpPr>
          <p:nvPr>
            <p:ph type="body" sz="quarter" idx="14"/>
          </p:nvPr>
        </p:nvSpPr>
        <p:spPr/>
        <p:txBody>
          <a:bodyPr/>
          <a:lstStyle/>
          <a:p>
            <a:r>
              <a:rPr lang="fr-FR" dirty="0"/>
              <a:t>Source: Amundi Quantitative </a:t>
            </a:r>
            <a:r>
              <a:rPr lang="fr-FR" dirty="0" err="1"/>
              <a:t>Research</a:t>
            </a:r>
            <a:r>
              <a:rPr lang="fr-FR" dirty="0"/>
              <a:t>. </a:t>
            </a:r>
          </a:p>
        </p:txBody>
      </p:sp>
      <p:sp>
        <p:nvSpPr>
          <p:cNvPr id="8" name="Espace réservé du contenu 2">
            <a:extLst>
              <a:ext uri="{FF2B5EF4-FFF2-40B4-BE49-F238E27FC236}">
                <a16:creationId xmlns="" xmlns:a16="http://schemas.microsoft.com/office/drawing/2014/main" id="{7C46187B-6A76-4531-9471-B76AB338E900}"/>
              </a:ext>
            </a:extLst>
          </p:cNvPr>
          <p:cNvSpPr txBox="1">
            <a:spLocks/>
          </p:cNvSpPr>
          <p:nvPr/>
        </p:nvSpPr>
        <p:spPr>
          <a:xfrm>
            <a:off x="565009" y="4950458"/>
            <a:ext cx="8129587" cy="937191"/>
          </a:xfrm>
          <a:prstGeom prst="rect">
            <a:avLst/>
          </a:prstGeom>
        </p:spPr>
        <p:txBody>
          <a:bodyPr vert="horz" lIns="0" tIns="0" rIns="0" bIns="0" rtlCol="0">
            <a:normAutofit fontScale="92500" lnSpcReduction="20000"/>
          </a:bodyPr>
          <a:lstStyle>
            <a:lvl1pPr indent="0" defTabSz="914400">
              <a:spcBef>
                <a:spcPct val="20000"/>
              </a:spcBef>
              <a:buClr>
                <a:schemeClr val="accent3"/>
              </a:buClr>
              <a:buSzPct val="25000"/>
              <a:buFont typeface="Arial" pitchFamily="34" charset="0"/>
              <a:buChar char=" "/>
              <a:defRPr sz="1600"/>
            </a:lvl1pPr>
            <a:lvl2pPr marL="333375" lvl="1" indent="-342900" defTabSz="914400">
              <a:spcBef>
                <a:spcPct val="20000"/>
              </a:spcBef>
              <a:buClr>
                <a:srgbClr val="002060"/>
              </a:buClr>
              <a:buFont typeface="Wingdings" pitchFamily="2" charset="2"/>
              <a:buChar char="n"/>
              <a:defRPr sz="1700"/>
            </a:lvl2pPr>
            <a:lvl3pPr marL="608012" lvl="2" indent="-342900" defTabSz="914400">
              <a:spcBef>
                <a:spcPct val="20000"/>
              </a:spcBef>
              <a:buClr>
                <a:srgbClr val="002060"/>
              </a:buClr>
              <a:buFont typeface="Arial" pitchFamily="34" charset="0"/>
              <a:buChar char="–"/>
              <a:defRPr sz="1400"/>
            </a:lvl3pPr>
            <a:lvl4pPr marL="539750" indent="-92075" defTabSz="914400">
              <a:spcBef>
                <a:spcPct val="20000"/>
              </a:spcBef>
              <a:buSzPct val="25000"/>
              <a:buFont typeface="Arial" pitchFamily="34" charset="0"/>
              <a:buChar char=" "/>
              <a:defRPr sz="1200"/>
            </a:lvl4pPr>
            <a:lvl5pPr marL="804863" indent="0" defTabSz="914400">
              <a:spcBef>
                <a:spcPct val="20000"/>
              </a:spcBef>
              <a:buSzPct val="25000"/>
              <a:buFont typeface="Arial" pitchFamily="34" charset="0"/>
              <a:buChar char=" "/>
              <a:defRPr sz="1100"/>
            </a:lvl5pPr>
            <a:lvl6pPr marL="2514600" indent="-228600" defTabSz="914400">
              <a:spcBef>
                <a:spcPct val="20000"/>
              </a:spcBef>
              <a:buFont typeface="Arial" pitchFamily="34" charset="0"/>
              <a:buChar char="•"/>
            </a:lvl6pPr>
            <a:lvl7pPr marL="2971800" indent="-228600" defTabSz="914400">
              <a:spcBef>
                <a:spcPct val="20000"/>
              </a:spcBef>
              <a:buFont typeface="Arial" pitchFamily="34" charset="0"/>
              <a:buChar char="•"/>
            </a:lvl7pPr>
            <a:lvl8pPr marL="3429000" indent="-228600" defTabSz="914400">
              <a:spcBef>
                <a:spcPct val="20000"/>
              </a:spcBef>
              <a:buFont typeface="Arial" pitchFamily="34" charset="0"/>
              <a:buChar char="•"/>
            </a:lvl8pPr>
            <a:lvl9pPr marL="3886200" indent="-228600" defTabSz="914400">
              <a:spcBef>
                <a:spcPct val="20000"/>
              </a:spcBef>
              <a:buFont typeface="Arial" pitchFamily="34" charset="0"/>
              <a:buChar char="•"/>
            </a:lvl9pPr>
          </a:lstStyle>
          <a:p>
            <a:pPr marL="223838" lvl="1" indent="-217488">
              <a:spcBef>
                <a:spcPts val="1000"/>
              </a:spcBef>
              <a:buClr>
                <a:schemeClr val="accent1"/>
              </a:buClr>
              <a:buSzPct val="130000"/>
              <a:buFont typeface="CambriaMath" charset="0"/>
              <a:buChar char="⎯"/>
            </a:pPr>
            <a:r>
              <a:rPr lang="en-US" sz="1600" dirty="0">
                <a:solidFill>
                  <a:schemeClr val="tx2"/>
                </a:solidFill>
              </a:rPr>
              <a:t>Relationships between </a:t>
            </a:r>
            <a:r>
              <a:rPr lang="en-US" sz="1600" dirty="0" smtClean="0">
                <a:solidFill>
                  <a:schemeClr val="tx2"/>
                </a:solidFill>
              </a:rPr>
              <a:t>factor risks and </a:t>
            </a:r>
            <a:r>
              <a:rPr lang="en-US" sz="1600" dirty="0">
                <a:solidFill>
                  <a:schemeClr val="tx2"/>
                </a:solidFill>
              </a:rPr>
              <a:t>turning points in macro-economic </a:t>
            </a:r>
            <a:r>
              <a:rPr lang="en-US" sz="1600" dirty="0" smtClean="0">
                <a:solidFill>
                  <a:schemeClr val="tx2"/>
                </a:solidFill>
              </a:rPr>
              <a:t>regimes can </a:t>
            </a:r>
            <a:r>
              <a:rPr lang="en-US" sz="1600" dirty="0">
                <a:solidFill>
                  <a:schemeClr val="tx2"/>
                </a:solidFill>
              </a:rPr>
              <a:t>be observed</a:t>
            </a:r>
          </a:p>
          <a:p>
            <a:pPr marL="223838" lvl="1" indent="-217488">
              <a:spcBef>
                <a:spcPts val="1000"/>
              </a:spcBef>
              <a:buClr>
                <a:schemeClr val="accent1"/>
              </a:buClr>
              <a:buSzPct val="130000"/>
              <a:buFont typeface="CambriaMath" charset="0"/>
              <a:buChar char="⎯"/>
            </a:pPr>
            <a:r>
              <a:rPr lang="en-US" sz="1600" dirty="0" smtClean="0">
                <a:solidFill>
                  <a:schemeClr val="tx2"/>
                </a:solidFill>
              </a:rPr>
              <a:t>Some factors will be underweight vs. the original ERC allocation when the </a:t>
            </a:r>
            <a:r>
              <a:rPr lang="en-US" sz="1600" dirty="0">
                <a:solidFill>
                  <a:schemeClr val="tx2"/>
                </a:solidFill>
              </a:rPr>
              <a:t>economic </a:t>
            </a:r>
            <a:r>
              <a:rPr lang="en-US" sz="1600" dirty="0" smtClean="0">
                <a:solidFill>
                  <a:schemeClr val="tx2"/>
                </a:solidFill>
              </a:rPr>
              <a:t>environment is switching from one to another</a:t>
            </a:r>
            <a:endParaRPr lang="en-US" sz="1600" dirty="0">
              <a:solidFill>
                <a:schemeClr val="tx2"/>
              </a:solidFill>
            </a:endParaRPr>
          </a:p>
        </p:txBody>
      </p:sp>
      <p:graphicFrame>
        <p:nvGraphicFramePr>
          <p:cNvPr id="9" name="Table 2">
            <a:extLst>
              <a:ext uri="{FF2B5EF4-FFF2-40B4-BE49-F238E27FC236}">
                <a16:creationId xmlns="" xmlns:a16="http://schemas.microsoft.com/office/drawing/2014/main" id="{87FE7339-D2FF-416D-96CE-84CF3B55523D}"/>
              </a:ext>
            </a:extLst>
          </p:cNvPr>
          <p:cNvGraphicFramePr>
            <a:graphicFrameLocks noGrp="1"/>
          </p:cNvGraphicFramePr>
          <p:nvPr>
            <p:extLst>
              <p:ext uri="{D42A27DB-BD31-4B8C-83A1-F6EECF244321}">
                <p14:modId xmlns:p14="http://schemas.microsoft.com/office/powerpoint/2010/main" val="350697741"/>
              </p:ext>
            </p:extLst>
          </p:nvPr>
        </p:nvGraphicFramePr>
        <p:xfrm>
          <a:off x="1864110" y="1805903"/>
          <a:ext cx="5391028" cy="2432845"/>
        </p:xfrm>
        <a:graphic>
          <a:graphicData uri="http://schemas.openxmlformats.org/drawingml/2006/table">
            <a:tbl>
              <a:tblPr firstRow="1" bandRow="1">
                <a:tableStyleId>{C083E6E3-FA7D-4D7B-A595-EF9225AFEA82}</a:tableStyleId>
              </a:tblPr>
              <a:tblGrid>
                <a:gridCol w="1373628">
                  <a:extLst>
                    <a:ext uri="{9D8B030D-6E8A-4147-A177-3AD203B41FA5}">
                      <a16:colId xmlns="" xmlns:a16="http://schemas.microsoft.com/office/drawing/2014/main" val="20000"/>
                    </a:ext>
                  </a:extLst>
                </a:gridCol>
                <a:gridCol w="1388500">
                  <a:extLst>
                    <a:ext uri="{9D8B030D-6E8A-4147-A177-3AD203B41FA5}">
                      <a16:colId xmlns="" xmlns:a16="http://schemas.microsoft.com/office/drawing/2014/main" val="20001"/>
                    </a:ext>
                  </a:extLst>
                </a:gridCol>
                <a:gridCol w="1330037">
                  <a:extLst>
                    <a:ext uri="{9D8B030D-6E8A-4147-A177-3AD203B41FA5}">
                      <a16:colId xmlns="" xmlns:a16="http://schemas.microsoft.com/office/drawing/2014/main" val="20002"/>
                    </a:ext>
                  </a:extLst>
                </a:gridCol>
                <a:gridCol w="1298863">
                  <a:extLst>
                    <a:ext uri="{9D8B030D-6E8A-4147-A177-3AD203B41FA5}">
                      <a16:colId xmlns="" xmlns:a16="http://schemas.microsoft.com/office/drawing/2014/main" val="20003"/>
                    </a:ext>
                  </a:extLst>
                </a:gridCol>
              </a:tblGrid>
              <a:tr h="797029">
                <a:tc>
                  <a:txBody>
                    <a:bodyPr/>
                    <a:lstStyle/>
                    <a:p>
                      <a:pPr algn="l"/>
                      <a:r>
                        <a:rPr lang="en-US" sz="1200" b="1" i="0" u="none" noProof="0" dirty="0" smtClean="0">
                          <a:solidFill>
                            <a:schemeClr val="bg1"/>
                          </a:solidFill>
                          <a:latin typeface="Arial"/>
                        </a:rPr>
                        <a:t>Switch</a:t>
                      </a:r>
                      <a:r>
                        <a:rPr lang="en-US" sz="1200" b="1" i="0" u="none" baseline="0" noProof="0" dirty="0" smtClean="0">
                          <a:solidFill>
                            <a:schemeClr val="bg1"/>
                          </a:solidFill>
                          <a:latin typeface="Arial"/>
                        </a:rPr>
                        <a:t> f</a:t>
                      </a:r>
                      <a:r>
                        <a:rPr lang="en-US" sz="1200" b="1" i="0" u="none" noProof="0" dirty="0" smtClean="0">
                          <a:solidFill>
                            <a:schemeClr val="bg1"/>
                          </a:solidFill>
                          <a:latin typeface="Arial"/>
                        </a:rPr>
                        <a:t>rom</a:t>
                      </a:r>
                      <a:r>
                        <a:rPr lang="en-US" sz="1200" b="1" i="0" u="none" noProof="0" dirty="0">
                          <a:solidFill>
                            <a:schemeClr val="bg1"/>
                          </a:solidFill>
                          <a:latin typeface="Arial"/>
                        </a:rPr>
                        <a:t>…</a:t>
                      </a:r>
                    </a:p>
                    <a:p>
                      <a:pPr algn="l"/>
                      <a:endParaRPr lang="en-US" sz="1200" b="1" i="0" u="none" noProof="0" dirty="0">
                        <a:solidFill>
                          <a:schemeClr val="bg1"/>
                        </a:solidFill>
                        <a:latin typeface="Arial"/>
                      </a:endParaRPr>
                    </a:p>
                    <a:p>
                      <a:pPr algn="l"/>
                      <a:r>
                        <a:rPr lang="en-US" sz="1200" b="1" i="0" u="none" noProof="0" dirty="0">
                          <a:solidFill>
                            <a:schemeClr val="bg1"/>
                          </a:solidFill>
                          <a:latin typeface="Arial"/>
                        </a:rPr>
                        <a:t>…To</a:t>
                      </a:r>
                    </a:p>
                  </a:txBody>
                  <a:tcPr anchor="ctr">
                    <a:lnL w="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i="0" u="none" noProof="0" dirty="0">
                          <a:solidFill>
                            <a:schemeClr val="bg1"/>
                          </a:solidFill>
                          <a:latin typeface="Arial"/>
                        </a:rPr>
                        <a:t>Expansion</a:t>
                      </a:r>
                    </a:p>
                    <a:p>
                      <a:pPr algn="ctr">
                        <a:spcBef>
                          <a:spcPts val="600"/>
                        </a:spcBef>
                      </a:pPr>
                      <a:r>
                        <a:rPr lang="en-US" sz="1200" b="1" i="0" u="none" noProof="0" dirty="0" smtClean="0">
                          <a:solidFill>
                            <a:schemeClr val="bg1"/>
                          </a:solidFill>
                          <a:latin typeface="Arial"/>
                        </a:rPr>
                        <a:t>Contraction</a:t>
                      </a:r>
                      <a:endParaRPr lang="en-US" sz="1200" b="1" i="0" u="none" noProof="0" dirty="0">
                        <a:solidFill>
                          <a:schemeClr val="bg1"/>
                        </a:solidFill>
                        <a:latin typeface="Aria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i="0" u="none" noProof="0" dirty="0" smtClean="0">
                          <a:solidFill>
                            <a:schemeClr val="bg1"/>
                          </a:solidFill>
                          <a:latin typeface="Arial"/>
                        </a:rPr>
                        <a:t>Contraction</a:t>
                      </a:r>
                      <a:endParaRPr lang="en-US" sz="1200" b="1" i="0" u="none" noProof="0" dirty="0">
                        <a:solidFill>
                          <a:schemeClr val="bg1"/>
                        </a:solidFill>
                        <a:latin typeface="Arial"/>
                      </a:endParaRPr>
                    </a:p>
                    <a:p>
                      <a:pPr algn="ctr">
                        <a:spcBef>
                          <a:spcPts val="600"/>
                        </a:spcBef>
                      </a:pPr>
                      <a:r>
                        <a:rPr lang="en-US" sz="1200" b="1" i="0" u="none" noProof="0" dirty="0">
                          <a:solidFill>
                            <a:schemeClr val="bg1"/>
                          </a:solidFill>
                          <a:latin typeface="Arial"/>
                        </a:rPr>
                        <a:t>Recess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200" b="1" i="0" u="none" noProof="0" dirty="0">
                          <a:solidFill>
                            <a:schemeClr val="bg1"/>
                          </a:solidFill>
                          <a:latin typeface="Arial"/>
                        </a:rPr>
                        <a:t>Recession</a:t>
                      </a:r>
                    </a:p>
                    <a:p>
                      <a:pPr algn="ctr">
                        <a:spcBef>
                          <a:spcPts val="600"/>
                        </a:spcBef>
                      </a:pPr>
                      <a:r>
                        <a:rPr lang="en-US" sz="1200" b="1" i="0" u="none" noProof="0" dirty="0">
                          <a:solidFill>
                            <a:schemeClr val="bg1"/>
                          </a:solidFill>
                          <a:latin typeface="Arial"/>
                        </a:rPr>
                        <a:t>Recover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 xmlns:a16="http://schemas.microsoft.com/office/drawing/2014/main" val="10000"/>
                  </a:ext>
                </a:extLst>
              </a:tr>
              <a:tr h="408954">
                <a:tc>
                  <a:txBody>
                    <a:bodyPr/>
                    <a:lstStyle/>
                    <a:p>
                      <a:pPr algn="l"/>
                      <a:r>
                        <a:rPr lang="en-US" sz="1200" b="0" i="0" u="none" noProof="0" dirty="0">
                          <a:solidFill>
                            <a:schemeClr val="tx1"/>
                          </a:solidFill>
                          <a:latin typeface="Arial"/>
                        </a:rPr>
                        <a:t>Value</a:t>
                      </a:r>
                    </a:p>
                  </a:txBody>
                  <a:tcPr anchor="ctr">
                    <a:lnL w="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r>
                        <a:rPr lang="en-US" sz="1200" b="0" i="0" u="none" noProof="0" dirty="0" smtClean="0">
                          <a:solidFill>
                            <a:schemeClr val="accent3"/>
                          </a:solidFill>
                          <a:latin typeface="Arial"/>
                        </a:rPr>
                        <a:t>Higher</a:t>
                      </a:r>
                      <a:endParaRPr lang="en-US" sz="1200" b="0" i="0" u="none" noProof="0" dirty="0">
                        <a:solidFill>
                          <a:schemeClr val="accent3"/>
                        </a:solidFill>
                        <a:latin typeface="Aria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u="none" noProof="0" dirty="0" smtClean="0">
                          <a:solidFill>
                            <a:schemeClr val="accent3"/>
                          </a:solidFill>
                          <a:latin typeface="+mn-lt"/>
                        </a:rPr>
                        <a:t>High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200" b="0" i="0" u="none" noProof="0" dirty="0">
                        <a:solidFill>
                          <a:srgbClr val="001C4B"/>
                        </a:solidFill>
                        <a:latin typeface="Aria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1"/>
                  </a:ext>
                </a:extLst>
              </a:tr>
              <a:tr h="408954">
                <a:tc>
                  <a:txBody>
                    <a:bodyPr/>
                    <a:lstStyle/>
                    <a:p>
                      <a:pPr algn="l"/>
                      <a:r>
                        <a:rPr lang="en-US" sz="1200" b="0" i="0" u="none" noProof="0" dirty="0">
                          <a:solidFill>
                            <a:schemeClr val="tx1"/>
                          </a:solidFill>
                          <a:latin typeface="Arial"/>
                        </a:rPr>
                        <a:t>Momentum</a:t>
                      </a:r>
                    </a:p>
                  </a:txBody>
                  <a:tcPr anchor="ctr">
                    <a:lnL w="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u="none" noProof="0" dirty="0" smtClean="0">
                          <a:solidFill>
                            <a:schemeClr val="accent3"/>
                          </a:solidFill>
                          <a:latin typeface="+mn-lt"/>
                        </a:rPr>
                        <a:t>High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200" b="0" i="0" u="none" noProof="0" dirty="0">
                        <a:solidFill>
                          <a:srgbClr val="001C4B"/>
                        </a:solidFill>
                        <a:latin typeface="Aria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u="none" noProof="0" dirty="0" smtClean="0">
                          <a:solidFill>
                            <a:schemeClr val="accent3"/>
                          </a:solidFill>
                          <a:latin typeface="+mn-lt"/>
                        </a:rPr>
                        <a:t>High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2"/>
                  </a:ext>
                </a:extLst>
              </a:tr>
              <a:tr h="408954">
                <a:tc>
                  <a:txBody>
                    <a:bodyPr/>
                    <a:lstStyle/>
                    <a:p>
                      <a:pPr algn="l"/>
                      <a:r>
                        <a:rPr lang="en-US" sz="1200" b="0" i="0" u="none" noProof="0" dirty="0">
                          <a:solidFill>
                            <a:schemeClr val="tx1"/>
                          </a:solidFill>
                          <a:latin typeface="Arial"/>
                        </a:rPr>
                        <a:t>Low Volatility</a:t>
                      </a:r>
                    </a:p>
                  </a:txBody>
                  <a:tcPr anchor="ctr">
                    <a:lnL w="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200" b="0" i="0" u="none" noProof="0" dirty="0">
                        <a:solidFill>
                          <a:srgbClr val="001C4B"/>
                        </a:solidFill>
                        <a:latin typeface="Aria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200" b="0" i="0" u="none" noProof="0" dirty="0">
                        <a:solidFill>
                          <a:srgbClr val="001C4B"/>
                        </a:solidFill>
                        <a:latin typeface="Aria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200" b="0" i="0" u="none" noProof="0" dirty="0">
                        <a:solidFill>
                          <a:srgbClr val="001C4B"/>
                        </a:solidFill>
                        <a:latin typeface="Aria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3"/>
                  </a:ext>
                </a:extLst>
              </a:tr>
              <a:tr h="408954">
                <a:tc>
                  <a:txBody>
                    <a:bodyPr/>
                    <a:lstStyle/>
                    <a:p>
                      <a:pPr algn="l"/>
                      <a:r>
                        <a:rPr lang="en-US" sz="1200" b="0" i="0" u="none" noProof="0" dirty="0">
                          <a:solidFill>
                            <a:schemeClr val="tx1"/>
                          </a:solidFill>
                          <a:latin typeface="Arial"/>
                        </a:rPr>
                        <a:t>Quality</a:t>
                      </a:r>
                    </a:p>
                  </a:txBody>
                  <a:tcPr anchor="ctr">
                    <a:lnL w="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200" b="0" i="0" u="none" noProof="0" dirty="0">
                        <a:solidFill>
                          <a:srgbClr val="001C4B"/>
                        </a:solidFill>
                        <a:latin typeface="Aria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a:endParaRPr lang="en-US" sz="1200" b="0" i="0" u="none" noProof="0" dirty="0">
                        <a:solidFill>
                          <a:srgbClr val="001C4B"/>
                        </a:solidFill>
                        <a:latin typeface="Aria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u="none" noProof="0" dirty="0" smtClean="0">
                          <a:solidFill>
                            <a:schemeClr val="accent3"/>
                          </a:solidFill>
                          <a:latin typeface="+mn-lt"/>
                        </a:rPr>
                        <a:t>High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5"/>
                  </a:ext>
                </a:extLst>
              </a:tr>
            </a:tbl>
          </a:graphicData>
        </a:graphic>
      </p:graphicFrame>
      <p:sp>
        <p:nvSpPr>
          <p:cNvPr id="11" name="TextBox 15">
            <a:extLst>
              <a:ext uri="{FF2B5EF4-FFF2-40B4-BE49-F238E27FC236}">
                <a16:creationId xmlns="" xmlns:a16="http://schemas.microsoft.com/office/drawing/2014/main" id="{7C860CF5-2CDC-4570-A61D-9E7A0D8AF16E}"/>
              </a:ext>
            </a:extLst>
          </p:cNvPr>
          <p:cNvSpPr txBox="1"/>
          <p:nvPr/>
        </p:nvSpPr>
        <p:spPr>
          <a:xfrm rot="16200000">
            <a:off x="579710" y="3202991"/>
            <a:ext cx="1609852" cy="461665"/>
          </a:xfrm>
          <a:prstGeom prst="rect">
            <a:avLst/>
          </a:prstGeom>
          <a:solidFill>
            <a:schemeClr val="accent1"/>
          </a:solidFill>
          <a:ln>
            <a:noFill/>
          </a:ln>
        </p:spPr>
        <p:txBody>
          <a:bodyPr wrap="square" rtlCol="0">
            <a:spAutoFit/>
          </a:bodyPr>
          <a:lstStyle/>
          <a:p>
            <a:pPr algn="ctr"/>
            <a:r>
              <a:rPr lang="en-US" sz="1200" b="1" dirty="0" smtClean="0">
                <a:solidFill>
                  <a:schemeClr val="bg1"/>
                </a:solidFill>
              </a:rPr>
              <a:t>Expected Drawdowns</a:t>
            </a:r>
            <a:endParaRPr lang="en-US" sz="1200" b="1" dirty="0">
              <a:solidFill>
                <a:schemeClr val="bg1"/>
              </a:solidFill>
            </a:endParaRPr>
          </a:p>
        </p:txBody>
      </p:sp>
      <p:sp>
        <p:nvSpPr>
          <p:cNvPr id="18"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16" name="Rectangle 15"/>
          <p:cNvSpPr/>
          <p:nvPr/>
        </p:nvSpPr>
        <p:spPr>
          <a:xfrm>
            <a:off x="5153025" y="131880"/>
            <a:ext cx="3455583" cy="3839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schemeClr val="tx1"/>
                </a:solidFill>
              </a:rPr>
              <a:t>Dynamic</a:t>
            </a:r>
            <a:r>
              <a:rPr lang="fr-FR" dirty="0" smtClean="0">
                <a:solidFill>
                  <a:schemeClr val="tx1"/>
                </a:solidFill>
              </a:rPr>
              <a:t> Factor Allocation</a:t>
            </a:r>
            <a:endParaRPr lang="fr-FR" dirty="0">
              <a:solidFill>
                <a:schemeClr val="tx1"/>
              </a:solidFill>
            </a:endParaRPr>
          </a:p>
        </p:txBody>
      </p:sp>
      <p:sp>
        <p:nvSpPr>
          <p:cNvPr id="23" name="Rectangle 22"/>
          <p:cNvSpPr/>
          <p:nvPr/>
        </p:nvSpPr>
        <p:spPr>
          <a:xfrm>
            <a:off x="1820564" y="4248275"/>
            <a:ext cx="4229042" cy="276999"/>
          </a:xfrm>
          <a:prstGeom prst="rect">
            <a:avLst/>
          </a:prstGeom>
        </p:spPr>
        <p:txBody>
          <a:bodyPr wrap="none">
            <a:spAutoFit/>
          </a:bodyPr>
          <a:lstStyle/>
          <a:p>
            <a:pPr algn="ctr">
              <a:defRPr/>
            </a:pPr>
            <a:r>
              <a:rPr lang="en-US" sz="1200" b="1" dirty="0" smtClean="0">
                <a:solidFill>
                  <a:schemeClr val="accent3"/>
                </a:solidFill>
              </a:rPr>
              <a:t>Higher: </a:t>
            </a:r>
            <a:r>
              <a:rPr lang="en-US" sz="1200" dirty="0" smtClean="0">
                <a:solidFill>
                  <a:schemeClr val="accent3"/>
                </a:solidFill>
              </a:rPr>
              <a:t>“Higher risk contribution than long-term average” </a:t>
            </a:r>
            <a:endParaRPr lang="en-US" sz="1200" dirty="0">
              <a:solidFill>
                <a:schemeClr val="accent3"/>
              </a:solidFill>
            </a:endParaRPr>
          </a:p>
        </p:txBody>
      </p:sp>
    </p:spTree>
    <p:extLst>
      <p:ext uri="{BB962C8B-B14F-4D97-AF65-F5344CB8AC3E}">
        <p14:creationId xmlns:p14="http://schemas.microsoft.com/office/powerpoint/2010/main" val="3027391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484248" y="5776738"/>
            <a:ext cx="4364614" cy="674687"/>
          </a:xfrm>
        </p:spPr>
        <p:txBody>
          <a:bodyPr/>
          <a:lstStyle/>
          <a:p>
            <a:pPr>
              <a:spcBef>
                <a:spcPts val="0"/>
              </a:spcBef>
            </a:pPr>
            <a:r>
              <a:rPr lang="en-US" dirty="0" smtClean="0"/>
              <a:t>Source: Amundi, </a:t>
            </a:r>
            <a:r>
              <a:rPr lang="en-US" dirty="0" err="1" smtClean="0"/>
              <a:t>Factset</a:t>
            </a:r>
            <a:r>
              <a:rPr lang="en-US" dirty="0" smtClean="0"/>
              <a:t>, MSCI </a:t>
            </a:r>
          </a:p>
          <a:p>
            <a:pPr>
              <a:spcBef>
                <a:spcPts val="0"/>
              </a:spcBef>
            </a:pPr>
            <a:r>
              <a:rPr lang="en-US" dirty="0" smtClean="0"/>
              <a:t>Valuation figures of Factors calculated on a monthly basis from December 2001</a:t>
            </a:r>
          </a:p>
          <a:p>
            <a:pPr>
              <a:spcBef>
                <a:spcPts val="0"/>
              </a:spcBef>
            </a:pPr>
            <a:r>
              <a:rPr lang="en-US" dirty="0" smtClean="0"/>
              <a:t>Z-scores  of Price to Earnings Last 12 months and Price to Book, computed over 5 years rolling</a:t>
            </a:r>
            <a:endParaRPr lang="en-US" dirty="0"/>
          </a:p>
        </p:txBody>
      </p:sp>
      <p:sp>
        <p:nvSpPr>
          <p:cNvPr id="15" name="Espace réservé du contenu 2"/>
          <p:cNvSpPr>
            <a:spLocks noGrp="1"/>
          </p:cNvSpPr>
          <p:nvPr>
            <p:ph sz="half" idx="1"/>
          </p:nvPr>
        </p:nvSpPr>
        <p:spPr>
          <a:xfrm>
            <a:off x="654173" y="1335410"/>
            <a:ext cx="7420722" cy="47049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0" lvl="1" indent="0" eaLnBrk="0" fontAlgn="base" hangingPunct="0">
              <a:spcBef>
                <a:spcPct val="0"/>
              </a:spcBef>
              <a:spcAft>
                <a:spcPct val="0"/>
              </a:spcAft>
              <a:buClr>
                <a:srgbClr val="00B0F0"/>
              </a:buClr>
              <a:buNone/>
            </a:pPr>
            <a:r>
              <a:rPr lang="en-US" b="1" dirty="0">
                <a:solidFill>
                  <a:schemeClr val="tx2"/>
                </a:solidFill>
              </a:rPr>
              <a:t>Valuation level compared </a:t>
            </a:r>
            <a:r>
              <a:rPr lang="en-US" b="1" dirty="0" smtClean="0">
                <a:solidFill>
                  <a:schemeClr val="tx2"/>
                </a:solidFill>
              </a:rPr>
              <a:t>to 5 years history </a:t>
            </a:r>
            <a:r>
              <a:rPr lang="en-US" b="1" dirty="0">
                <a:solidFill>
                  <a:schemeClr val="tx2"/>
                </a:solidFill>
              </a:rPr>
              <a:t>of each factor</a:t>
            </a:r>
          </a:p>
        </p:txBody>
      </p:sp>
      <p:graphicFrame>
        <p:nvGraphicFramePr>
          <p:cNvPr id="22" name="Table 21"/>
          <p:cNvGraphicFramePr>
            <a:graphicFrameLocks noGrp="1"/>
          </p:cNvGraphicFramePr>
          <p:nvPr>
            <p:extLst>
              <p:ext uri="{D42A27DB-BD31-4B8C-83A1-F6EECF244321}">
                <p14:modId xmlns:p14="http://schemas.microsoft.com/office/powerpoint/2010/main" val="1265258746"/>
              </p:ext>
            </p:extLst>
          </p:nvPr>
        </p:nvGraphicFramePr>
        <p:xfrm>
          <a:off x="666750" y="1852541"/>
          <a:ext cx="5448300" cy="2110643"/>
        </p:xfrm>
        <a:graphic>
          <a:graphicData uri="http://schemas.openxmlformats.org/drawingml/2006/table">
            <a:tbl>
              <a:tblPr/>
              <a:tblGrid>
                <a:gridCol w="1193643">
                  <a:extLst>
                    <a:ext uri="{9D8B030D-6E8A-4147-A177-3AD203B41FA5}">
                      <a16:colId xmlns="" xmlns:a16="http://schemas.microsoft.com/office/drawing/2014/main" val="20000"/>
                    </a:ext>
                  </a:extLst>
                </a:gridCol>
                <a:gridCol w="1292382">
                  <a:extLst>
                    <a:ext uri="{9D8B030D-6E8A-4147-A177-3AD203B41FA5}">
                      <a16:colId xmlns="" xmlns:a16="http://schemas.microsoft.com/office/drawing/2014/main" val="20001"/>
                    </a:ext>
                  </a:extLst>
                </a:gridCol>
                <a:gridCol w="1066800">
                  <a:extLst>
                    <a:ext uri="{9D8B030D-6E8A-4147-A177-3AD203B41FA5}">
                      <a16:colId xmlns="" xmlns:a16="http://schemas.microsoft.com/office/drawing/2014/main" val="20002"/>
                    </a:ext>
                  </a:extLst>
                </a:gridCol>
                <a:gridCol w="1153675">
                  <a:extLst>
                    <a:ext uri="{9D8B030D-6E8A-4147-A177-3AD203B41FA5}">
                      <a16:colId xmlns="" xmlns:a16="http://schemas.microsoft.com/office/drawing/2014/main" val="20003"/>
                    </a:ext>
                  </a:extLst>
                </a:gridCol>
                <a:gridCol w="741800">
                  <a:extLst>
                    <a:ext uri="{9D8B030D-6E8A-4147-A177-3AD203B41FA5}">
                      <a16:colId xmlns="" xmlns:a16="http://schemas.microsoft.com/office/drawing/2014/main" val="20004"/>
                    </a:ext>
                  </a:extLst>
                </a:gridCol>
              </a:tblGrid>
              <a:tr h="397603">
                <a:tc>
                  <a:txBody>
                    <a:bodyPr/>
                    <a:lstStyle/>
                    <a:p>
                      <a:pPr marL="0" algn="ctr" defTabSz="914400" rtl="0" eaLnBrk="1" fontAlgn="ctr" latinLnBrk="0" hangingPunct="1"/>
                      <a:r>
                        <a:rPr lang="en-US" sz="1200" b="1" i="0" u="none" strike="noStrike" kern="1200" dirty="0" smtClean="0">
                          <a:solidFill>
                            <a:schemeClr val="bg1"/>
                          </a:solidFill>
                          <a:effectLst/>
                          <a:latin typeface="Arial"/>
                          <a:ea typeface="+mn-ea"/>
                          <a:cs typeface="+mn-cs"/>
                        </a:rPr>
                        <a:t>March </a:t>
                      </a:r>
                      <a:r>
                        <a:rPr lang="en-US" sz="1200" b="1" i="0" u="none" strike="noStrike" kern="1200" dirty="0">
                          <a:solidFill>
                            <a:schemeClr val="bg1"/>
                          </a:solidFill>
                          <a:effectLst/>
                          <a:latin typeface="Arial"/>
                          <a:ea typeface="+mn-ea"/>
                          <a:cs typeface="+mn-cs"/>
                        </a:rPr>
                        <a:t>2017</a:t>
                      </a:r>
                    </a:p>
                  </a:txBody>
                  <a:tcPr marL="8344" marR="8344" marT="8344" marB="0" anchor="ctr">
                    <a:lnL>
                      <a:noFill/>
                    </a:lnL>
                    <a:lnR>
                      <a:noFill/>
                    </a:lnR>
                    <a:lnT>
                      <a:noFill/>
                    </a:lnT>
                    <a:lnB w="25400" cap="flat" cmpd="dbl" algn="ctr">
                      <a:solidFill>
                        <a:srgbClr val="000000"/>
                      </a:solidFill>
                      <a:prstDash val="solid"/>
                      <a:round/>
                      <a:headEnd type="none" w="med" len="med"/>
                      <a:tailEnd type="none" w="med" len="med"/>
                    </a:lnB>
                    <a:solidFill>
                      <a:schemeClr val="tx1"/>
                    </a:solidFill>
                  </a:tcPr>
                </a:tc>
                <a:tc gridSpan="4">
                  <a:txBody>
                    <a:bodyPr/>
                    <a:lstStyle/>
                    <a:p>
                      <a:pPr marL="0" algn="ctr" defTabSz="914400" rtl="0" eaLnBrk="1" fontAlgn="ctr" latinLnBrk="0" hangingPunct="1"/>
                      <a:r>
                        <a:rPr lang="en-US" sz="1200" b="1" i="0" u="none" strike="noStrike" kern="1200" dirty="0" smtClean="0">
                          <a:solidFill>
                            <a:schemeClr val="bg1"/>
                          </a:solidFill>
                          <a:effectLst/>
                          <a:latin typeface="Arial"/>
                          <a:ea typeface="+mn-ea"/>
                          <a:cs typeface="+mn-cs"/>
                        </a:rPr>
                        <a:t>5 Years Z-Score</a:t>
                      </a:r>
                      <a:endParaRPr lang="en-US" sz="1200" b="1" i="0" u="none" strike="noStrike" kern="1200" dirty="0">
                        <a:solidFill>
                          <a:schemeClr val="bg1"/>
                        </a:solidFill>
                        <a:effectLst/>
                        <a:latin typeface="Arial"/>
                        <a:ea typeface="+mn-ea"/>
                        <a:cs typeface="+mn-cs"/>
                      </a:endParaRPr>
                    </a:p>
                  </a:txBody>
                  <a:tcPr marL="8344" marR="8344" marT="8344" marB="0" anchor="ctr">
                    <a:lnL>
                      <a:noFill/>
                    </a:lnL>
                    <a:lnR>
                      <a:noFill/>
                    </a:lnR>
                    <a:lnT>
                      <a:noFill/>
                    </a:lnT>
                    <a:lnB w="25400" cap="flat" cmpd="dbl" algn="ctr">
                      <a:solidFill>
                        <a:srgbClr val="000000"/>
                      </a:solidFill>
                      <a:prstDash val="solid"/>
                      <a:round/>
                      <a:headEnd type="none" w="med" len="med"/>
                      <a:tailEnd type="none" w="med" len="med"/>
                    </a:lnB>
                    <a:solidFill>
                      <a:schemeClr val="tx1"/>
                    </a:solidFill>
                  </a:tcPr>
                </a:tc>
                <a:tc hMerge="1">
                  <a:txBody>
                    <a:bodyPr/>
                    <a:lstStyle/>
                    <a:p>
                      <a:endParaRPr lang="en-US"/>
                    </a:p>
                  </a:txBody>
                  <a:tcPr/>
                </a:tc>
                <a:tc hMerge="1">
                  <a:txBody>
                    <a:bodyPr/>
                    <a:lstStyle/>
                    <a:p>
                      <a:pPr algn="ctr" fontAlgn="ctr"/>
                      <a:endParaRPr lang="en-US" sz="1200" b="1" i="0" u="none" strike="noStrike" dirty="0">
                        <a:solidFill>
                          <a:schemeClr val="bg1"/>
                        </a:solidFill>
                        <a:effectLst/>
                        <a:latin typeface="Arial"/>
                      </a:endParaRPr>
                    </a:p>
                  </a:txBody>
                  <a:tcPr marL="8344" marR="8344" marT="8344" marB="0" anchor="ctr">
                    <a:lnL>
                      <a:noFill/>
                    </a:lnL>
                    <a:lnR>
                      <a:noFill/>
                    </a:lnR>
                    <a:lnT>
                      <a:noFill/>
                    </a:lnT>
                    <a:lnB w="25400" cap="flat" cmpd="dbl" algn="ctr">
                      <a:solidFill>
                        <a:srgbClr val="000000"/>
                      </a:solidFill>
                      <a:prstDash val="solid"/>
                      <a:round/>
                      <a:headEnd type="none" w="med" len="med"/>
                      <a:tailEnd type="none" w="med" len="med"/>
                    </a:lnB>
                    <a:solidFill>
                      <a:schemeClr val="tx1"/>
                    </a:solidFill>
                  </a:tcPr>
                </a:tc>
                <a:tc hMerge="1">
                  <a:txBody>
                    <a:bodyPr/>
                    <a:lstStyle/>
                    <a:p>
                      <a:pPr algn="ctr" fontAlgn="ctr"/>
                      <a:endParaRPr lang="en-US" sz="1200" b="1" i="0" u="none" strike="noStrike" dirty="0">
                        <a:solidFill>
                          <a:schemeClr val="bg1"/>
                        </a:solidFill>
                        <a:effectLst/>
                        <a:latin typeface="Arial"/>
                      </a:endParaRPr>
                    </a:p>
                  </a:txBody>
                  <a:tcPr marL="8344" marR="8344" marT="8344" marB="0" anchor="ctr">
                    <a:lnL>
                      <a:noFill/>
                    </a:lnL>
                    <a:lnR>
                      <a:noFill/>
                    </a:lnR>
                    <a:lnT>
                      <a:noFill/>
                    </a:lnT>
                    <a:lnB w="25400" cap="flat" cmpd="dbl" algn="ctr">
                      <a:solidFill>
                        <a:srgbClr val="000000"/>
                      </a:solidFill>
                      <a:prstDash val="solid"/>
                      <a:round/>
                      <a:headEnd type="none" w="med" len="med"/>
                      <a:tailEnd type="none" w="med" len="med"/>
                    </a:lnB>
                    <a:solidFill>
                      <a:schemeClr val="tx1"/>
                    </a:solidFill>
                  </a:tcPr>
                </a:tc>
                <a:extLst>
                  <a:ext uri="{0D108BD9-81ED-4DB2-BD59-A6C34878D82A}">
                    <a16:rowId xmlns="" xmlns:a16="http://schemas.microsoft.com/office/drawing/2014/main" val="10000"/>
                  </a:ext>
                </a:extLst>
              </a:tr>
              <a:tr h="239361">
                <a:tc>
                  <a:txBody>
                    <a:bodyPr/>
                    <a:lstStyle/>
                    <a:p>
                      <a:pPr algn="r" fontAlgn="b"/>
                      <a:r>
                        <a:rPr lang="en-US" sz="1200" b="0" i="0" u="none" strike="noStrike" dirty="0">
                          <a:solidFill>
                            <a:srgbClr val="1F497D"/>
                          </a:solidFill>
                          <a:effectLst/>
                          <a:latin typeface="Arial"/>
                        </a:rPr>
                        <a:t> </a:t>
                      </a:r>
                    </a:p>
                  </a:txBody>
                  <a:tcPr marL="8344" marR="8344" marT="8344"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200" b="0" i="0" u="none" strike="noStrike" dirty="0">
                          <a:solidFill>
                            <a:srgbClr val="1F497D"/>
                          </a:solidFill>
                          <a:effectLst/>
                          <a:latin typeface="Arial"/>
                        </a:rPr>
                        <a:t> </a:t>
                      </a:r>
                    </a:p>
                  </a:txBody>
                  <a:tcPr marL="8344" marR="8344" marT="8344"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200" b="0" i="0" u="none" strike="noStrike" dirty="0">
                          <a:solidFill>
                            <a:srgbClr val="1F497D"/>
                          </a:solidFill>
                          <a:effectLst/>
                          <a:latin typeface="Arial"/>
                        </a:rPr>
                        <a:t> </a:t>
                      </a:r>
                    </a:p>
                  </a:txBody>
                  <a:tcPr marL="8344" marR="8344" marT="8344"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dirty="0">
                        <a:solidFill>
                          <a:srgbClr val="1F497D"/>
                        </a:solidFill>
                        <a:effectLst/>
                        <a:latin typeface="Arial"/>
                      </a:endParaRPr>
                    </a:p>
                  </a:txBody>
                  <a:tcPr marL="8344" marR="8344" marT="8344"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l" fontAlgn="b"/>
                      <a:endParaRPr lang="en-US" sz="1200" b="0" i="0" u="none" strike="noStrike" dirty="0">
                        <a:solidFill>
                          <a:srgbClr val="1F497D"/>
                        </a:solidFill>
                        <a:effectLst/>
                        <a:latin typeface="Arial"/>
                      </a:endParaRPr>
                    </a:p>
                  </a:txBody>
                  <a:tcPr marL="8344" marR="8344" marT="8344"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extLst>
                  <a:ext uri="{0D108BD9-81ED-4DB2-BD59-A6C34878D82A}">
                    <a16:rowId xmlns="" xmlns:a16="http://schemas.microsoft.com/office/drawing/2014/main" val="10001"/>
                  </a:ext>
                </a:extLst>
              </a:tr>
              <a:tr h="318350">
                <a:tc>
                  <a:txBody>
                    <a:bodyPr/>
                    <a:lstStyle/>
                    <a:p>
                      <a:pPr algn="ctr" fontAlgn="ctr"/>
                      <a:r>
                        <a:rPr lang="en-US" sz="1200" b="1" i="0" u="none" strike="noStrike" dirty="0" smtClean="0">
                          <a:solidFill>
                            <a:srgbClr val="1F497D"/>
                          </a:solidFill>
                          <a:effectLst/>
                          <a:latin typeface="Arial"/>
                        </a:rPr>
                        <a:t>Eurozone</a:t>
                      </a:r>
                      <a:endParaRPr lang="en-US" sz="1200" b="1" i="0" u="none" strike="noStrike" dirty="0">
                        <a:solidFill>
                          <a:srgbClr val="1F497D"/>
                        </a:solidFill>
                        <a:effectLst/>
                        <a:latin typeface="Arial"/>
                      </a:endParaRPr>
                    </a:p>
                  </a:txBody>
                  <a:tcPr marL="8344" marR="8344" marT="8344"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dirty="0" smtClean="0">
                          <a:solidFill>
                            <a:srgbClr val="1F497D"/>
                          </a:solidFill>
                          <a:effectLst/>
                          <a:latin typeface="Arial"/>
                        </a:rPr>
                        <a:t>Price to Earnings Z-Score</a:t>
                      </a:r>
                      <a:endParaRPr lang="en-US" sz="1200" b="0" i="0" u="none" strike="noStrike" dirty="0">
                        <a:solidFill>
                          <a:srgbClr val="1F497D"/>
                        </a:solidFill>
                        <a:effectLst/>
                        <a:latin typeface="Arial"/>
                      </a:endParaRPr>
                    </a:p>
                  </a:txBody>
                  <a:tcPr marL="8344" marR="8344" marT="8344"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dirty="0" smtClean="0">
                          <a:solidFill>
                            <a:srgbClr val="1F497D"/>
                          </a:solidFill>
                          <a:effectLst/>
                          <a:latin typeface="Arial"/>
                        </a:rPr>
                        <a:t>Price to Book Z-Score</a:t>
                      </a:r>
                      <a:endParaRPr lang="en-US" sz="1200" b="0" i="0" u="none" strike="noStrike" dirty="0">
                        <a:solidFill>
                          <a:srgbClr val="1F497D"/>
                        </a:solidFill>
                        <a:effectLst/>
                        <a:latin typeface="Arial"/>
                      </a:endParaRPr>
                    </a:p>
                  </a:txBody>
                  <a:tcPr marL="8344" marR="8344" marT="8344"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noProof="0" dirty="0" smtClean="0">
                          <a:solidFill>
                            <a:srgbClr val="1F497D"/>
                          </a:solidFill>
                          <a:effectLst/>
                          <a:latin typeface="Arial"/>
                        </a:rPr>
                        <a:t>Average</a:t>
                      </a:r>
                    </a:p>
                    <a:p>
                      <a:pPr algn="ctr" fontAlgn="ctr"/>
                      <a:r>
                        <a:rPr lang="en-US" sz="1200" b="0" i="0" u="none" strike="noStrike" noProof="0" dirty="0" smtClean="0">
                          <a:solidFill>
                            <a:srgbClr val="1F497D"/>
                          </a:solidFill>
                          <a:effectLst/>
                          <a:latin typeface="Arial"/>
                        </a:rPr>
                        <a:t>Z-score</a:t>
                      </a:r>
                      <a:endParaRPr lang="en-US" sz="1200" b="0" i="0" u="none" strike="noStrike" noProof="0" dirty="0">
                        <a:solidFill>
                          <a:srgbClr val="1F497D"/>
                        </a:solidFill>
                        <a:effectLst/>
                        <a:latin typeface="Arial"/>
                      </a:endParaRPr>
                    </a:p>
                  </a:txBody>
                  <a:tcPr marL="8344" marR="8344" marT="8344"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0" i="0" u="none" strike="noStrike" noProof="0" dirty="0" smtClean="0">
                          <a:solidFill>
                            <a:srgbClr val="1F497D"/>
                          </a:solidFill>
                          <a:effectLst/>
                          <a:latin typeface="Arial"/>
                        </a:rPr>
                        <a:t>Valuation risk</a:t>
                      </a:r>
                      <a:endParaRPr lang="en-US" sz="1200" b="0" i="0" u="none" strike="noStrike" noProof="0" dirty="0">
                        <a:solidFill>
                          <a:srgbClr val="1F497D"/>
                        </a:solidFill>
                        <a:effectLst/>
                        <a:latin typeface="Arial"/>
                      </a:endParaRPr>
                    </a:p>
                  </a:txBody>
                  <a:tcPr marL="8344" marR="8344" marT="8344"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10002"/>
                  </a:ext>
                </a:extLst>
              </a:tr>
              <a:tr h="239361">
                <a:tc>
                  <a:txBody>
                    <a:bodyPr/>
                    <a:lstStyle/>
                    <a:p>
                      <a:pPr algn="ctr" fontAlgn="b"/>
                      <a:r>
                        <a:rPr lang="en-US" sz="1100" b="1" i="0" u="none" strike="noStrike" noProof="0" dirty="0" smtClean="0">
                          <a:solidFill>
                            <a:srgbClr val="002060"/>
                          </a:solidFill>
                          <a:effectLst/>
                          <a:latin typeface="+mj-lt"/>
                        </a:rPr>
                        <a:t>Low Volatility </a:t>
                      </a:r>
                      <a:endParaRPr lang="en-US" sz="1100" b="1" i="0" u="none" strike="noStrike" noProof="0" dirty="0">
                        <a:solidFill>
                          <a:srgbClr val="002060"/>
                        </a:solidFill>
                        <a:effectLst/>
                        <a:latin typeface="+mj-lt"/>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chemeClr val="bg1">
                        <a:lumMod val="95000"/>
                      </a:schemeClr>
                    </a:solidFill>
                  </a:tcPr>
                </a:tc>
                <a:tc>
                  <a:txBody>
                    <a:bodyPr/>
                    <a:lstStyle/>
                    <a:p>
                      <a:pPr algn="ctr" fontAlgn="b"/>
                      <a:r>
                        <a:rPr lang="fr-FR" sz="1100" b="0" i="0" u="none" strike="noStrike">
                          <a:solidFill>
                            <a:srgbClr val="002060"/>
                          </a:solidFill>
                          <a:effectLst/>
                          <a:latin typeface="+mj-lt"/>
                        </a:rPr>
                        <a:t>0,89</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chemeClr val="bg1">
                        <a:lumMod val="95000"/>
                      </a:schemeClr>
                    </a:solidFill>
                  </a:tcPr>
                </a:tc>
                <a:tc>
                  <a:txBody>
                    <a:bodyPr/>
                    <a:lstStyle/>
                    <a:p>
                      <a:pPr algn="ctr" fontAlgn="b"/>
                      <a:r>
                        <a:rPr lang="fr-FR" sz="1100" b="0" i="0" u="none" strike="noStrike" dirty="0">
                          <a:solidFill>
                            <a:srgbClr val="002060"/>
                          </a:solidFill>
                          <a:effectLst/>
                          <a:latin typeface="+mj-lt"/>
                        </a:rPr>
                        <a:t>0,87</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chemeClr val="bg1">
                        <a:lumMod val="95000"/>
                      </a:schemeClr>
                    </a:solidFill>
                  </a:tcPr>
                </a:tc>
                <a:tc>
                  <a:txBody>
                    <a:bodyPr/>
                    <a:lstStyle/>
                    <a:p>
                      <a:pPr algn="ctr" fontAlgn="b"/>
                      <a:r>
                        <a:rPr lang="fr-FR" sz="1100" b="0" i="0" u="none" strike="noStrike" dirty="0">
                          <a:solidFill>
                            <a:srgbClr val="002060"/>
                          </a:solidFill>
                          <a:effectLst/>
                          <a:latin typeface="+mj-lt"/>
                        </a:rPr>
                        <a:t>0,88</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chemeClr val="bg1">
                        <a:lumMod val="95000"/>
                      </a:schemeClr>
                    </a:solidFill>
                  </a:tcPr>
                </a:tc>
                <a:tc>
                  <a:txBody>
                    <a:bodyPr/>
                    <a:lstStyle/>
                    <a:p>
                      <a:pPr marL="0" algn="ctr" defTabSz="914400" rtl="0" eaLnBrk="1" fontAlgn="b" latinLnBrk="0" hangingPunct="1"/>
                      <a:endParaRPr lang="en-US" sz="1200" b="0" i="0" u="none" strike="noStrike" kern="1200" dirty="0">
                        <a:solidFill>
                          <a:srgbClr val="1F497D"/>
                        </a:solidFill>
                        <a:effectLst/>
                        <a:latin typeface="Arial"/>
                        <a:ea typeface="+mn-ea"/>
                        <a:cs typeface="+mn-cs"/>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lumMod val="95000"/>
                      </a:schemeClr>
                    </a:solidFill>
                  </a:tcPr>
                </a:tc>
                <a:extLst>
                  <a:ext uri="{0D108BD9-81ED-4DB2-BD59-A6C34878D82A}">
                    <a16:rowId xmlns="" xmlns:a16="http://schemas.microsoft.com/office/drawing/2014/main" val="10003"/>
                  </a:ext>
                </a:extLst>
              </a:tr>
              <a:tr h="239361">
                <a:tc>
                  <a:txBody>
                    <a:bodyPr/>
                    <a:lstStyle/>
                    <a:p>
                      <a:pPr algn="ctr" fontAlgn="b"/>
                      <a:r>
                        <a:rPr lang="en-US" sz="1100" b="1" i="0" u="none" strike="noStrike" noProof="0" dirty="0" smtClean="0">
                          <a:solidFill>
                            <a:srgbClr val="002060"/>
                          </a:solidFill>
                          <a:effectLst/>
                          <a:latin typeface="+mj-lt"/>
                        </a:rPr>
                        <a:t>Momentum</a:t>
                      </a:r>
                      <a:endParaRPr lang="en-US" sz="1100" b="1" i="0" u="none" strike="noStrike" noProof="0" dirty="0">
                        <a:solidFill>
                          <a:srgbClr val="002060"/>
                        </a:solidFill>
                        <a:effectLst/>
                        <a:latin typeface="+mj-lt"/>
                      </a:endParaRPr>
                    </a:p>
                  </a:txBody>
                  <a:tcPr marL="0" marR="0" marT="0" marB="0" anchor="ctr">
                    <a:lnL>
                      <a:noFill/>
                    </a:lnL>
                    <a:lnR>
                      <a:noFill/>
                    </a:lnR>
                    <a:lnT>
                      <a:noFill/>
                    </a:lnT>
                    <a:lnB>
                      <a:noFill/>
                    </a:lnB>
                    <a:solidFill>
                      <a:schemeClr val="bg2"/>
                    </a:solidFill>
                  </a:tcPr>
                </a:tc>
                <a:tc>
                  <a:txBody>
                    <a:bodyPr/>
                    <a:lstStyle/>
                    <a:p>
                      <a:pPr algn="ctr" fontAlgn="b"/>
                      <a:r>
                        <a:rPr lang="fr-FR" sz="1100" b="0" i="0" u="none" strike="noStrike">
                          <a:solidFill>
                            <a:srgbClr val="002060"/>
                          </a:solidFill>
                          <a:effectLst/>
                          <a:latin typeface="+mj-lt"/>
                        </a:rPr>
                        <a:t>0,80</a:t>
                      </a:r>
                    </a:p>
                  </a:txBody>
                  <a:tcPr marL="0" marR="0" marT="0" marB="0" anchor="ctr">
                    <a:lnL>
                      <a:noFill/>
                    </a:lnL>
                    <a:lnR>
                      <a:noFill/>
                    </a:lnR>
                    <a:lnT>
                      <a:noFill/>
                    </a:lnT>
                    <a:lnB>
                      <a:noFill/>
                    </a:lnB>
                    <a:solidFill>
                      <a:schemeClr val="bg2"/>
                    </a:solidFill>
                  </a:tcPr>
                </a:tc>
                <a:tc>
                  <a:txBody>
                    <a:bodyPr/>
                    <a:lstStyle/>
                    <a:p>
                      <a:pPr algn="ctr" fontAlgn="b"/>
                      <a:r>
                        <a:rPr lang="fr-FR" sz="1100" b="0" i="0" u="none" strike="noStrike">
                          <a:solidFill>
                            <a:srgbClr val="002060"/>
                          </a:solidFill>
                          <a:effectLst/>
                          <a:latin typeface="+mj-lt"/>
                        </a:rPr>
                        <a:t>-0,53</a:t>
                      </a:r>
                    </a:p>
                  </a:txBody>
                  <a:tcPr marL="0" marR="0" marT="0" marB="0" anchor="ctr">
                    <a:lnL>
                      <a:noFill/>
                    </a:lnL>
                    <a:lnR>
                      <a:noFill/>
                    </a:lnR>
                    <a:lnT>
                      <a:noFill/>
                    </a:lnT>
                    <a:lnB>
                      <a:noFill/>
                    </a:lnB>
                    <a:solidFill>
                      <a:schemeClr val="bg2"/>
                    </a:solidFill>
                  </a:tcPr>
                </a:tc>
                <a:tc>
                  <a:txBody>
                    <a:bodyPr/>
                    <a:lstStyle/>
                    <a:p>
                      <a:pPr algn="ctr" fontAlgn="b"/>
                      <a:r>
                        <a:rPr lang="fr-FR" sz="1100" b="0" i="0" u="none" strike="noStrike" dirty="0">
                          <a:solidFill>
                            <a:srgbClr val="002060"/>
                          </a:solidFill>
                          <a:effectLst/>
                          <a:latin typeface="+mj-lt"/>
                        </a:rPr>
                        <a:t>0,14</a:t>
                      </a:r>
                    </a:p>
                  </a:txBody>
                  <a:tcPr marL="0" marR="0" marT="0" marB="0" anchor="ctr">
                    <a:lnL>
                      <a:noFill/>
                    </a:lnL>
                    <a:lnR>
                      <a:noFill/>
                    </a:lnR>
                    <a:lnT>
                      <a:noFill/>
                    </a:lnT>
                    <a:lnB>
                      <a:noFill/>
                    </a:lnB>
                    <a:solidFill>
                      <a:schemeClr val="bg2"/>
                    </a:solidFill>
                  </a:tcPr>
                </a:tc>
                <a:tc>
                  <a:txBody>
                    <a:bodyPr/>
                    <a:lstStyle/>
                    <a:p>
                      <a:pPr marL="0" algn="ctr" defTabSz="914400" rtl="0" eaLnBrk="1" fontAlgn="b" latinLnBrk="0" hangingPunct="1"/>
                      <a:endParaRPr lang="en-US" sz="1200" b="0" i="0" u="none" strike="noStrike" kern="1200" dirty="0">
                        <a:solidFill>
                          <a:srgbClr val="1F497D"/>
                        </a:solidFill>
                        <a:effectLst/>
                        <a:latin typeface="Arial"/>
                        <a:ea typeface="+mn-ea"/>
                        <a:cs typeface="+mn-cs"/>
                      </a:endParaRPr>
                    </a:p>
                  </a:txBody>
                  <a:tcPr marL="9525" marR="9525" marT="9525" marB="0" anchor="ctr">
                    <a:lnL>
                      <a:noFill/>
                    </a:lnL>
                    <a:lnR>
                      <a:noFill/>
                    </a:lnR>
                    <a:lnT>
                      <a:noFill/>
                    </a:lnT>
                    <a:lnB>
                      <a:noFill/>
                    </a:lnB>
                    <a:solidFill>
                      <a:schemeClr val="bg2"/>
                    </a:solidFill>
                  </a:tcPr>
                </a:tc>
                <a:extLst>
                  <a:ext uri="{0D108BD9-81ED-4DB2-BD59-A6C34878D82A}">
                    <a16:rowId xmlns="" xmlns:a16="http://schemas.microsoft.com/office/drawing/2014/main" val="10004"/>
                  </a:ext>
                </a:extLst>
              </a:tr>
              <a:tr h="306817">
                <a:tc>
                  <a:txBody>
                    <a:bodyPr/>
                    <a:lstStyle/>
                    <a:p>
                      <a:pPr algn="ctr" fontAlgn="b"/>
                      <a:r>
                        <a:rPr lang="en-US" sz="1100" b="1" i="0" u="none" strike="noStrike" noProof="0" dirty="0" smtClean="0">
                          <a:solidFill>
                            <a:schemeClr val="bg1"/>
                          </a:solidFill>
                          <a:effectLst/>
                          <a:latin typeface="+mj-lt"/>
                        </a:rPr>
                        <a:t>Quality</a:t>
                      </a:r>
                      <a:endParaRPr lang="en-US" sz="1100" b="1" i="0" u="none" strike="noStrike" noProof="0" dirty="0">
                        <a:solidFill>
                          <a:schemeClr val="bg1"/>
                        </a:solidFill>
                        <a:effectLst/>
                        <a:latin typeface="+mj-lt"/>
                      </a:endParaRPr>
                    </a:p>
                  </a:txBody>
                  <a:tcPr marL="0" marR="0" marT="0" marB="0" anchor="ctr">
                    <a:lnL>
                      <a:noFill/>
                    </a:lnL>
                    <a:lnR>
                      <a:noFill/>
                    </a:lnR>
                    <a:lnT>
                      <a:noFill/>
                    </a:lnT>
                    <a:lnB>
                      <a:noFill/>
                    </a:lnB>
                    <a:solidFill>
                      <a:schemeClr val="accent4"/>
                    </a:solidFill>
                  </a:tcPr>
                </a:tc>
                <a:tc>
                  <a:txBody>
                    <a:bodyPr/>
                    <a:lstStyle/>
                    <a:p>
                      <a:pPr algn="ctr" fontAlgn="b"/>
                      <a:r>
                        <a:rPr lang="fr-FR" sz="1100" b="0" i="0" u="none" strike="noStrike" dirty="0">
                          <a:solidFill>
                            <a:schemeClr val="bg1"/>
                          </a:solidFill>
                          <a:effectLst/>
                          <a:latin typeface="+mj-lt"/>
                        </a:rPr>
                        <a:t>0,97</a:t>
                      </a:r>
                    </a:p>
                  </a:txBody>
                  <a:tcPr marL="0" marR="0" marT="0" marB="0" anchor="ctr">
                    <a:lnL>
                      <a:noFill/>
                    </a:lnL>
                    <a:lnR>
                      <a:noFill/>
                    </a:lnR>
                    <a:lnT>
                      <a:noFill/>
                    </a:lnT>
                    <a:lnB>
                      <a:noFill/>
                    </a:lnB>
                    <a:solidFill>
                      <a:schemeClr val="accent4"/>
                    </a:solidFill>
                  </a:tcPr>
                </a:tc>
                <a:tc>
                  <a:txBody>
                    <a:bodyPr/>
                    <a:lstStyle/>
                    <a:p>
                      <a:pPr algn="ctr" fontAlgn="b"/>
                      <a:r>
                        <a:rPr lang="fr-FR" sz="1100" b="0" i="0" u="none" strike="noStrike">
                          <a:solidFill>
                            <a:schemeClr val="bg1"/>
                          </a:solidFill>
                          <a:effectLst/>
                          <a:latin typeface="+mj-lt"/>
                        </a:rPr>
                        <a:t>1,47</a:t>
                      </a:r>
                    </a:p>
                  </a:txBody>
                  <a:tcPr marL="0" marR="0" marT="0" marB="0" anchor="ctr">
                    <a:lnL>
                      <a:noFill/>
                    </a:lnL>
                    <a:lnR>
                      <a:noFill/>
                    </a:lnR>
                    <a:lnT>
                      <a:noFill/>
                    </a:lnT>
                    <a:lnB>
                      <a:noFill/>
                    </a:lnB>
                    <a:solidFill>
                      <a:schemeClr val="accent4"/>
                    </a:solidFill>
                  </a:tcPr>
                </a:tc>
                <a:tc>
                  <a:txBody>
                    <a:bodyPr/>
                    <a:lstStyle/>
                    <a:p>
                      <a:pPr algn="ctr" fontAlgn="b"/>
                      <a:r>
                        <a:rPr lang="fr-FR" sz="1100" b="0" i="0" u="none" strike="noStrike" dirty="0">
                          <a:solidFill>
                            <a:schemeClr val="bg1"/>
                          </a:solidFill>
                          <a:effectLst/>
                          <a:latin typeface="+mj-lt"/>
                        </a:rPr>
                        <a:t>1,22</a:t>
                      </a:r>
                    </a:p>
                  </a:txBody>
                  <a:tcPr marL="0" marR="0" marT="0" marB="0" anchor="ctr">
                    <a:lnL>
                      <a:noFill/>
                    </a:lnL>
                    <a:lnR>
                      <a:noFill/>
                    </a:lnR>
                    <a:lnT>
                      <a:noFill/>
                    </a:lnT>
                    <a:lnB>
                      <a:noFill/>
                    </a:lnB>
                    <a:solidFill>
                      <a:schemeClr val="accent4"/>
                    </a:solidFill>
                  </a:tcPr>
                </a:tc>
                <a:tc>
                  <a:txBody>
                    <a:bodyPr/>
                    <a:lstStyle/>
                    <a:p>
                      <a:pPr marL="0" algn="ctr" defTabSz="914400" rtl="0" eaLnBrk="1" fontAlgn="b" latinLnBrk="0" hangingPunct="1"/>
                      <a:endParaRPr lang="en-US" sz="1200" b="0" i="0" u="none" strike="noStrike" kern="1200" dirty="0">
                        <a:solidFill>
                          <a:schemeClr val="bg1"/>
                        </a:solidFill>
                        <a:effectLst/>
                        <a:latin typeface="Arial"/>
                        <a:ea typeface="+mn-ea"/>
                        <a:cs typeface="+mn-cs"/>
                      </a:endParaRPr>
                    </a:p>
                  </a:txBody>
                  <a:tcPr marL="9525" marR="9525" marT="9525" marB="0" anchor="ctr">
                    <a:lnL>
                      <a:noFill/>
                    </a:lnL>
                    <a:lnR>
                      <a:noFill/>
                    </a:lnR>
                    <a:lnT>
                      <a:noFill/>
                    </a:lnT>
                    <a:lnB>
                      <a:noFill/>
                    </a:lnB>
                    <a:solidFill>
                      <a:schemeClr val="accent4"/>
                    </a:solidFill>
                  </a:tcPr>
                </a:tc>
                <a:extLst>
                  <a:ext uri="{0D108BD9-81ED-4DB2-BD59-A6C34878D82A}">
                    <a16:rowId xmlns="" xmlns:a16="http://schemas.microsoft.com/office/drawing/2014/main" val="10005"/>
                  </a:ext>
                </a:extLst>
              </a:tr>
              <a:tr h="314036">
                <a:tc>
                  <a:txBody>
                    <a:bodyPr/>
                    <a:lstStyle/>
                    <a:p>
                      <a:pPr algn="ctr" fontAlgn="b"/>
                      <a:r>
                        <a:rPr lang="en-US" sz="1100" b="1" i="0" u="none" strike="noStrike" noProof="0" dirty="0" smtClean="0">
                          <a:solidFill>
                            <a:schemeClr val="bg1"/>
                          </a:solidFill>
                          <a:effectLst/>
                          <a:latin typeface="+mj-lt"/>
                        </a:rPr>
                        <a:t>Value</a:t>
                      </a:r>
                      <a:endParaRPr lang="en-US" sz="1100" b="1" i="0" u="none" strike="noStrike" noProof="0" dirty="0">
                        <a:solidFill>
                          <a:schemeClr val="bg1"/>
                        </a:solidFill>
                        <a:effectLst/>
                        <a:latin typeface="+mj-lt"/>
                      </a:endParaRPr>
                    </a:p>
                  </a:txBody>
                  <a:tcPr marL="0" marR="0" marT="0" marB="0" anchor="ctr">
                    <a:lnL>
                      <a:noFill/>
                    </a:lnL>
                    <a:lnR>
                      <a:noFill/>
                    </a:lnR>
                    <a:lnT>
                      <a:noFill/>
                    </a:lnT>
                    <a:lnB>
                      <a:noFill/>
                    </a:lnB>
                    <a:solidFill>
                      <a:schemeClr val="accent4"/>
                    </a:solidFill>
                  </a:tcPr>
                </a:tc>
                <a:tc>
                  <a:txBody>
                    <a:bodyPr/>
                    <a:lstStyle/>
                    <a:p>
                      <a:pPr algn="ctr" fontAlgn="b"/>
                      <a:r>
                        <a:rPr lang="fr-FR" sz="1100" b="0" i="0" u="none" strike="noStrike">
                          <a:solidFill>
                            <a:schemeClr val="bg1"/>
                          </a:solidFill>
                          <a:effectLst/>
                          <a:latin typeface="+mj-lt"/>
                        </a:rPr>
                        <a:t>1,65</a:t>
                      </a:r>
                    </a:p>
                  </a:txBody>
                  <a:tcPr marL="0" marR="0" marT="0" marB="0" anchor="ctr">
                    <a:lnL>
                      <a:noFill/>
                    </a:lnL>
                    <a:lnR>
                      <a:noFill/>
                    </a:lnR>
                    <a:lnT>
                      <a:noFill/>
                    </a:lnT>
                    <a:lnB>
                      <a:noFill/>
                    </a:lnB>
                    <a:solidFill>
                      <a:schemeClr val="accent4"/>
                    </a:solidFill>
                  </a:tcPr>
                </a:tc>
                <a:tc>
                  <a:txBody>
                    <a:bodyPr/>
                    <a:lstStyle/>
                    <a:p>
                      <a:pPr algn="ctr" fontAlgn="b"/>
                      <a:r>
                        <a:rPr lang="fr-FR" sz="1100" b="0" i="0" u="none" strike="noStrike" dirty="0">
                          <a:solidFill>
                            <a:schemeClr val="bg1"/>
                          </a:solidFill>
                          <a:effectLst/>
                          <a:latin typeface="+mj-lt"/>
                        </a:rPr>
                        <a:t>0,58</a:t>
                      </a:r>
                    </a:p>
                  </a:txBody>
                  <a:tcPr marL="0" marR="0" marT="0" marB="0" anchor="ctr">
                    <a:lnL>
                      <a:noFill/>
                    </a:lnL>
                    <a:lnR>
                      <a:noFill/>
                    </a:lnR>
                    <a:lnT>
                      <a:noFill/>
                    </a:lnT>
                    <a:lnB>
                      <a:noFill/>
                    </a:lnB>
                    <a:solidFill>
                      <a:schemeClr val="accent4"/>
                    </a:solidFill>
                  </a:tcPr>
                </a:tc>
                <a:tc>
                  <a:txBody>
                    <a:bodyPr/>
                    <a:lstStyle/>
                    <a:p>
                      <a:pPr algn="ctr" fontAlgn="b"/>
                      <a:r>
                        <a:rPr lang="fr-FR" sz="1100" b="0" i="0" u="none" strike="noStrike" dirty="0">
                          <a:solidFill>
                            <a:schemeClr val="bg1"/>
                          </a:solidFill>
                          <a:effectLst/>
                          <a:latin typeface="+mj-lt"/>
                        </a:rPr>
                        <a:t>1,11</a:t>
                      </a:r>
                    </a:p>
                  </a:txBody>
                  <a:tcPr marL="0" marR="0" marT="0" marB="0" anchor="ctr">
                    <a:lnL>
                      <a:noFill/>
                    </a:lnL>
                    <a:lnR>
                      <a:noFill/>
                    </a:lnR>
                    <a:lnT>
                      <a:noFill/>
                    </a:lnT>
                    <a:lnB>
                      <a:noFill/>
                    </a:lnB>
                    <a:solidFill>
                      <a:schemeClr val="accent4"/>
                    </a:solidFill>
                  </a:tcPr>
                </a:tc>
                <a:tc>
                  <a:txBody>
                    <a:bodyPr/>
                    <a:lstStyle/>
                    <a:p>
                      <a:pPr marL="0" algn="ctr" defTabSz="914400" rtl="0" eaLnBrk="1" fontAlgn="b" latinLnBrk="0" hangingPunct="1"/>
                      <a:endParaRPr lang="en-US" sz="1200" b="0" i="0" u="none" strike="noStrike" kern="1200" dirty="0">
                        <a:solidFill>
                          <a:schemeClr val="bg1"/>
                        </a:solidFill>
                        <a:effectLst/>
                        <a:latin typeface="Arial"/>
                        <a:ea typeface="+mn-ea"/>
                        <a:cs typeface="+mn-cs"/>
                      </a:endParaRPr>
                    </a:p>
                  </a:txBody>
                  <a:tcPr marL="9525" marR="9525" marT="9525" marB="0" anchor="ctr">
                    <a:lnL>
                      <a:noFill/>
                    </a:lnL>
                    <a:lnR>
                      <a:noFill/>
                    </a:lnR>
                    <a:lnT>
                      <a:noFill/>
                    </a:lnT>
                    <a:lnB>
                      <a:noFill/>
                    </a:lnB>
                    <a:solidFill>
                      <a:schemeClr val="accent4"/>
                    </a:solidFill>
                  </a:tcPr>
                </a:tc>
                <a:extLst>
                  <a:ext uri="{0D108BD9-81ED-4DB2-BD59-A6C34878D82A}">
                    <a16:rowId xmlns="" xmlns:a16="http://schemas.microsoft.com/office/drawing/2014/main" val="10006"/>
                  </a:ext>
                </a:extLst>
              </a:tr>
            </a:tbl>
          </a:graphicData>
        </a:graphic>
      </p:graphicFrame>
      <p:sp>
        <p:nvSpPr>
          <p:cNvPr id="11" name="Espace réservé du contenu 1"/>
          <p:cNvSpPr txBox="1">
            <a:spLocks/>
          </p:cNvSpPr>
          <p:nvPr/>
        </p:nvSpPr>
        <p:spPr>
          <a:xfrm>
            <a:off x="6412897" y="3609896"/>
            <a:ext cx="2351257" cy="877535"/>
          </a:xfrm>
          <a:prstGeom prst="rect">
            <a:avLst/>
          </a:prstGeom>
        </p:spPr>
        <p:txBody>
          <a:bodyPr vert="horz" lIns="0" tIns="0" rIns="0" bIns="0" rtlCol="0">
            <a:noAutofit/>
          </a:bodyPr>
          <a:lstStyle>
            <a:lvl1pPr marL="0" indent="0" algn="l" defTabSz="914400" rtl="0" eaLnBrk="1" latinLnBrk="0" hangingPunct="1">
              <a:spcBef>
                <a:spcPct val="20000"/>
              </a:spcBef>
              <a:buClr>
                <a:schemeClr val="accent3"/>
              </a:buClr>
              <a:buSzPct val="25000"/>
              <a:buFont typeface="Arial" pitchFamily="34" charset="0"/>
              <a:buChar char=" "/>
              <a:defRPr sz="1600" kern="1200">
                <a:solidFill>
                  <a:schemeClr val="tx1"/>
                </a:solidFill>
                <a:latin typeface="+mn-lt"/>
                <a:ea typeface="+mn-ea"/>
                <a:cs typeface="+mn-cs"/>
              </a:defRPr>
            </a:lvl1pPr>
            <a:lvl2pPr marL="265113" indent="-265113" algn="l" defTabSz="914400" rtl="0" eaLnBrk="1" latinLnBrk="0" hangingPunct="1">
              <a:spcBef>
                <a:spcPct val="20000"/>
              </a:spcBef>
              <a:buClr>
                <a:schemeClr val="accent3"/>
              </a:buClr>
              <a:buFont typeface="Wingdings" pitchFamily="2" charset="2"/>
              <a:buChar char="n"/>
              <a:defRPr sz="1600" kern="1200">
                <a:solidFill>
                  <a:schemeClr val="tx1"/>
                </a:solidFill>
                <a:latin typeface="+mn-lt"/>
                <a:ea typeface="+mn-ea"/>
                <a:cs typeface="+mn-cs"/>
              </a:defRPr>
            </a:lvl2pPr>
            <a:lvl3pPr marL="539750" indent="-274638"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3pPr>
            <a:lvl4pPr marL="539750" indent="-92075" algn="l" defTabSz="914400" rtl="0" eaLnBrk="1" latinLnBrk="0" hangingPunct="1">
              <a:spcBef>
                <a:spcPct val="20000"/>
              </a:spcBef>
              <a:buSzPct val="25000"/>
              <a:buFont typeface="Arial" pitchFamily="34" charset="0"/>
              <a:buChar char=" "/>
              <a:defRPr sz="1200" kern="1200">
                <a:solidFill>
                  <a:schemeClr val="tx1"/>
                </a:solidFill>
                <a:latin typeface="+mn-lt"/>
                <a:ea typeface="+mn-ea"/>
                <a:cs typeface="+mn-cs"/>
              </a:defRPr>
            </a:lvl4pPr>
            <a:lvl5pPr marL="804863" indent="0" algn="l" defTabSz="914400" rtl="0" eaLnBrk="1" latinLnBrk="0" hangingPunct="1">
              <a:spcBef>
                <a:spcPct val="20000"/>
              </a:spcBef>
              <a:buSzPct val="25000"/>
              <a:buFont typeface="Arial" pitchFamily="34" charset="0"/>
              <a:buChar char=" "/>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400" dirty="0" smtClean="0">
                <a:solidFill>
                  <a:schemeClr val="tx2"/>
                </a:solidFill>
              </a:rPr>
              <a:t>Quality and Value are traded at high valuation multiples, compared to the last 5 years</a:t>
            </a:r>
            <a:endParaRPr lang="fr-FR" sz="1400" dirty="0">
              <a:solidFill>
                <a:schemeClr val="tx2"/>
              </a:solidFill>
            </a:endParaRPr>
          </a:p>
        </p:txBody>
      </p:sp>
      <p:sp>
        <p:nvSpPr>
          <p:cNvPr id="3" name="Titre 2"/>
          <p:cNvSpPr>
            <a:spLocks noGrp="1"/>
          </p:cNvSpPr>
          <p:nvPr>
            <p:ph type="title"/>
          </p:nvPr>
        </p:nvSpPr>
        <p:spPr/>
        <p:txBody>
          <a:bodyPr/>
          <a:lstStyle/>
          <a:p>
            <a:r>
              <a:rPr lang="en-US" dirty="0"/>
              <a:t>Tactical allocation: adjust for Valuation pressure</a:t>
            </a:r>
            <a:endParaRPr lang="fr-FR" dirty="0"/>
          </a:p>
        </p:txBody>
      </p:sp>
      <p:sp>
        <p:nvSpPr>
          <p:cNvPr id="17" name="Espace réservé du contenu 2">
            <a:extLst>
              <a:ext uri="{FF2B5EF4-FFF2-40B4-BE49-F238E27FC236}">
                <a16:creationId xmlns="" xmlns:a16="http://schemas.microsoft.com/office/drawing/2014/main" id="{7C46187B-6A76-4531-9471-B76AB338E900}"/>
              </a:ext>
            </a:extLst>
          </p:cNvPr>
          <p:cNvSpPr txBox="1">
            <a:spLocks/>
          </p:cNvSpPr>
          <p:nvPr/>
        </p:nvSpPr>
        <p:spPr>
          <a:xfrm>
            <a:off x="746532" y="4600999"/>
            <a:ext cx="8129587" cy="937191"/>
          </a:xfrm>
          <a:prstGeom prst="rect">
            <a:avLst/>
          </a:prstGeom>
        </p:spPr>
        <p:txBody>
          <a:bodyPr vert="horz" lIns="0" tIns="0" rIns="0" bIns="0" rtlCol="0">
            <a:noAutofit/>
          </a:bodyPr>
          <a:lstStyle>
            <a:lvl1pPr indent="0" defTabSz="914400">
              <a:spcBef>
                <a:spcPct val="20000"/>
              </a:spcBef>
              <a:buClr>
                <a:schemeClr val="accent3"/>
              </a:buClr>
              <a:buSzPct val="25000"/>
              <a:buFont typeface="Arial" pitchFamily="34" charset="0"/>
              <a:buChar char=" "/>
              <a:defRPr sz="1600"/>
            </a:lvl1pPr>
            <a:lvl2pPr marL="333375" lvl="1" indent="-342900" defTabSz="914400">
              <a:spcBef>
                <a:spcPct val="20000"/>
              </a:spcBef>
              <a:buClr>
                <a:srgbClr val="002060"/>
              </a:buClr>
              <a:buFont typeface="Wingdings" pitchFamily="2" charset="2"/>
              <a:buChar char="n"/>
              <a:defRPr sz="1700"/>
            </a:lvl2pPr>
            <a:lvl3pPr marL="608012" lvl="2" indent="-342900" defTabSz="914400">
              <a:spcBef>
                <a:spcPct val="20000"/>
              </a:spcBef>
              <a:buClr>
                <a:srgbClr val="002060"/>
              </a:buClr>
              <a:buFont typeface="Arial" pitchFamily="34" charset="0"/>
              <a:buChar char="–"/>
              <a:defRPr sz="1400"/>
            </a:lvl3pPr>
            <a:lvl4pPr marL="539750" indent="-92075" defTabSz="914400">
              <a:spcBef>
                <a:spcPct val="20000"/>
              </a:spcBef>
              <a:buSzPct val="25000"/>
              <a:buFont typeface="Arial" pitchFamily="34" charset="0"/>
              <a:buChar char=" "/>
              <a:defRPr sz="1200"/>
            </a:lvl4pPr>
            <a:lvl5pPr marL="804863" indent="0" defTabSz="914400">
              <a:spcBef>
                <a:spcPct val="20000"/>
              </a:spcBef>
              <a:buSzPct val="25000"/>
              <a:buFont typeface="Arial" pitchFamily="34" charset="0"/>
              <a:buChar char=" "/>
              <a:defRPr sz="1100"/>
            </a:lvl5pPr>
            <a:lvl6pPr marL="2514600" indent="-228600" defTabSz="914400">
              <a:spcBef>
                <a:spcPct val="20000"/>
              </a:spcBef>
              <a:buFont typeface="Arial" pitchFamily="34" charset="0"/>
              <a:buChar char="•"/>
            </a:lvl6pPr>
            <a:lvl7pPr marL="2971800" indent="-228600" defTabSz="914400">
              <a:spcBef>
                <a:spcPct val="20000"/>
              </a:spcBef>
              <a:buFont typeface="Arial" pitchFamily="34" charset="0"/>
              <a:buChar char="•"/>
            </a:lvl7pPr>
            <a:lvl8pPr marL="3429000" indent="-228600" defTabSz="914400">
              <a:spcBef>
                <a:spcPct val="20000"/>
              </a:spcBef>
              <a:buFont typeface="Arial" pitchFamily="34" charset="0"/>
              <a:buChar char="•"/>
            </a:lvl8pPr>
            <a:lvl9pPr marL="3886200" indent="-228600" defTabSz="914400">
              <a:spcBef>
                <a:spcPct val="20000"/>
              </a:spcBef>
              <a:buFont typeface="Arial" pitchFamily="34" charset="0"/>
              <a:buChar char="•"/>
            </a:lvl9pPr>
          </a:lstStyle>
          <a:p>
            <a:pPr marL="223838" lvl="1" indent="-217488">
              <a:spcBef>
                <a:spcPts val="1000"/>
              </a:spcBef>
              <a:buClr>
                <a:schemeClr val="accent1"/>
              </a:buClr>
              <a:buSzPct val="130000"/>
              <a:buFont typeface="CambriaMath" charset="0"/>
              <a:buChar char="⎯"/>
            </a:pPr>
            <a:r>
              <a:rPr lang="en-US" sz="1600" dirty="0">
                <a:solidFill>
                  <a:schemeClr val="tx2"/>
                </a:solidFill>
              </a:rPr>
              <a:t>A high valuation vs. 5 years history may be an indication of a high risk due to Valuation pressure on the </a:t>
            </a:r>
            <a:r>
              <a:rPr lang="en-US" sz="1600" dirty="0" smtClean="0">
                <a:solidFill>
                  <a:schemeClr val="tx2"/>
                </a:solidFill>
              </a:rPr>
              <a:t>factor</a:t>
            </a:r>
            <a:endParaRPr lang="en-US" sz="1600" dirty="0">
              <a:solidFill>
                <a:schemeClr val="tx2"/>
              </a:solidFill>
            </a:endParaRPr>
          </a:p>
          <a:p>
            <a:pPr marL="223838" lvl="1" indent="-217488">
              <a:spcBef>
                <a:spcPts val="1000"/>
              </a:spcBef>
              <a:buClr>
                <a:schemeClr val="accent1"/>
              </a:buClr>
              <a:buSzPct val="130000"/>
              <a:buFont typeface="CambriaMath" charset="0"/>
              <a:buChar char="⎯"/>
            </a:pPr>
            <a:r>
              <a:rPr lang="en-US" sz="1600" dirty="0">
                <a:solidFill>
                  <a:schemeClr val="tx2"/>
                </a:solidFill>
              </a:rPr>
              <a:t>Our tactical allocation decreases the allocation to these factors based on its over-valuation</a:t>
            </a:r>
          </a:p>
        </p:txBody>
      </p:sp>
      <p:sp>
        <p:nvSpPr>
          <p:cNvPr id="12" name="Espace réservé du numéro de diapositive 4">
            <a:extLst>
              <a:ext uri="{FF2B5EF4-FFF2-40B4-BE49-F238E27FC236}">
                <a16:creationId xmlns="" xmlns:a16="http://schemas.microsoft.com/office/drawing/2014/main" id="{51C89A78-015F-479A-A2CB-BDF43E8D1B6D}"/>
              </a:ext>
            </a:extLst>
          </p:cNvPr>
          <p:cNvSpPr>
            <a:spLocks noGrp="1"/>
          </p:cNvSpPr>
          <p:nvPr>
            <p:ph type="sldNum" sz="quarter" idx="12"/>
          </p:nvPr>
        </p:nvSpPr>
        <p:spPr>
          <a:xfrm>
            <a:off x="540000" y="6480000"/>
            <a:ext cx="180000" cy="180000"/>
          </a:xfrm>
        </p:spPr>
        <p:txBody>
          <a:bodyPr/>
          <a:lstStyle/>
          <a:p>
            <a:fld id="{2B1C6FFC-D040-034F-8B69-20295064E64D}" type="slidenum">
              <a:rPr lang="fr-FR" smtClean="0"/>
              <a:t>46</a:t>
            </a:fld>
            <a:endParaRPr lang="fr-FR" dirty="0"/>
          </a:p>
        </p:txBody>
      </p:sp>
      <p:sp>
        <p:nvSpPr>
          <p:cNvPr id="16"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13" name="Rectangle 12"/>
          <p:cNvSpPr/>
          <p:nvPr/>
        </p:nvSpPr>
        <p:spPr>
          <a:xfrm>
            <a:off x="5153025" y="131880"/>
            <a:ext cx="3455583" cy="3839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schemeClr val="tx1"/>
                </a:solidFill>
              </a:rPr>
              <a:t>Dynamic</a:t>
            </a:r>
            <a:r>
              <a:rPr lang="fr-FR" dirty="0" smtClean="0">
                <a:solidFill>
                  <a:schemeClr val="tx1"/>
                </a:solidFill>
              </a:rPr>
              <a:t> Factor Allocation</a:t>
            </a:r>
            <a:endParaRPr lang="fr-FR" dirty="0">
              <a:solidFill>
                <a:schemeClr val="tx1"/>
              </a:solidFill>
            </a:endParaRPr>
          </a:p>
        </p:txBody>
      </p:sp>
      <p:cxnSp>
        <p:nvCxnSpPr>
          <p:cNvPr id="14" name="Straight Arrow Connector 13"/>
          <p:cNvCxnSpPr/>
          <p:nvPr/>
        </p:nvCxnSpPr>
        <p:spPr>
          <a:xfrm flipV="1">
            <a:off x="5507597" y="3402506"/>
            <a:ext cx="341470" cy="207390"/>
          </a:xfrm>
          <a:prstGeom prst="straightConnector1">
            <a:avLst/>
          </a:prstGeom>
          <a:ln w="3810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507597" y="3658882"/>
            <a:ext cx="341470" cy="207390"/>
          </a:xfrm>
          <a:prstGeom prst="straightConnector1">
            <a:avLst/>
          </a:prstGeom>
          <a:ln w="38100">
            <a:solidFill>
              <a:schemeClr val="bg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028303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4528E5FC-B268-43FA-AC4F-96A4860AE278}"/>
              </a:ext>
            </a:extLst>
          </p:cNvPr>
          <p:cNvSpPr>
            <a:spLocks noGrp="1"/>
          </p:cNvSpPr>
          <p:nvPr>
            <p:ph type="title"/>
          </p:nvPr>
        </p:nvSpPr>
        <p:spPr/>
        <p:txBody>
          <a:bodyPr/>
          <a:lstStyle/>
          <a:p>
            <a:r>
              <a:rPr lang="en-US" dirty="0"/>
              <a:t>Tactical allocation: adjust for valuation pressure</a:t>
            </a:r>
            <a:endParaRPr lang="fr-FR" dirty="0"/>
          </a:p>
        </p:txBody>
      </p:sp>
      <p:sp>
        <p:nvSpPr>
          <p:cNvPr id="9" name="Parenthèses 16">
            <a:extLst>
              <a:ext uri="{FF2B5EF4-FFF2-40B4-BE49-F238E27FC236}">
                <a16:creationId xmlns="" xmlns:a16="http://schemas.microsoft.com/office/drawing/2014/main" id="{EFD44E3F-BEB5-499B-B235-9B3405690B1B}"/>
              </a:ext>
            </a:extLst>
          </p:cNvPr>
          <p:cNvSpPr>
            <a:spLocks noChangeArrowheads="1"/>
          </p:cNvSpPr>
          <p:nvPr/>
        </p:nvSpPr>
        <p:spPr bwMode="auto">
          <a:xfrm>
            <a:off x="735147" y="1629677"/>
            <a:ext cx="1050945" cy="512450"/>
          </a:xfrm>
          <a:prstGeom prst="rect">
            <a:avLst/>
          </a:prstGeom>
          <a:solidFill>
            <a:schemeClr val="tx1"/>
          </a:solidFill>
          <a:ln w="2857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00734" tIns="51173" rIns="20146" bIns="51173"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algn="ctr"/>
            <a:r>
              <a:rPr lang="en-GB" altLang="en-US" sz="1200" b="1" dirty="0">
                <a:solidFill>
                  <a:srgbClr val="FFFFFF"/>
                </a:solidFill>
                <a:ea typeface="MS PGothic" pitchFamily="34" charset="-128"/>
                <a:cs typeface="Arial" pitchFamily="34" charset="0"/>
              </a:rPr>
              <a:t>Strategic allocation</a:t>
            </a:r>
          </a:p>
        </p:txBody>
      </p:sp>
      <p:sp>
        <p:nvSpPr>
          <p:cNvPr id="11" name="Parenthèses 16">
            <a:extLst>
              <a:ext uri="{FF2B5EF4-FFF2-40B4-BE49-F238E27FC236}">
                <a16:creationId xmlns="" xmlns:a16="http://schemas.microsoft.com/office/drawing/2014/main" id="{AE572A3C-1082-4C7E-A941-7F63E7A1E792}"/>
              </a:ext>
            </a:extLst>
          </p:cNvPr>
          <p:cNvSpPr>
            <a:spLocks noChangeArrowheads="1"/>
          </p:cNvSpPr>
          <p:nvPr/>
        </p:nvSpPr>
        <p:spPr bwMode="auto">
          <a:xfrm>
            <a:off x="6720370" y="1623046"/>
            <a:ext cx="1347306" cy="508892"/>
          </a:xfrm>
          <a:prstGeom prst="rect">
            <a:avLst/>
          </a:prstGeom>
          <a:solidFill>
            <a:schemeClr val="tx1"/>
          </a:solidFill>
          <a:ln w="2857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00734" tIns="51173" rIns="20146" bIns="51173"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algn="ctr"/>
            <a:r>
              <a:rPr lang="en-GB" altLang="en-US" sz="1200" b="1" dirty="0">
                <a:solidFill>
                  <a:srgbClr val="FFFFFF"/>
                </a:solidFill>
                <a:ea typeface="MS PGothic" pitchFamily="34" charset="-128"/>
                <a:cs typeface="Arial" pitchFamily="34" charset="0"/>
              </a:rPr>
              <a:t>Execution</a:t>
            </a:r>
          </a:p>
        </p:txBody>
      </p:sp>
      <p:sp>
        <p:nvSpPr>
          <p:cNvPr id="17" name="Parenthèses 16">
            <a:extLst>
              <a:ext uri="{FF2B5EF4-FFF2-40B4-BE49-F238E27FC236}">
                <a16:creationId xmlns="" xmlns:a16="http://schemas.microsoft.com/office/drawing/2014/main" id="{5646BCB5-882D-4B6B-8774-1464EDB6779A}"/>
              </a:ext>
            </a:extLst>
          </p:cNvPr>
          <p:cNvSpPr>
            <a:spLocks noChangeArrowheads="1"/>
          </p:cNvSpPr>
          <p:nvPr/>
        </p:nvSpPr>
        <p:spPr bwMode="auto">
          <a:xfrm>
            <a:off x="3991282" y="1624050"/>
            <a:ext cx="1050945" cy="512451"/>
          </a:xfrm>
          <a:prstGeom prst="rect">
            <a:avLst/>
          </a:prstGeom>
          <a:solidFill>
            <a:schemeClr val="tx1"/>
          </a:solidFill>
          <a:ln w="2857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51173" rIns="0" bIns="51173" anchor="ctr"/>
          <a:lstStyle>
            <a:lvl1pPr defTabSz="1022350">
              <a:defRPr sz="800">
                <a:solidFill>
                  <a:schemeClr val="tx1"/>
                </a:solidFill>
                <a:latin typeface="Arial" pitchFamily="34" charset="0"/>
              </a:defRPr>
            </a:lvl1pPr>
            <a:lvl2pPr marL="742950" indent="-285750" defTabSz="1022350">
              <a:defRPr sz="800">
                <a:solidFill>
                  <a:schemeClr val="tx1"/>
                </a:solidFill>
                <a:latin typeface="Arial" pitchFamily="34" charset="0"/>
              </a:defRPr>
            </a:lvl2pPr>
            <a:lvl3pPr marL="1143000" indent="-228600" defTabSz="1022350">
              <a:defRPr sz="800">
                <a:solidFill>
                  <a:schemeClr val="tx1"/>
                </a:solidFill>
                <a:latin typeface="Arial" pitchFamily="34" charset="0"/>
              </a:defRPr>
            </a:lvl3pPr>
            <a:lvl4pPr marL="1600200" indent="-228600" defTabSz="1022350">
              <a:defRPr sz="800">
                <a:solidFill>
                  <a:schemeClr val="tx1"/>
                </a:solidFill>
                <a:latin typeface="Arial" pitchFamily="34" charset="0"/>
              </a:defRPr>
            </a:lvl4pPr>
            <a:lvl5pPr marL="2057400" indent="-228600" defTabSz="1022350">
              <a:defRPr sz="800">
                <a:solidFill>
                  <a:schemeClr val="tx1"/>
                </a:solidFill>
                <a:latin typeface="Arial" pitchFamily="34" charset="0"/>
              </a:defRPr>
            </a:lvl5pPr>
            <a:lvl6pPr marL="2514600" indent="-228600" defTabSz="1022350" eaLnBrk="0" fontAlgn="base" hangingPunct="0">
              <a:lnSpc>
                <a:spcPct val="85000"/>
              </a:lnSpc>
              <a:spcBef>
                <a:spcPct val="0"/>
              </a:spcBef>
              <a:spcAft>
                <a:spcPct val="0"/>
              </a:spcAft>
              <a:defRPr sz="800">
                <a:solidFill>
                  <a:schemeClr val="tx1"/>
                </a:solidFill>
                <a:latin typeface="Arial" pitchFamily="34" charset="0"/>
              </a:defRPr>
            </a:lvl6pPr>
            <a:lvl7pPr marL="2971800" indent="-228600" defTabSz="1022350" eaLnBrk="0" fontAlgn="base" hangingPunct="0">
              <a:lnSpc>
                <a:spcPct val="85000"/>
              </a:lnSpc>
              <a:spcBef>
                <a:spcPct val="0"/>
              </a:spcBef>
              <a:spcAft>
                <a:spcPct val="0"/>
              </a:spcAft>
              <a:defRPr sz="800">
                <a:solidFill>
                  <a:schemeClr val="tx1"/>
                </a:solidFill>
                <a:latin typeface="Arial" pitchFamily="34" charset="0"/>
              </a:defRPr>
            </a:lvl7pPr>
            <a:lvl8pPr marL="3429000" indent="-228600" defTabSz="1022350" eaLnBrk="0" fontAlgn="base" hangingPunct="0">
              <a:lnSpc>
                <a:spcPct val="85000"/>
              </a:lnSpc>
              <a:spcBef>
                <a:spcPct val="0"/>
              </a:spcBef>
              <a:spcAft>
                <a:spcPct val="0"/>
              </a:spcAft>
              <a:defRPr sz="800">
                <a:solidFill>
                  <a:schemeClr val="tx1"/>
                </a:solidFill>
                <a:latin typeface="Arial" pitchFamily="34" charset="0"/>
              </a:defRPr>
            </a:lvl8pPr>
            <a:lvl9pPr marL="3886200" indent="-228600" defTabSz="1022350" eaLnBrk="0" fontAlgn="base" hangingPunct="0">
              <a:lnSpc>
                <a:spcPct val="85000"/>
              </a:lnSpc>
              <a:spcBef>
                <a:spcPct val="0"/>
              </a:spcBef>
              <a:spcAft>
                <a:spcPct val="0"/>
              </a:spcAft>
              <a:defRPr sz="800">
                <a:solidFill>
                  <a:schemeClr val="tx1"/>
                </a:solidFill>
                <a:latin typeface="Arial" pitchFamily="34" charset="0"/>
              </a:defRPr>
            </a:lvl9pPr>
          </a:lstStyle>
          <a:p>
            <a:pPr algn="ctr"/>
            <a:r>
              <a:rPr lang="en-GB" altLang="en-US" sz="1200" b="1" dirty="0">
                <a:solidFill>
                  <a:srgbClr val="FFFFFF"/>
                </a:solidFill>
                <a:ea typeface="MS PGothic" pitchFamily="34" charset="-128"/>
                <a:cs typeface="Arial" pitchFamily="34" charset="0"/>
              </a:rPr>
              <a:t>Tactical allocation</a:t>
            </a:r>
          </a:p>
        </p:txBody>
      </p:sp>
      <p:sp>
        <p:nvSpPr>
          <p:cNvPr id="32" name="TextBox 15">
            <a:extLst>
              <a:ext uri="{FF2B5EF4-FFF2-40B4-BE49-F238E27FC236}">
                <a16:creationId xmlns="" xmlns:a16="http://schemas.microsoft.com/office/drawing/2014/main" id="{2128E776-8DD9-4393-AD62-7FB91E6C1077}"/>
              </a:ext>
            </a:extLst>
          </p:cNvPr>
          <p:cNvSpPr txBox="1"/>
          <p:nvPr/>
        </p:nvSpPr>
        <p:spPr>
          <a:xfrm>
            <a:off x="2001982" y="4714272"/>
            <a:ext cx="1668097" cy="1015663"/>
          </a:xfrm>
          <a:prstGeom prst="rect">
            <a:avLst/>
          </a:prstGeom>
          <a:noFill/>
          <a:ln>
            <a:noFill/>
          </a:ln>
        </p:spPr>
        <p:txBody>
          <a:bodyPr wrap="square" rtlCol="0">
            <a:spAutoFit/>
          </a:bodyPr>
          <a:lstStyle>
            <a:defPPr>
              <a:defRPr lang="fr-FR"/>
            </a:defPPr>
            <a:lvl1pPr algn="ctr">
              <a:defRPr sz="1200"/>
            </a:lvl1pPr>
          </a:lstStyle>
          <a:p>
            <a:r>
              <a:rPr lang="en-US" dirty="0"/>
              <a:t>Adjustment based on </a:t>
            </a:r>
            <a:r>
              <a:rPr lang="en-US" u="sng" dirty="0"/>
              <a:t>valuation trends </a:t>
            </a:r>
            <a:r>
              <a:rPr lang="en-US" dirty="0"/>
              <a:t/>
            </a:r>
            <a:br>
              <a:rPr lang="en-US" dirty="0"/>
            </a:br>
            <a:r>
              <a:rPr lang="en-US" dirty="0"/>
              <a:t>of factors</a:t>
            </a:r>
          </a:p>
          <a:p>
            <a:r>
              <a:rPr lang="en-US" dirty="0"/>
              <a:t>Tracking Error budget vs. Strategic portfolio</a:t>
            </a:r>
          </a:p>
        </p:txBody>
      </p:sp>
      <p:sp>
        <p:nvSpPr>
          <p:cNvPr id="36" name="Rectangle 85">
            <a:extLst>
              <a:ext uri="{FF2B5EF4-FFF2-40B4-BE49-F238E27FC236}">
                <a16:creationId xmlns="" xmlns:a16="http://schemas.microsoft.com/office/drawing/2014/main" id="{927F127C-94E1-4204-9CC3-88AFC0261AD6}"/>
              </a:ext>
            </a:extLst>
          </p:cNvPr>
          <p:cNvSpPr>
            <a:spLocks noChangeArrowheads="1"/>
          </p:cNvSpPr>
          <p:nvPr/>
        </p:nvSpPr>
        <p:spPr bwMode="auto">
          <a:xfrm>
            <a:off x="3985441" y="2189349"/>
            <a:ext cx="1050944" cy="855094"/>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latin typeface="Arial" charset="0"/>
              </a:rPr>
              <a:t>Factor 1</a:t>
            </a:r>
          </a:p>
        </p:txBody>
      </p:sp>
      <p:sp>
        <p:nvSpPr>
          <p:cNvPr id="37" name="Rectangle 85">
            <a:extLst>
              <a:ext uri="{FF2B5EF4-FFF2-40B4-BE49-F238E27FC236}">
                <a16:creationId xmlns="" xmlns:a16="http://schemas.microsoft.com/office/drawing/2014/main" id="{1B2C5E52-B24F-4510-8DA5-0AB0065779FD}"/>
              </a:ext>
            </a:extLst>
          </p:cNvPr>
          <p:cNvSpPr>
            <a:spLocks noChangeArrowheads="1"/>
          </p:cNvSpPr>
          <p:nvPr/>
        </p:nvSpPr>
        <p:spPr bwMode="auto">
          <a:xfrm>
            <a:off x="3985441" y="3044443"/>
            <a:ext cx="1050944" cy="777476"/>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latin typeface="Arial" charset="0"/>
              </a:rPr>
              <a:t>Factor 2</a:t>
            </a:r>
          </a:p>
        </p:txBody>
      </p:sp>
      <p:sp>
        <p:nvSpPr>
          <p:cNvPr id="38" name="Rectangle 85">
            <a:extLst>
              <a:ext uri="{FF2B5EF4-FFF2-40B4-BE49-F238E27FC236}">
                <a16:creationId xmlns="" xmlns:a16="http://schemas.microsoft.com/office/drawing/2014/main" id="{7CBD4C9F-253D-438A-8BF4-4F2F9D1A990A}"/>
              </a:ext>
            </a:extLst>
          </p:cNvPr>
          <p:cNvSpPr>
            <a:spLocks noChangeArrowheads="1"/>
          </p:cNvSpPr>
          <p:nvPr/>
        </p:nvSpPr>
        <p:spPr bwMode="auto">
          <a:xfrm>
            <a:off x="3985441" y="3821919"/>
            <a:ext cx="1050944" cy="501364"/>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latin typeface="Arial" charset="0"/>
              </a:rPr>
              <a:t>Factor 3</a:t>
            </a:r>
          </a:p>
        </p:txBody>
      </p:sp>
      <p:sp>
        <p:nvSpPr>
          <p:cNvPr id="39" name="Rectangle 85">
            <a:extLst>
              <a:ext uri="{FF2B5EF4-FFF2-40B4-BE49-F238E27FC236}">
                <a16:creationId xmlns="" xmlns:a16="http://schemas.microsoft.com/office/drawing/2014/main" id="{72C88C31-33C2-42A5-9D62-2FDF9AE8523A}"/>
              </a:ext>
            </a:extLst>
          </p:cNvPr>
          <p:cNvSpPr>
            <a:spLocks noChangeArrowheads="1"/>
          </p:cNvSpPr>
          <p:nvPr/>
        </p:nvSpPr>
        <p:spPr bwMode="auto">
          <a:xfrm>
            <a:off x="3985441" y="4323283"/>
            <a:ext cx="1050944" cy="662383"/>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latin typeface="Arial" charset="0"/>
              </a:rPr>
              <a:t>Factor 4</a:t>
            </a:r>
          </a:p>
        </p:txBody>
      </p:sp>
      <p:cxnSp>
        <p:nvCxnSpPr>
          <p:cNvPr id="41" name="Connecteur droit avec flèche 3">
            <a:extLst>
              <a:ext uri="{FF2B5EF4-FFF2-40B4-BE49-F238E27FC236}">
                <a16:creationId xmlns="" xmlns:a16="http://schemas.microsoft.com/office/drawing/2014/main" id="{2B8D4FC3-AD61-49C8-9354-7A711CD10653}"/>
              </a:ext>
            </a:extLst>
          </p:cNvPr>
          <p:cNvCxnSpPr/>
          <p:nvPr/>
        </p:nvCxnSpPr>
        <p:spPr>
          <a:xfrm>
            <a:off x="1839888" y="4193557"/>
            <a:ext cx="2088403" cy="129726"/>
          </a:xfrm>
          <a:prstGeom prst="straightConnector1">
            <a:avLst/>
          </a:prstGeom>
          <a:noFill/>
          <a:ln w="22225" cap="rnd" cmpd="sng" algn="ctr">
            <a:solidFill>
              <a:schemeClr val="accent1"/>
            </a:solidFill>
            <a:prstDash val="solid"/>
            <a:headEnd type="oval" w="med" len="med"/>
            <a:tailEnd type="oval" w="med" len="med"/>
          </a:ln>
          <a:effectLst/>
        </p:spPr>
      </p:cxnSp>
      <p:sp>
        <p:nvSpPr>
          <p:cNvPr id="42" name="Rectangle 85">
            <a:extLst>
              <a:ext uri="{FF2B5EF4-FFF2-40B4-BE49-F238E27FC236}">
                <a16:creationId xmlns="" xmlns:a16="http://schemas.microsoft.com/office/drawing/2014/main" id="{A6D49048-B1C9-48E9-874D-A4E5A7BF6042}"/>
              </a:ext>
            </a:extLst>
          </p:cNvPr>
          <p:cNvSpPr>
            <a:spLocks noChangeArrowheads="1"/>
          </p:cNvSpPr>
          <p:nvPr/>
        </p:nvSpPr>
        <p:spPr bwMode="auto">
          <a:xfrm>
            <a:off x="6720370" y="2958343"/>
            <a:ext cx="1347306" cy="1752086"/>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fr-FR" altLang="fr-FR" sz="1200" b="1" dirty="0">
                <a:solidFill>
                  <a:schemeClr val="bg1"/>
                </a:solidFill>
                <a:latin typeface="Arial" charset="0"/>
              </a:rPr>
              <a:t>Final </a:t>
            </a:r>
            <a:br>
              <a:rPr lang="fr-FR" altLang="fr-FR" sz="1200" b="1" dirty="0">
                <a:solidFill>
                  <a:schemeClr val="bg1"/>
                </a:solidFill>
                <a:latin typeface="Arial" charset="0"/>
              </a:rPr>
            </a:br>
            <a:r>
              <a:rPr lang="fr-FR" altLang="fr-FR" sz="1200" b="1" dirty="0">
                <a:solidFill>
                  <a:schemeClr val="bg1"/>
                </a:solidFill>
                <a:latin typeface="Arial" charset="0"/>
              </a:rPr>
              <a:t>portfolio</a:t>
            </a:r>
          </a:p>
          <a:p>
            <a:pPr algn="ctr" defTabSz="966788">
              <a:spcBef>
                <a:spcPts val="1800"/>
              </a:spcBef>
            </a:pPr>
            <a:r>
              <a:rPr lang="fr-FR" altLang="fr-FR" sz="1200" b="1" dirty="0">
                <a:solidFill>
                  <a:schemeClr val="bg1"/>
                </a:solidFill>
                <a:latin typeface="Arial" charset="0"/>
              </a:rPr>
              <a:t>(</a:t>
            </a:r>
            <a:r>
              <a:rPr lang="fr-FR" altLang="fr-FR" sz="1200" b="1" dirty="0" err="1">
                <a:solidFill>
                  <a:schemeClr val="bg1"/>
                </a:solidFill>
                <a:latin typeface="Arial" charset="0"/>
              </a:rPr>
              <a:t>around</a:t>
            </a:r>
            <a:r>
              <a:rPr lang="fr-FR" altLang="fr-FR" sz="1200" b="1" dirty="0">
                <a:solidFill>
                  <a:schemeClr val="bg1"/>
                </a:solidFill>
                <a:latin typeface="Arial" charset="0"/>
              </a:rPr>
              <a:t> </a:t>
            </a:r>
            <a:r>
              <a:rPr lang="fr-FR" altLang="fr-FR" sz="1200" b="1" dirty="0" smtClean="0">
                <a:solidFill>
                  <a:schemeClr val="bg1"/>
                </a:solidFill>
                <a:latin typeface="Arial" charset="0"/>
              </a:rPr>
              <a:t>400 </a:t>
            </a:r>
            <a:r>
              <a:rPr lang="fr-FR" altLang="fr-FR" sz="1200" b="1" dirty="0">
                <a:solidFill>
                  <a:schemeClr val="bg1"/>
                </a:solidFill>
                <a:latin typeface="Arial" charset="0"/>
              </a:rPr>
              <a:t>stocks)</a:t>
            </a:r>
          </a:p>
          <a:p>
            <a:pPr algn="ctr" defTabSz="966788">
              <a:spcBef>
                <a:spcPct val="0"/>
              </a:spcBef>
            </a:pPr>
            <a:endParaRPr lang="fr-FR" altLang="fr-FR" sz="1200" b="1" dirty="0">
              <a:solidFill>
                <a:schemeClr val="bg1"/>
              </a:solidFill>
              <a:latin typeface="Arial" charset="0"/>
            </a:endParaRPr>
          </a:p>
        </p:txBody>
      </p:sp>
      <p:sp>
        <p:nvSpPr>
          <p:cNvPr id="43" name="TextBox 15">
            <a:extLst>
              <a:ext uri="{FF2B5EF4-FFF2-40B4-BE49-F238E27FC236}">
                <a16:creationId xmlns="" xmlns:a16="http://schemas.microsoft.com/office/drawing/2014/main" id="{3F0446C1-3BE0-474F-BE4A-0AA971C84F1A}"/>
              </a:ext>
            </a:extLst>
          </p:cNvPr>
          <p:cNvSpPr txBox="1"/>
          <p:nvPr/>
        </p:nvSpPr>
        <p:spPr>
          <a:xfrm>
            <a:off x="5043471" y="4157073"/>
            <a:ext cx="1676899" cy="1754326"/>
          </a:xfrm>
          <a:prstGeom prst="rect">
            <a:avLst/>
          </a:prstGeom>
          <a:noFill/>
          <a:ln>
            <a:noFill/>
          </a:ln>
        </p:spPr>
        <p:txBody>
          <a:bodyPr wrap="square" rtlCol="0">
            <a:spAutoFit/>
          </a:bodyPr>
          <a:lstStyle>
            <a:defPPr>
              <a:defRPr lang="fr-FR"/>
            </a:defPPr>
            <a:lvl1pPr algn="ctr">
              <a:defRPr sz="1200"/>
            </a:lvl1pPr>
          </a:lstStyle>
          <a:p>
            <a:r>
              <a:rPr lang="en-US" dirty="0"/>
              <a:t>Best execution</a:t>
            </a:r>
          </a:p>
          <a:p>
            <a:r>
              <a:rPr lang="en-US" dirty="0"/>
              <a:t>Turnover management</a:t>
            </a:r>
          </a:p>
          <a:p>
            <a:endParaRPr lang="en-US" dirty="0"/>
          </a:p>
          <a:p>
            <a:r>
              <a:rPr lang="en-US" u="sng" dirty="0"/>
              <a:t>Portfolio guidelines</a:t>
            </a:r>
          </a:p>
          <a:p>
            <a:r>
              <a:rPr lang="en-US" dirty="0"/>
              <a:t>Max per position</a:t>
            </a:r>
          </a:p>
          <a:p>
            <a:r>
              <a:rPr lang="en-US" dirty="0"/>
              <a:t>Min per position</a:t>
            </a:r>
          </a:p>
          <a:p>
            <a:r>
              <a:rPr lang="en-US" dirty="0"/>
              <a:t>Max per sector</a:t>
            </a:r>
          </a:p>
          <a:p>
            <a:r>
              <a:rPr lang="en-US" dirty="0"/>
              <a:t>Max per country</a:t>
            </a:r>
          </a:p>
        </p:txBody>
      </p:sp>
      <p:sp>
        <p:nvSpPr>
          <p:cNvPr id="44" name="Rectangle 85">
            <a:extLst>
              <a:ext uri="{FF2B5EF4-FFF2-40B4-BE49-F238E27FC236}">
                <a16:creationId xmlns="" xmlns:a16="http://schemas.microsoft.com/office/drawing/2014/main" id="{E9669863-59AB-4FDD-8389-2B1C9F0C3017}"/>
              </a:ext>
            </a:extLst>
          </p:cNvPr>
          <p:cNvSpPr>
            <a:spLocks noChangeArrowheads="1"/>
          </p:cNvSpPr>
          <p:nvPr/>
        </p:nvSpPr>
        <p:spPr bwMode="auto">
          <a:xfrm>
            <a:off x="741318" y="2189349"/>
            <a:ext cx="1050944" cy="623465"/>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latin typeface="Arial" charset="0"/>
              </a:rPr>
              <a:t>Factor 1</a:t>
            </a:r>
          </a:p>
        </p:txBody>
      </p:sp>
      <p:sp>
        <p:nvSpPr>
          <p:cNvPr id="45" name="Rectangle 85">
            <a:extLst>
              <a:ext uri="{FF2B5EF4-FFF2-40B4-BE49-F238E27FC236}">
                <a16:creationId xmlns="" xmlns:a16="http://schemas.microsoft.com/office/drawing/2014/main" id="{E424321F-1010-4AE8-AD8C-95AEECE3E8F7}"/>
              </a:ext>
            </a:extLst>
          </p:cNvPr>
          <p:cNvSpPr>
            <a:spLocks noChangeArrowheads="1"/>
          </p:cNvSpPr>
          <p:nvPr/>
        </p:nvSpPr>
        <p:spPr bwMode="auto">
          <a:xfrm>
            <a:off x="741318" y="2812814"/>
            <a:ext cx="1050944" cy="867973"/>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latin typeface="Arial" charset="0"/>
              </a:rPr>
              <a:t>Factor 2</a:t>
            </a:r>
          </a:p>
        </p:txBody>
      </p:sp>
      <p:sp>
        <p:nvSpPr>
          <p:cNvPr id="46" name="Rectangle 85">
            <a:extLst>
              <a:ext uri="{FF2B5EF4-FFF2-40B4-BE49-F238E27FC236}">
                <a16:creationId xmlns="" xmlns:a16="http://schemas.microsoft.com/office/drawing/2014/main" id="{8AAA93BE-8FC4-4BB3-972A-E2D0A49B650D}"/>
              </a:ext>
            </a:extLst>
          </p:cNvPr>
          <p:cNvSpPr>
            <a:spLocks noChangeArrowheads="1"/>
          </p:cNvSpPr>
          <p:nvPr/>
        </p:nvSpPr>
        <p:spPr bwMode="auto">
          <a:xfrm>
            <a:off x="741318" y="3692193"/>
            <a:ext cx="1050944" cy="479209"/>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latin typeface="Arial" charset="0"/>
              </a:rPr>
              <a:t>Factor 3</a:t>
            </a:r>
          </a:p>
        </p:txBody>
      </p:sp>
      <p:sp>
        <p:nvSpPr>
          <p:cNvPr id="47" name="Rectangle 85">
            <a:extLst>
              <a:ext uri="{FF2B5EF4-FFF2-40B4-BE49-F238E27FC236}">
                <a16:creationId xmlns="" xmlns:a16="http://schemas.microsoft.com/office/drawing/2014/main" id="{6FFA60CB-7257-49F7-BED9-8C7CDDF4A66E}"/>
              </a:ext>
            </a:extLst>
          </p:cNvPr>
          <p:cNvSpPr>
            <a:spLocks noChangeArrowheads="1"/>
          </p:cNvSpPr>
          <p:nvPr/>
        </p:nvSpPr>
        <p:spPr bwMode="auto">
          <a:xfrm>
            <a:off x="741318" y="4171403"/>
            <a:ext cx="1050944" cy="996260"/>
          </a:xfrm>
          <a:prstGeom prst="rect">
            <a:avLst/>
          </a:prstGeom>
          <a:solidFill>
            <a:schemeClr val="accent1"/>
          </a:solidFill>
          <a:ln w="19050" algn="ctr">
            <a:solidFill>
              <a:schemeClr val="bg1"/>
            </a:solidFill>
            <a:miter lim="800000"/>
            <a:headEnd/>
            <a:tailEnd/>
          </a:ln>
          <a:effectLst/>
          <a:extLst/>
        </p:spPr>
        <p:txBody>
          <a:bodyPr lIns="96744" tIns="48372" rIns="96744" bIns="48372" anchor="ctr"/>
          <a:lstStyle/>
          <a:p>
            <a:pPr algn="ctr" defTabSz="966788">
              <a:spcBef>
                <a:spcPct val="0"/>
              </a:spcBef>
            </a:pPr>
            <a:r>
              <a:rPr lang="en-US" altLang="fr-FR" sz="1200" b="1" dirty="0">
                <a:solidFill>
                  <a:schemeClr val="bg1"/>
                </a:solidFill>
                <a:latin typeface="Arial" charset="0"/>
              </a:rPr>
              <a:t>Factor 4</a:t>
            </a:r>
          </a:p>
        </p:txBody>
      </p:sp>
      <p:cxnSp>
        <p:nvCxnSpPr>
          <p:cNvPr id="50" name="Connecteur droit avec flèche 49">
            <a:extLst>
              <a:ext uri="{FF2B5EF4-FFF2-40B4-BE49-F238E27FC236}">
                <a16:creationId xmlns="" xmlns:a16="http://schemas.microsoft.com/office/drawing/2014/main" id="{71EAD65F-0B6A-424F-85FD-5C70D5A023C4}"/>
              </a:ext>
            </a:extLst>
          </p:cNvPr>
          <p:cNvCxnSpPr>
            <a:cxnSpLocks/>
          </p:cNvCxnSpPr>
          <p:nvPr/>
        </p:nvCxnSpPr>
        <p:spPr>
          <a:xfrm>
            <a:off x="5314503" y="3747839"/>
            <a:ext cx="113483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Espace réservé du numéro de diapositive 4">
            <a:extLst>
              <a:ext uri="{FF2B5EF4-FFF2-40B4-BE49-F238E27FC236}">
                <a16:creationId xmlns="" xmlns:a16="http://schemas.microsoft.com/office/drawing/2014/main" id="{51C89A78-015F-479A-A2CB-BDF43E8D1B6D}"/>
              </a:ext>
            </a:extLst>
          </p:cNvPr>
          <p:cNvSpPr>
            <a:spLocks noGrp="1"/>
          </p:cNvSpPr>
          <p:nvPr>
            <p:ph type="sldNum" sz="quarter" idx="12"/>
          </p:nvPr>
        </p:nvSpPr>
        <p:spPr>
          <a:xfrm>
            <a:off x="540000" y="6480000"/>
            <a:ext cx="180000" cy="180000"/>
          </a:xfrm>
        </p:spPr>
        <p:txBody>
          <a:bodyPr/>
          <a:lstStyle/>
          <a:p>
            <a:fld id="{2B1C6FFC-D040-034F-8B69-20295064E64D}" type="slidenum">
              <a:rPr lang="fr-FR" smtClean="0"/>
              <a:t>47</a:t>
            </a:fld>
            <a:endParaRPr lang="fr-FR" dirty="0"/>
          </a:p>
        </p:txBody>
      </p:sp>
      <p:sp>
        <p:nvSpPr>
          <p:cNvPr id="24"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21" name="Rectangle 20"/>
          <p:cNvSpPr/>
          <p:nvPr/>
        </p:nvSpPr>
        <p:spPr>
          <a:xfrm>
            <a:off x="5153025" y="131880"/>
            <a:ext cx="3455583" cy="3839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smtClean="0">
                <a:solidFill>
                  <a:schemeClr val="tx1"/>
                </a:solidFill>
              </a:rPr>
              <a:t>Dynamic</a:t>
            </a:r>
            <a:r>
              <a:rPr lang="fr-FR" dirty="0" smtClean="0">
                <a:solidFill>
                  <a:schemeClr val="tx1"/>
                </a:solidFill>
              </a:rPr>
              <a:t> Factor Allocation</a:t>
            </a:r>
            <a:endParaRPr lang="fr-FR" dirty="0">
              <a:solidFill>
                <a:schemeClr val="tx1"/>
              </a:solidFill>
            </a:endParaRPr>
          </a:p>
        </p:txBody>
      </p:sp>
    </p:spTree>
    <p:extLst>
      <p:ext uri="{BB962C8B-B14F-4D97-AF65-F5344CB8AC3E}">
        <p14:creationId xmlns:p14="http://schemas.microsoft.com/office/powerpoint/2010/main" val="1273862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022465" y="5284518"/>
            <a:ext cx="7231811" cy="732795"/>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b="1" dirty="0">
                <a:solidFill>
                  <a:srgbClr val="003C64"/>
                </a:solidFill>
              </a:rPr>
              <a:t>A quantitative, yet reactive &amp; </a:t>
            </a:r>
            <a:r>
              <a:rPr lang="en-US" sz="1400" b="1" dirty="0" smtClean="0">
                <a:solidFill>
                  <a:srgbClr val="003C64"/>
                </a:solidFill>
              </a:rPr>
              <a:t>adaptive </a:t>
            </a:r>
            <a:r>
              <a:rPr lang="en-US" sz="1400" b="1" dirty="0">
                <a:solidFill>
                  <a:srgbClr val="003C64"/>
                </a:solidFill>
              </a:rPr>
              <a:t>approach drawing on a long track record &amp; first class proprietary management </a:t>
            </a:r>
            <a:r>
              <a:rPr lang="en-US" sz="1400" b="1" dirty="0" smtClean="0">
                <a:solidFill>
                  <a:srgbClr val="003C64"/>
                </a:solidFill>
              </a:rPr>
              <a:t>tool</a:t>
            </a:r>
            <a:endParaRPr lang="fr-FR" sz="1600" dirty="0"/>
          </a:p>
        </p:txBody>
      </p:sp>
      <p:sp>
        <p:nvSpPr>
          <p:cNvPr id="20" name="ZoneTexte 3"/>
          <p:cNvSpPr txBox="1"/>
          <p:nvPr/>
        </p:nvSpPr>
        <p:spPr>
          <a:xfrm>
            <a:off x="963090" y="2254296"/>
            <a:ext cx="3524596"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smtClean="0">
                <a:solidFill>
                  <a:schemeClr val="tx2"/>
                </a:solidFill>
              </a:rPr>
              <a:t>In </a:t>
            </a:r>
            <a:r>
              <a:rPr lang="en-US" sz="1200" b="1" kern="0" dirty="0" smtClean="0">
                <a:solidFill>
                  <a:schemeClr val="tx2"/>
                </a:solidFill>
              </a:rPr>
              <a:t>equities</a:t>
            </a:r>
            <a:r>
              <a:rPr lang="en-US" sz="1200" kern="0" dirty="0" smtClean="0">
                <a:solidFill>
                  <a:schemeClr val="tx2"/>
                </a:solidFill>
              </a:rPr>
              <a:t>, alpha can </a:t>
            </a:r>
            <a:r>
              <a:rPr lang="en-US" sz="1200" kern="0" dirty="0">
                <a:solidFill>
                  <a:schemeClr val="tx2"/>
                </a:solidFill>
              </a:rPr>
              <a:t>be explained by </a:t>
            </a:r>
            <a:r>
              <a:rPr lang="en-US" sz="1200" b="1" kern="0" dirty="0" smtClean="0">
                <a:solidFill>
                  <a:schemeClr val="tx2"/>
                </a:solidFill>
              </a:rPr>
              <a:t>factors</a:t>
            </a:r>
            <a:r>
              <a:rPr lang="en-US" sz="1200" kern="0" dirty="0" smtClean="0">
                <a:solidFill>
                  <a:schemeClr val="tx2"/>
                </a:solidFill>
              </a:rPr>
              <a:t> over </a:t>
            </a:r>
            <a:r>
              <a:rPr lang="en-US" sz="1200" kern="0" dirty="0">
                <a:solidFill>
                  <a:schemeClr val="tx2"/>
                </a:solidFill>
              </a:rPr>
              <a:t>the long </a:t>
            </a:r>
            <a:r>
              <a:rPr lang="en-US" sz="1200" kern="0" dirty="0" smtClean="0">
                <a:solidFill>
                  <a:schemeClr val="tx2"/>
                </a:solidFill>
              </a:rPr>
              <a:t>term</a:t>
            </a:r>
            <a:endParaRPr lang="en-US" sz="1200" kern="0" dirty="0">
              <a:solidFill>
                <a:schemeClr val="tx2"/>
              </a:solidFill>
            </a:endParaRPr>
          </a:p>
        </p:txBody>
      </p:sp>
      <p:sp>
        <p:nvSpPr>
          <p:cNvPr id="21" name="ZoneTexte 4"/>
          <p:cNvSpPr txBox="1"/>
          <p:nvPr/>
        </p:nvSpPr>
        <p:spPr>
          <a:xfrm>
            <a:off x="963090" y="3035297"/>
            <a:ext cx="3288299" cy="276999"/>
          </a:xfrm>
          <a:prstGeom prst="rect">
            <a:avLst/>
          </a:prstGeom>
          <a:noFill/>
        </p:spPr>
        <p:txBody>
          <a:bodyPr wrap="square" rtlCol="0">
            <a:spAutoFit/>
          </a:bodyPr>
          <a:lstStyle>
            <a:defPPr>
              <a:defRPr lang="fr-FR"/>
            </a:defPPr>
            <a:lvl1pPr marR="0" lvl="0" indent="0" defTabSz="914400" fontAlgn="auto">
              <a:lnSpc>
                <a:spcPct val="100000"/>
              </a:lnSpc>
              <a:spcBef>
                <a:spcPts val="0"/>
              </a:spcBef>
              <a:spcAft>
                <a:spcPts val="0"/>
              </a:spcAft>
              <a:buClrTx/>
              <a:buSzTx/>
              <a:buFontTx/>
              <a:buNone/>
              <a:tabLst/>
              <a:defRPr sz="1200" b="1" kern="0">
                <a:solidFill>
                  <a:schemeClr val="tx2"/>
                </a:solidFill>
              </a:defRPr>
            </a:lvl1pPr>
          </a:lstStyle>
          <a:p>
            <a:r>
              <a:rPr lang="en-US" b="0" dirty="0" smtClean="0"/>
              <a:t>Factors efficiency is driven by </a:t>
            </a:r>
            <a:r>
              <a:rPr lang="en-US" dirty="0" smtClean="0"/>
              <a:t>market cycles</a:t>
            </a:r>
            <a:endParaRPr lang="en-US" dirty="0"/>
          </a:p>
        </p:txBody>
      </p:sp>
      <p:sp>
        <p:nvSpPr>
          <p:cNvPr id="25" name="ZoneTexte 9"/>
          <p:cNvSpPr txBox="1"/>
          <p:nvPr/>
        </p:nvSpPr>
        <p:spPr>
          <a:xfrm>
            <a:off x="5011454" y="3035297"/>
            <a:ext cx="2880320" cy="461665"/>
          </a:xfrm>
          <a:prstGeom prst="rect">
            <a:avLst/>
          </a:prstGeom>
          <a:noFill/>
        </p:spPr>
        <p:txBody>
          <a:bodyPr wrap="square" rtlCol="0">
            <a:spAutoFit/>
          </a:bodyPr>
          <a:lstStyle>
            <a:defPPr>
              <a:defRPr lang="fr-FR"/>
            </a:defPPr>
            <a:lvl1pPr marR="0" lvl="0" indent="0" defTabSz="914400" fontAlgn="auto">
              <a:lnSpc>
                <a:spcPct val="100000"/>
              </a:lnSpc>
              <a:spcBef>
                <a:spcPts val="0"/>
              </a:spcBef>
              <a:spcAft>
                <a:spcPts val="0"/>
              </a:spcAft>
              <a:buClrTx/>
              <a:buSzTx/>
              <a:buFontTx/>
              <a:buNone/>
              <a:tabLst/>
              <a:defRPr sz="1200" b="1" kern="0">
                <a:solidFill>
                  <a:schemeClr val="tx2"/>
                </a:solidFill>
              </a:defRPr>
            </a:lvl1pPr>
          </a:lstStyle>
          <a:p>
            <a:r>
              <a:rPr lang="en-US" b="0" dirty="0"/>
              <a:t>Identification of </a:t>
            </a:r>
            <a:r>
              <a:rPr lang="en-US" dirty="0"/>
              <a:t>market regimes </a:t>
            </a:r>
            <a:r>
              <a:rPr lang="en-US" b="0" dirty="0"/>
              <a:t>and </a:t>
            </a:r>
            <a:r>
              <a:rPr lang="en-US" b="0" dirty="0" smtClean="0"/>
              <a:t>related </a:t>
            </a:r>
            <a:r>
              <a:rPr lang="en-US" dirty="0" smtClean="0"/>
              <a:t>multi factor models</a:t>
            </a:r>
            <a:endParaRPr lang="en-US" dirty="0"/>
          </a:p>
        </p:txBody>
      </p:sp>
      <p:sp>
        <p:nvSpPr>
          <p:cNvPr id="30" name="ZoneTexte 40"/>
          <p:cNvSpPr txBox="1"/>
          <p:nvPr/>
        </p:nvSpPr>
        <p:spPr>
          <a:xfrm>
            <a:off x="497844" y="2254296"/>
            <a:ext cx="384225" cy="327679"/>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ctr" defTabSz="914400" eaLnBrk="0" fontAlgn="base" latinLnBrk="0" hangingPunct="0">
              <a:lnSpc>
                <a:spcPct val="90000"/>
              </a:lnSpc>
              <a:spcBef>
                <a:spcPts val="0"/>
              </a:spcBef>
              <a:spcAft>
                <a:spcPct val="0"/>
              </a:spcAft>
              <a:buClr>
                <a:srgbClr val="00B0E7"/>
              </a:buClr>
              <a:buSzTx/>
              <a:buFont typeface="Marlett" pitchFamily="2" charset="2"/>
              <a:buNone/>
              <a:tabLst/>
              <a:defRPr/>
            </a:pPr>
            <a:r>
              <a:rPr kumimoji="0" lang="en-US" sz="1600" b="1" i="0" u="none" strike="noStrike" kern="0" cap="none" spc="0" normalizeH="0" baseline="0" noProof="0" dirty="0" smtClean="0">
                <a:ln>
                  <a:noFill/>
                </a:ln>
                <a:solidFill>
                  <a:srgbClr val="FFFFFF"/>
                </a:solidFill>
                <a:effectLst/>
                <a:uLnTx/>
                <a:uFillTx/>
                <a:latin typeface="+mj-lt"/>
                <a:ea typeface="ＭＳ Ｐゴシック" pitchFamily="34" charset="-128"/>
              </a:rPr>
              <a:t>1</a:t>
            </a:r>
          </a:p>
        </p:txBody>
      </p:sp>
      <p:sp>
        <p:nvSpPr>
          <p:cNvPr id="31" name="ZoneTexte 40"/>
          <p:cNvSpPr txBox="1"/>
          <p:nvPr/>
        </p:nvSpPr>
        <p:spPr>
          <a:xfrm>
            <a:off x="1022465" y="1700798"/>
            <a:ext cx="3175462" cy="327679"/>
          </a:xfrm>
          <a:prstGeom prst="rect">
            <a:avLst/>
          </a:prstGeom>
          <a:solidFill>
            <a:schemeClr val="tx1"/>
          </a:solidFill>
          <a:ln>
            <a:noFill/>
          </a:ln>
        </p:spPr>
        <p:txBody>
          <a:bodyPr wrap="square" rtlCol="0" anchor="ctr">
            <a:noAutofit/>
          </a:bodyPr>
          <a:lstStyle/>
          <a:p>
            <a:pPr marL="0" marR="0" lvl="0" indent="0" defTabSz="914400" eaLnBrk="0" fontAlgn="base" latinLnBrk="0" hangingPunct="0">
              <a:lnSpc>
                <a:spcPct val="90000"/>
              </a:lnSpc>
              <a:spcBef>
                <a:spcPts val="0"/>
              </a:spcBef>
              <a:spcAft>
                <a:spcPct val="0"/>
              </a:spcAft>
              <a:buClr>
                <a:srgbClr val="00B0E7"/>
              </a:buClr>
              <a:buSzTx/>
              <a:buFont typeface="Marlett" pitchFamily="2" charset="2"/>
              <a:buNone/>
              <a:tabLst/>
              <a:defRPr/>
            </a:pPr>
            <a:r>
              <a:rPr kumimoji="0" lang="en-US" sz="1600" b="1" i="0" u="none" strike="noStrike" kern="0" cap="none" spc="0" normalizeH="0" baseline="0" noProof="0" dirty="0" smtClean="0">
                <a:ln>
                  <a:noFill/>
                </a:ln>
                <a:solidFill>
                  <a:srgbClr val="FFFFFF"/>
                </a:solidFill>
                <a:effectLst/>
                <a:uLnTx/>
                <a:uFillTx/>
                <a:latin typeface="+mj-lt"/>
                <a:ea typeface="ＭＳ Ｐゴシック" pitchFamily="34" charset="-128"/>
              </a:rPr>
              <a:t>Core beliefs</a:t>
            </a:r>
          </a:p>
        </p:txBody>
      </p:sp>
      <p:sp>
        <p:nvSpPr>
          <p:cNvPr id="32" name="ZoneTexte 40"/>
          <p:cNvSpPr txBox="1"/>
          <p:nvPr/>
        </p:nvSpPr>
        <p:spPr>
          <a:xfrm>
            <a:off x="5079076" y="1700798"/>
            <a:ext cx="3175200" cy="327679"/>
          </a:xfrm>
          <a:prstGeom prst="rect">
            <a:avLst/>
          </a:prstGeom>
          <a:solidFill>
            <a:schemeClr val="tx1"/>
          </a:solidFill>
          <a:ln>
            <a:noFill/>
          </a:ln>
        </p:spPr>
        <p:txBody>
          <a:bodyPr wrap="square" rtlCol="0" anchor="ctr">
            <a:noAutofit/>
          </a:bodyPr>
          <a:lstStyle/>
          <a:p>
            <a:pPr marL="0" marR="0" lvl="0" indent="0" defTabSz="914400" eaLnBrk="0" fontAlgn="base" latinLnBrk="0" hangingPunct="0">
              <a:lnSpc>
                <a:spcPct val="90000"/>
              </a:lnSpc>
              <a:spcBef>
                <a:spcPts val="0"/>
              </a:spcBef>
              <a:spcAft>
                <a:spcPct val="0"/>
              </a:spcAft>
              <a:buClr>
                <a:srgbClr val="00B0E7"/>
              </a:buClr>
              <a:buSzTx/>
              <a:buFont typeface="Marlett" pitchFamily="2" charset="2"/>
              <a:buNone/>
              <a:tabLst/>
              <a:defRPr/>
            </a:pPr>
            <a:r>
              <a:rPr kumimoji="0" lang="en-US" sz="1600" b="1" i="0" u="none" strike="noStrike" kern="0" cap="none" spc="0" normalizeH="0" baseline="0" noProof="0" dirty="0" smtClean="0">
                <a:ln>
                  <a:noFill/>
                </a:ln>
                <a:solidFill>
                  <a:srgbClr val="FFFFFF"/>
                </a:solidFill>
                <a:effectLst/>
                <a:uLnTx/>
                <a:uFillTx/>
                <a:latin typeface="+mj-lt"/>
                <a:ea typeface="ＭＳ Ｐゴシック" pitchFamily="34" charset="-128"/>
              </a:rPr>
              <a:t>Implementation</a:t>
            </a:r>
          </a:p>
        </p:txBody>
      </p:sp>
      <p:sp>
        <p:nvSpPr>
          <p:cNvPr id="33" name="ZoneTexte 3"/>
          <p:cNvSpPr txBox="1"/>
          <p:nvPr/>
        </p:nvSpPr>
        <p:spPr>
          <a:xfrm>
            <a:off x="5011454" y="2254296"/>
            <a:ext cx="3524596"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smtClean="0">
                <a:solidFill>
                  <a:schemeClr val="tx2"/>
                </a:solidFill>
              </a:rPr>
              <a:t>Bottom-up </a:t>
            </a:r>
            <a:r>
              <a:rPr lang="en-US" sz="1200" kern="0" dirty="0" smtClean="0">
                <a:solidFill>
                  <a:schemeClr val="tx2"/>
                </a:solidFill>
              </a:rPr>
              <a:t>selection and combination of </a:t>
            </a:r>
            <a:r>
              <a:rPr lang="en-US" sz="1200" b="1" kern="0" dirty="0" smtClean="0">
                <a:solidFill>
                  <a:schemeClr val="tx2"/>
                </a:solidFill>
              </a:rPr>
              <a:t>Systematic Strategic Factors</a:t>
            </a:r>
            <a:endParaRPr lang="en-US" sz="1200" b="1" kern="0" dirty="0">
              <a:solidFill>
                <a:schemeClr val="tx2"/>
              </a:solidFill>
            </a:endParaRPr>
          </a:p>
        </p:txBody>
      </p:sp>
      <p:sp>
        <p:nvSpPr>
          <p:cNvPr id="34" name="ZoneTexte 40"/>
          <p:cNvSpPr txBox="1"/>
          <p:nvPr/>
        </p:nvSpPr>
        <p:spPr>
          <a:xfrm>
            <a:off x="497844" y="3035297"/>
            <a:ext cx="384225" cy="327679"/>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ctr" defTabSz="914400" eaLnBrk="0" fontAlgn="base" latinLnBrk="0" hangingPunct="0">
              <a:lnSpc>
                <a:spcPct val="90000"/>
              </a:lnSpc>
              <a:spcBef>
                <a:spcPts val="0"/>
              </a:spcBef>
              <a:spcAft>
                <a:spcPct val="0"/>
              </a:spcAft>
              <a:buClr>
                <a:srgbClr val="00B0E7"/>
              </a:buClr>
              <a:buSzTx/>
              <a:buFont typeface="Marlett" pitchFamily="2" charset="2"/>
              <a:buNone/>
              <a:tabLst/>
              <a:defRPr/>
            </a:pPr>
            <a:r>
              <a:rPr kumimoji="0" lang="en-US" sz="1600" b="1" i="0" u="none" strike="noStrike" kern="0" cap="none" spc="0" normalizeH="0" baseline="0" noProof="0" dirty="0" smtClean="0">
                <a:ln>
                  <a:noFill/>
                </a:ln>
                <a:solidFill>
                  <a:srgbClr val="FFFFFF"/>
                </a:solidFill>
                <a:effectLst/>
                <a:uLnTx/>
                <a:uFillTx/>
                <a:latin typeface="+mj-lt"/>
                <a:ea typeface="ＭＳ Ｐゴシック" pitchFamily="34" charset="-128"/>
              </a:rPr>
              <a:t>2</a:t>
            </a:r>
          </a:p>
        </p:txBody>
      </p:sp>
      <p:sp>
        <p:nvSpPr>
          <p:cNvPr id="35" name="ZoneTexte 4"/>
          <p:cNvSpPr txBox="1"/>
          <p:nvPr/>
        </p:nvSpPr>
        <p:spPr>
          <a:xfrm>
            <a:off x="963090" y="3816298"/>
            <a:ext cx="3288299" cy="461665"/>
          </a:xfrm>
          <a:prstGeom prst="rect">
            <a:avLst/>
          </a:prstGeom>
          <a:noFill/>
        </p:spPr>
        <p:txBody>
          <a:bodyPr wrap="square" rtlCol="0">
            <a:spAutoFit/>
          </a:bodyPr>
          <a:lstStyle>
            <a:defPPr>
              <a:defRPr lang="fr-FR"/>
            </a:defPPr>
            <a:lvl1pPr marR="0" lvl="0" indent="0" defTabSz="914400" fontAlgn="auto">
              <a:lnSpc>
                <a:spcPct val="100000"/>
              </a:lnSpc>
              <a:spcBef>
                <a:spcPts val="0"/>
              </a:spcBef>
              <a:spcAft>
                <a:spcPts val="0"/>
              </a:spcAft>
              <a:buClrTx/>
              <a:buSzTx/>
              <a:buFontTx/>
              <a:buNone/>
              <a:tabLst/>
              <a:defRPr sz="1200" b="1" kern="0">
                <a:solidFill>
                  <a:schemeClr val="tx2"/>
                </a:solidFill>
              </a:defRPr>
            </a:lvl1pPr>
          </a:lstStyle>
          <a:p>
            <a:r>
              <a:rPr lang="en-US" b="0" dirty="0"/>
              <a:t>Each investment </a:t>
            </a:r>
            <a:r>
              <a:rPr lang="en-US" b="0" dirty="0" smtClean="0"/>
              <a:t>universe has its </a:t>
            </a:r>
            <a:r>
              <a:rPr lang="en-US" dirty="0" smtClean="0"/>
              <a:t>own </a:t>
            </a:r>
            <a:r>
              <a:rPr lang="en-US" dirty="0"/>
              <a:t>trends </a:t>
            </a:r>
            <a:r>
              <a:rPr lang="en-US" dirty="0" smtClean="0"/>
              <a:t>&amp; specificities</a:t>
            </a:r>
            <a:endParaRPr lang="en-US" dirty="0"/>
          </a:p>
        </p:txBody>
      </p:sp>
      <p:sp>
        <p:nvSpPr>
          <p:cNvPr id="36" name="ZoneTexte 9"/>
          <p:cNvSpPr txBox="1"/>
          <p:nvPr/>
        </p:nvSpPr>
        <p:spPr>
          <a:xfrm>
            <a:off x="5011454" y="3816298"/>
            <a:ext cx="3686968" cy="276999"/>
          </a:xfrm>
          <a:prstGeom prst="rect">
            <a:avLst/>
          </a:prstGeom>
          <a:noFill/>
        </p:spPr>
        <p:txBody>
          <a:bodyPr wrap="square" rtlCol="0">
            <a:spAutoFit/>
          </a:bodyPr>
          <a:lstStyle>
            <a:defPPr>
              <a:defRPr lang="fr-FR"/>
            </a:defPPr>
            <a:lvl1pPr marR="0" lvl="0" indent="0" defTabSz="914400" fontAlgn="auto">
              <a:lnSpc>
                <a:spcPct val="100000"/>
              </a:lnSpc>
              <a:spcBef>
                <a:spcPts val="0"/>
              </a:spcBef>
              <a:spcAft>
                <a:spcPts val="0"/>
              </a:spcAft>
              <a:buClrTx/>
              <a:buSzTx/>
              <a:buFontTx/>
              <a:buNone/>
              <a:tabLst/>
              <a:defRPr sz="1200" b="1" kern="0">
                <a:solidFill>
                  <a:schemeClr val="tx2"/>
                </a:solidFill>
              </a:defRPr>
            </a:lvl1pPr>
          </a:lstStyle>
          <a:p>
            <a:r>
              <a:rPr lang="en-US" b="0" dirty="0"/>
              <a:t>Model </a:t>
            </a:r>
            <a:r>
              <a:rPr lang="en-US" dirty="0"/>
              <a:t>adjustment</a:t>
            </a:r>
            <a:r>
              <a:rPr lang="en-US" b="0" dirty="0"/>
              <a:t> according to target </a:t>
            </a:r>
            <a:r>
              <a:rPr lang="en-US" dirty="0"/>
              <a:t>region</a:t>
            </a:r>
          </a:p>
        </p:txBody>
      </p:sp>
      <p:sp>
        <p:nvSpPr>
          <p:cNvPr id="37" name="ZoneTexte 40"/>
          <p:cNvSpPr txBox="1"/>
          <p:nvPr/>
        </p:nvSpPr>
        <p:spPr>
          <a:xfrm>
            <a:off x="497844" y="3816298"/>
            <a:ext cx="384225" cy="327679"/>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ctr" defTabSz="914400" eaLnBrk="0" fontAlgn="base" latinLnBrk="0" hangingPunct="0">
              <a:lnSpc>
                <a:spcPct val="90000"/>
              </a:lnSpc>
              <a:spcBef>
                <a:spcPts val="0"/>
              </a:spcBef>
              <a:spcAft>
                <a:spcPct val="0"/>
              </a:spcAft>
              <a:buClr>
                <a:srgbClr val="00B0E7"/>
              </a:buClr>
              <a:buSzTx/>
              <a:buFont typeface="Marlett" pitchFamily="2" charset="2"/>
              <a:buNone/>
              <a:tabLst/>
              <a:defRPr/>
            </a:pPr>
            <a:r>
              <a:rPr kumimoji="0" lang="en-US" sz="1600" b="1" i="0" u="none" strike="noStrike" kern="0" cap="none" spc="0" normalizeH="0" baseline="0" noProof="0" dirty="0" smtClean="0">
                <a:ln>
                  <a:noFill/>
                </a:ln>
                <a:solidFill>
                  <a:srgbClr val="FFFFFF"/>
                </a:solidFill>
                <a:effectLst/>
                <a:uLnTx/>
                <a:uFillTx/>
                <a:latin typeface="+mj-lt"/>
                <a:ea typeface="ＭＳ Ｐゴシック" pitchFamily="34" charset="-128"/>
              </a:rPr>
              <a:t>3</a:t>
            </a:r>
          </a:p>
        </p:txBody>
      </p:sp>
      <p:sp>
        <p:nvSpPr>
          <p:cNvPr id="38" name="ZoneTexte 4"/>
          <p:cNvSpPr txBox="1"/>
          <p:nvPr/>
        </p:nvSpPr>
        <p:spPr>
          <a:xfrm>
            <a:off x="963090" y="4597298"/>
            <a:ext cx="3288299" cy="461665"/>
          </a:xfrm>
          <a:prstGeom prst="rect">
            <a:avLst/>
          </a:prstGeom>
          <a:noFill/>
        </p:spPr>
        <p:txBody>
          <a:bodyPr wrap="square" rtlCol="0">
            <a:spAutoFit/>
          </a:bodyPr>
          <a:lstStyle>
            <a:defPPr>
              <a:defRPr lang="fr-FR"/>
            </a:defPPr>
            <a:lvl1pPr marR="0" lvl="0" indent="0" defTabSz="914400" fontAlgn="auto">
              <a:lnSpc>
                <a:spcPct val="100000"/>
              </a:lnSpc>
              <a:spcBef>
                <a:spcPts val="0"/>
              </a:spcBef>
              <a:spcAft>
                <a:spcPts val="0"/>
              </a:spcAft>
              <a:buClrTx/>
              <a:buSzTx/>
              <a:buFontTx/>
              <a:buNone/>
              <a:tabLst/>
              <a:defRPr sz="1200" b="1" kern="0">
                <a:solidFill>
                  <a:schemeClr val="tx2"/>
                </a:solidFill>
              </a:defRPr>
            </a:lvl1pPr>
          </a:lstStyle>
          <a:p>
            <a:r>
              <a:rPr lang="en-US" dirty="0" smtClean="0"/>
              <a:t>External </a:t>
            </a:r>
            <a:r>
              <a:rPr lang="en-US" dirty="0"/>
              <a:t>events </a:t>
            </a:r>
            <a:r>
              <a:rPr lang="en-US" b="0" dirty="0"/>
              <a:t>may affect financial </a:t>
            </a:r>
            <a:r>
              <a:rPr lang="en-US" b="0" dirty="0" smtClean="0"/>
              <a:t>perception at the stock level</a:t>
            </a:r>
            <a:endParaRPr lang="en-US" b="0" dirty="0"/>
          </a:p>
        </p:txBody>
      </p:sp>
      <p:sp>
        <p:nvSpPr>
          <p:cNvPr id="39" name="ZoneTexte 9"/>
          <p:cNvSpPr txBox="1"/>
          <p:nvPr/>
        </p:nvSpPr>
        <p:spPr>
          <a:xfrm>
            <a:off x="5011454" y="4597298"/>
            <a:ext cx="3383212" cy="461665"/>
          </a:xfrm>
          <a:prstGeom prst="rect">
            <a:avLst/>
          </a:prstGeom>
          <a:noFill/>
        </p:spPr>
        <p:txBody>
          <a:bodyPr wrap="square" rtlCol="0">
            <a:spAutoFit/>
          </a:bodyPr>
          <a:lstStyle>
            <a:defPPr>
              <a:defRPr lang="fr-FR"/>
            </a:defPPr>
            <a:lvl1pPr marR="0" lvl="0" indent="0" defTabSz="914400" fontAlgn="auto">
              <a:lnSpc>
                <a:spcPct val="100000"/>
              </a:lnSpc>
              <a:spcBef>
                <a:spcPts val="0"/>
              </a:spcBef>
              <a:spcAft>
                <a:spcPts val="0"/>
              </a:spcAft>
              <a:buClrTx/>
              <a:buSzTx/>
              <a:buFontTx/>
              <a:buNone/>
              <a:tabLst/>
              <a:defRPr sz="1200" b="1" kern="0">
                <a:solidFill>
                  <a:schemeClr val="tx2"/>
                </a:solidFill>
              </a:defRPr>
            </a:lvl1pPr>
          </a:lstStyle>
          <a:p>
            <a:r>
              <a:rPr lang="en-US" b="0" dirty="0" smtClean="0"/>
              <a:t>PM team has a leeway to implement tactical changes to manage </a:t>
            </a:r>
            <a:r>
              <a:rPr lang="en-US" dirty="0" smtClean="0"/>
              <a:t>special situation</a:t>
            </a:r>
            <a:endParaRPr lang="en-US" dirty="0"/>
          </a:p>
        </p:txBody>
      </p:sp>
      <p:sp>
        <p:nvSpPr>
          <p:cNvPr id="40" name="ZoneTexte 40"/>
          <p:cNvSpPr txBox="1"/>
          <p:nvPr/>
        </p:nvSpPr>
        <p:spPr>
          <a:xfrm>
            <a:off x="497844" y="4597298"/>
            <a:ext cx="384225" cy="327679"/>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ctr" defTabSz="914400" eaLnBrk="0" fontAlgn="base" latinLnBrk="0" hangingPunct="0">
              <a:lnSpc>
                <a:spcPct val="90000"/>
              </a:lnSpc>
              <a:spcBef>
                <a:spcPts val="0"/>
              </a:spcBef>
              <a:spcAft>
                <a:spcPct val="0"/>
              </a:spcAft>
              <a:buClr>
                <a:srgbClr val="00B0E7"/>
              </a:buClr>
              <a:buSzTx/>
              <a:buFont typeface="Marlett" pitchFamily="2" charset="2"/>
              <a:buNone/>
              <a:tabLst/>
              <a:defRPr/>
            </a:pPr>
            <a:r>
              <a:rPr kumimoji="0" lang="en-US" sz="1600" b="1" i="0" u="none" strike="noStrike" kern="0" cap="none" spc="0" normalizeH="0" baseline="0" noProof="0" dirty="0" smtClean="0">
                <a:ln>
                  <a:noFill/>
                </a:ln>
                <a:solidFill>
                  <a:srgbClr val="FFFFFF"/>
                </a:solidFill>
                <a:effectLst/>
                <a:uLnTx/>
                <a:uFillTx/>
                <a:latin typeface="+mj-lt"/>
                <a:ea typeface="ＭＳ Ｐゴシック" pitchFamily="34" charset="-128"/>
              </a:rPr>
              <a:t>4</a:t>
            </a:r>
          </a:p>
        </p:txBody>
      </p:sp>
      <p:sp>
        <p:nvSpPr>
          <p:cNvPr id="3" name="Isosceles Triangle 2"/>
          <p:cNvSpPr/>
          <p:nvPr/>
        </p:nvSpPr>
        <p:spPr bwMode="auto">
          <a:xfrm rot="5400000">
            <a:off x="4431326" y="2326480"/>
            <a:ext cx="482138" cy="183309"/>
          </a:xfrm>
          <a:prstGeom prst="triangle">
            <a:avLst/>
          </a:prstGeom>
          <a:solidFill>
            <a:schemeClr val="bg2">
              <a:lumMod val="9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85000"/>
              </a:lnSpc>
              <a:spcBef>
                <a:spcPct val="0"/>
              </a:spcBef>
              <a:spcAft>
                <a:spcPct val="0"/>
              </a:spcAft>
              <a:buClrTx/>
              <a:buSzTx/>
              <a:buFontTx/>
              <a:buNone/>
              <a:tabLst/>
            </a:pPr>
            <a:endParaRPr kumimoji="0" lang="fr-FR" sz="800" b="0" i="0" u="none" strike="noStrike" cap="none" normalizeH="0" baseline="0" smtClean="0">
              <a:ln>
                <a:noFill/>
              </a:ln>
              <a:solidFill>
                <a:schemeClr val="tx1"/>
              </a:solidFill>
              <a:effectLst/>
              <a:latin typeface="Arial" charset="0"/>
            </a:endParaRPr>
          </a:p>
        </p:txBody>
      </p:sp>
      <p:sp>
        <p:nvSpPr>
          <p:cNvPr id="43" name="Isosceles Triangle 42"/>
          <p:cNvSpPr/>
          <p:nvPr/>
        </p:nvSpPr>
        <p:spPr bwMode="auto">
          <a:xfrm rot="5400000">
            <a:off x="4431326" y="3110893"/>
            <a:ext cx="482138" cy="183309"/>
          </a:xfrm>
          <a:prstGeom prst="triangle">
            <a:avLst/>
          </a:prstGeom>
          <a:solidFill>
            <a:schemeClr val="bg2">
              <a:lumMod val="9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85000"/>
              </a:lnSpc>
              <a:spcBef>
                <a:spcPct val="0"/>
              </a:spcBef>
              <a:spcAft>
                <a:spcPct val="0"/>
              </a:spcAft>
              <a:buClrTx/>
              <a:buSzTx/>
              <a:buFontTx/>
              <a:buNone/>
              <a:tabLst/>
            </a:pPr>
            <a:endParaRPr kumimoji="0" lang="fr-FR" sz="800" b="0" i="0" u="none" strike="noStrike" cap="none" normalizeH="0" baseline="0" smtClean="0">
              <a:ln>
                <a:noFill/>
              </a:ln>
              <a:solidFill>
                <a:schemeClr val="tx1"/>
              </a:solidFill>
              <a:effectLst/>
              <a:latin typeface="Arial" charset="0"/>
            </a:endParaRPr>
          </a:p>
        </p:txBody>
      </p:sp>
      <p:sp>
        <p:nvSpPr>
          <p:cNvPr id="44" name="Isosceles Triangle 43"/>
          <p:cNvSpPr/>
          <p:nvPr/>
        </p:nvSpPr>
        <p:spPr bwMode="auto">
          <a:xfrm rot="5400000">
            <a:off x="4431326" y="3895306"/>
            <a:ext cx="482138" cy="183309"/>
          </a:xfrm>
          <a:prstGeom prst="triangle">
            <a:avLst/>
          </a:prstGeom>
          <a:solidFill>
            <a:schemeClr val="bg2">
              <a:lumMod val="9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85000"/>
              </a:lnSpc>
              <a:spcBef>
                <a:spcPct val="0"/>
              </a:spcBef>
              <a:spcAft>
                <a:spcPct val="0"/>
              </a:spcAft>
              <a:buClrTx/>
              <a:buSzTx/>
              <a:buFontTx/>
              <a:buNone/>
              <a:tabLst/>
            </a:pPr>
            <a:endParaRPr kumimoji="0" lang="fr-FR" sz="800" b="0" i="0" u="none" strike="noStrike" cap="none" normalizeH="0" baseline="0" smtClean="0">
              <a:ln>
                <a:noFill/>
              </a:ln>
              <a:solidFill>
                <a:schemeClr val="tx1"/>
              </a:solidFill>
              <a:effectLst/>
              <a:latin typeface="Arial" charset="0"/>
            </a:endParaRPr>
          </a:p>
        </p:txBody>
      </p:sp>
      <p:sp>
        <p:nvSpPr>
          <p:cNvPr id="45" name="Isosceles Triangle 44"/>
          <p:cNvSpPr/>
          <p:nvPr/>
        </p:nvSpPr>
        <p:spPr bwMode="auto">
          <a:xfrm rot="5400000">
            <a:off x="4431326" y="4679720"/>
            <a:ext cx="482138" cy="183309"/>
          </a:xfrm>
          <a:prstGeom prst="triangle">
            <a:avLst/>
          </a:prstGeom>
          <a:solidFill>
            <a:schemeClr val="bg2">
              <a:lumMod val="9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85000"/>
              </a:lnSpc>
              <a:spcBef>
                <a:spcPct val="0"/>
              </a:spcBef>
              <a:spcAft>
                <a:spcPct val="0"/>
              </a:spcAft>
              <a:buClrTx/>
              <a:buSzTx/>
              <a:buFontTx/>
              <a:buNone/>
              <a:tabLst/>
            </a:pPr>
            <a:endParaRPr kumimoji="0" lang="fr-FR" sz="800" b="0" i="0" u="none" strike="noStrike" cap="none" normalizeH="0" baseline="0" smtClean="0">
              <a:ln>
                <a:noFill/>
              </a:ln>
              <a:solidFill>
                <a:schemeClr val="tx1"/>
              </a:solidFill>
              <a:effectLst/>
              <a:latin typeface="Arial" charset="0"/>
            </a:endParaRPr>
          </a:p>
        </p:txBody>
      </p:sp>
      <p:sp>
        <p:nvSpPr>
          <p:cNvPr id="26" name="Titre 1"/>
          <p:cNvSpPr txBox="1">
            <a:spLocks/>
          </p:cNvSpPr>
          <p:nvPr/>
        </p:nvSpPr>
        <p:spPr>
          <a:xfrm>
            <a:off x="539999" y="799865"/>
            <a:ext cx="8063999" cy="38749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1" kern="1200" spc="50" baseline="0">
                <a:solidFill>
                  <a:schemeClr val="tx1"/>
                </a:solidFill>
                <a:latin typeface="+mj-lt"/>
                <a:ea typeface="+mj-ea"/>
                <a:cs typeface="+mj-cs"/>
              </a:defRPr>
            </a:lvl1pPr>
          </a:lstStyle>
          <a:p>
            <a:r>
              <a:rPr lang="en-US" dirty="0">
                <a:solidFill>
                  <a:srgbClr val="003C64"/>
                </a:solidFill>
              </a:rPr>
              <a:t>CPR AM Multi-factors - Multi-Regime, Multi-Factor allocation</a:t>
            </a:r>
            <a:endParaRPr lang="fr-FR" dirty="0"/>
          </a:p>
        </p:txBody>
      </p:sp>
      <p:sp>
        <p:nvSpPr>
          <p:cNvPr id="29" name="Espace réservé du numéro de diapositive 4">
            <a:extLst>
              <a:ext uri="{FF2B5EF4-FFF2-40B4-BE49-F238E27FC236}">
                <a16:creationId xmlns="" xmlns:a16="http://schemas.microsoft.com/office/drawing/2014/main" id="{644972FE-E6DE-457C-B7E1-C27331DF5C39}"/>
              </a:ext>
            </a:extLst>
          </p:cNvPr>
          <p:cNvSpPr txBox="1">
            <a:spLocks/>
          </p:cNvSpPr>
          <p:nvPr/>
        </p:nvSpPr>
        <p:spPr>
          <a:xfrm>
            <a:off x="452578" y="6443056"/>
            <a:ext cx="359782" cy="180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B1C6FFC-D040-034F-8B69-20295064E64D}" type="slidenum">
              <a:rPr lang="fr-FR" sz="800"/>
              <a:pPr/>
              <a:t>48</a:t>
            </a:fld>
            <a:endParaRPr lang="fr-FR" sz="800" dirty="0"/>
          </a:p>
        </p:txBody>
      </p:sp>
      <p:sp>
        <p:nvSpPr>
          <p:cNvPr id="24"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27" name="Rectangle 26"/>
          <p:cNvSpPr/>
          <p:nvPr/>
        </p:nvSpPr>
        <p:spPr>
          <a:xfrm>
            <a:off x="5153025" y="131880"/>
            <a:ext cx="3455583" cy="3839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schemeClr val="tx1"/>
                </a:solidFill>
              </a:rPr>
              <a:t>CPR</a:t>
            </a:r>
            <a:endParaRPr lang="fr-FR" dirty="0">
              <a:solidFill>
                <a:schemeClr val="tx1"/>
              </a:solidFill>
            </a:endParaRPr>
          </a:p>
        </p:txBody>
      </p:sp>
    </p:spTree>
    <p:extLst>
      <p:ext uri="{BB962C8B-B14F-4D97-AF65-F5344CB8AC3E}">
        <p14:creationId xmlns:p14="http://schemas.microsoft.com/office/powerpoint/2010/main" val="179500690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90005" y="3048692"/>
            <a:ext cx="8775865" cy="2437699"/>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2" name="Rectangle 61"/>
          <p:cNvSpPr/>
          <p:nvPr/>
        </p:nvSpPr>
        <p:spPr>
          <a:xfrm>
            <a:off x="3791225" y="4402763"/>
            <a:ext cx="1569996" cy="864049"/>
          </a:xfrm>
          <a:prstGeom prst="rect">
            <a:avLst/>
          </a:prstGeom>
          <a:noFill/>
          <a:ln w="25400" cap="flat" cmpd="sng" algn="ctr">
            <a:solidFill>
              <a:schemeClr val="accent3">
                <a:lumMod val="50000"/>
              </a:schemeClr>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GB" sz="1050" b="0" i="0" u="none" strike="noStrike" kern="0" cap="none" spc="0" normalizeH="0" baseline="0" dirty="0" smtClean="0">
              <a:ln>
                <a:noFill/>
              </a:ln>
              <a:solidFill>
                <a:schemeClr val="bg2">
                  <a:lumMod val="25000"/>
                </a:schemeClr>
              </a:solidFill>
              <a:effectLst/>
              <a:uLnTx/>
              <a:uFillTx/>
              <a:latin typeface="+mj-lt"/>
              <a:ea typeface="+mn-ea"/>
              <a:cs typeface="+mn-cs"/>
            </a:endParaRPr>
          </a:p>
        </p:txBody>
      </p:sp>
      <p:sp>
        <p:nvSpPr>
          <p:cNvPr id="63" name="Rectangle 62"/>
          <p:cNvSpPr/>
          <p:nvPr/>
        </p:nvSpPr>
        <p:spPr>
          <a:xfrm>
            <a:off x="389566" y="4396897"/>
            <a:ext cx="1570019" cy="861416"/>
          </a:xfrm>
          <a:prstGeom prst="rect">
            <a:avLst/>
          </a:prstGeom>
          <a:noFill/>
          <a:ln w="25400" cap="flat" cmpd="sng" algn="ctr">
            <a:solidFill>
              <a:schemeClr val="accent4">
                <a:lumMod val="50000"/>
              </a:schemeClr>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GB" sz="1050" b="0" i="0" u="none" strike="noStrike" kern="0" cap="none" spc="0" normalizeH="0" baseline="0" dirty="0" smtClean="0">
              <a:ln>
                <a:noFill/>
              </a:ln>
              <a:solidFill>
                <a:schemeClr val="bg2">
                  <a:lumMod val="25000"/>
                </a:schemeClr>
              </a:solidFill>
              <a:effectLst/>
              <a:uLnTx/>
              <a:uFillTx/>
              <a:latin typeface="+mj-lt"/>
              <a:ea typeface="+mn-ea"/>
              <a:cs typeface="+mn-cs"/>
            </a:endParaRPr>
          </a:p>
        </p:txBody>
      </p:sp>
      <p:sp>
        <p:nvSpPr>
          <p:cNvPr id="64" name="Rectangle 63"/>
          <p:cNvSpPr/>
          <p:nvPr/>
        </p:nvSpPr>
        <p:spPr>
          <a:xfrm>
            <a:off x="2090395" y="4397698"/>
            <a:ext cx="1567045" cy="860616"/>
          </a:xfrm>
          <a:prstGeom prst="rect">
            <a:avLst/>
          </a:prstGeom>
          <a:noFill/>
          <a:ln w="25400" cap="flat" cmpd="sng" algn="ctr">
            <a:solidFill>
              <a:schemeClr val="bg1">
                <a:lumMod val="50000"/>
              </a:schemeClr>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GB" sz="1050" b="0" i="0" u="none" strike="noStrike" kern="0" cap="none" spc="0" normalizeH="0" baseline="0" dirty="0" smtClean="0">
              <a:ln>
                <a:noFill/>
              </a:ln>
              <a:solidFill>
                <a:schemeClr val="bg2">
                  <a:lumMod val="25000"/>
                </a:schemeClr>
              </a:solidFill>
              <a:effectLst/>
              <a:uLnTx/>
              <a:uFillTx/>
              <a:latin typeface="+mj-lt"/>
              <a:ea typeface="+mn-ea"/>
              <a:cs typeface="+mn-cs"/>
            </a:endParaRPr>
          </a:p>
        </p:txBody>
      </p:sp>
      <p:sp>
        <p:nvSpPr>
          <p:cNvPr id="72" name="Rectangle 71"/>
          <p:cNvSpPr/>
          <p:nvPr/>
        </p:nvSpPr>
        <p:spPr>
          <a:xfrm>
            <a:off x="5492132" y="4401176"/>
            <a:ext cx="1569475" cy="860617"/>
          </a:xfrm>
          <a:prstGeom prst="rect">
            <a:avLst/>
          </a:prstGeom>
          <a:noFill/>
          <a:ln w="25400" cap="flat" cmpd="sng" algn="ctr">
            <a:solidFill>
              <a:schemeClr val="accent3"/>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GB" sz="1050" b="0" i="0" u="none" strike="noStrike" kern="0" cap="none" spc="0" normalizeH="0" baseline="0" dirty="0" smtClean="0">
              <a:ln>
                <a:noFill/>
              </a:ln>
              <a:solidFill>
                <a:schemeClr val="bg2">
                  <a:lumMod val="25000"/>
                </a:schemeClr>
              </a:solidFill>
              <a:effectLst/>
              <a:uLnTx/>
              <a:uFillTx/>
              <a:latin typeface="+mj-lt"/>
              <a:ea typeface="+mn-ea"/>
              <a:cs typeface="+mn-cs"/>
            </a:endParaRPr>
          </a:p>
        </p:txBody>
      </p:sp>
      <p:sp>
        <p:nvSpPr>
          <p:cNvPr id="74" name="Organigramme : Processus 73"/>
          <p:cNvSpPr/>
          <p:nvPr/>
        </p:nvSpPr>
        <p:spPr>
          <a:xfrm>
            <a:off x="5543327" y="4461751"/>
            <a:ext cx="1465775" cy="223776"/>
          </a:xfrm>
          <a:prstGeom prst="flowChartProcess">
            <a:avLst/>
          </a:prstGeom>
          <a:solidFill>
            <a:schemeClr val="accent3">
              <a:lumMod val="60000"/>
              <a:lumOff val="40000"/>
            </a:schemeClr>
          </a:solidFill>
          <a:ln w="25400" cap="flat" cmpd="sng" algn="ctr">
            <a:noFill/>
            <a:prstDash val="solid"/>
          </a:ln>
          <a:effectLst/>
        </p:spPr>
        <p:txBody>
          <a:bodyPr lIns="0" tIns="0" rIns="0" bIns="0" rtlCol="0" anchor="ctr"/>
          <a:lstStyle/>
          <a:p>
            <a:pPr algn="ctr" defTabSz="914400" fontAlgn="base">
              <a:spcBef>
                <a:spcPct val="0"/>
              </a:spcBef>
              <a:spcAft>
                <a:spcPct val="0"/>
              </a:spcAft>
              <a:defRPr/>
            </a:pPr>
            <a:r>
              <a:rPr lang="en-GB" sz="900" b="1" kern="0" dirty="0" smtClean="0">
                <a:solidFill>
                  <a:schemeClr val="bg2">
                    <a:lumMod val="25000"/>
                  </a:schemeClr>
                </a:solidFill>
                <a:latin typeface="+mj-lt"/>
                <a:ea typeface="ＭＳ Ｐゴシック" pitchFamily="34" charset="-128"/>
                <a:cs typeface="Arial" panose="020B0604020202020204" pitchFamily="34" charset="0"/>
              </a:rPr>
              <a:t>Quality</a:t>
            </a:r>
          </a:p>
        </p:txBody>
      </p:sp>
      <p:sp>
        <p:nvSpPr>
          <p:cNvPr id="76" name="Organigramme : Processus 75"/>
          <p:cNvSpPr/>
          <p:nvPr/>
        </p:nvSpPr>
        <p:spPr>
          <a:xfrm>
            <a:off x="5543327" y="4721840"/>
            <a:ext cx="1465775" cy="215655"/>
          </a:xfrm>
          <a:prstGeom prst="flowChartProcess">
            <a:avLst/>
          </a:prstGeom>
          <a:solidFill>
            <a:schemeClr val="accent3">
              <a:lumMod val="40000"/>
              <a:lumOff val="60000"/>
            </a:schemeClr>
          </a:solidFill>
          <a:ln w="25400" cap="flat" cmpd="sng" algn="ctr">
            <a:noFill/>
            <a:prstDash val="solid"/>
          </a:ln>
          <a:effectLst/>
        </p:spPr>
        <p:txBody>
          <a:bodyPr lIns="0" tIns="0" rIns="0" bIns="0" rtlCol="0" anchor="ctr"/>
          <a:lstStyle/>
          <a:p>
            <a:pPr algn="ctr" defTabSz="914400" fontAlgn="base">
              <a:spcBef>
                <a:spcPct val="0"/>
              </a:spcBef>
              <a:spcAft>
                <a:spcPct val="0"/>
              </a:spcAft>
              <a:defRPr/>
            </a:pPr>
            <a:r>
              <a:rPr lang="en-GB" sz="900" b="1" kern="0" dirty="0" smtClean="0">
                <a:solidFill>
                  <a:schemeClr val="bg2">
                    <a:lumMod val="25000"/>
                  </a:schemeClr>
                </a:solidFill>
                <a:latin typeface="+mj-lt"/>
                <a:ea typeface="ＭＳ Ｐゴシック" pitchFamily="34" charset="-128"/>
                <a:cs typeface="Arial" panose="020B0604020202020204" pitchFamily="34" charset="0"/>
              </a:rPr>
              <a:t>Value</a:t>
            </a:r>
            <a:endParaRPr lang="en-GB" sz="800" b="1" kern="0" dirty="0" smtClean="0">
              <a:solidFill>
                <a:schemeClr val="bg2">
                  <a:lumMod val="25000"/>
                </a:schemeClr>
              </a:solidFill>
              <a:latin typeface="+mj-lt"/>
              <a:ea typeface="ＭＳ Ｐゴシック" pitchFamily="34" charset="-128"/>
              <a:cs typeface="Arial" panose="020B0604020202020204" pitchFamily="34" charset="0"/>
            </a:endParaRPr>
          </a:p>
        </p:txBody>
      </p:sp>
      <p:sp>
        <p:nvSpPr>
          <p:cNvPr id="80" name="Organigramme : Processus 79"/>
          <p:cNvSpPr/>
          <p:nvPr/>
        </p:nvSpPr>
        <p:spPr>
          <a:xfrm>
            <a:off x="5543327" y="4973808"/>
            <a:ext cx="1465733" cy="218039"/>
          </a:xfrm>
          <a:prstGeom prst="flowChartProcess">
            <a:avLst/>
          </a:prstGeom>
          <a:solidFill>
            <a:schemeClr val="accent3">
              <a:lumMod val="20000"/>
              <a:lumOff val="80000"/>
            </a:schemeClr>
          </a:solidFill>
          <a:ln w="25400" cap="flat" cmpd="sng" algn="ctr">
            <a:noFill/>
            <a:prstDash val="solid"/>
          </a:ln>
          <a:effectLst/>
        </p:spPr>
        <p:txBody>
          <a:bodyPr lIns="0" tIns="0" rIns="0" bIns="0" rtlCol="0" anchor="ctr"/>
          <a:lstStyle/>
          <a:p>
            <a:pPr algn="ctr" defTabSz="914400" fontAlgn="base">
              <a:spcBef>
                <a:spcPct val="0"/>
              </a:spcBef>
              <a:spcAft>
                <a:spcPct val="0"/>
              </a:spcAft>
              <a:defRPr/>
            </a:pPr>
            <a:r>
              <a:rPr lang="en-GB" sz="900" b="1" kern="0" dirty="0" smtClean="0">
                <a:solidFill>
                  <a:schemeClr val="bg2">
                    <a:lumMod val="25000"/>
                  </a:schemeClr>
                </a:solidFill>
                <a:latin typeface="+mj-lt"/>
                <a:ea typeface="ＭＳ Ｐゴシック" pitchFamily="34" charset="-128"/>
                <a:cs typeface="Arial" panose="020B0604020202020204" pitchFamily="34" charset="0"/>
              </a:rPr>
              <a:t>Growth</a:t>
            </a:r>
          </a:p>
        </p:txBody>
      </p:sp>
      <p:sp>
        <p:nvSpPr>
          <p:cNvPr id="85" name="Organigramme : Processus 84"/>
          <p:cNvSpPr/>
          <p:nvPr/>
        </p:nvSpPr>
        <p:spPr>
          <a:xfrm>
            <a:off x="443993" y="4460535"/>
            <a:ext cx="1465775" cy="221513"/>
          </a:xfrm>
          <a:prstGeom prst="flowChartProcess">
            <a:avLst/>
          </a:prstGeom>
          <a:solidFill>
            <a:schemeClr val="accent4">
              <a:lumMod val="60000"/>
              <a:lumOff val="40000"/>
            </a:schemeClr>
          </a:solidFill>
          <a:ln w="25400" cap="flat" cmpd="sng" algn="ctr">
            <a:noFill/>
            <a:prstDash val="solid"/>
          </a:ln>
          <a:effectLst/>
        </p:spPr>
        <p:txBody>
          <a:bodyPr lIns="0" tIns="0" rIns="0" bIns="0" rtlCol="0" anchor="ctr"/>
          <a:lstStyle/>
          <a:p>
            <a:pPr algn="ctr" defTabSz="914400">
              <a:spcBef>
                <a:spcPct val="0"/>
              </a:spcBef>
              <a:defRPr/>
            </a:pPr>
            <a:r>
              <a:rPr lang="en-GB" sz="900" b="1" kern="0" dirty="0" smtClean="0">
                <a:solidFill>
                  <a:schemeClr val="bg2">
                    <a:lumMod val="25000"/>
                  </a:schemeClr>
                </a:solidFill>
                <a:latin typeface="+mj-lt"/>
                <a:ea typeface="ＭＳ Ｐゴシック" pitchFamily="34" charset="-128"/>
                <a:cs typeface="Arial" panose="020B0604020202020204" pitchFamily="34" charset="0"/>
              </a:rPr>
              <a:t>Low Volatility</a:t>
            </a:r>
          </a:p>
        </p:txBody>
      </p:sp>
      <p:sp>
        <p:nvSpPr>
          <p:cNvPr id="86" name="Organigramme : Processus 85"/>
          <p:cNvSpPr/>
          <p:nvPr/>
        </p:nvSpPr>
        <p:spPr>
          <a:xfrm>
            <a:off x="443993" y="4718361"/>
            <a:ext cx="1465775" cy="215655"/>
          </a:xfrm>
          <a:prstGeom prst="flowChartProcess">
            <a:avLst/>
          </a:prstGeom>
          <a:solidFill>
            <a:schemeClr val="accent4">
              <a:lumMod val="40000"/>
              <a:lumOff val="60000"/>
            </a:schemeClr>
          </a:solidFill>
          <a:ln w="25400" cap="flat" cmpd="sng" algn="ctr">
            <a:noFill/>
            <a:prstDash val="solid"/>
          </a:ln>
          <a:effectLst/>
        </p:spPr>
        <p:txBody>
          <a:bodyPr lIns="0" tIns="0" rIns="0" bIns="0" rtlCol="0" anchor="ctr"/>
          <a:lstStyle/>
          <a:p>
            <a:pPr algn="ctr" defTabSz="914400">
              <a:spcBef>
                <a:spcPct val="0"/>
              </a:spcBef>
              <a:defRPr/>
            </a:pPr>
            <a:r>
              <a:rPr lang="en-GB" sz="900" b="1" kern="0" dirty="0" smtClean="0">
                <a:solidFill>
                  <a:schemeClr val="bg2">
                    <a:lumMod val="25000"/>
                  </a:schemeClr>
                </a:solidFill>
                <a:latin typeface="+mj-lt"/>
                <a:ea typeface="ＭＳ Ｐゴシック" pitchFamily="34" charset="-128"/>
                <a:cs typeface="Arial" panose="020B0604020202020204" pitchFamily="34" charset="0"/>
              </a:rPr>
              <a:t>Dividend yield</a:t>
            </a:r>
          </a:p>
        </p:txBody>
      </p:sp>
      <p:sp>
        <p:nvSpPr>
          <p:cNvPr id="94" name="Organigramme : Processus 93"/>
          <p:cNvSpPr/>
          <p:nvPr/>
        </p:nvSpPr>
        <p:spPr>
          <a:xfrm>
            <a:off x="443993" y="4970329"/>
            <a:ext cx="1465733" cy="216545"/>
          </a:xfrm>
          <a:prstGeom prst="flowChartProcess">
            <a:avLst/>
          </a:prstGeom>
          <a:solidFill>
            <a:schemeClr val="accent4">
              <a:lumMod val="20000"/>
              <a:lumOff val="80000"/>
            </a:schemeClr>
          </a:solidFill>
          <a:ln w="25400" cap="flat" cmpd="sng" algn="ctr">
            <a:noFill/>
            <a:prstDash val="solid"/>
          </a:ln>
          <a:effectLst/>
        </p:spPr>
        <p:txBody>
          <a:bodyPr lIns="0" tIns="0" rIns="0" bIns="0" rtlCol="0" anchor="ctr"/>
          <a:lstStyle/>
          <a:p>
            <a:pPr algn="ctr" defTabSz="914400">
              <a:spcBef>
                <a:spcPct val="0"/>
              </a:spcBef>
              <a:defRPr/>
            </a:pPr>
            <a:r>
              <a:rPr lang="en-GB" sz="900" b="1" kern="0" dirty="0" err="1" smtClean="0">
                <a:solidFill>
                  <a:schemeClr val="bg2">
                    <a:lumMod val="25000"/>
                  </a:schemeClr>
                </a:solidFill>
                <a:latin typeface="+mj-lt"/>
                <a:ea typeface="ＭＳ Ｐゴシック" pitchFamily="34" charset="-128"/>
                <a:cs typeface="Arial" panose="020B0604020202020204" pitchFamily="34" charset="0"/>
              </a:rPr>
              <a:t>Piotroski</a:t>
            </a:r>
            <a:endParaRPr lang="en-GB" sz="900" b="1" kern="0" dirty="0" smtClean="0">
              <a:solidFill>
                <a:schemeClr val="bg2">
                  <a:lumMod val="25000"/>
                </a:schemeClr>
              </a:solidFill>
              <a:latin typeface="+mj-lt"/>
              <a:ea typeface="ＭＳ Ｐゴシック" pitchFamily="34" charset="-128"/>
              <a:cs typeface="Arial" panose="020B0604020202020204" pitchFamily="34" charset="0"/>
            </a:endParaRPr>
          </a:p>
        </p:txBody>
      </p:sp>
      <p:sp>
        <p:nvSpPr>
          <p:cNvPr id="95" name="Organigramme : Processus 94"/>
          <p:cNvSpPr/>
          <p:nvPr/>
        </p:nvSpPr>
        <p:spPr>
          <a:xfrm>
            <a:off x="2141283" y="4466273"/>
            <a:ext cx="1465775" cy="306608"/>
          </a:xfrm>
          <a:prstGeom prst="flowChartProcess">
            <a:avLst/>
          </a:prstGeom>
          <a:solidFill>
            <a:schemeClr val="bg1">
              <a:lumMod val="65000"/>
            </a:schemeClr>
          </a:solidFill>
          <a:ln w="25400" cap="flat" cmpd="sng" algn="ctr">
            <a:noFill/>
            <a:prstDash val="solid"/>
          </a:ln>
          <a:effectLst/>
        </p:spPr>
        <p:txBody>
          <a:bodyPr lIns="0" tIns="0" rIns="0" bIns="0" rtlCol="0" anchor="ctr"/>
          <a:lstStyle/>
          <a:p>
            <a:pPr algn="ctr" defTabSz="914400">
              <a:spcBef>
                <a:spcPct val="0"/>
              </a:spcBef>
              <a:defRPr/>
            </a:pPr>
            <a:r>
              <a:rPr lang="en-GB" sz="900" b="1" kern="0" dirty="0" smtClean="0">
                <a:solidFill>
                  <a:schemeClr val="bg2">
                    <a:lumMod val="25000"/>
                  </a:schemeClr>
                </a:solidFill>
                <a:latin typeface="+mj-lt"/>
                <a:ea typeface="ＭＳ Ｐゴシック" pitchFamily="34" charset="-128"/>
                <a:cs typeface="Arial" panose="020B0604020202020204" pitchFamily="34" charset="0"/>
              </a:rPr>
              <a:t>Price Momentum</a:t>
            </a:r>
          </a:p>
        </p:txBody>
      </p:sp>
      <p:sp>
        <p:nvSpPr>
          <p:cNvPr id="96" name="Organigramme : Processus 95"/>
          <p:cNvSpPr/>
          <p:nvPr/>
        </p:nvSpPr>
        <p:spPr>
          <a:xfrm>
            <a:off x="2141283" y="4862317"/>
            <a:ext cx="1465733" cy="315321"/>
          </a:xfrm>
          <a:prstGeom prst="flowChartProcess">
            <a:avLst/>
          </a:prstGeom>
          <a:solidFill>
            <a:schemeClr val="bg1">
              <a:lumMod val="75000"/>
            </a:schemeClr>
          </a:solidFill>
          <a:ln w="25400" cap="flat" cmpd="sng" algn="ctr">
            <a:noFill/>
            <a:prstDash val="solid"/>
          </a:ln>
          <a:effectLst/>
        </p:spPr>
        <p:txBody>
          <a:bodyPr lIns="0" tIns="0" rIns="0" bIns="0" rtlCol="0" anchor="ctr"/>
          <a:lstStyle/>
          <a:p>
            <a:pPr algn="ctr" defTabSz="914400">
              <a:spcBef>
                <a:spcPct val="0"/>
              </a:spcBef>
              <a:defRPr/>
            </a:pPr>
            <a:r>
              <a:rPr lang="en-GB" sz="900" b="1" kern="0" dirty="0" smtClean="0">
                <a:solidFill>
                  <a:schemeClr val="bg2">
                    <a:lumMod val="25000"/>
                  </a:schemeClr>
                </a:solidFill>
                <a:latin typeface="+mj-lt"/>
                <a:ea typeface="ＭＳ Ｐゴシック" pitchFamily="34" charset="-128"/>
                <a:cs typeface="Arial" panose="020B0604020202020204" pitchFamily="34" charset="0"/>
              </a:rPr>
              <a:t>Earnings revision Momentum</a:t>
            </a:r>
            <a:endParaRPr lang="en-GB" sz="900" b="1" kern="0" dirty="0">
              <a:solidFill>
                <a:schemeClr val="bg2">
                  <a:lumMod val="25000"/>
                </a:schemeClr>
              </a:solidFill>
              <a:latin typeface="+mj-lt"/>
              <a:ea typeface="ＭＳ Ｐゴシック" pitchFamily="34" charset="-128"/>
              <a:cs typeface="Arial" panose="020B0604020202020204" pitchFamily="34" charset="0"/>
            </a:endParaRPr>
          </a:p>
        </p:txBody>
      </p:sp>
      <p:sp>
        <p:nvSpPr>
          <p:cNvPr id="97" name="Rectangle à coins arrondis 96"/>
          <p:cNvSpPr/>
          <p:nvPr/>
        </p:nvSpPr>
        <p:spPr>
          <a:xfrm>
            <a:off x="3889349" y="4873420"/>
            <a:ext cx="1363737" cy="321431"/>
          </a:xfrm>
          <a:prstGeom prst="roundRect">
            <a:avLst/>
          </a:prstGeom>
          <a:solidFill>
            <a:schemeClr val="accent3">
              <a:lumMod val="60000"/>
              <a:lumOff val="40000"/>
            </a:schemeClr>
          </a:solidFill>
          <a:ln w="25400" cap="flat" cmpd="sng" algn="ctr">
            <a:noFill/>
            <a:prstDash val="solid"/>
          </a:ln>
          <a:effectLst/>
        </p:spPr>
        <p:txBody>
          <a:bodyPr rtlCol="0" anchor="ctr"/>
          <a:lstStyle/>
          <a:p>
            <a:pPr algn="ctr" defTabSz="914400">
              <a:spcBef>
                <a:spcPct val="0"/>
              </a:spcBef>
              <a:defRPr/>
            </a:pPr>
            <a:r>
              <a:rPr lang="en-GB" sz="1050" b="1" kern="0" dirty="0" smtClean="0">
                <a:solidFill>
                  <a:schemeClr val="bg2">
                    <a:lumMod val="25000"/>
                  </a:schemeClr>
                </a:solidFill>
                <a:latin typeface="+mj-lt"/>
                <a:ea typeface="ＭＳ Ｐゴシック" pitchFamily="34" charset="-128"/>
                <a:cs typeface="Arial" panose="020B0604020202020204" pitchFamily="34" charset="0"/>
              </a:rPr>
              <a:t>MOMENTUM</a:t>
            </a:r>
            <a:endParaRPr lang="en-GB" sz="1200" b="1" kern="0" dirty="0" smtClean="0">
              <a:solidFill>
                <a:schemeClr val="bg2">
                  <a:lumMod val="25000"/>
                </a:schemeClr>
              </a:solidFill>
              <a:latin typeface="+mj-lt"/>
              <a:ea typeface="ＭＳ Ｐゴシック" pitchFamily="34" charset="-128"/>
              <a:cs typeface="Arial" panose="020B0604020202020204" pitchFamily="34" charset="0"/>
            </a:endParaRPr>
          </a:p>
        </p:txBody>
      </p:sp>
      <p:sp>
        <p:nvSpPr>
          <p:cNvPr id="98" name="Rectangle à coins arrondis 97"/>
          <p:cNvSpPr/>
          <p:nvPr/>
        </p:nvSpPr>
        <p:spPr>
          <a:xfrm>
            <a:off x="3889349" y="4477561"/>
            <a:ext cx="1362030" cy="320936"/>
          </a:xfrm>
          <a:prstGeom prst="roundRect">
            <a:avLst/>
          </a:prstGeom>
          <a:solidFill>
            <a:schemeClr val="accent3">
              <a:lumMod val="75000"/>
            </a:schemeClr>
          </a:solidFill>
          <a:ln w="25400" cap="flat" cmpd="sng" algn="ctr">
            <a:noFill/>
            <a:prstDash val="solid"/>
          </a:ln>
          <a:effectLst/>
        </p:spPr>
        <p:txBody>
          <a:bodyPr rtlCol="0" anchor="ctr"/>
          <a:lstStyle/>
          <a:p>
            <a:pPr algn="ctr" defTabSz="914400" fontAlgn="base">
              <a:spcBef>
                <a:spcPct val="0"/>
              </a:spcBef>
              <a:spcAft>
                <a:spcPct val="0"/>
              </a:spcAft>
              <a:defRPr/>
            </a:pPr>
            <a:r>
              <a:rPr lang="en-GB" sz="1050" b="1" kern="0" dirty="0" smtClean="0">
                <a:solidFill>
                  <a:schemeClr val="bg2">
                    <a:lumMod val="25000"/>
                  </a:schemeClr>
                </a:solidFill>
                <a:latin typeface="+mj-lt"/>
                <a:ea typeface="ＭＳ Ｐゴシック" pitchFamily="34" charset="-128"/>
                <a:cs typeface="Arial" panose="020B0604020202020204" pitchFamily="34" charset="0"/>
              </a:rPr>
              <a:t>AGGRESSIVE</a:t>
            </a:r>
            <a:endParaRPr lang="en-GB" sz="900" b="1" kern="0" dirty="0" smtClean="0">
              <a:solidFill>
                <a:schemeClr val="bg2">
                  <a:lumMod val="25000"/>
                </a:schemeClr>
              </a:solidFill>
              <a:latin typeface="+mj-lt"/>
              <a:ea typeface="ＭＳ Ｐゴシック" pitchFamily="34" charset="-128"/>
              <a:cs typeface="Arial" panose="020B0604020202020204" pitchFamily="34" charset="0"/>
            </a:endParaRPr>
          </a:p>
        </p:txBody>
      </p:sp>
      <p:sp>
        <p:nvSpPr>
          <p:cNvPr id="110" name="Rectangle 109"/>
          <p:cNvSpPr/>
          <p:nvPr/>
        </p:nvSpPr>
        <p:spPr>
          <a:xfrm>
            <a:off x="7193026" y="4401176"/>
            <a:ext cx="1569475" cy="860617"/>
          </a:xfrm>
          <a:prstGeom prst="rect">
            <a:avLst/>
          </a:prstGeom>
          <a:noFill/>
          <a:ln w="25400" cap="flat" cmpd="sng" algn="ctr">
            <a:solidFill>
              <a:schemeClr val="accent2">
                <a:lumMod val="50000"/>
              </a:schemeClr>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GB" sz="1050" b="0" i="0" u="none" strike="noStrike" kern="0" cap="none" spc="0" normalizeH="0" baseline="0" dirty="0" smtClean="0">
              <a:ln>
                <a:noFill/>
              </a:ln>
              <a:solidFill>
                <a:schemeClr val="bg2">
                  <a:lumMod val="25000"/>
                </a:schemeClr>
              </a:solidFill>
              <a:effectLst/>
              <a:uLnTx/>
              <a:uFillTx/>
              <a:latin typeface="+mj-lt"/>
              <a:ea typeface="+mn-ea"/>
              <a:cs typeface="+mn-cs"/>
            </a:endParaRPr>
          </a:p>
        </p:txBody>
      </p:sp>
      <p:sp>
        <p:nvSpPr>
          <p:cNvPr id="111" name="Organigramme : Processus 110"/>
          <p:cNvSpPr/>
          <p:nvPr/>
        </p:nvSpPr>
        <p:spPr>
          <a:xfrm>
            <a:off x="7244221" y="4489304"/>
            <a:ext cx="1465775" cy="283577"/>
          </a:xfrm>
          <a:prstGeom prst="flowChartProcess">
            <a:avLst/>
          </a:prstGeom>
          <a:solidFill>
            <a:schemeClr val="accent2">
              <a:lumMod val="60000"/>
              <a:lumOff val="40000"/>
            </a:schemeClr>
          </a:solidFill>
          <a:ln w="25400" cap="flat" cmpd="sng" algn="ctr">
            <a:noFill/>
            <a:prstDash val="solid"/>
          </a:ln>
          <a:effectLst/>
        </p:spPr>
        <p:txBody>
          <a:bodyPr lIns="0" tIns="0" rIns="0" bIns="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dirty="0" smtClean="0">
                <a:ln>
                  <a:noFill/>
                </a:ln>
                <a:solidFill>
                  <a:schemeClr val="bg2">
                    <a:lumMod val="25000"/>
                  </a:schemeClr>
                </a:solidFill>
                <a:effectLst/>
                <a:uLnTx/>
                <a:uFillTx/>
                <a:latin typeface="+mj-lt"/>
                <a:ea typeface="ＭＳ Ｐゴシック" pitchFamily="34" charset="-128"/>
                <a:cs typeface="Arial" panose="020B0604020202020204" pitchFamily="34" charset="0"/>
              </a:rPr>
              <a:t>Value</a:t>
            </a:r>
            <a:endParaRPr kumimoji="0" lang="en-GB" sz="900" b="1" i="0" u="none" strike="noStrike" kern="0" cap="none" spc="0" normalizeH="0" baseline="0" dirty="0">
              <a:ln>
                <a:noFill/>
              </a:ln>
              <a:solidFill>
                <a:schemeClr val="bg2">
                  <a:lumMod val="25000"/>
                </a:schemeClr>
              </a:solidFill>
              <a:effectLst/>
              <a:uLnTx/>
              <a:uFillTx/>
              <a:latin typeface="+mj-lt"/>
              <a:ea typeface="ＭＳ Ｐゴシック" pitchFamily="34" charset="-128"/>
              <a:cs typeface="Arial" panose="020B0604020202020204" pitchFamily="34" charset="0"/>
            </a:endParaRPr>
          </a:p>
        </p:txBody>
      </p:sp>
      <p:sp>
        <p:nvSpPr>
          <p:cNvPr id="112" name="Organigramme : Processus 111"/>
          <p:cNvSpPr/>
          <p:nvPr/>
        </p:nvSpPr>
        <p:spPr>
          <a:xfrm>
            <a:off x="7244221" y="4862317"/>
            <a:ext cx="1465775" cy="288447"/>
          </a:xfrm>
          <a:prstGeom prst="flowChartProcess">
            <a:avLst/>
          </a:prstGeom>
          <a:solidFill>
            <a:schemeClr val="accent2">
              <a:lumMod val="40000"/>
              <a:lumOff val="60000"/>
            </a:schemeClr>
          </a:solidFill>
          <a:ln w="25400" cap="flat" cmpd="sng" algn="ctr">
            <a:noFill/>
            <a:prstDash val="solid"/>
          </a:ln>
          <a:effectLst/>
        </p:spPr>
        <p:txBody>
          <a:bodyPr lIns="0" tIns="0" rIns="0" bIns="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dirty="0" smtClean="0">
                <a:ln>
                  <a:noFill/>
                </a:ln>
                <a:solidFill>
                  <a:schemeClr val="bg2">
                    <a:lumMod val="25000"/>
                  </a:schemeClr>
                </a:solidFill>
                <a:effectLst/>
                <a:uLnTx/>
                <a:uFillTx/>
                <a:latin typeface="+mj-lt"/>
                <a:ea typeface="ＭＳ Ｐゴシック" pitchFamily="34" charset="-128"/>
                <a:cs typeface="Arial" panose="020B0604020202020204" pitchFamily="34" charset="0"/>
              </a:rPr>
              <a:t>Deep Value</a:t>
            </a:r>
            <a:endParaRPr kumimoji="0" lang="en-GB" sz="900" b="1" i="0" u="none" strike="noStrike" kern="0" cap="none" spc="0" normalizeH="0" baseline="0" dirty="0">
              <a:ln>
                <a:noFill/>
              </a:ln>
              <a:solidFill>
                <a:schemeClr val="bg2">
                  <a:lumMod val="25000"/>
                </a:schemeClr>
              </a:solidFill>
              <a:effectLst/>
              <a:uLnTx/>
              <a:uFillTx/>
              <a:latin typeface="+mj-lt"/>
              <a:ea typeface="ＭＳ Ｐゴシック" pitchFamily="34" charset="-128"/>
              <a:cs typeface="Arial" panose="020B0604020202020204" pitchFamily="34" charset="0"/>
            </a:endParaRPr>
          </a:p>
        </p:txBody>
      </p:sp>
      <p:sp>
        <p:nvSpPr>
          <p:cNvPr id="114" name="Rectangle à coins arrondis 113"/>
          <p:cNvSpPr/>
          <p:nvPr/>
        </p:nvSpPr>
        <p:spPr>
          <a:xfrm>
            <a:off x="2091241" y="3393272"/>
            <a:ext cx="1566976" cy="420516"/>
          </a:xfrm>
          <a:prstGeom prst="roundRect">
            <a:avLst/>
          </a:prstGeom>
          <a:solidFill>
            <a:schemeClr val="bg1">
              <a:lumMod val="50000"/>
            </a:schemeClr>
          </a:solidFill>
          <a:ln w="25400" cap="flat" cmpd="sng" algn="ctr">
            <a:noFill/>
            <a:prstDash val="solid"/>
          </a:ln>
          <a:effectLst/>
        </p:spPr>
        <p:txBody>
          <a:bodyPr rtlCol="0" anchor="ctr"/>
          <a:lstStyle/>
          <a:p>
            <a:pPr algn="ctr" defTabSz="914400">
              <a:spcBef>
                <a:spcPct val="0"/>
              </a:spcBef>
              <a:defRPr/>
            </a:pPr>
            <a:r>
              <a:rPr lang="en-GB" sz="1400" b="1" kern="0" dirty="0" smtClean="0">
                <a:solidFill>
                  <a:srgbClr val="FFFFFF"/>
                </a:solidFill>
                <a:latin typeface="+mj-lt"/>
                <a:ea typeface="ＭＳ Ｐゴシック" pitchFamily="34" charset="-128"/>
                <a:cs typeface="Arial" panose="020B0604020202020204" pitchFamily="34" charset="0"/>
              </a:rPr>
              <a:t>MOMENTUM</a:t>
            </a:r>
            <a:endParaRPr lang="en-GB" sz="1100" b="1" kern="0" dirty="0" smtClean="0">
              <a:solidFill>
                <a:srgbClr val="FFFFFF"/>
              </a:solidFill>
              <a:latin typeface="+mj-lt"/>
              <a:ea typeface="ＭＳ Ｐゴシック" pitchFamily="34" charset="-128"/>
              <a:cs typeface="Arial" panose="020B0604020202020204" pitchFamily="34" charset="0"/>
            </a:endParaRPr>
          </a:p>
        </p:txBody>
      </p:sp>
      <p:sp>
        <p:nvSpPr>
          <p:cNvPr id="115" name="Rectangle à coins arrondis 114"/>
          <p:cNvSpPr/>
          <p:nvPr/>
        </p:nvSpPr>
        <p:spPr>
          <a:xfrm>
            <a:off x="3790051" y="3393272"/>
            <a:ext cx="1569477" cy="420516"/>
          </a:xfrm>
          <a:prstGeom prst="roundRect">
            <a:avLst/>
          </a:prstGeom>
          <a:solidFill>
            <a:schemeClr val="accent3">
              <a:lumMod val="50000"/>
            </a:schemeClr>
          </a:solidFill>
          <a:ln w="25400" cap="flat" cmpd="sng" algn="ctr">
            <a:noFill/>
            <a:prstDash val="solid"/>
          </a:ln>
          <a:effectLst/>
        </p:spPr>
        <p:txBody>
          <a:bodyPr rtlCol="0" anchor="ctr"/>
          <a:lstStyle/>
          <a:p>
            <a:pPr algn="ctr" defTabSz="914400">
              <a:spcBef>
                <a:spcPct val="0"/>
              </a:spcBef>
              <a:defRPr/>
            </a:pPr>
            <a:r>
              <a:rPr lang="en-GB" sz="1400" b="1" kern="0" dirty="0" smtClean="0">
                <a:solidFill>
                  <a:srgbClr val="FFFFFF"/>
                </a:solidFill>
                <a:latin typeface="+mj-lt"/>
                <a:ea typeface="ＭＳ Ｐゴシック" pitchFamily="34" charset="-128"/>
                <a:cs typeface="Arial" panose="020B0604020202020204" pitchFamily="34" charset="0"/>
              </a:rPr>
              <a:t>BLEND</a:t>
            </a:r>
            <a:endParaRPr lang="en-GB" sz="1400" b="1" kern="0" dirty="0">
              <a:solidFill>
                <a:srgbClr val="FFFFFF"/>
              </a:solidFill>
              <a:latin typeface="+mj-lt"/>
              <a:ea typeface="ＭＳ Ｐゴシック" pitchFamily="34" charset="-128"/>
              <a:cs typeface="Arial" panose="020B0604020202020204" pitchFamily="34" charset="0"/>
            </a:endParaRPr>
          </a:p>
        </p:txBody>
      </p:sp>
      <p:sp>
        <p:nvSpPr>
          <p:cNvPr id="116" name="Rectangle à coins arrondis 115"/>
          <p:cNvSpPr/>
          <p:nvPr/>
        </p:nvSpPr>
        <p:spPr>
          <a:xfrm>
            <a:off x="5491362" y="3393272"/>
            <a:ext cx="1569841" cy="420516"/>
          </a:xfrm>
          <a:prstGeom prst="roundRect">
            <a:avLst/>
          </a:prstGeom>
          <a:solidFill>
            <a:schemeClr val="accent3"/>
          </a:solidFill>
          <a:ln w="25400" cap="flat" cmpd="sng" algn="ctr">
            <a:noFill/>
            <a:prstDash val="solid"/>
          </a:ln>
          <a:effectLst/>
        </p:spPr>
        <p:txBody>
          <a:bodyPr rtlCol="0" anchor="ctr"/>
          <a:lstStyle/>
          <a:p>
            <a:pPr algn="ctr" defTabSz="914400" fontAlgn="base">
              <a:spcBef>
                <a:spcPct val="0"/>
              </a:spcBef>
              <a:spcAft>
                <a:spcPct val="0"/>
              </a:spcAft>
              <a:defRPr/>
            </a:pPr>
            <a:r>
              <a:rPr lang="en-GB" sz="1400" b="1" kern="0" dirty="0" smtClean="0">
                <a:solidFill>
                  <a:srgbClr val="FFFFFF"/>
                </a:solidFill>
                <a:latin typeface="+mj-lt"/>
                <a:ea typeface="ＭＳ Ｐゴシック" pitchFamily="34" charset="-128"/>
                <a:cs typeface="Arial" panose="020B0604020202020204" pitchFamily="34" charset="0"/>
              </a:rPr>
              <a:t>AGGRESSIVE</a:t>
            </a:r>
            <a:endParaRPr lang="en-GB" sz="1100" b="1" kern="0" dirty="0" smtClean="0">
              <a:solidFill>
                <a:srgbClr val="FFFFFF"/>
              </a:solidFill>
              <a:latin typeface="+mj-lt"/>
              <a:ea typeface="ＭＳ Ｐゴシック" pitchFamily="34" charset="-128"/>
              <a:cs typeface="Arial" panose="020B0604020202020204" pitchFamily="34" charset="0"/>
            </a:endParaRPr>
          </a:p>
        </p:txBody>
      </p:sp>
      <p:sp>
        <p:nvSpPr>
          <p:cNvPr id="117" name="Rectangle à coins arrondis 116"/>
          <p:cNvSpPr/>
          <p:nvPr/>
        </p:nvSpPr>
        <p:spPr>
          <a:xfrm>
            <a:off x="389566" y="3393272"/>
            <a:ext cx="1569841" cy="420516"/>
          </a:xfrm>
          <a:prstGeom prst="roundRect">
            <a:avLst/>
          </a:prstGeom>
          <a:solidFill>
            <a:schemeClr val="accent4">
              <a:lumMod val="50000"/>
            </a:schemeClr>
          </a:solidFill>
          <a:ln w="25400" cap="flat" cmpd="sng" algn="ctr">
            <a:noFill/>
            <a:prstDash val="solid"/>
          </a:ln>
          <a:effectLst/>
        </p:spPr>
        <p:txBody>
          <a:bodyPr rtlCol="0" anchor="ctr"/>
          <a:lstStyle/>
          <a:p>
            <a:pPr algn="ctr" defTabSz="914400">
              <a:spcBef>
                <a:spcPct val="0"/>
              </a:spcBef>
              <a:defRPr/>
            </a:pPr>
            <a:r>
              <a:rPr lang="en-GB" sz="1400" b="1" kern="0" dirty="0" smtClean="0">
                <a:solidFill>
                  <a:srgbClr val="FFFFFF"/>
                </a:solidFill>
                <a:latin typeface="+mj-lt"/>
                <a:ea typeface="ＭＳ Ｐゴシック" pitchFamily="34" charset="-128"/>
                <a:cs typeface="Arial" panose="020B0604020202020204" pitchFamily="34" charset="0"/>
              </a:rPr>
              <a:t>DEFENSIVE</a:t>
            </a:r>
            <a:endParaRPr lang="en-GB" sz="1100" b="1" kern="0" dirty="0" smtClean="0">
              <a:solidFill>
                <a:srgbClr val="FFFFFF"/>
              </a:solidFill>
              <a:latin typeface="+mj-lt"/>
              <a:ea typeface="ＭＳ Ｐゴシック" pitchFamily="34" charset="-128"/>
              <a:cs typeface="Arial" panose="020B0604020202020204" pitchFamily="34" charset="0"/>
            </a:endParaRPr>
          </a:p>
        </p:txBody>
      </p:sp>
      <p:sp>
        <p:nvSpPr>
          <p:cNvPr id="118" name="Rectangle à coins arrondis 117"/>
          <p:cNvSpPr/>
          <p:nvPr/>
        </p:nvSpPr>
        <p:spPr>
          <a:xfrm>
            <a:off x="7193038" y="3393272"/>
            <a:ext cx="1569841" cy="420516"/>
          </a:xfrm>
          <a:prstGeom prst="roundRect">
            <a:avLst/>
          </a:prstGeom>
          <a:solidFill>
            <a:schemeClr val="accent2">
              <a:lumMod val="50000"/>
            </a:scheme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0" u="none" strike="noStrike" kern="0" cap="none" spc="0" normalizeH="0" baseline="0" dirty="0" smtClean="0">
                <a:ln>
                  <a:noFill/>
                </a:ln>
                <a:solidFill>
                  <a:srgbClr val="FFFFFF"/>
                </a:solidFill>
                <a:effectLst/>
                <a:uLnTx/>
                <a:uFillTx/>
                <a:latin typeface="+mj-lt"/>
                <a:ea typeface="ＭＳ Ｐゴシック" pitchFamily="34" charset="-128"/>
                <a:cs typeface="Arial" panose="020B0604020202020204" pitchFamily="34" charset="0"/>
              </a:rPr>
              <a:t>DEEP VALUE</a:t>
            </a:r>
            <a:endParaRPr kumimoji="0" lang="en-GB" sz="1100" b="1" i="0" u="none" strike="noStrike" kern="0" cap="none" spc="0" normalizeH="0" baseline="0" dirty="0" smtClean="0">
              <a:ln>
                <a:noFill/>
              </a:ln>
              <a:solidFill>
                <a:srgbClr val="FFFFFF"/>
              </a:solidFill>
              <a:effectLst/>
              <a:uLnTx/>
              <a:uFillTx/>
              <a:latin typeface="+mj-lt"/>
              <a:ea typeface="ＭＳ Ｐゴシック" pitchFamily="34" charset="-128"/>
              <a:cs typeface="Arial" panose="020B0604020202020204" pitchFamily="34" charset="0"/>
            </a:endParaRPr>
          </a:p>
        </p:txBody>
      </p:sp>
      <p:sp>
        <p:nvSpPr>
          <p:cNvPr id="119" name="ZoneTexte 118"/>
          <p:cNvSpPr txBox="1"/>
          <p:nvPr/>
        </p:nvSpPr>
        <p:spPr>
          <a:xfrm>
            <a:off x="2720436" y="3048692"/>
            <a:ext cx="3703128" cy="313932"/>
          </a:xfrm>
          <a:prstGeom prst="rect">
            <a:avLst/>
          </a:prstGeom>
          <a:noFill/>
        </p:spPr>
        <p:txBody>
          <a:bodyPr wrap="square" rtlCol="0">
            <a:spAutoFit/>
          </a:bodyPr>
          <a:lstStyle/>
          <a:p>
            <a:pPr algn="ctr" defTabSz="914400" eaLnBrk="0" fontAlgn="base" hangingPunct="0">
              <a:lnSpc>
                <a:spcPct val="90000"/>
              </a:lnSpc>
              <a:spcBef>
                <a:spcPct val="50000"/>
              </a:spcBef>
              <a:spcAft>
                <a:spcPct val="0"/>
              </a:spcAft>
              <a:buClr>
                <a:srgbClr val="00B0E7"/>
              </a:buClr>
              <a:buFont typeface="Marlett" pitchFamily="2" charset="2"/>
              <a:buNone/>
            </a:pPr>
            <a:r>
              <a:rPr lang="en-GB" sz="1600" b="1" dirty="0" smtClean="0">
                <a:latin typeface="+mj-lt"/>
                <a:ea typeface="ＭＳ Ｐゴシック" pitchFamily="34" charset="-128"/>
              </a:rPr>
              <a:t>5 multi-factor combinations</a:t>
            </a:r>
            <a:endParaRPr lang="en-GB" sz="1600" b="1" dirty="0">
              <a:latin typeface="+mj-lt"/>
              <a:ea typeface="ＭＳ Ｐゴシック" pitchFamily="34" charset="-128"/>
            </a:endParaRPr>
          </a:p>
        </p:txBody>
      </p:sp>
      <p:sp>
        <p:nvSpPr>
          <p:cNvPr id="120" name="Triangle isocèle 119"/>
          <p:cNvSpPr/>
          <p:nvPr/>
        </p:nvSpPr>
        <p:spPr>
          <a:xfrm rot="10800000">
            <a:off x="7747348" y="3978861"/>
            <a:ext cx="461221" cy="287736"/>
          </a:xfrm>
          <a:prstGeom prst="triangle">
            <a:avLst/>
          </a:prstGeom>
          <a:noFill/>
          <a:ln w="25400" cap="flat" cmpd="sng" algn="ctr">
            <a:solidFill>
              <a:schemeClr val="accent2">
                <a:lumMod val="50000"/>
              </a:schemeClr>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GB" sz="1050" b="0" i="0" u="none" strike="noStrike" kern="0" cap="none" spc="0" normalizeH="0" baseline="0" dirty="0" smtClean="0">
              <a:ln>
                <a:noFill/>
              </a:ln>
              <a:solidFill>
                <a:srgbClr val="FFFFFF"/>
              </a:solidFill>
              <a:effectLst/>
              <a:uLnTx/>
              <a:uFillTx/>
              <a:latin typeface="+mj-lt"/>
              <a:ea typeface="+mn-ea"/>
              <a:cs typeface="+mn-cs"/>
            </a:endParaRPr>
          </a:p>
        </p:txBody>
      </p:sp>
      <p:sp>
        <p:nvSpPr>
          <p:cNvPr id="121" name="Triangle isocèle 120"/>
          <p:cNvSpPr/>
          <p:nvPr/>
        </p:nvSpPr>
        <p:spPr>
          <a:xfrm rot="10800000">
            <a:off x="6045672" y="3978861"/>
            <a:ext cx="461221" cy="287736"/>
          </a:xfrm>
          <a:prstGeom prst="triangle">
            <a:avLst/>
          </a:prstGeom>
          <a:noFill/>
          <a:ln w="25400" cap="flat" cmpd="sng" algn="ctr">
            <a:solidFill>
              <a:schemeClr val="accent3"/>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GB" sz="1050" b="0" i="0" u="none" strike="noStrike" kern="0" cap="none" spc="0" normalizeH="0" baseline="0" dirty="0" smtClean="0">
              <a:ln>
                <a:noFill/>
              </a:ln>
              <a:solidFill>
                <a:srgbClr val="FFFFFF"/>
              </a:solidFill>
              <a:effectLst/>
              <a:uLnTx/>
              <a:uFillTx/>
              <a:latin typeface="+mj-lt"/>
              <a:ea typeface="+mn-ea"/>
              <a:cs typeface="+mn-cs"/>
            </a:endParaRPr>
          </a:p>
        </p:txBody>
      </p:sp>
      <p:sp>
        <p:nvSpPr>
          <p:cNvPr id="122" name="Triangle isocèle 121"/>
          <p:cNvSpPr/>
          <p:nvPr/>
        </p:nvSpPr>
        <p:spPr>
          <a:xfrm rot="10800000">
            <a:off x="4344179" y="3969336"/>
            <a:ext cx="461221" cy="287736"/>
          </a:xfrm>
          <a:prstGeom prst="triangle">
            <a:avLst/>
          </a:prstGeom>
          <a:noFill/>
          <a:ln w="25400" cap="flat" cmpd="sng" algn="ctr">
            <a:solidFill>
              <a:schemeClr val="accent3">
                <a:lumMod val="50000"/>
              </a:schemeClr>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GB" sz="1050" b="0" i="0" u="none" strike="noStrike" kern="0" cap="none" spc="0" normalizeH="0" baseline="0" dirty="0" smtClean="0">
              <a:ln>
                <a:noFill/>
              </a:ln>
              <a:solidFill>
                <a:srgbClr val="FFFFFF"/>
              </a:solidFill>
              <a:effectLst/>
              <a:uLnTx/>
              <a:uFillTx/>
              <a:latin typeface="+mj-lt"/>
              <a:ea typeface="+mn-ea"/>
              <a:cs typeface="+mn-cs"/>
            </a:endParaRPr>
          </a:p>
        </p:txBody>
      </p:sp>
      <p:sp>
        <p:nvSpPr>
          <p:cNvPr id="123" name="Triangle isocèle 122"/>
          <p:cNvSpPr/>
          <p:nvPr/>
        </p:nvSpPr>
        <p:spPr>
          <a:xfrm rot="10800000">
            <a:off x="2644119" y="3969336"/>
            <a:ext cx="461221" cy="287736"/>
          </a:xfrm>
          <a:prstGeom prst="triangle">
            <a:avLst/>
          </a:prstGeom>
          <a:noFill/>
          <a:ln w="25400" cap="flat" cmpd="sng" algn="ctr">
            <a:solidFill>
              <a:schemeClr val="bg1">
                <a:lumMod val="50000"/>
              </a:schemeClr>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GB" sz="1050" b="0" i="0" u="none" strike="noStrike" kern="0" cap="none" spc="0" normalizeH="0" baseline="0" dirty="0" smtClean="0">
              <a:ln>
                <a:noFill/>
              </a:ln>
              <a:solidFill>
                <a:srgbClr val="FFFFFF"/>
              </a:solidFill>
              <a:effectLst/>
              <a:uLnTx/>
              <a:uFillTx/>
              <a:latin typeface="+mj-lt"/>
              <a:ea typeface="+mn-ea"/>
              <a:cs typeface="+mn-cs"/>
            </a:endParaRPr>
          </a:p>
        </p:txBody>
      </p:sp>
      <p:sp>
        <p:nvSpPr>
          <p:cNvPr id="124" name="Triangle isocèle 123"/>
          <p:cNvSpPr/>
          <p:nvPr/>
        </p:nvSpPr>
        <p:spPr>
          <a:xfrm rot="10800000">
            <a:off x="943876" y="3969336"/>
            <a:ext cx="461221" cy="287736"/>
          </a:xfrm>
          <a:prstGeom prst="triangle">
            <a:avLst/>
          </a:prstGeom>
          <a:noFill/>
          <a:ln w="25400" cap="flat" cmpd="sng" algn="ctr">
            <a:solidFill>
              <a:schemeClr val="accent4">
                <a:lumMod val="50000"/>
              </a:schemeClr>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GB" sz="1050" b="0" i="0" u="none" strike="noStrike" kern="0" cap="none" spc="0" normalizeH="0" baseline="0" dirty="0" smtClean="0">
              <a:ln>
                <a:noFill/>
              </a:ln>
              <a:solidFill>
                <a:srgbClr val="FFFFFF"/>
              </a:solidFill>
              <a:effectLst/>
              <a:uLnTx/>
              <a:uFillTx/>
              <a:latin typeface="+mj-lt"/>
              <a:ea typeface="+mn-ea"/>
              <a:cs typeface="+mn-cs"/>
            </a:endParaRPr>
          </a:p>
        </p:txBody>
      </p:sp>
      <p:pic>
        <p:nvPicPr>
          <p:cNvPr id="12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31434" y="3813788"/>
            <a:ext cx="490624" cy="24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6" name="Picture 3"/>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7679" y="3813788"/>
            <a:ext cx="490569" cy="241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1" name="Double flèche verticale 130"/>
          <p:cNvSpPr/>
          <p:nvPr/>
        </p:nvSpPr>
        <p:spPr>
          <a:xfrm rot="5400000">
            <a:off x="4103829" y="-2015567"/>
            <a:ext cx="940566" cy="8373316"/>
          </a:xfrm>
          <a:prstGeom prst="upDownArrow">
            <a:avLst/>
          </a:prstGeom>
          <a:gradFill>
            <a:gsLst>
              <a:gs pos="0">
                <a:schemeClr val="accent3"/>
              </a:gs>
              <a:gs pos="73000">
                <a:srgbClr val="B8CBC2">
                  <a:tint val="44500"/>
                  <a:satMod val="160000"/>
                  <a:alpha val="50000"/>
                </a:srgbClr>
              </a:gs>
              <a:gs pos="100000">
                <a:schemeClr val="accent4">
                  <a:lumMod val="50000"/>
                </a:schemeClr>
              </a:gs>
            </a:gsLst>
            <a:lin ang="5400000" scaled="0"/>
          </a:gradFill>
          <a:ln w="25400" cap="flat" cmpd="sng" algn="ctr">
            <a:no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GB" sz="1050" b="0" i="0" u="none" strike="noStrike" kern="0" cap="none" spc="0" normalizeH="0" baseline="0" dirty="0" smtClean="0">
              <a:ln>
                <a:noFill/>
              </a:ln>
              <a:solidFill>
                <a:srgbClr val="FFFFFF"/>
              </a:solidFill>
              <a:effectLst/>
              <a:uLnTx/>
              <a:uFillTx/>
              <a:latin typeface="+mj-lt"/>
              <a:ea typeface="+mn-ea"/>
              <a:cs typeface="+mn-cs"/>
            </a:endParaRPr>
          </a:p>
        </p:txBody>
      </p:sp>
      <p:sp>
        <p:nvSpPr>
          <p:cNvPr id="132" name="ZoneTexte 131"/>
          <p:cNvSpPr txBox="1"/>
          <p:nvPr/>
        </p:nvSpPr>
        <p:spPr>
          <a:xfrm>
            <a:off x="1828729" y="2044398"/>
            <a:ext cx="1529048" cy="258532"/>
          </a:xfrm>
          <a:prstGeom prst="rect">
            <a:avLst/>
          </a:prstGeom>
          <a:noFill/>
          <a:ln>
            <a:noFill/>
          </a:ln>
        </p:spPr>
        <p:txBody>
          <a:bodyPr wrap="square" rtlCol="0" anchor="ctr">
            <a:spAutoFit/>
          </a:bodyPr>
          <a:lstStyle/>
          <a:p>
            <a:pPr marL="0" marR="0" lvl="0" indent="0" defTabSz="914400" eaLnBrk="0" fontAlgn="base" latinLnBrk="0" hangingPunct="0">
              <a:lnSpc>
                <a:spcPct val="90000"/>
              </a:lnSpc>
              <a:spcBef>
                <a:spcPct val="50000"/>
              </a:spcBef>
              <a:spcAft>
                <a:spcPct val="0"/>
              </a:spcAft>
              <a:buClr>
                <a:srgbClr val="00B0E7"/>
              </a:buClr>
              <a:buSzTx/>
              <a:buFont typeface="Marlett" pitchFamily="2" charset="2"/>
              <a:buNone/>
              <a:tabLst/>
              <a:defRPr/>
            </a:pPr>
            <a:r>
              <a:rPr kumimoji="0" lang="en-GB" sz="1200" b="1" i="0" u="none" strike="noStrike" kern="0" cap="none" spc="0" normalizeH="0" baseline="0" dirty="0" smtClean="0">
                <a:ln>
                  <a:noFill/>
                </a:ln>
                <a:solidFill>
                  <a:schemeClr val="accent4">
                    <a:lumMod val="50000"/>
                  </a:schemeClr>
                </a:solidFill>
                <a:effectLst/>
                <a:uLnTx/>
                <a:uFillTx/>
                <a:latin typeface="+mj-lt"/>
                <a:ea typeface="ＭＳ Ｐゴシック" pitchFamily="34" charset="-128"/>
              </a:rPr>
              <a:t>BEAR</a:t>
            </a:r>
          </a:p>
        </p:txBody>
      </p:sp>
      <p:sp>
        <p:nvSpPr>
          <p:cNvPr id="133" name="ZoneTexte 132"/>
          <p:cNvSpPr txBox="1"/>
          <p:nvPr/>
        </p:nvSpPr>
        <p:spPr>
          <a:xfrm>
            <a:off x="5402169" y="2032694"/>
            <a:ext cx="1529048" cy="258532"/>
          </a:xfrm>
          <a:prstGeom prst="rect">
            <a:avLst/>
          </a:prstGeom>
          <a:noFill/>
          <a:ln>
            <a:noFill/>
          </a:ln>
        </p:spPr>
        <p:txBody>
          <a:bodyPr wrap="square" rtlCol="0" anchor="ctr">
            <a:spAutoFit/>
          </a:bodyP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r>
              <a:rPr kumimoji="0" lang="en-GB" sz="1200" b="1" i="0" u="none" strike="noStrike" kern="0" cap="none" spc="0" normalizeH="0" baseline="0" dirty="0" smtClean="0">
                <a:ln>
                  <a:noFill/>
                </a:ln>
                <a:solidFill>
                  <a:schemeClr val="accent3">
                    <a:lumMod val="50000"/>
                  </a:schemeClr>
                </a:solidFill>
                <a:effectLst/>
                <a:uLnTx/>
                <a:uFillTx/>
                <a:latin typeface="+mj-lt"/>
                <a:ea typeface="ＭＳ Ｐゴシック" pitchFamily="34" charset="-128"/>
              </a:rPr>
              <a:t>BULL</a:t>
            </a:r>
          </a:p>
        </p:txBody>
      </p:sp>
      <p:sp>
        <p:nvSpPr>
          <p:cNvPr id="134" name="ZoneTexte 133"/>
          <p:cNvSpPr txBox="1"/>
          <p:nvPr/>
        </p:nvSpPr>
        <p:spPr>
          <a:xfrm>
            <a:off x="387455" y="2020675"/>
            <a:ext cx="8373315" cy="313932"/>
          </a:xfrm>
          <a:prstGeom prst="rect">
            <a:avLst/>
          </a:prstGeom>
          <a:noFill/>
          <a:ln>
            <a:noFill/>
          </a:ln>
        </p:spPr>
        <p:txBody>
          <a:bodyPr wrap="square" rtlCol="0">
            <a:spAutoFit/>
          </a:bodyP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r>
              <a:rPr kumimoji="0" lang="en-GB" sz="1600" b="1" i="0" u="none" strike="noStrike" kern="0" cap="none" spc="0" normalizeH="0" baseline="0" dirty="0" smtClean="0">
                <a:ln>
                  <a:noFill/>
                </a:ln>
                <a:effectLst/>
                <a:uLnTx/>
                <a:uFillTx/>
                <a:latin typeface="+mj-lt"/>
                <a:ea typeface="ＭＳ Ｐゴシック" pitchFamily="34" charset="-128"/>
              </a:rPr>
              <a:t>Market</a:t>
            </a:r>
            <a:r>
              <a:rPr kumimoji="0" lang="en-GB" sz="1600" b="1" i="0" u="none" strike="noStrike" kern="0" cap="none" spc="0" normalizeH="0" dirty="0" smtClean="0">
                <a:ln>
                  <a:noFill/>
                </a:ln>
                <a:effectLst/>
                <a:uLnTx/>
                <a:uFillTx/>
                <a:latin typeface="+mj-lt"/>
                <a:ea typeface="ＭＳ Ｐゴシック" pitchFamily="34" charset="-128"/>
              </a:rPr>
              <a:t> Regime</a:t>
            </a:r>
            <a:endParaRPr kumimoji="0" lang="en-GB" sz="1600" b="1" i="0" u="none" strike="noStrike" kern="0" cap="none" spc="0" normalizeH="0" baseline="0" dirty="0" smtClean="0">
              <a:ln>
                <a:noFill/>
              </a:ln>
              <a:effectLst/>
              <a:uLnTx/>
              <a:uFillTx/>
              <a:latin typeface="+mj-lt"/>
              <a:ea typeface="ＭＳ Ｐゴシック" pitchFamily="34" charset="-128"/>
            </a:endParaRPr>
          </a:p>
        </p:txBody>
      </p:sp>
      <p:pic>
        <p:nvPicPr>
          <p:cNvPr id="129" name="Image 128"/>
          <p:cNvPicPr>
            <a:picLocks noChangeAspect="1"/>
          </p:cNvPicPr>
          <p:nvPr/>
        </p:nvPicPr>
        <p:blipFill rotWithShape="1">
          <a:blip r:embed="rId4">
            <a:extLst>
              <a:ext uri="{28A0092B-C50C-407E-A947-70E740481C1C}">
                <a14:useLocalDpi xmlns:a14="http://schemas.microsoft.com/office/drawing/2010/main" val="0"/>
              </a:ext>
            </a:extLst>
          </a:blip>
          <a:srcRect t="8702" r="19373" b="14547"/>
          <a:stretch/>
        </p:blipFill>
        <p:spPr>
          <a:xfrm>
            <a:off x="7552675" y="1700808"/>
            <a:ext cx="1275104" cy="940568"/>
          </a:xfrm>
          <a:prstGeom prst="rect">
            <a:avLst/>
          </a:prstGeom>
        </p:spPr>
      </p:pic>
      <p:pic>
        <p:nvPicPr>
          <p:cNvPr id="130" name="Image 129"/>
          <p:cNvPicPr>
            <a:picLocks noChangeAspect="1"/>
          </p:cNvPicPr>
          <p:nvPr/>
        </p:nvPicPr>
        <p:blipFill rotWithShape="1">
          <a:blip r:embed="rId5">
            <a:extLst>
              <a:ext uri="{28A0092B-C50C-407E-A947-70E740481C1C}">
                <a14:useLocalDpi xmlns:a14="http://schemas.microsoft.com/office/drawing/2010/main" val="0"/>
              </a:ext>
            </a:extLst>
          </a:blip>
          <a:srcRect l="18383" t="7056" b="13066"/>
          <a:stretch/>
        </p:blipFill>
        <p:spPr>
          <a:xfrm>
            <a:off x="324667" y="1700807"/>
            <a:ext cx="1235744" cy="940568"/>
          </a:xfrm>
          <a:prstGeom prst="rect">
            <a:avLst/>
          </a:prstGeom>
        </p:spPr>
      </p:pic>
      <p:sp>
        <p:nvSpPr>
          <p:cNvPr id="43" name="Titre 1"/>
          <p:cNvSpPr txBox="1">
            <a:spLocks/>
          </p:cNvSpPr>
          <p:nvPr/>
        </p:nvSpPr>
        <p:spPr>
          <a:xfrm>
            <a:off x="539999" y="799865"/>
            <a:ext cx="8063999" cy="38749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1" kern="1200" spc="50" baseline="0">
                <a:solidFill>
                  <a:schemeClr val="tx1"/>
                </a:solidFill>
                <a:latin typeface="+mj-lt"/>
                <a:ea typeface="+mj-ea"/>
                <a:cs typeface="+mj-cs"/>
              </a:defRPr>
            </a:lvl1pPr>
          </a:lstStyle>
          <a:p>
            <a:r>
              <a:rPr lang="en-GB" sz="2000" dirty="0" smtClean="0">
                <a:solidFill>
                  <a:srgbClr val="003C64"/>
                </a:solidFill>
              </a:rPr>
              <a:t>CPR AM Multi-factor - 5 combinations of relevant factors according to market regimes</a:t>
            </a:r>
            <a:endParaRPr lang="en-GB" sz="2000" dirty="0"/>
          </a:p>
        </p:txBody>
      </p:sp>
      <p:sp>
        <p:nvSpPr>
          <p:cNvPr id="42" name="Espace réservé du numéro de diapositive 4">
            <a:extLst>
              <a:ext uri="{FF2B5EF4-FFF2-40B4-BE49-F238E27FC236}">
                <a16:creationId xmlns="" xmlns:a16="http://schemas.microsoft.com/office/drawing/2014/main" id="{644972FE-E6DE-457C-B7E1-C27331DF5C39}"/>
              </a:ext>
            </a:extLst>
          </p:cNvPr>
          <p:cNvSpPr txBox="1">
            <a:spLocks/>
          </p:cNvSpPr>
          <p:nvPr/>
        </p:nvSpPr>
        <p:spPr>
          <a:xfrm>
            <a:off x="452578" y="6443056"/>
            <a:ext cx="359782" cy="180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B1C6FFC-D040-034F-8B69-20295064E64D}" type="slidenum">
              <a:rPr lang="fr-FR" sz="800"/>
              <a:pPr/>
              <a:t>49</a:t>
            </a:fld>
            <a:endParaRPr lang="fr-FR" sz="800" dirty="0"/>
          </a:p>
        </p:txBody>
      </p:sp>
      <p:sp>
        <p:nvSpPr>
          <p:cNvPr id="45"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44" name="Rectangle 43"/>
          <p:cNvSpPr/>
          <p:nvPr/>
        </p:nvSpPr>
        <p:spPr>
          <a:xfrm>
            <a:off x="5153025" y="131880"/>
            <a:ext cx="3455583" cy="3839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schemeClr val="tx1"/>
                </a:solidFill>
              </a:rPr>
              <a:t>CPR</a:t>
            </a:r>
            <a:endParaRPr lang="fr-FR" dirty="0">
              <a:solidFill>
                <a:schemeClr val="tx1"/>
              </a:solidFill>
            </a:endParaRPr>
          </a:p>
        </p:txBody>
      </p:sp>
    </p:spTree>
    <p:extLst>
      <p:ext uri="{BB962C8B-B14F-4D97-AF65-F5344CB8AC3E}">
        <p14:creationId xmlns:p14="http://schemas.microsoft.com/office/powerpoint/2010/main" val="41635528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Global geographic coverage, true client proximity</a:t>
            </a:r>
          </a:p>
        </p:txBody>
      </p:sp>
      <p:sp>
        <p:nvSpPr>
          <p:cNvPr id="6" name="Rectangle avec coin rogné  115"/>
          <p:cNvSpPr/>
          <p:nvPr/>
        </p:nvSpPr>
        <p:spPr>
          <a:xfrm rot="10800000">
            <a:off x="2052000" y="2710560"/>
            <a:ext cx="1665292" cy="2110591"/>
          </a:xfrm>
          <a:prstGeom prst="snip1Rect">
            <a:avLst>
              <a:gd name="adj" fmla="val 36754"/>
            </a:avLst>
          </a:prstGeom>
          <a:solidFill>
            <a:srgbClr val="C7C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avec coin rogné  117"/>
          <p:cNvSpPr/>
          <p:nvPr/>
        </p:nvSpPr>
        <p:spPr>
          <a:xfrm rot="16200000">
            <a:off x="5772946" y="3127696"/>
            <a:ext cx="3080153" cy="2608214"/>
          </a:xfrm>
          <a:prstGeom prst="snip1Rect">
            <a:avLst>
              <a:gd name="adj" fmla="val 36754"/>
            </a:avLst>
          </a:prstGeom>
          <a:solidFill>
            <a:srgbClr val="C7C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avec coin rogné  118"/>
          <p:cNvSpPr/>
          <p:nvPr/>
        </p:nvSpPr>
        <p:spPr>
          <a:xfrm flipV="1">
            <a:off x="4685800" y="1329486"/>
            <a:ext cx="3205400" cy="2097374"/>
          </a:xfrm>
          <a:prstGeom prst="snip1Rect">
            <a:avLst>
              <a:gd name="adj" fmla="val 27105"/>
            </a:avLst>
          </a:prstGeom>
          <a:solidFill>
            <a:srgbClr val="9D9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Image 113"/>
          <p:cNvPicPr>
            <a:picLocks noChangeAspect="1"/>
          </p:cNvPicPr>
          <p:nvPr/>
        </p:nvPicPr>
        <p:blipFill rotWithShape="1">
          <a:blip r:embed="rId2">
            <a:extLst>
              <a:ext uri="{28A0092B-C50C-407E-A947-70E740481C1C}">
                <a14:useLocalDpi xmlns:a14="http://schemas.microsoft.com/office/drawing/2010/main" val="0"/>
              </a:ext>
            </a:extLst>
          </a:blip>
          <a:srcRect b="4991"/>
          <a:stretch/>
        </p:blipFill>
        <p:spPr>
          <a:xfrm>
            <a:off x="532571" y="1382474"/>
            <a:ext cx="8202989" cy="5027851"/>
          </a:xfrm>
          <a:prstGeom prst="rect">
            <a:avLst/>
          </a:prstGeom>
        </p:spPr>
      </p:pic>
      <p:sp>
        <p:nvSpPr>
          <p:cNvPr id="10" name="ZoneTexte 9"/>
          <p:cNvSpPr txBox="1"/>
          <p:nvPr/>
        </p:nvSpPr>
        <p:spPr>
          <a:xfrm rot="-2700000">
            <a:off x="2910468" y="2988833"/>
            <a:ext cx="637462" cy="168121"/>
          </a:xfrm>
          <a:prstGeom prst="rect">
            <a:avLst/>
          </a:prstGeom>
          <a:noFill/>
        </p:spPr>
        <p:txBody>
          <a:bodyPr wrap="none" lIns="0" tIns="0" rIns="0" bIns="0" rtlCol="0">
            <a:noAutofit/>
          </a:bodyPr>
          <a:lstStyle/>
          <a:p>
            <a:r>
              <a:rPr lang="fr-FR" sz="1000" dirty="0" smtClean="0">
                <a:solidFill>
                  <a:srgbClr val="0C1C49"/>
                </a:solidFill>
              </a:rPr>
              <a:t>Boston</a:t>
            </a:r>
            <a:endParaRPr lang="fr-FR" sz="1000" dirty="0">
              <a:solidFill>
                <a:srgbClr val="0C1C49"/>
              </a:solidFill>
            </a:endParaRPr>
          </a:p>
        </p:txBody>
      </p:sp>
      <p:sp>
        <p:nvSpPr>
          <p:cNvPr id="11" name="ZoneTexte 11"/>
          <p:cNvSpPr txBox="1"/>
          <p:nvPr/>
        </p:nvSpPr>
        <p:spPr>
          <a:xfrm rot="-2700000">
            <a:off x="2414035" y="4080172"/>
            <a:ext cx="637462" cy="168121"/>
          </a:xfrm>
          <a:prstGeom prst="rect">
            <a:avLst/>
          </a:prstGeom>
          <a:noFill/>
        </p:spPr>
        <p:txBody>
          <a:bodyPr wrap="none" lIns="0" tIns="0" rIns="0" bIns="0" rtlCol="0">
            <a:noAutofit/>
          </a:bodyPr>
          <a:lstStyle/>
          <a:p>
            <a:r>
              <a:rPr lang="fr-FR" sz="1000" dirty="0">
                <a:solidFill>
                  <a:srgbClr val="0C1C49"/>
                </a:solidFill>
              </a:rPr>
              <a:t>Durham</a:t>
            </a:r>
          </a:p>
        </p:txBody>
      </p:sp>
      <p:sp>
        <p:nvSpPr>
          <p:cNvPr id="12" name="ZoneTexte 12"/>
          <p:cNvSpPr txBox="1"/>
          <p:nvPr/>
        </p:nvSpPr>
        <p:spPr>
          <a:xfrm rot="-2700000">
            <a:off x="4538083" y="1679842"/>
            <a:ext cx="637462" cy="168121"/>
          </a:xfrm>
          <a:prstGeom prst="rect">
            <a:avLst/>
          </a:prstGeom>
          <a:noFill/>
        </p:spPr>
        <p:txBody>
          <a:bodyPr wrap="none" lIns="0" tIns="0" rIns="0" bIns="0" rtlCol="0">
            <a:noAutofit/>
          </a:bodyPr>
          <a:lstStyle/>
          <a:p>
            <a:r>
              <a:rPr lang="fr-FR" sz="1000" dirty="0" smtClean="0">
                <a:solidFill>
                  <a:srgbClr val="0C1C49"/>
                </a:solidFill>
              </a:rPr>
              <a:t>Dublin</a:t>
            </a:r>
            <a:endParaRPr lang="fr-FR" sz="1000" dirty="0">
              <a:solidFill>
                <a:srgbClr val="0C1C49"/>
              </a:solidFill>
            </a:endParaRPr>
          </a:p>
        </p:txBody>
      </p:sp>
      <p:sp>
        <p:nvSpPr>
          <p:cNvPr id="13" name="ZoneTexte 13"/>
          <p:cNvSpPr txBox="1"/>
          <p:nvPr/>
        </p:nvSpPr>
        <p:spPr>
          <a:xfrm rot="-2700000">
            <a:off x="4674095" y="1841920"/>
            <a:ext cx="637462" cy="133753"/>
          </a:xfrm>
          <a:prstGeom prst="rect">
            <a:avLst/>
          </a:prstGeom>
          <a:noFill/>
        </p:spPr>
        <p:txBody>
          <a:bodyPr wrap="none" lIns="0" tIns="0" rIns="0" bIns="0" rtlCol="0">
            <a:noAutofit/>
          </a:bodyPr>
          <a:lstStyle/>
          <a:p>
            <a:r>
              <a:rPr lang="fr-FR" sz="1000" smtClean="0">
                <a:solidFill>
                  <a:srgbClr val="0C1C49"/>
                </a:solidFill>
              </a:rPr>
              <a:t>London</a:t>
            </a:r>
            <a:endParaRPr lang="fr-FR" sz="1000" dirty="0">
              <a:solidFill>
                <a:srgbClr val="0C1C49"/>
              </a:solidFill>
            </a:endParaRPr>
          </a:p>
        </p:txBody>
      </p:sp>
      <p:sp>
        <p:nvSpPr>
          <p:cNvPr id="14" name="ZoneTexte 14"/>
          <p:cNvSpPr txBox="1"/>
          <p:nvPr/>
        </p:nvSpPr>
        <p:spPr>
          <a:xfrm rot="-2700000">
            <a:off x="4759948" y="1924012"/>
            <a:ext cx="637462" cy="133753"/>
          </a:xfrm>
          <a:prstGeom prst="rect">
            <a:avLst/>
          </a:prstGeom>
          <a:noFill/>
        </p:spPr>
        <p:txBody>
          <a:bodyPr wrap="none" lIns="0" tIns="0" rIns="0" bIns="0" rtlCol="0">
            <a:noAutofit/>
          </a:bodyPr>
          <a:lstStyle/>
          <a:p>
            <a:r>
              <a:rPr lang="fr-FR" sz="1000" smtClean="0">
                <a:solidFill>
                  <a:srgbClr val="0C1C49"/>
                </a:solidFill>
              </a:rPr>
              <a:t>Paris</a:t>
            </a:r>
            <a:endParaRPr lang="fr-FR" sz="1000" dirty="0">
              <a:solidFill>
                <a:srgbClr val="0C1C49"/>
              </a:solidFill>
            </a:endParaRPr>
          </a:p>
        </p:txBody>
      </p:sp>
      <p:sp>
        <p:nvSpPr>
          <p:cNvPr id="15" name="ZoneTexte 15"/>
          <p:cNvSpPr txBox="1"/>
          <p:nvPr/>
        </p:nvSpPr>
        <p:spPr>
          <a:xfrm rot="-2700000">
            <a:off x="4936383" y="2097846"/>
            <a:ext cx="637462" cy="133753"/>
          </a:xfrm>
          <a:prstGeom prst="rect">
            <a:avLst/>
          </a:prstGeom>
          <a:noFill/>
        </p:spPr>
        <p:txBody>
          <a:bodyPr wrap="none" lIns="0" tIns="0" rIns="0" bIns="0" rtlCol="0">
            <a:noAutofit/>
          </a:bodyPr>
          <a:lstStyle/>
          <a:p>
            <a:r>
              <a:rPr lang="fr-FR" sz="1000" dirty="0" smtClean="0">
                <a:solidFill>
                  <a:srgbClr val="0C1C49"/>
                </a:solidFill>
              </a:rPr>
              <a:t>Munich</a:t>
            </a:r>
            <a:endParaRPr lang="fr-FR" sz="1000" dirty="0">
              <a:solidFill>
                <a:srgbClr val="0C1C49"/>
              </a:solidFill>
            </a:endParaRPr>
          </a:p>
        </p:txBody>
      </p:sp>
      <p:sp>
        <p:nvSpPr>
          <p:cNvPr id="16" name="ZoneTexte 16"/>
          <p:cNvSpPr txBox="1"/>
          <p:nvPr/>
        </p:nvSpPr>
        <p:spPr>
          <a:xfrm rot="-2700000">
            <a:off x="5026236" y="2185033"/>
            <a:ext cx="637462" cy="133753"/>
          </a:xfrm>
          <a:prstGeom prst="rect">
            <a:avLst/>
          </a:prstGeom>
          <a:noFill/>
        </p:spPr>
        <p:txBody>
          <a:bodyPr wrap="none" lIns="0" tIns="0" rIns="0" bIns="0" rtlCol="0">
            <a:noAutofit/>
          </a:bodyPr>
          <a:lstStyle/>
          <a:p>
            <a:r>
              <a:rPr lang="fr-FR" sz="1000" dirty="0" smtClean="0">
                <a:solidFill>
                  <a:srgbClr val="0C1C49"/>
                </a:solidFill>
              </a:rPr>
              <a:t>Prague</a:t>
            </a:r>
            <a:endParaRPr lang="fr-FR" sz="1000" dirty="0">
              <a:solidFill>
                <a:srgbClr val="0C1C49"/>
              </a:solidFill>
            </a:endParaRPr>
          </a:p>
        </p:txBody>
      </p:sp>
      <p:sp>
        <p:nvSpPr>
          <p:cNvPr id="17" name="ZoneTexte 17"/>
          <p:cNvSpPr txBox="1"/>
          <p:nvPr/>
        </p:nvSpPr>
        <p:spPr>
          <a:xfrm rot="-2700000">
            <a:off x="5197530" y="2196677"/>
            <a:ext cx="637462" cy="133753"/>
          </a:xfrm>
          <a:prstGeom prst="rect">
            <a:avLst/>
          </a:prstGeom>
          <a:noFill/>
        </p:spPr>
        <p:txBody>
          <a:bodyPr wrap="none" lIns="0" tIns="0" rIns="0" bIns="0" rtlCol="0">
            <a:noAutofit/>
          </a:bodyPr>
          <a:lstStyle/>
          <a:p>
            <a:r>
              <a:rPr lang="fr-FR" sz="1000" dirty="0" smtClean="0">
                <a:solidFill>
                  <a:srgbClr val="0C1C49"/>
                </a:solidFill>
              </a:rPr>
              <a:t>Warsaw</a:t>
            </a:r>
            <a:endParaRPr lang="fr-FR" sz="1000" dirty="0">
              <a:solidFill>
                <a:srgbClr val="0C1C49"/>
              </a:solidFill>
            </a:endParaRPr>
          </a:p>
        </p:txBody>
      </p:sp>
      <p:sp>
        <p:nvSpPr>
          <p:cNvPr id="18" name="ZoneTexte 18"/>
          <p:cNvSpPr txBox="1"/>
          <p:nvPr/>
        </p:nvSpPr>
        <p:spPr>
          <a:xfrm rot="-2700000">
            <a:off x="4534114" y="3779489"/>
            <a:ext cx="637462" cy="133753"/>
          </a:xfrm>
          <a:prstGeom prst="rect">
            <a:avLst/>
          </a:prstGeom>
          <a:noFill/>
        </p:spPr>
        <p:txBody>
          <a:bodyPr wrap="none" lIns="0" tIns="0" rIns="0" bIns="0" rtlCol="0">
            <a:noAutofit/>
          </a:bodyPr>
          <a:lstStyle/>
          <a:p>
            <a:r>
              <a:rPr lang="fr-FR" sz="1000" dirty="0" smtClean="0">
                <a:solidFill>
                  <a:srgbClr val="0C1C49"/>
                </a:solidFill>
              </a:rPr>
              <a:t>Madrid</a:t>
            </a:r>
            <a:endParaRPr lang="fr-FR" sz="1000" dirty="0">
              <a:solidFill>
                <a:srgbClr val="0C1C49"/>
              </a:solidFill>
            </a:endParaRPr>
          </a:p>
        </p:txBody>
      </p:sp>
      <p:sp>
        <p:nvSpPr>
          <p:cNvPr id="19" name="ZoneTexte 19"/>
          <p:cNvSpPr txBox="1"/>
          <p:nvPr/>
        </p:nvSpPr>
        <p:spPr>
          <a:xfrm rot="-2700000">
            <a:off x="5769656" y="2824851"/>
            <a:ext cx="378658" cy="133753"/>
          </a:xfrm>
          <a:prstGeom prst="rect">
            <a:avLst/>
          </a:prstGeom>
          <a:noFill/>
        </p:spPr>
        <p:txBody>
          <a:bodyPr wrap="none" lIns="0" tIns="0" rIns="0" bIns="0" rtlCol="0">
            <a:noAutofit/>
          </a:bodyPr>
          <a:lstStyle/>
          <a:p>
            <a:r>
              <a:rPr lang="fr-FR" sz="1000" dirty="0" smtClean="0">
                <a:solidFill>
                  <a:srgbClr val="0C1C49"/>
                </a:solidFill>
              </a:rPr>
              <a:t>Erevan</a:t>
            </a:r>
            <a:endParaRPr lang="fr-FR" sz="1000" dirty="0">
              <a:solidFill>
                <a:srgbClr val="0C1C49"/>
              </a:solidFill>
            </a:endParaRPr>
          </a:p>
        </p:txBody>
      </p:sp>
      <p:sp>
        <p:nvSpPr>
          <p:cNvPr id="20" name="ZoneTexte 20"/>
          <p:cNvSpPr txBox="1"/>
          <p:nvPr/>
        </p:nvSpPr>
        <p:spPr>
          <a:xfrm rot="-2700000">
            <a:off x="4646184" y="4160683"/>
            <a:ext cx="378658" cy="133753"/>
          </a:xfrm>
          <a:prstGeom prst="rect">
            <a:avLst/>
          </a:prstGeom>
          <a:noFill/>
        </p:spPr>
        <p:txBody>
          <a:bodyPr wrap="none" lIns="0" tIns="0" rIns="0" bIns="0" rtlCol="0">
            <a:noAutofit/>
          </a:bodyPr>
          <a:lstStyle/>
          <a:p>
            <a:pPr algn="r"/>
            <a:r>
              <a:rPr lang="fr-FR" sz="1000" dirty="0" smtClean="0">
                <a:solidFill>
                  <a:srgbClr val="0C1C49"/>
                </a:solidFill>
              </a:rPr>
              <a:t>Milan</a:t>
            </a:r>
            <a:endParaRPr lang="fr-FR" sz="1000" dirty="0">
              <a:solidFill>
                <a:srgbClr val="0C1C49"/>
              </a:solidFill>
            </a:endParaRPr>
          </a:p>
        </p:txBody>
      </p:sp>
      <p:sp>
        <p:nvSpPr>
          <p:cNvPr id="21" name="ZoneTexte 21"/>
          <p:cNvSpPr txBox="1"/>
          <p:nvPr/>
        </p:nvSpPr>
        <p:spPr>
          <a:xfrm rot="-2700000">
            <a:off x="4953296" y="4285255"/>
            <a:ext cx="578203" cy="133753"/>
          </a:xfrm>
          <a:prstGeom prst="rect">
            <a:avLst/>
          </a:prstGeom>
          <a:noFill/>
        </p:spPr>
        <p:txBody>
          <a:bodyPr wrap="none" lIns="0" tIns="0" rIns="0" bIns="0" rtlCol="0">
            <a:noAutofit/>
          </a:bodyPr>
          <a:lstStyle/>
          <a:p>
            <a:pPr algn="r"/>
            <a:r>
              <a:rPr lang="fr-FR" sz="1000" dirty="0" smtClean="0">
                <a:solidFill>
                  <a:srgbClr val="0C1C49"/>
                </a:solidFill>
              </a:rPr>
              <a:t>Budapest</a:t>
            </a:r>
            <a:endParaRPr lang="fr-FR" sz="1000" dirty="0">
              <a:solidFill>
                <a:srgbClr val="0C1C49"/>
              </a:solidFill>
            </a:endParaRPr>
          </a:p>
        </p:txBody>
      </p:sp>
      <p:sp>
        <p:nvSpPr>
          <p:cNvPr id="22" name="ZoneTexte 22"/>
          <p:cNvSpPr txBox="1"/>
          <p:nvPr/>
        </p:nvSpPr>
        <p:spPr>
          <a:xfrm rot="-2700000">
            <a:off x="4770494" y="4278307"/>
            <a:ext cx="378658" cy="133753"/>
          </a:xfrm>
          <a:prstGeom prst="rect">
            <a:avLst/>
          </a:prstGeom>
          <a:noFill/>
        </p:spPr>
        <p:txBody>
          <a:bodyPr wrap="none" lIns="0" tIns="0" rIns="0" bIns="0" rtlCol="0">
            <a:noAutofit/>
          </a:bodyPr>
          <a:lstStyle/>
          <a:p>
            <a:pPr algn="r"/>
            <a:r>
              <a:rPr lang="fr-FR" sz="1000" smtClean="0">
                <a:solidFill>
                  <a:srgbClr val="0C1C49"/>
                </a:solidFill>
              </a:rPr>
              <a:t>Vienna</a:t>
            </a:r>
            <a:endParaRPr lang="fr-FR" sz="1000" dirty="0">
              <a:solidFill>
                <a:srgbClr val="0C1C49"/>
              </a:solidFill>
            </a:endParaRPr>
          </a:p>
        </p:txBody>
      </p:sp>
      <p:sp>
        <p:nvSpPr>
          <p:cNvPr id="23" name="ZoneTexte 23"/>
          <p:cNvSpPr txBox="1"/>
          <p:nvPr/>
        </p:nvSpPr>
        <p:spPr>
          <a:xfrm rot="-2700000">
            <a:off x="4176700" y="4905978"/>
            <a:ext cx="845213" cy="133753"/>
          </a:xfrm>
          <a:prstGeom prst="rect">
            <a:avLst/>
          </a:prstGeom>
          <a:noFill/>
        </p:spPr>
        <p:txBody>
          <a:bodyPr wrap="none" lIns="0" tIns="0" rIns="0" bIns="0" rtlCol="0">
            <a:noAutofit/>
          </a:bodyPr>
          <a:lstStyle/>
          <a:p>
            <a:pPr algn="r"/>
            <a:r>
              <a:rPr lang="fr-FR" sz="1000" dirty="0" smtClean="0">
                <a:solidFill>
                  <a:srgbClr val="0C1C49"/>
                </a:solidFill>
              </a:rPr>
              <a:t>Casablanca</a:t>
            </a:r>
            <a:endParaRPr lang="fr-FR" sz="1000" dirty="0">
              <a:solidFill>
                <a:srgbClr val="0C1C49"/>
              </a:solidFill>
            </a:endParaRPr>
          </a:p>
        </p:txBody>
      </p:sp>
      <p:sp>
        <p:nvSpPr>
          <p:cNvPr id="24" name="ZoneTexte 24"/>
          <p:cNvSpPr txBox="1"/>
          <p:nvPr/>
        </p:nvSpPr>
        <p:spPr>
          <a:xfrm rot="-2700000">
            <a:off x="6451866" y="2973076"/>
            <a:ext cx="518797" cy="133753"/>
          </a:xfrm>
          <a:prstGeom prst="rect">
            <a:avLst/>
          </a:prstGeom>
          <a:noFill/>
        </p:spPr>
        <p:txBody>
          <a:bodyPr wrap="none" lIns="0" tIns="0" rIns="0" bIns="0" rtlCol="0">
            <a:noAutofit/>
          </a:bodyPr>
          <a:lstStyle/>
          <a:p>
            <a:r>
              <a:rPr lang="fr-FR" sz="1000" smtClean="0">
                <a:solidFill>
                  <a:srgbClr val="0C1C49"/>
                </a:solidFill>
              </a:rPr>
              <a:t>Mumbai</a:t>
            </a:r>
            <a:endParaRPr lang="fr-FR" sz="1000" dirty="0">
              <a:solidFill>
                <a:srgbClr val="0C1C49"/>
              </a:solidFill>
            </a:endParaRPr>
          </a:p>
        </p:txBody>
      </p:sp>
      <p:sp>
        <p:nvSpPr>
          <p:cNvPr id="25" name="ZoneTexte 25"/>
          <p:cNvSpPr txBox="1"/>
          <p:nvPr/>
        </p:nvSpPr>
        <p:spPr>
          <a:xfrm rot="-2700000">
            <a:off x="7373012" y="2939870"/>
            <a:ext cx="703983" cy="133753"/>
          </a:xfrm>
          <a:prstGeom prst="rect">
            <a:avLst/>
          </a:prstGeom>
          <a:noFill/>
        </p:spPr>
        <p:txBody>
          <a:bodyPr wrap="none" lIns="0" tIns="0" rIns="0" bIns="0" rtlCol="0">
            <a:noAutofit/>
          </a:bodyPr>
          <a:lstStyle/>
          <a:p>
            <a:r>
              <a:rPr lang="fr-FR" sz="1000" smtClean="0">
                <a:solidFill>
                  <a:srgbClr val="0C1C49"/>
                </a:solidFill>
              </a:rPr>
              <a:t>Hong Kong</a:t>
            </a:r>
            <a:endParaRPr lang="fr-FR" sz="1000" dirty="0">
              <a:solidFill>
                <a:srgbClr val="0C1C49"/>
              </a:solidFill>
            </a:endParaRPr>
          </a:p>
        </p:txBody>
      </p:sp>
      <p:sp>
        <p:nvSpPr>
          <p:cNvPr id="26" name="ZoneTexte 26"/>
          <p:cNvSpPr txBox="1"/>
          <p:nvPr/>
        </p:nvSpPr>
        <p:spPr>
          <a:xfrm rot="-2700000">
            <a:off x="7535906" y="3014483"/>
            <a:ext cx="703983" cy="133753"/>
          </a:xfrm>
          <a:prstGeom prst="rect">
            <a:avLst/>
          </a:prstGeom>
          <a:noFill/>
        </p:spPr>
        <p:txBody>
          <a:bodyPr wrap="none" lIns="0" tIns="0" rIns="0" bIns="0" rtlCol="0">
            <a:noAutofit/>
          </a:bodyPr>
          <a:lstStyle/>
          <a:p>
            <a:r>
              <a:rPr lang="fr-FR" sz="1000" dirty="0">
                <a:solidFill>
                  <a:srgbClr val="0C1C49"/>
                </a:solidFill>
              </a:rPr>
              <a:t>S</a:t>
            </a:r>
            <a:r>
              <a:rPr lang="fr-FR" sz="1000" dirty="0" smtClean="0">
                <a:solidFill>
                  <a:srgbClr val="0C1C49"/>
                </a:solidFill>
              </a:rPr>
              <a:t>hanghai</a:t>
            </a:r>
            <a:endParaRPr lang="fr-FR" sz="1000" dirty="0">
              <a:solidFill>
                <a:srgbClr val="0C1C49"/>
              </a:solidFill>
            </a:endParaRPr>
          </a:p>
        </p:txBody>
      </p:sp>
      <p:sp>
        <p:nvSpPr>
          <p:cNvPr id="27" name="ZoneTexte 27"/>
          <p:cNvSpPr txBox="1"/>
          <p:nvPr/>
        </p:nvSpPr>
        <p:spPr>
          <a:xfrm rot="-2700000">
            <a:off x="7677634" y="3121035"/>
            <a:ext cx="703983" cy="133753"/>
          </a:xfrm>
          <a:prstGeom prst="rect">
            <a:avLst/>
          </a:prstGeom>
          <a:noFill/>
        </p:spPr>
        <p:txBody>
          <a:bodyPr wrap="none" lIns="0" tIns="0" rIns="0" bIns="0" rtlCol="0">
            <a:noAutofit/>
          </a:bodyPr>
          <a:lstStyle/>
          <a:p>
            <a:r>
              <a:rPr lang="fr-FR" sz="1000" smtClean="0">
                <a:solidFill>
                  <a:srgbClr val="0C1C49"/>
                </a:solidFill>
              </a:rPr>
              <a:t>Seoul</a:t>
            </a:r>
            <a:endParaRPr lang="fr-FR" sz="1000" dirty="0">
              <a:solidFill>
                <a:srgbClr val="0C1C49"/>
              </a:solidFill>
            </a:endParaRPr>
          </a:p>
        </p:txBody>
      </p:sp>
      <p:sp>
        <p:nvSpPr>
          <p:cNvPr id="28" name="ZoneTexte 28"/>
          <p:cNvSpPr txBox="1"/>
          <p:nvPr/>
        </p:nvSpPr>
        <p:spPr>
          <a:xfrm rot="-2700000">
            <a:off x="7492012" y="4251941"/>
            <a:ext cx="643743" cy="133753"/>
          </a:xfrm>
          <a:prstGeom prst="rect">
            <a:avLst/>
          </a:prstGeom>
          <a:noFill/>
        </p:spPr>
        <p:txBody>
          <a:bodyPr wrap="none" lIns="0" tIns="0" rIns="0" bIns="0" rtlCol="0">
            <a:noAutofit/>
          </a:bodyPr>
          <a:lstStyle/>
          <a:p>
            <a:pPr algn="r"/>
            <a:r>
              <a:rPr lang="fr-FR" sz="1000" smtClean="0">
                <a:solidFill>
                  <a:srgbClr val="0C1C49"/>
                </a:solidFill>
              </a:rPr>
              <a:t>Tokyo</a:t>
            </a:r>
            <a:endParaRPr lang="fr-FR" sz="1000" dirty="0">
              <a:solidFill>
                <a:srgbClr val="0C1C49"/>
              </a:solidFill>
            </a:endParaRPr>
          </a:p>
        </p:txBody>
      </p:sp>
      <p:sp>
        <p:nvSpPr>
          <p:cNvPr id="29" name="ZoneTexte 29"/>
          <p:cNvSpPr txBox="1"/>
          <p:nvPr/>
        </p:nvSpPr>
        <p:spPr>
          <a:xfrm rot="-2700000">
            <a:off x="6654181" y="4974958"/>
            <a:ext cx="643743" cy="133753"/>
          </a:xfrm>
          <a:prstGeom prst="rect">
            <a:avLst/>
          </a:prstGeom>
          <a:noFill/>
        </p:spPr>
        <p:txBody>
          <a:bodyPr wrap="none" lIns="0" tIns="0" rIns="0" bIns="0" rtlCol="0">
            <a:noAutofit/>
          </a:bodyPr>
          <a:lstStyle/>
          <a:p>
            <a:pPr algn="r"/>
            <a:r>
              <a:rPr lang="fr-FR" sz="1000" dirty="0" smtClean="0">
                <a:solidFill>
                  <a:srgbClr val="0C1C49"/>
                </a:solidFill>
              </a:rPr>
              <a:t>Singapore</a:t>
            </a:r>
            <a:endParaRPr lang="fr-FR" sz="1000" dirty="0">
              <a:solidFill>
                <a:srgbClr val="0C1C49"/>
              </a:solidFill>
            </a:endParaRPr>
          </a:p>
        </p:txBody>
      </p:sp>
      <p:sp>
        <p:nvSpPr>
          <p:cNvPr id="30" name="ZoneTexte 30"/>
          <p:cNvSpPr txBox="1"/>
          <p:nvPr/>
        </p:nvSpPr>
        <p:spPr>
          <a:xfrm rot="-2700000">
            <a:off x="6558687" y="4850684"/>
            <a:ext cx="643743" cy="133753"/>
          </a:xfrm>
          <a:prstGeom prst="rect">
            <a:avLst/>
          </a:prstGeom>
          <a:noFill/>
        </p:spPr>
        <p:txBody>
          <a:bodyPr wrap="none" lIns="0" tIns="0" rIns="0" bIns="0" rtlCol="0">
            <a:noAutofit/>
          </a:bodyPr>
          <a:lstStyle/>
          <a:p>
            <a:pPr algn="r"/>
            <a:r>
              <a:rPr lang="fr-FR" sz="1000" dirty="0" smtClean="0">
                <a:solidFill>
                  <a:srgbClr val="0C1C49"/>
                </a:solidFill>
              </a:rPr>
              <a:t>Kuala Lumpur</a:t>
            </a:r>
            <a:endParaRPr lang="fr-FR" sz="1000" dirty="0">
              <a:solidFill>
                <a:srgbClr val="0C1C49"/>
              </a:solidFill>
            </a:endParaRPr>
          </a:p>
        </p:txBody>
      </p:sp>
      <p:sp>
        <p:nvSpPr>
          <p:cNvPr id="31" name="ZoneTexte 31"/>
          <p:cNvSpPr txBox="1"/>
          <p:nvPr/>
        </p:nvSpPr>
        <p:spPr>
          <a:xfrm>
            <a:off x="3090202" y="4049512"/>
            <a:ext cx="542701" cy="615553"/>
          </a:xfrm>
          <a:prstGeom prst="rect">
            <a:avLst/>
          </a:prstGeom>
          <a:noFill/>
        </p:spPr>
        <p:txBody>
          <a:bodyPr wrap="square" lIns="0" tIns="0" rIns="0" bIns="0" rtlCol="0" anchor="b">
            <a:spAutoFit/>
          </a:bodyPr>
          <a:lstStyle/>
          <a:p>
            <a:pPr algn="r"/>
            <a:r>
              <a:rPr lang="fr-FR" sz="800" dirty="0">
                <a:solidFill>
                  <a:schemeClr val="bg1"/>
                </a:solidFill>
              </a:rPr>
              <a:t>Argentina</a:t>
            </a:r>
          </a:p>
          <a:p>
            <a:pPr algn="r"/>
            <a:r>
              <a:rPr lang="fr-FR" sz="800" dirty="0">
                <a:solidFill>
                  <a:schemeClr val="bg1"/>
                </a:solidFill>
              </a:rPr>
              <a:t>Canada</a:t>
            </a:r>
          </a:p>
          <a:p>
            <a:pPr algn="r"/>
            <a:r>
              <a:rPr lang="fr-FR" sz="800" dirty="0">
                <a:solidFill>
                  <a:schemeClr val="bg1"/>
                </a:solidFill>
              </a:rPr>
              <a:t>Chile</a:t>
            </a:r>
          </a:p>
          <a:p>
            <a:pPr algn="r"/>
            <a:r>
              <a:rPr lang="fr-FR" sz="800" dirty="0">
                <a:solidFill>
                  <a:schemeClr val="bg1"/>
                </a:solidFill>
              </a:rPr>
              <a:t>Mexico</a:t>
            </a:r>
          </a:p>
          <a:p>
            <a:pPr algn="r"/>
            <a:r>
              <a:rPr lang="fr-FR" sz="800" dirty="0" smtClean="0">
                <a:solidFill>
                  <a:schemeClr val="bg1"/>
                </a:solidFill>
              </a:rPr>
              <a:t>USA</a:t>
            </a:r>
            <a:endParaRPr lang="fr-FR" sz="800" dirty="0">
              <a:solidFill>
                <a:schemeClr val="bg1"/>
              </a:solidFill>
            </a:endParaRPr>
          </a:p>
        </p:txBody>
      </p:sp>
      <p:cxnSp>
        <p:nvCxnSpPr>
          <p:cNvPr id="32" name="Connecteur droit 33"/>
          <p:cNvCxnSpPr/>
          <p:nvPr/>
        </p:nvCxnSpPr>
        <p:spPr>
          <a:xfrm flipH="1">
            <a:off x="3362897" y="4715534"/>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Connecteur droit 34"/>
          <p:cNvCxnSpPr/>
          <p:nvPr/>
        </p:nvCxnSpPr>
        <p:spPr>
          <a:xfrm flipH="1">
            <a:off x="3362897" y="4021267"/>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2955054" y="3623152"/>
            <a:ext cx="54000" cy="54000"/>
          </a:xfrm>
          <a:prstGeom prst="rect">
            <a:avLst/>
          </a:prstGeom>
          <a:solidFill>
            <a:srgbClr val="0C1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5" name="Connecteur droit avec flèche 46"/>
          <p:cNvCxnSpPr/>
          <p:nvPr/>
        </p:nvCxnSpPr>
        <p:spPr>
          <a:xfrm flipV="1">
            <a:off x="2982054" y="3350425"/>
            <a:ext cx="0" cy="292442"/>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4580179" y="3199399"/>
            <a:ext cx="54000" cy="54000"/>
          </a:xfrm>
          <a:prstGeom prst="rect">
            <a:avLst/>
          </a:prstGeom>
          <a:solidFill>
            <a:srgbClr val="0C1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7" name="Connecteur droit avec flèche 50"/>
          <p:cNvCxnSpPr/>
          <p:nvPr/>
        </p:nvCxnSpPr>
        <p:spPr>
          <a:xfrm flipV="1">
            <a:off x="4607179" y="2037791"/>
            <a:ext cx="0" cy="1170394"/>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4741577" y="3232763"/>
            <a:ext cx="54000" cy="54000"/>
          </a:xfrm>
          <a:prstGeom prst="rect">
            <a:avLst/>
          </a:prstGeom>
          <a:solidFill>
            <a:srgbClr val="0C1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9" name="Connecteur droit avec flèche 52"/>
          <p:cNvCxnSpPr/>
          <p:nvPr/>
        </p:nvCxnSpPr>
        <p:spPr>
          <a:xfrm flipV="1">
            <a:off x="4768577" y="2181463"/>
            <a:ext cx="0" cy="1071015"/>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4807899" y="3327375"/>
            <a:ext cx="54000" cy="54000"/>
          </a:xfrm>
          <a:prstGeom prst="rect">
            <a:avLst/>
          </a:prstGeom>
          <a:solidFill>
            <a:srgbClr val="0C1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1" name="Connecteur droit avec flèche 54"/>
          <p:cNvCxnSpPr/>
          <p:nvPr/>
        </p:nvCxnSpPr>
        <p:spPr>
          <a:xfrm flipV="1">
            <a:off x="4834899" y="2259912"/>
            <a:ext cx="0" cy="1083535"/>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4982448" y="3435830"/>
            <a:ext cx="54000" cy="54000"/>
          </a:xfrm>
          <a:prstGeom prst="rect">
            <a:avLst/>
          </a:prstGeom>
          <a:solidFill>
            <a:srgbClr val="0C1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3" name="Connecteur droit avec flèche 56"/>
          <p:cNvCxnSpPr/>
          <p:nvPr/>
        </p:nvCxnSpPr>
        <p:spPr>
          <a:xfrm flipV="1">
            <a:off x="5009448" y="3464803"/>
            <a:ext cx="0" cy="611143"/>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8050841" y="3692917"/>
            <a:ext cx="54000" cy="54000"/>
          </a:xfrm>
          <a:prstGeom prst="rect">
            <a:avLst/>
          </a:prstGeom>
          <a:solidFill>
            <a:srgbClr val="0C1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5" name="Connecteur droit avec flèche 58"/>
          <p:cNvCxnSpPr/>
          <p:nvPr/>
        </p:nvCxnSpPr>
        <p:spPr>
          <a:xfrm flipV="1">
            <a:off x="8077841" y="3721890"/>
            <a:ext cx="0" cy="354056"/>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6" name="Connecteur droit avec flèche 65"/>
          <p:cNvCxnSpPr/>
          <p:nvPr/>
        </p:nvCxnSpPr>
        <p:spPr>
          <a:xfrm flipV="1">
            <a:off x="2581229" y="3889799"/>
            <a:ext cx="0" cy="335511"/>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2554229" y="3860825"/>
            <a:ext cx="54000" cy="54000"/>
          </a:xfrm>
          <a:prstGeom prst="rect">
            <a:avLst/>
          </a:prstGeom>
          <a:solidFill>
            <a:srgbClr val="00C4F1"/>
          </a:solidFill>
          <a:ln w="6350">
            <a:solidFill>
              <a:srgbClr val="0C1C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8" name="Connecteur droit avec flèche 67"/>
          <p:cNvCxnSpPr/>
          <p:nvPr/>
        </p:nvCxnSpPr>
        <p:spPr>
          <a:xfrm flipV="1">
            <a:off x="4661179" y="3623152"/>
            <a:ext cx="0" cy="335511"/>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4634179" y="3594178"/>
            <a:ext cx="54000" cy="54000"/>
          </a:xfrm>
          <a:prstGeom prst="rect">
            <a:avLst/>
          </a:prstGeom>
          <a:solidFill>
            <a:srgbClr val="00C4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50" name="Connecteur droit avec flèche 70"/>
          <p:cNvCxnSpPr/>
          <p:nvPr/>
        </p:nvCxnSpPr>
        <p:spPr>
          <a:xfrm flipV="1">
            <a:off x="5133926" y="3400437"/>
            <a:ext cx="0" cy="779893"/>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5106926" y="3367819"/>
            <a:ext cx="54000" cy="54000"/>
          </a:xfrm>
          <a:prstGeom prst="rect">
            <a:avLst/>
          </a:prstGeom>
          <a:solidFill>
            <a:srgbClr val="00C4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52" name="Connecteur droit avec flèche 73"/>
          <p:cNvCxnSpPr/>
          <p:nvPr/>
        </p:nvCxnSpPr>
        <p:spPr>
          <a:xfrm flipV="1">
            <a:off x="5216696" y="3421259"/>
            <a:ext cx="0" cy="882986"/>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5189696" y="3403212"/>
            <a:ext cx="54000" cy="54000"/>
          </a:xfrm>
          <a:prstGeom prst="rect">
            <a:avLst/>
          </a:prstGeom>
          <a:solidFill>
            <a:srgbClr val="00C4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54" name="Connecteur droit avec flèche 77"/>
          <p:cNvCxnSpPr/>
          <p:nvPr/>
        </p:nvCxnSpPr>
        <p:spPr>
          <a:xfrm flipV="1">
            <a:off x="7145842" y="4522382"/>
            <a:ext cx="0" cy="193152"/>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7118842" y="4504335"/>
            <a:ext cx="54000" cy="54000"/>
          </a:xfrm>
          <a:prstGeom prst="rect">
            <a:avLst/>
          </a:prstGeom>
          <a:solidFill>
            <a:srgbClr val="00C4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56" name="Connecteur droit avec flèche 80"/>
          <p:cNvCxnSpPr/>
          <p:nvPr/>
        </p:nvCxnSpPr>
        <p:spPr>
          <a:xfrm flipV="1">
            <a:off x="7205881" y="4589146"/>
            <a:ext cx="0" cy="187070"/>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7178881" y="4563813"/>
            <a:ext cx="54000" cy="54000"/>
          </a:xfrm>
          <a:prstGeom prst="rect">
            <a:avLst/>
          </a:prstGeom>
          <a:solidFill>
            <a:srgbClr val="00C4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58" name="Connecteur droit avec flèche 83"/>
          <p:cNvCxnSpPr/>
          <p:nvPr/>
        </p:nvCxnSpPr>
        <p:spPr>
          <a:xfrm flipV="1">
            <a:off x="7470599" y="3302931"/>
            <a:ext cx="0" cy="787587"/>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7443599" y="4069155"/>
            <a:ext cx="54000" cy="54000"/>
          </a:xfrm>
          <a:prstGeom prst="rect">
            <a:avLst/>
          </a:prstGeom>
          <a:solidFill>
            <a:srgbClr val="00C4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0" name="Connecteur droit avec flèche 86"/>
          <p:cNvCxnSpPr/>
          <p:nvPr/>
        </p:nvCxnSpPr>
        <p:spPr>
          <a:xfrm flipV="1">
            <a:off x="5265008" y="2497933"/>
            <a:ext cx="0" cy="787587"/>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5238008" y="3264157"/>
            <a:ext cx="54000" cy="54000"/>
          </a:xfrm>
          <a:prstGeom prst="rect">
            <a:avLst/>
          </a:prstGeom>
          <a:solidFill>
            <a:srgbClr val="00C4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2" name="Connecteur droit avec flèche 88"/>
          <p:cNvCxnSpPr/>
          <p:nvPr/>
        </p:nvCxnSpPr>
        <p:spPr>
          <a:xfrm flipV="1">
            <a:off x="5106926" y="2497933"/>
            <a:ext cx="0" cy="818063"/>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5079926" y="3294632"/>
            <a:ext cx="54000" cy="54000"/>
          </a:xfrm>
          <a:prstGeom prst="rect">
            <a:avLst/>
          </a:prstGeom>
          <a:solidFill>
            <a:srgbClr val="00C4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4" name="Connecteur droit avec flèche 91"/>
          <p:cNvCxnSpPr/>
          <p:nvPr/>
        </p:nvCxnSpPr>
        <p:spPr>
          <a:xfrm flipV="1">
            <a:off x="5030311" y="2446054"/>
            <a:ext cx="0" cy="925855"/>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5003311" y="3350544"/>
            <a:ext cx="54000" cy="54000"/>
          </a:xfrm>
          <a:prstGeom prst="rect">
            <a:avLst/>
          </a:prstGeom>
          <a:solidFill>
            <a:srgbClr val="00C4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6" name="Connecteur droit avec flèche 94"/>
          <p:cNvCxnSpPr/>
          <p:nvPr/>
        </p:nvCxnSpPr>
        <p:spPr>
          <a:xfrm flipV="1">
            <a:off x="5805338" y="3081359"/>
            <a:ext cx="0" cy="510054"/>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5778338" y="3570049"/>
            <a:ext cx="54000" cy="54000"/>
          </a:xfrm>
          <a:prstGeom prst="rect">
            <a:avLst/>
          </a:prstGeom>
          <a:solidFill>
            <a:srgbClr val="9D9FA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8" name="Connecteur droit avec flèche 97"/>
          <p:cNvCxnSpPr/>
          <p:nvPr/>
        </p:nvCxnSpPr>
        <p:spPr>
          <a:xfrm flipV="1">
            <a:off x="6515729" y="3285520"/>
            <a:ext cx="0" cy="942742"/>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6488729" y="4206898"/>
            <a:ext cx="54000" cy="54000"/>
          </a:xfrm>
          <a:prstGeom prst="rect">
            <a:avLst/>
          </a:prstGeom>
          <a:solidFill>
            <a:srgbClr val="9D9FA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0" name="Connecteur droit avec flèche 100"/>
          <p:cNvCxnSpPr/>
          <p:nvPr/>
        </p:nvCxnSpPr>
        <p:spPr>
          <a:xfrm flipV="1">
            <a:off x="7635475" y="3377544"/>
            <a:ext cx="0" cy="526808"/>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7608475" y="3882988"/>
            <a:ext cx="54000" cy="54000"/>
          </a:xfrm>
          <a:prstGeom prst="rect">
            <a:avLst/>
          </a:prstGeom>
          <a:solidFill>
            <a:srgbClr val="9D9FA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2" name="Connecteur droit avec flèche 103"/>
          <p:cNvCxnSpPr/>
          <p:nvPr/>
        </p:nvCxnSpPr>
        <p:spPr>
          <a:xfrm flipV="1">
            <a:off x="7785062" y="3484096"/>
            <a:ext cx="0" cy="203284"/>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7758062" y="3666016"/>
            <a:ext cx="54000" cy="54000"/>
          </a:xfrm>
          <a:prstGeom prst="rect">
            <a:avLst/>
          </a:prstGeom>
          <a:solidFill>
            <a:srgbClr val="9D9FA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4" name="Connecteur droit avec flèche 106"/>
          <p:cNvCxnSpPr/>
          <p:nvPr/>
        </p:nvCxnSpPr>
        <p:spPr>
          <a:xfrm flipV="1">
            <a:off x="4571816" y="3815167"/>
            <a:ext cx="0" cy="1119169"/>
          </a:xfrm>
          <a:prstGeom prst="straightConnector1">
            <a:avLst/>
          </a:prstGeom>
          <a:ln w="6350" cap="sq">
            <a:solidFill>
              <a:srgbClr val="0C1C49"/>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4544816" y="3797910"/>
            <a:ext cx="54000" cy="54000"/>
          </a:xfrm>
          <a:prstGeom prst="rect">
            <a:avLst/>
          </a:prstGeom>
          <a:solidFill>
            <a:srgbClr val="9D9FA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6" name="ZoneTexte 112"/>
          <p:cNvSpPr txBox="1"/>
          <p:nvPr/>
        </p:nvSpPr>
        <p:spPr>
          <a:xfrm>
            <a:off x="687972" y="5012686"/>
            <a:ext cx="1432248" cy="522900"/>
          </a:xfrm>
          <a:prstGeom prst="rect">
            <a:avLst/>
          </a:prstGeom>
          <a:noFill/>
        </p:spPr>
        <p:txBody>
          <a:bodyPr wrap="square" lIns="0" tIns="0" rIns="0" bIns="0" rtlCol="0" anchor="b">
            <a:spAutoFit/>
          </a:bodyPr>
          <a:lstStyle/>
          <a:p>
            <a:pPr>
              <a:lnSpc>
                <a:spcPts val="1400"/>
              </a:lnSpc>
            </a:pPr>
            <a:r>
              <a:rPr lang="fr-FR" sz="1000" b="1" dirty="0">
                <a:solidFill>
                  <a:srgbClr val="000333"/>
                </a:solidFill>
              </a:rPr>
              <a:t>Investment hubs</a:t>
            </a:r>
            <a:endParaRPr lang="fr-FR" sz="1000" dirty="0">
              <a:solidFill>
                <a:srgbClr val="000333"/>
              </a:solidFill>
            </a:endParaRPr>
          </a:p>
          <a:p>
            <a:pPr>
              <a:lnSpc>
                <a:spcPts val="1400"/>
              </a:lnSpc>
            </a:pPr>
            <a:r>
              <a:rPr lang="fr-FR" sz="1000" dirty="0">
                <a:solidFill>
                  <a:srgbClr val="000333"/>
                </a:solidFill>
              </a:rPr>
              <a:t>Local investment </a:t>
            </a:r>
            <a:r>
              <a:rPr lang="fr-FR" sz="1000" dirty="0" smtClean="0">
                <a:solidFill>
                  <a:srgbClr val="000333"/>
                </a:solidFill>
              </a:rPr>
              <a:t>centers</a:t>
            </a:r>
            <a:endParaRPr lang="fr-FR" sz="1000" dirty="0">
              <a:solidFill>
                <a:srgbClr val="000333"/>
              </a:solidFill>
            </a:endParaRPr>
          </a:p>
          <a:p>
            <a:pPr>
              <a:lnSpc>
                <a:spcPts val="1400"/>
              </a:lnSpc>
            </a:pPr>
            <a:r>
              <a:rPr lang="fr-FR" sz="1000" dirty="0">
                <a:solidFill>
                  <a:srgbClr val="000333"/>
                </a:solidFill>
              </a:rPr>
              <a:t>Joint Ventures</a:t>
            </a:r>
            <a:endParaRPr lang="fr-FR" sz="1000" dirty="0">
              <a:solidFill>
                <a:srgbClr val="000333"/>
              </a:solidFill>
              <a:effectLst/>
            </a:endParaRPr>
          </a:p>
        </p:txBody>
      </p:sp>
      <p:grpSp>
        <p:nvGrpSpPr>
          <p:cNvPr id="77" name="Grouper 142"/>
          <p:cNvGrpSpPr/>
          <p:nvPr/>
        </p:nvGrpSpPr>
        <p:grpSpPr>
          <a:xfrm>
            <a:off x="6066679" y="4690673"/>
            <a:ext cx="1168479" cy="1245465"/>
            <a:chOff x="6102304" y="4742149"/>
            <a:chExt cx="1168479" cy="1245465"/>
          </a:xfrm>
        </p:grpSpPr>
        <p:sp>
          <p:nvSpPr>
            <p:cNvPr id="78" name="ZoneTexte 35"/>
            <p:cNvSpPr txBox="1"/>
            <p:nvPr/>
          </p:nvSpPr>
          <p:spPr>
            <a:xfrm>
              <a:off x="6102304" y="4776216"/>
              <a:ext cx="542701" cy="1154162"/>
            </a:xfrm>
            <a:prstGeom prst="rect">
              <a:avLst/>
            </a:prstGeom>
            <a:noFill/>
          </p:spPr>
          <p:txBody>
            <a:bodyPr wrap="square" lIns="0" tIns="0" rIns="0" bIns="0" rtlCol="0" anchor="b">
              <a:spAutoFit/>
            </a:bodyPr>
            <a:lstStyle/>
            <a:p>
              <a:pPr>
                <a:lnSpc>
                  <a:spcPts val="860"/>
                </a:lnSpc>
              </a:pPr>
              <a:r>
                <a:rPr lang="fr-FR" sz="800" dirty="0">
                  <a:solidFill>
                    <a:schemeClr val="bg1"/>
                  </a:solidFill>
                </a:rPr>
                <a:t>Australia</a:t>
              </a:r>
            </a:p>
            <a:p>
              <a:pPr>
                <a:lnSpc>
                  <a:spcPts val="860"/>
                </a:lnSpc>
              </a:pPr>
              <a:r>
                <a:rPr lang="fr-FR" sz="800" dirty="0">
                  <a:solidFill>
                    <a:schemeClr val="bg1"/>
                  </a:solidFill>
                </a:rPr>
                <a:t>China</a:t>
              </a:r>
            </a:p>
            <a:p>
              <a:pPr>
                <a:lnSpc>
                  <a:spcPts val="860"/>
                </a:lnSpc>
              </a:pPr>
              <a:r>
                <a:rPr lang="fr-FR" sz="800" dirty="0">
                  <a:solidFill>
                    <a:schemeClr val="bg1"/>
                  </a:solidFill>
                </a:rPr>
                <a:t>India</a:t>
              </a:r>
            </a:p>
            <a:p>
              <a:pPr>
                <a:lnSpc>
                  <a:spcPts val="860"/>
                </a:lnSpc>
              </a:pPr>
              <a:r>
                <a:rPr lang="fr-FR" sz="800" dirty="0">
                  <a:solidFill>
                    <a:schemeClr val="bg1"/>
                  </a:solidFill>
                </a:rPr>
                <a:t>Japan</a:t>
              </a:r>
            </a:p>
            <a:p>
              <a:pPr>
                <a:lnSpc>
                  <a:spcPts val="860"/>
                </a:lnSpc>
              </a:pPr>
              <a:r>
                <a:rPr lang="fr-FR" sz="800" dirty="0">
                  <a:solidFill>
                    <a:schemeClr val="bg1"/>
                  </a:solidFill>
                </a:rPr>
                <a:t>Malaysia</a:t>
              </a:r>
            </a:p>
            <a:p>
              <a:pPr>
                <a:lnSpc>
                  <a:spcPts val="860"/>
                </a:lnSpc>
              </a:pPr>
              <a:r>
                <a:rPr lang="fr-FR" sz="800" dirty="0">
                  <a:solidFill>
                    <a:schemeClr val="bg1"/>
                  </a:solidFill>
                </a:rPr>
                <a:t>South Korea</a:t>
              </a:r>
            </a:p>
            <a:p>
              <a:pPr>
                <a:lnSpc>
                  <a:spcPts val="860"/>
                </a:lnSpc>
              </a:pPr>
              <a:r>
                <a:rPr lang="fr-FR" sz="800" dirty="0">
                  <a:solidFill>
                    <a:schemeClr val="bg1"/>
                  </a:solidFill>
                </a:rPr>
                <a:t>Taiwan</a:t>
              </a:r>
            </a:p>
            <a:p>
              <a:pPr>
                <a:lnSpc>
                  <a:spcPts val="860"/>
                </a:lnSpc>
              </a:pPr>
              <a:r>
                <a:rPr lang="fr-FR" sz="800" dirty="0">
                  <a:solidFill>
                    <a:schemeClr val="bg1"/>
                  </a:solidFill>
                </a:rPr>
                <a:t>Thailand</a:t>
              </a:r>
            </a:p>
            <a:p>
              <a:pPr>
                <a:lnSpc>
                  <a:spcPts val="860"/>
                </a:lnSpc>
              </a:pPr>
              <a:r>
                <a:rPr lang="fr-FR" sz="800" dirty="0" smtClean="0">
                  <a:solidFill>
                    <a:schemeClr val="bg1"/>
                  </a:solidFill>
                </a:rPr>
                <a:t>Singapore</a:t>
              </a:r>
            </a:p>
          </p:txBody>
        </p:sp>
        <p:cxnSp>
          <p:nvCxnSpPr>
            <p:cNvPr id="79" name="Connecteur droit 36"/>
            <p:cNvCxnSpPr/>
            <p:nvPr/>
          </p:nvCxnSpPr>
          <p:spPr>
            <a:xfrm flipH="1">
              <a:off x="6102304" y="4742149"/>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Connecteur droit 37"/>
            <p:cNvCxnSpPr/>
            <p:nvPr/>
          </p:nvCxnSpPr>
          <p:spPr>
            <a:xfrm flipH="1">
              <a:off x="6102304" y="5987614"/>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ZoneTexte 122"/>
            <p:cNvSpPr txBox="1"/>
            <p:nvPr/>
          </p:nvSpPr>
          <p:spPr>
            <a:xfrm>
              <a:off x="6728082" y="5468713"/>
              <a:ext cx="542701" cy="461665"/>
            </a:xfrm>
            <a:prstGeom prst="rect">
              <a:avLst/>
            </a:prstGeom>
            <a:noFill/>
          </p:spPr>
          <p:txBody>
            <a:bodyPr wrap="square" lIns="0" tIns="0" rIns="0" bIns="0" rtlCol="0" anchor="b">
              <a:spAutoFit/>
            </a:bodyPr>
            <a:lstStyle/>
            <a:p>
              <a:pPr>
                <a:lnSpc>
                  <a:spcPts val="860"/>
                </a:lnSpc>
              </a:pPr>
              <a:r>
                <a:rPr lang="fr-FR" sz="800" dirty="0" smtClean="0">
                  <a:solidFill>
                    <a:schemeClr val="bg1"/>
                  </a:solidFill>
                </a:rPr>
                <a:t>Armenia</a:t>
              </a:r>
              <a:endParaRPr lang="fr-FR" sz="800" dirty="0">
                <a:solidFill>
                  <a:schemeClr val="bg1"/>
                </a:solidFill>
              </a:endParaRPr>
            </a:p>
            <a:p>
              <a:pPr>
                <a:lnSpc>
                  <a:spcPts val="860"/>
                </a:lnSpc>
              </a:pPr>
              <a:r>
                <a:rPr lang="fr-FR" sz="800" dirty="0">
                  <a:solidFill>
                    <a:schemeClr val="bg1"/>
                  </a:solidFill>
                </a:rPr>
                <a:t>Morocco</a:t>
              </a:r>
            </a:p>
            <a:p>
              <a:pPr>
                <a:lnSpc>
                  <a:spcPts val="860"/>
                </a:lnSpc>
              </a:pPr>
              <a:r>
                <a:rPr lang="fr-FR" sz="800" dirty="0">
                  <a:solidFill>
                    <a:schemeClr val="bg1"/>
                  </a:solidFill>
                </a:rPr>
                <a:t>United Arab </a:t>
              </a:r>
            </a:p>
            <a:p>
              <a:pPr>
                <a:lnSpc>
                  <a:spcPts val="860"/>
                </a:lnSpc>
              </a:pPr>
              <a:r>
                <a:rPr lang="fr-FR" sz="800" dirty="0" smtClean="0">
                  <a:solidFill>
                    <a:schemeClr val="bg1"/>
                  </a:solidFill>
                </a:rPr>
                <a:t>Emirates</a:t>
              </a:r>
              <a:endParaRPr lang="fr-FR" sz="800" dirty="0">
                <a:solidFill>
                  <a:schemeClr val="bg1"/>
                </a:solidFill>
              </a:endParaRPr>
            </a:p>
          </p:txBody>
        </p:sp>
        <p:cxnSp>
          <p:nvCxnSpPr>
            <p:cNvPr id="82" name="Connecteur droit 123"/>
            <p:cNvCxnSpPr/>
            <p:nvPr/>
          </p:nvCxnSpPr>
          <p:spPr>
            <a:xfrm flipH="1">
              <a:off x="6728082" y="5987614"/>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Connecteur droit 124"/>
            <p:cNvCxnSpPr/>
            <p:nvPr/>
          </p:nvCxnSpPr>
          <p:spPr>
            <a:xfrm flipH="1">
              <a:off x="6728082" y="5434410"/>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4" name="Grouper 136"/>
          <p:cNvGrpSpPr/>
          <p:nvPr/>
        </p:nvGrpSpPr>
        <p:grpSpPr>
          <a:xfrm>
            <a:off x="5139545" y="1419114"/>
            <a:ext cx="2652090" cy="949889"/>
            <a:chOff x="5139545" y="1390314"/>
            <a:chExt cx="2652090" cy="949889"/>
          </a:xfrm>
        </p:grpSpPr>
        <p:sp>
          <p:nvSpPr>
            <p:cNvPr id="85" name="ZoneTexte 41"/>
            <p:cNvSpPr txBox="1"/>
            <p:nvPr/>
          </p:nvSpPr>
          <p:spPr>
            <a:xfrm>
              <a:off x="5723586" y="1411914"/>
              <a:ext cx="542701" cy="861774"/>
            </a:xfrm>
            <a:prstGeom prst="rect">
              <a:avLst/>
            </a:prstGeom>
            <a:noFill/>
            <a:ln>
              <a:noFill/>
            </a:ln>
          </p:spPr>
          <p:txBody>
            <a:bodyPr wrap="square" lIns="0" tIns="0" rIns="0" bIns="0" rtlCol="0" anchor="b">
              <a:spAutoFit/>
            </a:bodyPr>
            <a:lstStyle/>
            <a:p>
              <a:pPr algn="r"/>
              <a:r>
                <a:rPr lang="fr-FR" sz="800" dirty="0" smtClean="0">
                  <a:solidFill>
                    <a:schemeClr val="bg1"/>
                  </a:solidFill>
                </a:rPr>
                <a:t>Czech </a:t>
              </a:r>
              <a:r>
                <a:rPr lang="fr-FR" sz="800" dirty="0">
                  <a:solidFill>
                    <a:schemeClr val="bg1"/>
                  </a:solidFill>
                </a:rPr>
                <a:t>Republic</a:t>
              </a:r>
            </a:p>
            <a:p>
              <a:pPr algn="r"/>
              <a:r>
                <a:rPr lang="fr-FR" sz="800" dirty="0">
                  <a:solidFill>
                    <a:schemeClr val="bg1"/>
                  </a:solidFill>
                </a:rPr>
                <a:t>Denmark</a:t>
              </a:r>
            </a:p>
            <a:p>
              <a:pPr algn="r"/>
              <a:r>
                <a:rPr lang="fr-FR" sz="800" dirty="0">
                  <a:solidFill>
                    <a:schemeClr val="bg1"/>
                  </a:solidFill>
                </a:rPr>
                <a:t>Finland</a:t>
              </a:r>
            </a:p>
            <a:p>
              <a:pPr algn="r"/>
              <a:r>
                <a:rPr lang="fr-FR" sz="800" dirty="0">
                  <a:solidFill>
                    <a:schemeClr val="bg1"/>
                  </a:solidFill>
                </a:rPr>
                <a:t>France</a:t>
              </a:r>
            </a:p>
            <a:p>
              <a:pPr algn="r"/>
              <a:r>
                <a:rPr lang="fr-FR" sz="800" dirty="0" smtClean="0">
                  <a:solidFill>
                    <a:schemeClr val="bg1"/>
                  </a:solidFill>
                </a:rPr>
                <a:t>Germany</a:t>
              </a:r>
            </a:p>
            <a:p>
              <a:pPr algn="r"/>
              <a:r>
                <a:rPr lang="fr-FR" sz="800" dirty="0">
                  <a:solidFill>
                    <a:schemeClr val="bg1"/>
                  </a:solidFill>
                </a:rPr>
                <a:t>Hungary</a:t>
              </a:r>
            </a:p>
          </p:txBody>
        </p:sp>
        <p:sp>
          <p:nvSpPr>
            <p:cNvPr id="86" name="ZoneTexte 43"/>
            <p:cNvSpPr txBox="1"/>
            <p:nvPr/>
          </p:nvSpPr>
          <p:spPr>
            <a:xfrm>
              <a:off x="6301707" y="1411914"/>
              <a:ext cx="672016" cy="738664"/>
            </a:xfrm>
            <a:prstGeom prst="rect">
              <a:avLst/>
            </a:prstGeom>
            <a:noFill/>
            <a:ln>
              <a:noFill/>
            </a:ln>
          </p:spPr>
          <p:txBody>
            <a:bodyPr wrap="square" lIns="0" tIns="0" rIns="0" bIns="0" rtlCol="0" anchor="b">
              <a:spAutoFit/>
            </a:bodyPr>
            <a:lstStyle/>
            <a:p>
              <a:pPr algn="r"/>
              <a:r>
                <a:rPr lang="fr-FR" sz="800" dirty="0" smtClean="0">
                  <a:solidFill>
                    <a:schemeClr val="bg1"/>
                  </a:solidFill>
                </a:rPr>
                <a:t>Ireland</a:t>
              </a:r>
              <a:endParaRPr lang="fr-FR" sz="800" dirty="0">
                <a:solidFill>
                  <a:schemeClr val="bg1"/>
                </a:solidFill>
              </a:endParaRPr>
            </a:p>
            <a:p>
              <a:pPr algn="r"/>
              <a:r>
                <a:rPr lang="fr-FR" sz="800" dirty="0">
                  <a:solidFill>
                    <a:schemeClr val="bg1"/>
                  </a:solidFill>
                </a:rPr>
                <a:t>Italy</a:t>
              </a:r>
            </a:p>
            <a:p>
              <a:pPr algn="r"/>
              <a:r>
                <a:rPr lang="fr-FR" sz="800" dirty="0" smtClean="0">
                  <a:solidFill>
                    <a:schemeClr val="bg1"/>
                  </a:solidFill>
                </a:rPr>
                <a:t>Luxembourg</a:t>
              </a:r>
              <a:endParaRPr lang="fr-FR" sz="800" dirty="0">
                <a:solidFill>
                  <a:schemeClr val="bg1"/>
                </a:solidFill>
              </a:endParaRPr>
            </a:p>
            <a:p>
              <a:pPr algn="r"/>
              <a:r>
                <a:rPr lang="fr-FR" sz="800" dirty="0">
                  <a:solidFill>
                    <a:schemeClr val="bg1"/>
                  </a:solidFill>
                </a:rPr>
                <a:t>Netherlands</a:t>
              </a:r>
            </a:p>
            <a:p>
              <a:pPr algn="r"/>
              <a:r>
                <a:rPr lang="fr-FR" sz="800" dirty="0">
                  <a:solidFill>
                    <a:schemeClr val="bg1"/>
                  </a:solidFill>
                </a:rPr>
                <a:t>Poland</a:t>
              </a:r>
            </a:p>
            <a:p>
              <a:pPr algn="r"/>
              <a:r>
                <a:rPr lang="fr-FR" sz="800" dirty="0" smtClean="0">
                  <a:solidFill>
                    <a:schemeClr val="bg1"/>
                  </a:solidFill>
                </a:rPr>
                <a:t>Romania</a:t>
              </a:r>
              <a:endParaRPr lang="fr-FR" sz="800" dirty="0">
                <a:solidFill>
                  <a:schemeClr val="bg1"/>
                </a:solidFill>
              </a:endParaRPr>
            </a:p>
          </p:txBody>
        </p:sp>
        <p:sp>
          <p:nvSpPr>
            <p:cNvPr id="87" name="ZoneTexte 119"/>
            <p:cNvSpPr txBox="1"/>
            <p:nvPr/>
          </p:nvSpPr>
          <p:spPr>
            <a:xfrm>
              <a:off x="6857505" y="1411914"/>
              <a:ext cx="934130" cy="615553"/>
            </a:xfrm>
            <a:prstGeom prst="rect">
              <a:avLst/>
            </a:prstGeom>
            <a:noFill/>
            <a:ln>
              <a:noFill/>
            </a:ln>
          </p:spPr>
          <p:txBody>
            <a:bodyPr wrap="square" lIns="0" tIns="0" rIns="0" bIns="0" rtlCol="0" anchor="b">
              <a:spAutoFit/>
            </a:bodyPr>
            <a:lstStyle/>
            <a:p>
              <a:pPr algn="r"/>
              <a:r>
                <a:rPr lang="fr-FR" sz="800" dirty="0">
                  <a:solidFill>
                    <a:schemeClr val="bg1"/>
                  </a:solidFill>
                </a:rPr>
                <a:t>Slovakia</a:t>
              </a:r>
            </a:p>
            <a:p>
              <a:pPr algn="r"/>
              <a:r>
                <a:rPr lang="fr-FR" sz="800" dirty="0" smtClean="0">
                  <a:solidFill>
                    <a:schemeClr val="bg1"/>
                  </a:solidFill>
                </a:rPr>
                <a:t>Spain</a:t>
              </a:r>
              <a:endParaRPr lang="fr-FR" sz="800" dirty="0">
                <a:solidFill>
                  <a:schemeClr val="bg1"/>
                </a:solidFill>
              </a:endParaRPr>
            </a:p>
            <a:p>
              <a:pPr algn="r"/>
              <a:r>
                <a:rPr lang="fr-FR" sz="800" dirty="0">
                  <a:solidFill>
                    <a:schemeClr val="bg1"/>
                  </a:solidFill>
                </a:rPr>
                <a:t>Sweden</a:t>
              </a:r>
            </a:p>
            <a:p>
              <a:pPr algn="r"/>
              <a:r>
                <a:rPr lang="fr-FR" sz="800" dirty="0">
                  <a:solidFill>
                    <a:schemeClr val="bg1"/>
                  </a:solidFill>
                </a:rPr>
                <a:t>Switzerland</a:t>
              </a:r>
            </a:p>
            <a:p>
              <a:pPr algn="r"/>
              <a:r>
                <a:rPr lang="fr-FR" sz="800" dirty="0">
                  <a:solidFill>
                    <a:schemeClr val="bg1"/>
                  </a:solidFill>
                </a:rPr>
                <a:t>United Kingdom</a:t>
              </a:r>
            </a:p>
          </p:txBody>
        </p:sp>
        <p:cxnSp>
          <p:nvCxnSpPr>
            <p:cNvPr id="88" name="Connecteur droit 42"/>
            <p:cNvCxnSpPr/>
            <p:nvPr/>
          </p:nvCxnSpPr>
          <p:spPr>
            <a:xfrm flipH="1">
              <a:off x="5996281" y="1390314"/>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9" name="Connecteur droit 127"/>
            <p:cNvCxnSpPr/>
            <p:nvPr/>
          </p:nvCxnSpPr>
          <p:spPr>
            <a:xfrm flipH="1">
              <a:off x="6703717" y="1390314"/>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Connecteur droit 128"/>
            <p:cNvCxnSpPr/>
            <p:nvPr/>
          </p:nvCxnSpPr>
          <p:spPr>
            <a:xfrm flipH="1">
              <a:off x="7521629" y="1390314"/>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Connecteur droit 131"/>
            <p:cNvCxnSpPr/>
            <p:nvPr/>
          </p:nvCxnSpPr>
          <p:spPr>
            <a:xfrm flipH="1">
              <a:off x="7521629" y="2092634"/>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2" name="Connecteur droit 132"/>
            <p:cNvCxnSpPr/>
            <p:nvPr/>
          </p:nvCxnSpPr>
          <p:spPr>
            <a:xfrm flipH="1">
              <a:off x="6703717" y="2203777"/>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3" name="Connecteur droit 133"/>
            <p:cNvCxnSpPr/>
            <p:nvPr/>
          </p:nvCxnSpPr>
          <p:spPr>
            <a:xfrm flipH="1">
              <a:off x="5996281" y="2340203"/>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4" name="Grouper 135"/>
            <p:cNvGrpSpPr/>
            <p:nvPr/>
          </p:nvGrpSpPr>
          <p:grpSpPr>
            <a:xfrm>
              <a:off x="5139545" y="1390314"/>
              <a:ext cx="542701" cy="459687"/>
              <a:chOff x="5139545" y="1390314"/>
              <a:chExt cx="542701" cy="459687"/>
            </a:xfrm>
          </p:grpSpPr>
          <p:sp>
            <p:nvSpPr>
              <p:cNvPr id="95" name="ZoneTexte 129"/>
              <p:cNvSpPr txBox="1"/>
              <p:nvPr/>
            </p:nvSpPr>
            <p:spPr>
              <a:xfrm>
                <a:off x="5139545" y="1411914"/>
                <a:ext cx="542701" cy="369332"/>
              </a:xfrm>
              <a:prstGeom prst="rect">
                <a:avLst/>
              </a:prstGeom>
              <a:noFill/>
              <a:ln>
                <a:noFill/>
              </a:ln>
            </p:spPr>
            <p:txBody>
              <a:bodyPr wrap="square" lIns="0" tIns="0" rIns="0" bIns="0" rtlCol="0" anchor="b">
                <a:spAutoFit/>
              </a:bodyPr>
              <a:lstStyle/>
              <a:p>
                <a:pPr algn="r"/>
                <a:r>
                  <a:rPr lang="fr-FR" sz="800" dirty="0">
                    <a:solidFill>
                      <a:schemeClr val="bg1"/>
                    </a:solidFill>
                  </a:rPr>
                  <a:t>Austria</a:t>
                </a:r>
              </a:p>
              <a:p>
                <a:pPr algn="r"/>
                <a:r>
                  <a:rPr lang="fr-FR" sz="800" dirty="0">
                    <a:solidFill>
                      <a:schemeClr val="bg1"/>
                    </a:solidFill>
                  </a:rPr>
                  <a:t> Belgium</a:t>
                </a:r>
              </a:p>
              <a:p>
                <a:pPr algn="r"/>
                <a:r>
                  <a:rPr lang="fr-FR" sz="800" dirty="0" smtClean="0">
                    <a:solidFill>
                      <a:schemeClr val="bg1"/>
                    </a:solidFill>
                  </a:rPr>
                  <a:t>Bulgaria</a:t>
                </a:r>
                <a:endParaRPr lang="fr-FR" sz="800" dirty="0">
                  <a:solidFill>
                    <a:schemeClr val="bg1"/>
                  </a:solidFill>
                </a:endParaRPr>
              </a:p>
            </p:txBody>
          </p:sp>
          <p:cxnSp>
            <p:nvCxnSpPr>
              <p:cNvPr id="96" name="Connecteur droit 130"/>
              <p:cNvCxnSpPr/>
              <p:nvPr/>
            </p:nvCxnSpPr>
            <p:spPr>
              <a:xfrm flipH="1">
                <a:off x="5412240" y="1390314"/>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Connecteur droit 134"/>
              <p:cNvCxnSpPr/>
              <p:nvPr/>
            </p:nvCxnSpPr>
            <p:spPr>
              <a:xfrm flipH="1">
                <a:off x="5412240" y="1850001"/>
                <a:ext cx="2700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8" name="Rectangle 97"/>
          <p:cNvSpPr/>
          <p:nvPr/>
        </p:nvSpPr>
        <p:spPr>
          <a:xfrm>
            <a:off x="532453" y="5039162"/>
            <a:ext cx="108000" cy="108000"/>
          </a:xfrm>
          <a:prstGeom prst="rect">
            <a:avLst/>
          </a:prstGeom>
          <a:solidFill>
            <a:srgbClr val="0C1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9" name="Rectangle 98"/>
          <p:cNvSpPr/>
          <p:nvPr/>
        </p:nvSpPr>
        <p:spPr>
          <a:xfrm>
            <a:off x="532453" y="5216136"/>
            <a:ext cx="108000" cy="108000"/>
          </a:xfrm>
          <a:prstGeom prst="rect">
            <a:avLst/>
          </a:prstGeom>
          <a:solidFill>
            <a:srgbClr val="00C4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0" name="Rectangle 99"/>
          <p:cNvSpPr/>
          <p:nvPr/>
        </p:nvSpPr>
        <p:spPr>
          <a:xfrm>
            <a:off x="532453" y="5393110"/>
            <a:ext cx="108000" cy="108000"/>
          </a:xfrm>
          <a:prstGeom prst="rect">
            <a:avLst/>
          </a:prstGeom>
          <a:solidFill>
            <a:srgbClr val="9D9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Footer Placeholder 2"/>
          <p:cNvSpPr>
            <a:spLocks noGrp="1"/>
          </p:cNvSpPr>
          <p:nvPr>
            <p:ph type="ftr" sz="quarter" idx="11"/>
          </p:nvPr>
        </p:nvSpPr>
        <p:spPr/>
        <p:txBody>
          <a:bodyPr/>
          <a:lstStyle/>
          <a:p>
            <a:r>
              <a:rPr lang="fr-FR" smtClean="0"/>
              <a:t>Smart Beta - Investment Solutions</a:t>
            </a:r>
            <a:endParaRPr lang="fr-FR" dirty="0"/>
          </a:p>
        </p:txBody>
      </p:sp>
      <p:sp>
        <p:nvSpPr>
          <p:cNvPr id="4" name="Slide Number Placeholder 3"/>
          <p:cNvSpPr>
            <a:spLocks noGrp="1"/>
          </p:cNvSpPr>
          <p:nvPr>
            <p:ph type="sldNum" sz="quarter" idx="12"/>
          </p:nvPr>
        </p:nvSpPr>
        <p:spPr/>
        <p:txBody>
          <a:bodyPr/>
          <a:lstStyle/>
          <a:p>
            <a:fld id="{2B1C6FFC-D040-034F-8B69-20295064E64D}" type="slidenum">
              <a:rPr lang="fr-FR" smtClean="0"/>
              <a:t>5</a:t>
            </a:fld>
            <a:endParaRPr lang="fr-FR" dirty="0"/>
          </a:p>
        </p:txBody>
      </p:sp>
    </p:spTree>
    <p:extLst>
      <p:ext uri="{BB962C8B-B14F-4D97-AF65-F5344CB8AC3E}">
        <p14:creationId xmlns:p14="http://schemas.microsoft.com/office/powerpoint/2010/main" val="73112370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ZoneTexte 75"/>
          <p:cNvSpPr txBox="1"/>
          <p:nvPr/>
        </p:nvSpPr>
        <p:spPr>
          <a:xfrm>
            <a:off x="4704844" y="2450808"/>
            <a:ext cx="4091526" cy="424732"/>
          </a:xfrm>
          <a:prstGeom prst="rect">
            <a:avLst/>
          </a:prstGeom>
          <a:solidFill>
            <a:srgbClr val="F5F5F5"/>
          </a:solidFill>
          <a:effectLst/>
        </p:spPr>
        <p:txBody>
          <a:bodyPr wrap="square" rtlCol="0">
            <a:spAutoFit/>
          </a:bodyPr>
          <a:lstStyle/>
          <a:p>
            <a:pPr marL="0" marR="0" lvl="0" indent="0" algn="just" defTabSz="914400" eaLnBrk="0" fontAlgn="base" latinLnBrk="0" hangingPunct="0">
              <a:lnSpc>
                <a:spcPct val="90000"/>
              </a:lnSpc>
              <a:spcBef>
                <a:spcPct val="50000"/>
              </a:spcBef>
              <a:spcAft>
                <a:spcPct val="0"/>
              </a:spcAft>
              <a:buClr>
                <a:srgbClr val="00B0E7"/>
              </a:buClr>
              <a:buSzTx/>
              <a:buFont typeface="Marlett" pitchFamily="2" charset="2"/>
              <a:buNone/>
              <a:tabLst/>
              <a:defRPr/>
            </a:pPr>
            <a:r>
              <a:rPr kumimoji="0" lang="en-US" sz="1200" b="0" i="0" u="none" strike="noStrike" kern="0" cap="none" spc="0" normalizeH="0" baseline="0" noProof="0" dirty="0" smtClean="0">
                <a:ln>
                  <a:noFill/>
                </a:ln>
                <a:effectLst/>
                <a:uLnTx/>
                <a:uFillTx/>
                <a:latin typeface="+mj-lt"/>
                <a:ea typeface="ＭＳ Ｐゴシック" pitchFamily="34" charset="-128"/>
                <a:cs typeface="Arial" panose="020B0604020202020204" pitchFamily="34" charset="0"/>
              </a:rPr>
              <a:t>    The circuit breaker takes into account Credit and Equity market trends to determine the global market regime</a:t>
            </a:r>
          </a:p>
        </p:txBody>
      </p:sp>
      <p:grpSp>
        <p:nvGrpSpPr>
          <p:cNvPr id="77" name="Groupe 76"/>
          <p:cNvGrpSpPr/>
          <p:nvPr/>
        </p:nvGrpSpPr>
        <p:grpSpPr>
          <a:xfrm>
            <a:off x="6859348" y="1921753"/>
            <a:ext cx="1194590" cy="258532"/>
            <a:chOff x="422920" y="1318616"/>
            <a:chExt cx="1157376" cy="258532"/>
          </a:xfrm>
        </p:grpSpPr>
        <p:pic>
          <p:nvPicPr>
            <p:cNvPr id="78" name="Picture 2" descr="C:\Users\desaintsr\AppData\Local\Microsoft\Windows\Temporary Internet Files\Content.IE5\KPEMW64X\clock-160966_960_72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2920" y="1344311"/>
              <a:ext cx="211788" cy="211788"/>
            </a:xfrm>
            <a:prstGeom prst="rect">
              <a:avLst/>
            </a:prstGeom>
            <a:noFill/>
            <a:extLst>
              <a:ext uri="{909E8E84-426E-40DD-AFC4-6F175D3DCCD1}">
                <a14:hiddenFill xmlns:a14="http://schemas.microsoft.com/office/drawing/2010/main">
                  <a:solidFill>
                    <a:srgbClr val="FFFFFF"/>
                  </a:solidFill>
                </a14:hiddenFill>
              </a:ext>
            </a:extLst>
          </p:spPr>
        </p:pic>
        <p:sp>
          <p:nvSpPr>
            <p:cNvPr id="87" name="ZoneTexte 86"/>
            <p:cNvSpPr txBox="1"/>
            <p:nvPr/>
          </p:nvSpPr>
          <p:spPr>
            <a:xfrm>
              <a:off x="668524" y="1318616"/>
              <a:ext cx="911772" cy="258532"/>
            </a:xfrm>
            <a:prstGeom prst="rect">
              <a:avLst/>
            </a:prstGeom>
            <a:noFill/>
          </p:spPr>
          <p:txBody>
            <a:bodyPr wrap="square" lIns="0" rIns="0" rtlCol="0">
              <a:spAutoFit/>
            </a:bodyPr>
            <a:lstStyle/>
            <a:p>
              <a:pPr defTabSz="914400" eaLnBrk="0" fontAlgn="base" hangingPunct="0">
                <a:lnSpc>
                  <a:spcPct val="90000"/>
                </a:lnSpc>
                <a:spcBef>
                  <a:spcPct val="50000"/>
                </a:spcBef>
                <a:spcAft>
                  <a:spcPct val="0"/>
                </a:spcAft>
                <a:buClr>
                  <a:srgbClr val="00B0E7"/>
                </a:buClr>
                <a:buFont typeface="Marlett" pitchFamily="2" charset="2"/>
                <a:buNone/>
              </a:pPr>
              <a:r>
                <a:rPr lang="en-US" sz="1200" b="1" dirty="0" smtClean="0">
                  <a:solidFill>
                    <a:schemeClr val="tx2"/>
                  </a:solidFill>
                  <a:latin typeface="+mj-lt"/>
                  <a:ea typeface="ＭＳ Ｐゴシック" pitchFamily="34" charset="-128"/>
                  <a:cs typeface="Arial" panose="020B0604020202020204" pitchFamily="34" charset="0"/>
                </a:rPr>
                <a:t>Monthly</a:t>
              </a:r>
              <a:endParaRPr lang="en-US" sz="900" b="1" dirty="0">
                <a:solidFill>
                  <a:schemeClr val="tx2"/>
                </a:solidFill>
                <a:latin typeface="+mj-lt"/>
                <a:ea typeface="ＭＳ Ｐゴシック" pitchFamily="34" charset="-128"/>
                <a:cs typeface="Arial" panose="020B0604020202020204" pitchFamily="34" charset="0"/>
              </a:endParaRPr>
            </a:p>
          </p:txBody>
        </p:sp>
      </p:grpSp>
      <p:grpSp>
        <p:nvGrpSpPr>
          <p:cNvPr id="104" name="Groupe 103"/>
          <p:cNvGrpSpPr/>
          <p:nvPr/>
        </p:nvGrpSpPr>
        <p:grpSpPr>
          <a:xfrm>
            <a:off x="7790999" y="1931001"/>
            <a:ext cx="1111895" cy="258532"/>
            <a:chOff x="2171773" y="3196022"/>
            <a:chExt cx="1200813" cy="258532"/>
          </a:xfrm>
        </p:grpSpPr>
        <p:sp>
          <p:nvSpPr>
            <p:cNvPr id="105" name="ZoneTexte 104"/>
            <p:cNvSpPr txBox="1"/>
            <p:nvPr/>
          </p:nvSpPr>
          <p:spPr>
            <a:xfrm>
              <a:off x="2511322" y="3196022"/>
              <a:ext cx="861264" cy="258532"/>
            </a:xfrm>
            <a:prstGeom prst="rect">
              <a:avLst/>
            </a:prstGeom>
            <a:noFill/>
          </p:spPr>
          <p:txBody>
            <a:bodyPr wrap="square" lIns="0" rIns="0" rtlCol="0">
              <a:spAutoFit/>
            </a:bodyPr>
            <a:lstStyle/>
            <a:p>
              <a:pPr defTabSz="914400" eaLnBrk="0" fontAlgn="base" hangingPunct="0">
                <a:lnSpc>
                  <a:spcPct val="90000"/>
                </a:lnSpc>
                <a:spcBef>
                  <a:spcPct val="50000"/>
                </a:spcBef>
                <a:spcAft>
                  <a:spcPct val="0"/>
                </a:spcAft>
                <a:buClr>
                  <a:srgbClr val="00B0E7"/>
                </a:buClr>
                <a:buFont typeface="Marlett" pitchFamily="2" charset="2"/>
                <a:buNone/>
              </a:pPr>
              <a:r>
                <a:rPr lang="en-US" sz="1200" b="1" dirty="0" smtClean="0">
                  <a:solidFill>
                    <a:schemeClr val="tx2"/>
                  </a:solidFill>
                  <a:latin typeface="+mj-lt"/>
                  <a:ea typeface="ＭＳ Ｐゴシック" pitchFamily="34" charset="-128"/>
                  <a:cs typeface="Arial" panose="020B0604020202020204" pitchFamily="34" charset="0"/>
                </a:rPr>
                <a:t>Global</a:t>
              </a:r>
              <a:endParaRPr lang="en-US" sz="1200" b="1" dirty="0">
                <a:solidFill>
                  <a:schemeClr val="tx2"/>
                </a:solidFill>
                <a:latin typeface="+mj-lt"/>
                <a:ea typeface="ＭＳ Ｐゴシック" pitchFamily="34" charset="-128"/>
                <a:cs typeface="Arial" panose="020B0604020202020204" pitchFamily="34" charset="0"/>
              </a:endParaRPr>
            </a:p>
          </p:txBody>
        </p:sp>
        <p:pic>
          <p:nvPicPr>
            <p:cNvPr id="106" name="Picture 3" descr="C:\Users\desaintsr\AppData\Local\Microsoft\Windows\Temporary Internet Files\Content.IE5\0RYULLJW\globe-328140_960_72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1773" y="3202434"/>
              <a:ext cx="389723" cy="219219"/>
            </a:xfrm>
            <a:prstGeom prst="rect">
              <a:avLst/>
            </a:prstGeom>
            <a:noFill/>
            <a:extLst>
              <a:ext uri="{909E8E84-426E-40DD-AFC4-6F175D3DCCD1}">
                <a14:hiddenFill xmlns:a14="http://schemas.microsoft.com/office/drawing/2010/main">
                  <a:solidFill>
                    <a:srgbClr val="FFFFFF"/>
                  </a:solidFill>
                </a14:hiddenFill>
              </a:ext>
            </a:extLst>
          </p:spPr>
        </p:pic>
      </p:grpSp>
      <p:sp>
        <p:nvSpPr>
          <p:cNvPr id="110" name="ZoneTexte 109"/>
          <p:cNvSpPr txBox="1"/>
          <p:nvPr/>
        </p:nvSpPr>
        <p:spPr>
          <a:xfrm>
            <a:off x="3675834" y="2226183"/>
            <a:ext cx="1261418" cy="377402"/>
          </a:xfrm>
          <a:prstGeom prst="rect">
            <a:avLst/>
          </a:prstGeom>
          <a:solidFill>
            <a:schemeClr val="tx1"/>
          </a:solidFill>
          <a:effectLst/>
        </p:spPr>
        <p:txBody>
          <a:bodyPr wrap="square" lIns="0" tIns="36000" rIns="0" bIns="36000" rtlCol="0">
            <a:spAutoFit/>
          </a:bodyPr>
          <a:lstStyle/>
          <a:p>
            <a:pPr algn="ctr" defTabSz="914400" eaLnBrk="0" fontAlgn="base" hangingPunct="0">
              <a:lnSpc>
                <a:spcPct val="90000"/>
              </a:lnSpc>
              <a:spcAft>
                <a:spcPct val="0"/>
              </a:spcAft>
              <a:buClr>
                <a:srgbClr val="00B0E7"/>
              </a:buClr>
              <a:buFont typeface="Marlett" pitchFamily="2" charset="2"/>
              <a:buNone/>
            </a:pPr>
            <a:r>
              <a:rPr lang="fr-FR" sz="1050" dirty="0" smtClean="0">
                <a:solidFill>
                  <a:schemeClr val="bg1"/>
                </a:solidFill>
                <a:latin typeface="+mj-lt"/>
                <a:ea typeface="ＭＳ Ｐゴシック" pitchFamily="34" charset="-128"/>
                <a:cs typeface="Arial" panose="020B0604020202020204" pitchFamily="34" charset="0"/>
              </a:rPr>
              <a:t>CIRCUIT</a:t>
            </a:r>
          </a:p>
          <a:p>
            <a:pPr algn="ctr" defTabSz="914400" eaLnBrk="0" fontAlgn="base" hangingPunct="0">
              <a:lnSpc>
                <a:spcPct val="90000"/>
              </a:lnSpc>
              <a:spcAft>
                <a:spcPct val="0"/>
              </a:spcAft>
              <a:buClr>
                <a:srgbClr val="00B0E7"/>
              </a:buClr>
              <a:buFont typeface="Marlett" pitchFamily="2" charset="2"/>
              <a:buNone/>
            </a:pPr>
            <a:r>
              <a:rPr lang="fr-FR" sz="1050" dirty="0" smtClean="0">
                <a:solidFill>
                  <a:schemeClr val="bg1"/>
                </a:solidFill>
                <a:latin typeface="+mj-lt"/>
                <a:ea typeface="ＭＳ Ｐゴシック" pitchFamily="34" charset="-128"/>
                <a:cs typeface="Arial" panose="020B0604020202020204" pitchFamily="34" charset="0"/>
              </a:rPr>
              <a:t>BREAKER</a:t>
            </a:r>
            <a:endParaRPr lang="fr-FR" sz="1050" dirty="0">
              <a:solidFill>
                <a:schemeClr val="bg1"/>
              </a:solidFill>
              <a:latin typeface="+mj-lt"/>
              <a:ea typeface="ＭＳ Ｐゴシック" pitchFamily="34" charset="-128"/>
              <a:cs typeface="Arial" panose="020B0604020202020204" pitchFamily="34" charset="0"/>
            </a:endParaRPr>
          </a:p>
        </p:txBody>
      </p:sp>
      <p:sp>
        <p:nvSpPr>
          <p:cNvPr id="69" name="Espace réservé du contenu 2"/>
          <p:cNvSpPr txBox="1">
            <a:spLocks/>
          </p:cNvSpPr>
          <p:nvPr/>
        </p:nvSpPr>
        <p:spPr>
          <a:xfrm>
            <a:off x="980902" y="1552421"/>
            <a:ext cx="7658018" cy="327679"/>
          </a:xfrm>
          <a:prstGeom prst="rect">
            <a:avLst/>
          </a:prstGeom>
        </p:spPr>
        <p:txBody>
          <a:bodyPr>
            <a:normAutofit fontScale="92500" lnSpcReduction="10000"/>
          </a:bodyPr>
          <a:lstStyle>
            <a:lvl1pPr marL="3175" indent="-3175" algn="l" rtl="0" eaLnBrk="0" fontAlgn="base" hangingPunct="0">
              <a:lnSpc>
                <a:spcPct val="90000"/>
              </a:lnSpc>
              <a:spcBef>
                <a:spcPct val="0"/>
              </a:spcBef>
              <a:spcAft>
                <a:spcPct val="60000"/>
              </a:spcAft>
              <a:defRPr b="1">
                <a:solidFill>
                  <a:srgbClr val="001C4B"/>
                </a:solidFill>
                <a:latin typeface="+mn-lt"/>
                <a:ea typeface="+mn-ea"/>
                <a:cs typeface="+mn-cs"/>
              </a:defRPr>
            </a:lvl1pPr>
            <a:lvl2pPr marL="193675" indent="-188913" algn="l" rtl="0" eaLnBrk="0" fontAlgn="base" hangingPunct="0">
              <a:spcBef>
                <a:spcPct val="0"/>
              </a:spcBef>
              <a:spcAft>
                <a:spcPct val="0"/>
              </a:spcAft>
              <a:buClr>
                <a:srgbClr val="00B0F0"/>
              </a:buClr>
              <a:buFont typeface="Wingdings" pitchFamily="2" charset="2"/>
              <a:buChar char="n"/>
              <a:defRPr sz="1600">
                <a:solidFill>
                  <a:schemeClr val="tx2"/>
                </a:solidFill>
                <a:latin typeface="+mn-lt"/>
              </a:defRPr>
            </a:lvl2pPr>
            <a:lvl3pPr marL="390525" indent="-195263" algn="l" rtl="0" eaLnBrk="0" fontAlgn="base" hangingPunct="0">
              <a:spcBef>
                <a:spcPct val="0"/>
              </a:spcBef>
              <a:spcAft>
                <a:spcPct val="0"/>
              </a:spcAft>
              <a:buClr>
                <a:schemeClr val="tx2"/>
              </a:buClr>
              <a:buFont typeface="Arial" charset="0"/>
              <a:buChar char="–"/>
              <a:defRPr sz="1400">
                <a:solidFill>
                  <a:srgbClr val="001C4B"/>
                </a:solidFill>
                <a:latin typeface="+mn-lt"/>
              </a:defRPr>
            </a:lvl3pPr>
            <a:lvl4pPr marL="617538" indent="-3175" algn="l" rtl="0" eaLnBrk="0" fontAlgn="base" hangingPunct="0">
              <a:spcBef>
                <a:spcPct val="25000"/>
              </a:spcBef>
              <a:spcAft>
                <a:spcPct val="0"/>
              </a:spcAft>
              <a:buClr>
                <a:schemeClr val="hlink"/>
              </a:buClr>
              <a:defRPr sz="1200">
                <a:solidFill>
                  <a:srgbClr val="767A7E"/>
                </a:solidFill>
                <a:latin typeface="+mn-lt"/>
              </a:defRPr>
            </a:lvl4pPr>
            <a:lvl5pPr marL="742950" indent="-123825" algn="l" rtl="0" eaLnBrk="0" fontAlgn="base" hangingPunct="0">
              <a:spcBef>
                <a:spcPct val="25000"/>
              </a:spcBef>
              <a:spcAft>
                <a:spcPct val="0"/>
              </a:spcAft>
              <a:buClr>
                <a:srgbClr val="7F7F7F"/>
              </a:buClr>
              <a:buFont typeface="Wingdings" pitchFamily="2" charset="2"/>
              <a:buChar char="n"/>
              <a:defRPr sz="1000">
                <a:solidFill>
                  <a:schemeClr val="tx1"/>
                </a:solidFill>
                <a:latin typeface="+mn-lt"/>
              </a:defRPr>
            </a:lvl5pPr>
            <a:lvl6pPr marL="1200150" indent="-123825" algn="l" rtl="0" eaLnBrk="1" fontAlgn="base" hangingPunct="1">
              <a:spcBef>
                <a:spcPct val="25000"/>
              </a:spcBef>
              <a:spcAft>
                <a:spcPct val="0"/>
              </a:spcAft>
              <a:buClr>
                <a:srgbClr val="EF7E00"/>
              </a:buClr>
              <a:buFont typeface="Wingdings" pitchFamily="-80" charset="2"/>
              <a:buChar char="n"/>
              <a:defRPr sz="1000">
                <a:solidFill>
                  <a:schemeClr val="tx1"/>
                </a:solidFill>
                <a:latin typeface="+mn-lt"/>
              </a:defRPr>
            </a:lvl6pPr>
            <a:lvl7pPr marL="1657350" indent="-123825" algn="l" rtl="0" eaLnBrk="1" fontAlgn="base" hangingPunct="1">
              <a:spcBef>
                <a:spcPct val="25000"/>
              </a:spcBef>
              <a:spcAft>
                <a:spcPct val="0"/>
              </a:spcAft>
              <a:buClr>
                <a:srgbClr val="EF7E00"/>
              </a:buClr>
              <a:buFont typeface="Wingdings" pitchFamily="-80" charset="2"/>
              <a:buChar char="n"/>
              <a:defRPr sz="1000">
                <a:solidFill>
                  <a:schemeClr val="tx1"/>
                </a:solidFill>
                <a:latin typeface="+mn-lt"/>
              </a:defRPr>
            </a:lvl7pPr>
            <a:lvl8pPr marL="2114550" indent="-123825" algn="l" rtl="0" eaLnBrk="1" fontAlgn="base" hangingPunct="1">
              <a:spcBef>
                <a:spcPct val="25000"/>
              </a:spcBef>
              <a:spcAft>
                <a:spcPct val="0"/>
              </a:spcAft>
              <a:buClr>
                <a:srgbClr val="EF7E00"/>
              </a:buClr>
              <a:buFont typeface="Wingdings" pitchFamily="-80" charset="2"/>
              <a:buChar char="n"/>
              <a:defRPr sz="1000">
                <a:solidFill>
                  <a:schemeClr val="tx1"/>
                </a:solidFill>
                <a:latin typeface="+mn-lt"/>
              </a:defRPr>
            </a:lvl8pPr>
            <a:lvl9pPr marL="2571750" indent="-123825" algn="l" rtl="0" eaLnBrk="1" fontAlgn="base" hangingPunct="1">
              <a:spcBef>
                <a:spcPct val="25000"/>
              </a:spcBef>
              <a:spcAft>
                <a:spcPct val="0"/>
              </a:spcAft>
              <a:buClr>
                <a:srgbClr val="EF7E00"/>
              </a:buClr>
              <a:buFont typeface="Wingdings" pitchFamily="-80" charset="2"/>
              <a:buChar char="n"/>
              <a:defRPr sz="1000">
                <a:solidFill>
                  <a:schemeClr val="tx1"/>
                </a:solidFill>
                <a:latin typeface="+mn-lt"/>
              </a:defRPr>
            </a:lvl9pPr>
          </a:lstStyle>
          <a:p>
            <a:pPr marL="0" lvl="1" indent="0" defTabSz="914400">
              <a:buClr>
                <a:srgbClr val="002060"/>
              </a:buClr>
              <a:buNone/>
            </a:pPr>
            <a:r>
              <a:rPr lang="en-US" sz="1800" b="1" kern="0" dirty="0" smtClean="0">
                <a:solidFill>
                  <a:schemeClr val="tx1"/>
                </a:solidFill>
                <a:latin typeface="+mj-lt"/>
              </a:rPr>
              <a:t>Evaluate current market conditions</a:t>
            </a:r>
          </a:p>
        </p:txBody>
      </p:sp>
      <p:cxnSp>
        <p:nvCxnSpPr>
          <p:cNvPr id="4" name="Straight Connector 3"/>
          <p:cNvCxnSpPr/>
          <p:nvPr/>
        </p:nvCxnSpPr>
        <p:spPr bwMode="auto">
          <a:xfrm>
            <a:off x="1056418" y="1850604"/>
            <a:ext cx="3708000" cy="0"/>
          </a:xfrm>
          <a:prstGeom prst="line">
            <a:avLst/>
          </a:prstGeom>
          <a:solidFill>
            <a:schemeClr val="bg2"/>
          </a:solidFill>
          <a:ln w="9525" cap="flat" cmpd="sng" algn="ctr">
            <a:solidFill>
              <a:schemeClr val="tx1"/>
            </a:solidFill>
            <a:prstDash val="solid"/>
            <a:round/>
            <a:headEnd type="none" w="med" len="med"/>
            <a:tailEnd type="none" w="med" len="med"/>
          </a:ln>
          <a:effectLst/>
        </p:spPr>
      </p:cxnSp>
      <p:sp>
        <p:nvSpPr>
          <p:cNvPr id="17" name="ZoneTexte 16"/>
          <p:cNvSpPr txBox="1"/>
          <p:nvPr/>
        </p:nvSpPr>
        <p:spPr>
          <a:xfrm>
            <a:off x="3280358" y="4040757"/>
            <a:ext cx="5516011" cy="424732"/>
          </a:xfrm>
          <a:prstGeom prst="rect">
            <a:avLst/>
          </a:prstGeom>
          <a:solidFill>
            <a:srgbClr val="F5F5F5"/>
          </a:solidFill>
          <a:effectLst/>
        </p:spPr>
        <p:txBody>
          <a:bodyPr wrap="square" rtlCol="0">
            <a:spAutoFit/>
          </a:bodyPr>
          <a:lstStyle>
            <a:defPPr>
              <a:defRPr lang="fr-FR"/>
            </a:defPPr>
            <a:lvl1pPr marR="0" lvl="0" indent="0" algn="just" eaLnBrk="0" fontAlgn="base" hangingPunct="0">
              <a:lnSpc>
                <a:spcPct val="90000"/>
              </a:lnSpc>
              <a:spcBef>
                <a:spcPct val="50000"/>
              </a:spcBef>
              <a:spcAft>
                <a:spcPct val="0"/>
              </a:spcAft>
              <a:buClr>
                <a:srgbClr val="00B0E7"/>
              </a:buClr>
              <a:buSzTx/>
              <a:buFont typeface="Marlett" pitchFamily="2" charset="2"/>
              <a:buNone/>
              <a:tabLst/>
              <a:defRPr kumimoji="0" sz="1200" b="0" i="0" u="none" strike="noStrike" kern="0" cap="none" spc="0" normalizeH="0" baseline="0">
                <a:ln>
                  <a:noFill/>
                </a:ln>
                <a:effectLst/>
                <a:uLnTx/>
                <a:uFillTx/>
                <a:latin typeface="+mj-lt"/>
                <a:ea typeface="ＭＳ Ｐゴシック" pitchFamily="34" charset="-128"/>
                <a:cs typeface="Arial" panose="020B0604020202020204" pitchFamily="34" charset="0"/>
              </a:defRPr>
            </a:lvl1pPr>
          </a:lstStyle>
          <a:p>
            <a:r>
              <a:rPr lang="en-US" dirty="0" smtClean="0"/>
              <a:t>    The </a:t>
            </a:r>
            <a:r>
              <a:rPr lang="en-US" dirty="0"/>
              <a:t>Information Coefficient allows to determine the relevance of each multi-factor combination in terms of additional relative returns</a:t>
            </a:r>
          </a:p>
        </p:txBody>
      </p:sp>
      <p:sp>
        <p:nvSpPr>
          <p:cNvPr id="18" name="ZoneTexte 17"/>
          <p:cNvSpPr txBox="1"/>
          <p:nvPr/>
        </p:nvSpPr>
        <p:spPr>
          <a:xfrm>
            <a:off x="3066609" y="5283193"/>
            <a:ext cx="5729760" cy="424732"/>
          </a:xfrm>
          <a:prstGeom prst="rect">
            <a:avLst/>
          </a:prstGeom>
          <a:solidFill>
            <a:srgbClr val="F5F5F5"/>
          </a:solidFill>
          <a:effectLst/>
        </p:spPr>
        <p:txBody>
          <a:bodyPr wrap="square" rtlCol="0">
            <a:spAutoFit/>
          </a:bodyPr>
          <a:lstStyle>
            <a:defPPr>
              <a:defRPr lang="fr-FR"/>
            </a:defPPr>
            <a:lvl1pPr marR="0" lvl="0" indent="0" algn="just" eaLnBrk="0" fontAlgn="base" hangingPunct="0">
              <a:lnSpc>
                <a:spcPct val="90000"/>
              </a:lnSpc>
              <a:spcBef>
                <a:spcPct val="50000"/>
              </a:spcBef>
              <a:spcAft>
                <a:spcPct val="0"/>
              </a:spcAft>
              <a:buClr>
                <a:srgbClr val="00B0E7"/>
              </a:buClr>
              <a:buSzTx/>
              <a:buFont typeface="Marlett" pitchFamily="2" charset="2"/>
              <a:buNone/>
              <a:tabLst/>
              <a:defRPr kumimoji="0" sz="1200" b="0" i="0" u="none" strike="noStrike" kern="0" cap="none" spc="0" normalizeH="0" baseline="0">
                <a:ln>
                  <a:noFill/>
                </a:ln>
                <a:effectLst/>
                <a:uLnTx/>
                <a:uFillTx/>
                <a:latin typeface="+mj-lt"/>
                <a:ea typeface="ＭＳ Ｐゴシック" pitchFamily="34" charset="-128"/>
                <a:cs typeface="Arial" panose="020B0604020202020204" pitchFamily="34" charset="0"/>
              </a:defRPr>
            </a:lvl1pPr>
          </a:lstStyle>
          <a:p>
            <a:r>
              <a:rPr lang="en-US" dirty="0" smtClean="0"/>
              <a:t>    The </a:t>
            </a:r>
            <a:r>
              <a:rPr lang="en-US" dirty="0"/>
              <a:t>Risk Envelope defines statistically the potential uptrend of each multi-factor combination according to its recent track record</a:t>
            </a:r>
          </a:p>
        </p:txBody>
      </p:sp>
      <p:grpSp>
        <p:nvGrpSpPr>
          <p:cNvPr id="23" name="Groupe 22"/>
          <p:cNvGrpSpPr/>
          <p:nvPr/>
        </p:nvGrpSpPr>
        <p:grpSpPr>
          <a:xfrm>
            <a:off x="7821513" y="4872308"/>
            <a:ext cx="1214731" cy="258532"/>
            <a:chOff x="2171773" y="3196022"/>
            <a:chExt cx="1311873" cy="258532"/>
          </a:xfrm>
        </p:grpSpPr>
        <p:sp>
          <p:nvSpPr>
            <p:cNvPr id="24" name="ZoneTexte 23"/>
            <p:cNvSpPr txBox="1"/>
            <p:nvPr/>
          </p:nvSpPr>
          <p:spPr>
            <a:xfrm>
              <a:off x="2511323" y="3196022"/>
              <a:ext cx="972323" cy="258532"/>
            </a:xfrm>
            <a:prstGeom prst="rect">
              <a:avLst/>
            </a:prstGeom>
            <a:noFill/>
          </p:spPr>
          <p:txBody>
            <a:bodyPr wrap="square" lIns="0" rIns="0" rtlCol="0">
              <a:spAutoFit/>
            </a:bodyPr>
            <a:lstStyle/>
            <a:p>
              <a:pPr defTabSz="914400" eaLnBrk="0" fontAlgn="base" hangingPunct="0">
                <a:lnSpc>
                  <a:spcPct val="90000"/>
                </a:lnSpc>
                <a:spcBef>
                  <a:spcPct val="50000"/>
                </a:spcBef>
                <a:spcAft>
                  <a:spcPct val="0"/>
                </a:spcAft>
                <a:buClr>
                  <a:srgbClr val="00B0E7"/>
                </a:buClr>
                <a:buFont typeface="Marlett" pitchFamily="2" charset="2"/>
                <a:buNone/>
              </a:pPr>
              <a:r>
                <a:rPr lang="en-US" sz="1200" b="1" dirty="0" smtClean="0">
                  <a:solidFill>
                    <a:schemeClr val="tx2"/>
                  </a:solidFill>
                  <a:latin typeface="+mj-lt"/>
                  <a:ea typeface="ＭＳ Ｐゴシック" pitchFamily="34" charset="-128"/>
                  <a:cs typeface="Arial" panose="020B0604020202020204" pitchFamily="34" charset="0"/>
                </a:rPr>
                <a:t>Regional</a:t>
              </a:r>
              <a:endParaRPr lang="en-US" sz="1200" b="1" dirty="0">
                <a:solidFill>
                  <a:schemeClr val="tx2"/>
                </a:solidFill>
                <a:latin typeface="+mj-lt"/>
                <a:ea typeface="ＭＳ Ｐゴシック" pitchFamily="34" charset="-128"/>
                <a:cs typeface="Arial" panose="020B0604020202020204" pitchFamily="34" charset="0"/>
              </a:endParaRPr>
            </a:p>
          </p:txBody>
        </p:sp>
        <p:pic>
          <p:nvPicPr>
            <p:cNvPr id="26" name="Picture 3" descr="C:\Users\desaintsr\AppData\Local\Microsoft\Windows\Temporary Internet Files\Content.IE5\0RYULLJW\globe-328140_960_72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1773" y="3202434"/>
              <a:ext cx="389723" cy="2192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e 26"/>
          <p:cNvGrpSpPr/>
          <p:nvPr/>
        </p:nvGrpSpPr>
        <p:grpSpPr>
          <a:xfrm>
            <a:off x="526000" y="3679828"/>
            <a:ext cx="993816" cy="1080740"/>
            <a:chOff x="8560228" y="1988840"/>
            <a:chExt cx="1073292" cy="1080740"/>
          </a:xfrm>
        </p:grpSpPr>
        <p:sp>
          <p:nvSpPr>
            <p:cNvPr id="28" name="Rectangle à coins arrondis 27"/>
            <p:cNvSpPr/>
            <p:nvPr/>
          </p:nvSpPr>
          <p:spPr>
            <a:xfrm>
              <a:off x="8560228" y="1988840"/>
              <a:ext cx="1073292" cy="1080740"/>
            </a:xfrm>
            <a:prstGeom prst="roundRect">
              <a:avLst>
                <a:gd name="adj" fmla="val 10654"/>
              </a:avLst>
            </a:prstGeom>
            <a:solidFill>
              <a:srgbClr val="F5F5F5"/>
            </a:solidFill>
            <a:ln w="6350" cap="flat" cmpd="sng" algn="ctr">
              <a:solidFill>
                <a:schemeClr val="bg1">
                  <a:lumMod val="50000"/>
                </a:schemeClr>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US" sz="1100" b="0" i="0" u="none" strike="noStrike" kern="0" cap="none" spc="0" normalizeH="0" baseline="0" noProof="0" dirty="0" smtClean="0">
                <a:ln>
                  <a:noFill/>
                </a:ln>
                <a:solidFill>
                  <a:srgbClr val="FFFFFF"/>
                </a:solidFill>
                <a:effectLst/>
                <a:uLnTx/>
                <a:uFillTx/>
                <a:latin typeface="+mj-lt"/>
                <a:ea typeface="+mn-ea"/>
                <a:cs typeface="+mn-cs"/>
              </a:endParaRPr>
            </a:p>
          </p:txBody>
        </p:sp>
        <p:sp>
          <p:nvSpPr>
            <p:cNvPr id="29" name="Flèche droite 28"/>
            <p:cNvSpPr/>
            <p:nvPr/>
          </p:nvSpPr>
          <p:spPr>
            <a:xfrm rot="16200000">
              <a:off x="8684565" y="2205176"/>
              <a:ext cx="418169" cy="229278"/>
            </a:xfrm>
            <a:prstGeom prst="rightArrow">
              <a:avLst/>
            </a:prstGeom>
            <a:solidFill>
              <a:schemeClr val="accent3"/>
            </a:solidFill>
            <a:ln w="25400" cap="flat" cmpd="sng" algn="ctr">
              <a:noFill/>
              <a:prstDash val="solid"/>
            </a:ln>
            <a:effectLst/>
          </p:spPr>
          <p:txBody>
            <a:bodyPr lIns="0" tIns="0" rIns="0" bIns="0"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FFFFFF"/>
                  </a:solidFill>
                  <a:effectLst/>
                  <a:uLnTx/>
                  <a:uFillTx/>
                  <a:latin typeface="+mj-lt"/>
                  <a:ea typeface="ＭＳ Ｐゴシック" pitchFamily="34" charset="-128"/>
                  <a:cs typeface="Arial" panose="020B0604020202020204" pitchFamily="34" charset="0"/>
                </a:rPr>
                <a:t> AGGRESSIVE</a:t>
              </a:r>
              <a:endParaRPr kumimoji="0" lang="en-US" sz="200" b="1" i="0" u="none" strike="noStrike" kern="0" cap="none" spc="0" normalizeH="0" baseline="0" noProof="0" dirty="0" smtClean="0">
                <a:ln>
                  <a:noFill/>
                </a:ln>
                <a:solidFill>
                  <a:srgbClr val="FFFFFF"/>
                </a:solidFill>
                <a:effectLst/>
                <a:uLnTx/>
                <a:uFillTx/>
                <a:latin typeface="+mj-lt"/>
                <a:ea typeface="ＭＳ Ｐゴシック" pitchFamily="34" charset="-128"/>
                <a:cs typeface="Arial" panose="020B0604020202020204" pitchFamily="34" charset="0"/>
              </a:endParaRPr>
            </a:p>
          </p:txBody>
        </p:sp>
        <p:sp>
          <p:nvSpPr>
            <p:cNvPr id="30" name="Flèche droite 29"/>
            <p:cNvSpPr/>
            <p:nvPr/>
          </p:nvSpPr>
          <p:spPr>
            <a:xfrm rot="5400000" flipV="1">
              <a:off x="9276261" y="2630338"/>
              <a:ext cx="431946" cy="229278"/>
            </a:xfrm>
            <a:prstGeom prst="rightArrow">
              <a:avLst/>
            </a:prstGeom>
            <a:solidFill>
              <a:schemeClr val="accent4">
                <a:lumMod val="50000"/>
              </a:schemeClr>
            </a:solidFill>
            <a:ln w="25400" cap="flat" cmpd="sng" algn="ctr">
              <a:noFill/>
              <a:prstDash val="solid"/>
            </a:ln>
            <a:effectLst/>
          </p:spPr>
          <p:txBody>
            <a:bodyPr lIns="0" tIns="0" rIns="36000" bIns="0" rtlCol="0" anchor="ct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sz="400" b="1" i="0" u="none" strike="noStrike" kern="0" cap="none" spc="0" normalizeH="0" baseline="0" noProof="0" dirty="0" smtClean="0">
                  <a:ln>
                    <a:noFill/>
                  </a:ln>
                  <a:solidFill>
                    <a:srgbClr val="FFFFFF"/>
                  </a:solidFill>
                  <a:effectLst/>
                  <a:uLnTx/>
                  <a:uFillTx/>
                  <a:latin typeface="+mj-lt"/>
                  <a:ea typeface="ＭＳ Ｐゴシック" pitchFamily="34" charset="-128"/>
                  <a:cs typeface="Arial" panose="020B0604020202020204" pitchFamily="34" charset="0"/>
                </a:rPr>
                <a:t>DEFENSIVE</a:t>
              </a:r>
              <a:endParaRPr kumimoji="0" lang="en-US" sz="200" b="1" i="0" u="none" strike="noStrike" kern="0" cap="none" spc="0" normalizeH="0" baseline="0" noProof="0" dirty="0" smtClean="0">
                <a:ln>
                  <a:noFill/>
                </a:ln>
                <a:solidFill>
                  <a:srgbClr val="FFFFFF"/>
                </a:solidFill>
                <a:effectLst/>
                <a:uLnTx/>
                <a:uFillTx/>
                <a:latin typeface="+mj-lt"/>
                <a:ea typeface="ＭＳ Ｐゴシック" pitchFamily="34" charset="-128"/>
                <a:cs typeface="Arial" panose="020B0604020202020204" pitchFamily="34" charset="0"/>
              </a:endParaRPr>
            </a:p>
          </p:txBody>
        </p:sp>
        <p:sp>
          <p:nvSpPr>
            <p:cNvPr id="31" name="Flèche droite 30"/>
            <p:cNvSpPr/>
            <p:nvPr/>
          </p:nvSpPr>
          <p:spPr>
            <a:xfrm rot="16200000">
              <a:off x="8461371" y="2181512"/>
              <a:ext cx="465497" cy="229278"/>
            </a:xfrm>
            <a:prstGeom prst="rightArrow">
              <a:avLst/>
            </a:prstGeom>
            <a:solidFill>
              <a:schemeClr val="accent2">
                <a:lumMod val="50000"/>
              </a:schemeClr>
            </a:solidFill>
            <a:ln w="25400" cap="flat" cmpd="sng" algn="ctr">
              <a:noFill/>
              <a:prstDash val="solid"/>
            </a:ln>
            <a:effectLst/>
          </p:spPr>
          <p:txBody>
            <a:bodyPr lIns="36000" tIns="0" rIns="0" bIns="0"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FFFFFF"/>
                  </a:solidFill>
                  <a:effectLst/>
                  <a:uLnTx/>
                  <a:uFillTx/>
                  <a:latin typeface="+mj-lt"/>
                  <a:ea typeface="ＭＳ Ｐゴシック" pitchFamily="34" charset="-128"/>
                  <a:cs typeface="Arial" panose="020B0604020202020204" pitchFamily="34" charset="0"/>
                </a:rPr>
                <a:t>DEEP VALUE</a:t>
              </a:r>
              <a:endParaRPr kumimoji="0" lang="en-US" sz="200" b="1" i="0" u="none" strike="noStrike" kern="0" cap="none" spc="0" normalizeH="0" baseline="0" noProof="0" dirty="0" smtClean="0">
                <a:ln>
                  <a:noFill/>
                </a:ln>
                <a:solidFill>
                  <a:srgbClr val="FFFFFF"/>
                </a:solidFill>
                <a:effectLst/>
                <a:uLnTx/>
                <a:uFillTx/>
                <a:latin typeface="+mj-lt"/>
                <a:ea typeface="ＭＳ Ｐゴシック" pitchFamily="34" charset="-128"/>
                <a:cs typeface="Arial" panose="020B0604020202020204" pitchFamily="34" charset="0"/>
              </a:endParaRPr>
            </a:p>
          </p:txBody>
        </p:sp>
        <p:sp>
          <p:nvSpPr>
            <p:cNvPr id="32" name="Flèche droite 31"/>
            <p:cNvSpPr/>
            <p:nvPr/>
          </p:nvSpPr>
          <p:spPr>
            <a:xfrm rot="5400000" flipV="1">
              <a:off x="9040675" y="2666289"/>
              <a:ext cx="504056" cy="229278"/>
            </a:xfrm>
            <a:prstGeom prst="rightArrow">
              <a:avLst/>
            </a:prstGeom>
            <a:solidFill>
              <a:schemeClr val="bg1">
                <a:lumMod val="50000"/>
              </a:schemeClr>
            </a:solidFill>
            <a:ln w="25400" cap="flat" cmpd="sng" algn="ctr">
              <a:noFill/>
              <a:prstDash val="solid"/>
            </a:ln>
            <a:effectLst/>
          </p:spPr>
          <p:txBody>
            <a:bodyPr lIns="0" tIns="0" rIns="36000" bIns="0" rtlCol="0" anchor="ct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sz="400" b="1" i="0" u="none" strike="noStrike" kern="0" cap="none" spc="0" normalizeH="0" baseline="0" noProof="0" dirty="0" smtClean="0">
                  <a:ln>
                    <a:noFill/>
                  </a:ln>
                  <a:solidFill>
                    <a:srgbClr val="FFFFFF"/>
                  </a:solidFill>
                  <a:effectLst/>
                  <a:uLnTx/>
                  <a:uFillTx/>
                  <a:latin typeface="+mj-lt"/>
                  <a:ea typeface="ＭＳ Ｐゴシック" pitchFamily="34" charset="-128"/>
                  <a:cs typeface="Arial" panose="020B0604020202020204" pitchFamily="34" charset="0"/>
                </a:rPr>
                <a:t>MOMENTUM</a:t>
              </a:r>
              <a:endParaRPr kumimoji="0" lang="en-US" sz="300" b="1" i="0" u="none" strike="noStrike" kern="0" cap="none" spc="0" normalizeH="0" baseline="0" noProof="0" dirty="0" smtClean="0">
                <a:ln>
                  <a:noFill/>
                </a:ln>
                <a:solidFill>
                  <a:srgbClr val="FFFFFF"/>
                </a:solidFill>
                <a:effectLst/>
                <a:uLnTx/>
                <a:uFillTx/>
                <a:latin typeface="+mj-lt"/>
                <a:ea typeface="ＭＳ Ｐゴシック" pitchFamily="34" charset="-128"/>
                <a:cs typeface="Arial" panose="020B0604020202020204" pitchFamily="34" charset="0"/>
              </a:endParaRPr>
            </a:p>
          </p:txBody>
        </p:sp>
        <p:sp>
          <p:nvSpPr>
            <p:cNvPr id="33" name="Flèche droite 32"/>
            <p:cNvSpPr/>
            <p:nvPr/>
          </p:nvSpPr>
          <p:spPr>
            <a:xfrm rot="16200000">
              <a:off x="8931164" y="2252236"/>
              <a:ext cx="324023" cy="229278"/>
            </a:xfrm>
            <a:prstGeom prst="rightArrow">
              <a:avLst/>
            </a:prstGeom>
            <a:solidFill>
              <a:schemeClr val="accent3">
                <a:lumMod val="50000"/>
              </a:schemeClr>
            </a:solidFill>
            <a:ln w="25400" cap="flat" cmpd="sng" algn="ctr">
              <a:noFill/>
              <a:prstDash val="solid"/>
            </a:ln>
            <a:effectLst/>
          </p:spPr>
          <p:txBody>
            <a:bodyPr lIns="36000" tIns="0" rIns="0" bIns="0" rtlCol="0" anchor="ct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sz="400" b="1" i="0" u="none" strike="noStrike" kern="0" cap="none" spc="0" normalizeH="0" baseline="0" noProof="0" dirty="0" smtClean="0">
                  <a:ln>
                    <a:noFill/>
                  </a:ln>
                  <a:solidFill>
                    <a:srgbClr val="FFFFFF"/>
                  </a:solidFill>
                  <a:effectLst/>
                  <a:uLnTx/>
                  <a:uFillTx/>
                  <a:latin typeface="+mj-lt"/>
                  <a:ea typeface="ＭＳ Ｐゴシック" pitchFamily="34" charset="-128"/>
                  <a:cs typeface="Arial" panose="020B0604020202020204" pitchFamily="34" charset="0"/>
                </a:rPr>
                <a:t>BLEND</a:t>
              </a:r>
              <a:endParaRPr kumimoji="0" lang="en-US" sz="500" b="1" i="0" u="none" strike="noStrike" kern="0" cap="none" spc="0" normalizeH="0" baseline="0" noProof="0" dirty="0">
                <a:ln>
                  <a:noFill/>
                </a:ln>
                <a:solidFill>
                  <a:srgbClr val="FFFFFF"/>
                </a:solidFill>
                <a:effectLst/>
                <a:uLnTx/>
                <a:uFillTx/>
                <a:latin typeface="+mj-lt"/>
                <a:ea typeface="ＭＳ Ｐゴシック" pitchFamily="34" charset="-128"/>
                <a:cs typeface="Arial" panose="020B0604020202020204" pitchFamily="34" charset="0"/>
              </a:endParaRPr>
            </a:p>
          </p:txBody>
        </p:sp>
        <p:cxnSp>
          <p:nvCxnSpPr>
            <p:cNvPr id="34" name="Connecteur droit 33"/>
            <p:cNvCxnSpPr/>
            <p:nvPr/>
          </p:nvCxnSpPr>
          <p:spPr>
            <a:xfrm>
              <a:off x="8622690" y="2528900"/>
              <a:ext cx="939400" cy="310"/>
            </a:xfrm>
            <a:prstGeom prst="line">
              <a:avLst/>
            </a:prstGeom>
            <a:noFill/>
            <a:ln w="19050" cap="flat" cmpd="sng" algn="ctr">
              <a:solidFill>
                <a:schemeClr val="tx2"/>
              </a:solidFill>
              <a:prstDash val="solid"/>
            </a:ln>
            <a:effectLst/>
          </p:spPr>
        </p:cxnSp>
      </p:grpSp>
      <p:grpSp>
        <p:nvGrpSpPr>
          <p:cNvPr id="35" name="Groupe 34"/>
          <p:cNvGrpSpPr/>
          <p:nvPr/>
        </p:nvGrpSpPr>
        <p:grpSpPr>
          <a:xfrm>
            <a:off x="528139" y="4957467"/>
            <a:ext cx="1733572" cy="1080740"/>
            <a:chOff x="8553400" y="1988840"/>
            <a:chExt cx="1872207" cy="1080740"/>
          </a:xfrm>
        </p:grpSpPr>
        <p:sp>
          <p:nvSpPr>
            <p:cNvPr id="36" name="Rectangle à coins arrondis 35"/>
            <p:cNvSpPr/>
            <p:nvPr/>
          </p:nvSpPr>
          <p:spPr>
            <a:xfrm>
              <a:off x="8553400" y="1988840"/>
              <a:ext cx="1073292" cy="1080740"/>
            </a:xfrm>
            <a:prstGeom prst="roundRect">
              <a:avLst>
                <a:gd name="adj" fmla="val 10654"/>
              </a:avLst>
            </a:prstGeom>
            <a:solidFill>
              <a:srgbClr val="F5F5F5"/>
            </a:solidFill>
            <a:ln w="6350" cap="flat" cmpd="sng" algn="ctr">
              <a:solidFill>
                <a:schemeClr val="bg1">
                  <a:lumMod val="50000"/>
                </a:schemeClr>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US" sz="1100" b="0" i="0" u="none" strike="noStrike" kern="0" cap="none" spc="0" normalizeH="0" baseline="0" noProof="0" dirty="0" smtClean="0">
                <a:ln>
                  <a:noFill/>
                </a:ln>
                <a:solidFill>
                  <a:srgbClr val="FFFFFF"/>
                </a:solidFill>
                <a:effectLst/>
                <a:uLnTx/>
                <a:uFillTx/>
                <a:latin typeface="+mj-lt"/>
                <a:ea typeface="+mn-ea"/>
                <a:cs typeface="+mn-cs"/>
              </a:endParaRPr>
            </a:p>
          </p:txBody>
        </p:sp>
        <p:sp>
          <p:nvSpPr>
            <p:cNvPr id="37" name="Arc 36"/>
            <p:cNvSpPr/>
            <p:nvPr/>
          </p:nvSpPr>
          <p:spPr>
            <a:xfrm flipH="1">
              <a:off x="8609691" y="2132856"/>
              <a:ext cx="1815916" cy="792088"/>
            </a:xfrm>
            <a:prstGeom prst="arc">
              <a:avLst>
                <a:gd name="adj1" fmla="val 16200000"/>
                <a:gd name="adj2" fmla="val 5392680"/>
              </a:avLst>
            </a:prstGeom>
            <a:noFill/>
            <a:ln w="19050" cap="flat" cmpd="sng" algn="ctr">
              <a:solidFill>
                <a:srgbClr val="000000"/>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fr-FR" sz="1100" b="0" i="0" u="none" strike="noStrike" kern="0" cap="none" spc="0" normalizeH="0" baseline="0" noProof="0" smtClean="0">
                <a:ln>
                  <a:noFill/>
                </a:ln>
                <a:solidFill>
                  <a:srgbClr val="008998"/>
                </a:solidFill>
                <a:effectLst/>
                <a:uLnTx/>
                <a:uFillTx/>
                <a:latin typeface="+mj-lt"/>
                <a:ea typeface="+mn-ea"/>
                <a:cs typeface="+mn-cs"/>
              </a:endParaRPr>
            </a:p>
          </p:txBody>
        </p:sp>
        <p:cxnSp>
          <p:nvCxnSpPr>
            <p:cNvPr id="38" name="Connecteur droit 37"/>
            <p:cNvCxnSpPr/>
            <p:nvPr/>
          </p:nvCxnSpPr>
          <p:spPr>
            <a:xfrm>
              <a:off x="8609691" y="2528888"/>
              <a:ext cx="907958" cy="0"/>
            </a:xfrm>
            <a:prstGeom prst="line">
              <a:avLst/>
            </a:prstGeom>
            <a:noFill/>
            <a:ln w="19050" cap="flat" cmpd="sng" algn="ctr">
              <a:solidFill>
                <a:srgbClr val="000000"/>
              </a:solidFill>
              <a:prstDash val="sysDot"/>
            </a:ln>
            <a:effectLst/>
          </p:spPr>
        </p:cxnSp>
        <p:cxnSp>
          <p:nvCxnSpPr>
            <p:cNvPr id="39" name="Connecteur droit 38"/>
            <p:cNvCxnSpPr/>
            <p:nvPr/>
          </p:nvCxnSpPr>
          <p:spPr>
            <a:xfrm flipV="1">
              <a:off x="8609691" y="2456892"/>
              <a:ext cx="159733" cy="72318"/>
            </a:xfrm>
            <a:prstGeom prst="line">
              <a:avLst/>
            </a:prstGeom>
            <a:noFill/>
            <a:ln w="19050" cap="flat" cmpd="sng" algn="ctr">
              <a:solidFill>
                <a:schemeClr val="accent4"/>
              </a:solidFill>
              <a:prstDash val="solid"/>
            </a:ln>
            <a:effectLst/>
          </p:spPr>
        </p:cxnSp>
        <p:cxnSp>
          <p:nvCxnSpPr>
            <p:cNvPr id="40" name="Connecteur droit 39"/>
            <p:cNvCxnSpPr/>
            <p:nvPr/>
          </p:nvCxnSpPr>
          <p:spPr>
            <a:xfrm>
              <a:off x="8769424" y="2456892"/>
              <a:ext cx="144016" cy="359730"/>
            </a:xfrm>
            <a:prstGeom prst="line">
              <a:avLst/>
            </a:prstGeom>
            <a:noFill/>
            <a:ln w="19050" cap="flat" cmpd="sng" algn="ctr">
              <a:solidFill>
                <a:schemeClr val="accent4"/>
              </a:solidFill>
              <a:prstDash val="solid"/>
            </a:ln>
            <a:effectLst/>
          </p:spPr>
        </p:cxnSp>
        <p:cxnSp>
          <p:nvCxnSpPr>
            <p:cNvPr id="41" name="Connecteur droit 40"/>
            <p:cNvCxnSpPr/>
            <p:nvPr/>
          </p:nvCxnSpPr>
          <p:spPr>
            <a:xfrm flipH="1">
              <a:off x="8913440" y="2384884"/>
              <a:ext cx="150230" cy="431738"/>
            </a:xfrm>
            <a:prstGeom prst="line">
              <a:avLst/>
            </a:prstGeom>
            <a:noFill/>
            <a:ln w="19050" cap="flat" cmpd="sng" algn="ctr">
              <a:solidFill>
                <a:schemeClr val="accent4"/>
              </a:solidFill>
              <a:prstDash val="solid"/>
            </a:ln>
            <a:effectLst/>
          </p:spPr>
        </p:cxnSp>
        <p:cxnSp>
          <p:nvCxnSpPr>
            <p:cNvPr id="42" name="Connecteur droit 41"/>
            <p:cNvCxnSpPr/>
            <p:nvPr/>
          </p:nvCxnSpPr>
          <p:spPr>
            <a:xfrm>
              <a:off x="9063670" y="2384884"/>
              <a:ext cx="173806" cy="72008"/>
            </a:xfrm>
            <a:prstGeom prst="line">
              <a:avLst/>
            </a:prstGeom>
            <a:noFill/>
            <a:ln w="19050" cap="flat" cmpd="sng" algn="ctr">
              <a:solidFill>
                <a:schemeClr val="accent4"/>
              </a:solidFill>
              <a:prstDash val="solid"/>
            </a:ln>
            <a:effectLst/>
          </p:spPr>
        </p:cxnSp>
        <p:cxnSp>
          <p:nvCxnSpPr>
            <p:cNvPr id="43" name="Connecteur droit 42"/>
            <p:cNvCxnSpPr/>
            <p:nvPr/>
          </p:nvCxnSpPr>
          <p:spPr>
            <a:xfrm flipV="1">
              <a:off x="9237476" y="2136426"/>
              <a:ext cx="252028" cy="320466"/>
            </a:xfrm>
            <a:prstGeom prst="line">
              <a:avLst/>
            </a:prstGeom>
            <a:noFill/>
            <a:ln w="19050" cap="flat" cmpd="sng" algn="ctr">
              <a:solidFill>
                <a:schemeClr val="accent4"/>
              </a:solidFill>
              <a:prstDash val="solid"/>
            </a:ln>
            <a:effectLst/>
          </p:spPr>
        </p:cxnSp>
      </p:grpSp>
      <p:sp>
        <p:nvSpPr>
          <p:cNvPr id="44" name="ZoneTexte 43"/>
          <p:cNvSpPr txBox="1"/>
          <p:nvPr/>
        </p:nvSpPr>
        <p:spPr>
          <a:xfrm>
            <a:off x="2038950" y="3775078"/>
            <a:ext cx="1476523" cy="363552"/>
          </a:xfrm>
          <a:prstGeom prst="rect">
            <a:avLst/>
          </a:prstGeom>
          <a:solidFill>
            <a:schemeClr val="tx1"/>
          </a:solidFill>
          <a:effectLst/>
        </p:spPr>
        <p:txBody>
          <a:bodyPr wrap="square" lIns="0" tIns="36000" rIns="0" bIns="36000" rtlCol="0">
            <a:spAutoFit/>
          </a:bodyPr>
          <a:lstStyle>
            <a:defPPr>
              <a:defRPr lang="fr-FR"/>
            </a:defPPr>
            <a:lvl1pPr algn="ctr" eaLnBrk="0" fontAlgn="base" hangingPunct="0">
              <a:lnSpc>
                <a:spcPct val="90000"/>
              </a:lnSpc>
              <a:spcAft>
                <a:spcPct val="0"/>
              </a:spcAft>
              <a:buClr>
                <a:srgbClr val="00B0E7"/>
              </a:buClr>
              <a:buFont typeface="Marlett" pitchFamily="2" charset="2"/>
              <a:buNone/>
              <a:defRPr sz="1050" b="1">
                <a:solidFill>
                  <a:schemeClr val="bg1"/>
                </a:solidFill>
                <a:latin typeface="+mj-lt"/>
                <a:ea typeface="ＭＳ Ｐゴシック" pitchFamily="34" charset="-128"/>
                <a:cs typeface="Arial" panose="020B0604020202020204" pitchFamily="34" charset="0"/>
              </a:defRPr>
            </a:lvl1pPr>
          </a:lstStyle>
          <a:p>
            <a:r>
              <a:rPr lang="fr-FR" b="0" dirty="0"/>
              <a:t>INFORMATION COEFFICIENT</a:t>
            </a:r>
          </a:p>
        </p:txBody>
      </p:sp>
      <p:sp>
        <p:nvSpPr>
          <p:cNvPr id="45" name="ZoneTexte 44"/>
          <p:cNvSpPr txBox="1"/>
          <p:nvPr/>
        </p:nvSpPr>
        <p:spPr>
          <a:xfrm>
            <a:off x="2038950" y="5043192"/>
            <a:ext cx="1261418" cy="363552"/>
          </a:xfrm>
          <a:prstGeom prst="rect">
            <a:avLst/>
          </a:prstGeom>
          <a:solidFill>
            <a:schemeClr val="tx1"/>
          </a:solidFill>
          <a:effectLst/>
        </p:spPr>
        <p:txBody>
          <a:bodyPr wrap="square" lIns="0" tIns="36000" rIns="0" bIns="36000" rtlCol="0">
            <a:spAutoFit/>
          </a:bodyPr>
          <a:lstStyle>
            <a:defPPr>
              <a:defRPr lang="fr-FR"/>
            </a:defPPr>
            <a:lvl1pPr algn="ctr" eaLnBrk="0" fontAlgn="base" hangingPunct="0">
              <a:lnSpc>
                <a:spcPct val="90000"/>
              </a:lnSpc>
              <a:spcAft>
                <a:spcPct val="0"/>
              </a:spcAft>
              <a:buClr>
                <a:srgbClr val="00B0E7"/>
              </a:buClr>
              <a:buFont typeface="Marlett" pitchFamily="2" charset="2"/>
              <a:buNone/>
              <a:defRPr sz="1050" b="1">
                <a:solidFill>
                  <a:schemeClr val="bg1"/>
                </a:solidFill>
                <a:latin typeface="+mj-lt"/>
                <a:ea typeface="ＭＳ Ｐゴシック" pitchFamily="34" charset="-128"/>
                <a:cs typeface="Arial" panose="020B0604020202020204" pitchFamily="34" charset="0"/>
              </a:defRPr>
            </a:lvl1pPr>
          </a:lstStyle>
          <a:p>
            <a:r>
              <a:rPr lang="fr-FR" b="0" dirty="0"/>
              <a:t>RISK</a:t>
            </a:r>
          </a:p>
          <a:p>
            <a:r>
              <a:rPr lang="fr-FR" b="0" dirty="0"/>
              <a:t>ENVELOPE</a:t>
            </a:r>
          </a:p>
        </p:txBody>
      </p:sp>
      <p:grpSp>
        <p:nvGrpSpPr>
          <p:cNvPr id="49" name="Groupe 48"/>
          <p:cNvGrpSpPr/>
          <p:nvPr/>
        </p:nvGrpSpPr>
        <p:grpSpPr>
          <a:xfrm>
            <a:off x="7802095" y="3626809"/>
            <a:ext cx="1234149" cy="258532"/>
            <a:chOff x="2171773" y="3196022"/>
            <a:chExt cx="1332844" cy="258532"/>
          </a:xfrm>
        </p:grpSpPr>
        <p:sp>
          <p:nvSpPr>
            <p:cNvPr id="50" name="ZoneTexte 49"/>
            <p:cNvSpPr txBox="1"/>
            <p:nvPr/>
          </p:nvSpPr>
          <p:spPr>
            <a:xfrm>
              <a:off x="2511323" y="3196022"/>
              <a:ext cx="993294" cy="258532"/>
            </a:xfrm>
            <a:prstGeom prst="rect">
              <a:avLst/>
            </a:prstGeom>
            <a:noFill/>
          </p:spPr>
          <p:txBody>
            <a:bodyPr wrap="square" lIns="0" rIns="0" rtlCol="0">
              <a:spAutoFit/>
            </a:bodyPr>
            <a:lstStyle/>
            <a:p>
              <a:pPr defTabSz="914400" eaLnBrk="0" fontAlgn="base" hangingPunct="0">
                <a:lnSpc>
                  <a:spcPct val="90000"/>
                </a:lnSpc>
                <a:spcBef>
                  <a:spcPct val="50000"/>
                </a:spcBef>
                <a:spcAft>
                  <a:spcPct val="0"/>
                </a:spcAft>
                <a:buClr>
                  <a:srgbClr val="00B0E7"/>
                </a:buClr>
                <a:buFont typeface="Marlett" pitchFamily="2" charset="2"/>
                <a:buNone/>
              </a:pPr>
              <a:r>
                <a:rPr lang="en-US" sz="1200" b="1" dirty="0" smtClean="0">
                  <a:solidFill>
                    <a:schemeClr val="tx2"/>
                  </a:solidFill>
                  <a:latin typeface="+mj-lt"/>
                  <a:ea typeface="ＭＳ Ｐゴシック" pitchFamily="34" charset="-128"/>
                  <a:cs typeface="Arial" panose="020B0604020202020204" pitchFamily="34" charset="0"/>
                </a:rPr>
                <a:t>Regional</a:t>
              </a:r>
              <a:endParaRPr lang="en-US" sz="1200" b="1" dirty="0">
                <a:solidFill>
                  <a:schemeClr val="tx2"/>
                </a:solidFill>
                <a:latin typeface="+mj-lt"/>
                <a:ea typeface="ＭＳ Ｐゴシック" pitchFamily="34" charset="-128"/>
                <a:cs typeface="Arial" panose="020B0604020202020204" pitchFamily="34" charset="0"/>
              </a:endParaRPr>
            </a:p>
          </p:txBody>
        </p:sp>
        <p:pic>
          <p:nvPicPr>
            <p:cNvPr id="51" name="Picture 3" descr="C:\Users\desaintsr\AppData\Local\Microsoft\Windows\Temporary Internet Files\Content.IE5\0RYULLJW\globe-328140_960_72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1773" y="3202434"/>
              <a:ext cx="389723" cy="219219"/>
            </a:xfrm>
            <a:prstGeom prst="rect">
              <a:avLst/>
            </a:prstGeom>
            <a:noFill/>
            <a:extLst>
              <a:ext uri="{909E8E84-426E-40DD-AFC4-6F175D3DCCD1}">
                <a14:hiddenFill xmlns:a14="http://schemas.microsoft.com/office/drawing/2010/main">
                  <a:solidFill>
                    <a:srgbClr val="FFFFFF"/>
                  </a:solidFill>
                </a14:hiddenFill>
              </a:ext>
            </a:extLst>
          </p:spPr>
        </p:pic>
      </p:grpSp>
      <p:sp>
        <p:nvSpPr>
          <p:cNvPr id="52" name="Espace réservé du contenu 2"/>
          <p:cNvSpPr txBox="1">
            <a:spLocks/>
          </p:cNvSpPr>
          <p:nvPr/>
        </p:nvSpPr>
        <p:spPr>
          <a:xfrm>
            <a:off x="980902" y="3107675"/>
            <a:ext cx="7569010" cy="421542"/>
          </a:xfrm>
          <a:prstGeom prst="rect">
            <a:avLst/>
          </a:prstGeom>
        </p:spPr>
        <p:txBody>
          <a:bodyPr>
            <a:normAutofit/>
          </a:bodyPr>
          <a:lstStyle>
            <a:defPPr>
              <a:defRPr lang="fr-FR"/>
            </a:defPPr>
            <a:lvl1pPr marL="3175" indent="-3175" eaLnBrk="0" fontAlgn="base" hangingPunct="0">
              <a:lnSpc>
                <a:spcPct val="90000"/>
              </a:lnSpc>
              <a:spcBef>
                <a:spcPct val="0"/>
              </a:spcBef>
              <a:spcAft>
                <a:spcPct val="60000"/>
              </a:spcAft>
              <a:defRPr b="1">
                <a:solidFill>
                  <a:srgbClr val="001C4B"/>
                </a:solidFill>
              </a:defRPr>
            </a:lvl1pPr>
            <a:lvl2pPr marL="0" lvl="1" indent="0" eaLnBrk="0" fontAlgn="base" hangingPunct="0">
              <a:spcBef>
                <a:spcPct val="0"/>
              </a:spcBef>
              <a:spcAft>
                <a:spcPct val="0"/>
              </a:spcAft>
              <a:buClr>
                <a:srgbClr val="002060"/>
              </a:buClr>
              <a:buFont typeface="Wingdings" pitchFamily="2" charset="2"/>
              <a:buNone/>
              <a:defRPr kern="0">
                <a:latin typeface="+mj-lt"/>
              </a:defRPr>
            </a:lvl2pPr>
            <a:lvl3pPr marL="390525" indent="-195263" eaLnBrk="0" fontAlgn="base" hangingPunct="0">
              <a:spcBef>
                <a:spcPct val="0"/>
              </a:spcBef>
              <a:spcAft>
                <a:spcPct val="0"/>
              </a:spcAft>
              <a:buClr>
                <a:schemeClr val="tx2"/>
              </a:buClr>
              <a:buFont typeface="Arial" charset="0"/>
              <a:buChar char="–"/>
              <a:defRPr sz="1400">
                <a:solidFill>
                  <a:srgbClr val="001C4B"/>
                </a:solidFill>
              </a:defRPr>
            </a:lvl3pPr>
            <a:lvl4pPr marL="617538" indent="-3175" eaLnBrk="0" fontAlgn="base" hangingPunct="0">
              <a:spcBef>
                <a:spcPct val="25000"/>
              </a:spcBef>
              <a:spcAft>
                <a:spcPct val="0"/>
              </a:spcAft>
              <a:buClr>
                <a:schemeClr val="hlink"/>
              </a:buClr>
              <a:defRPr sz="1200">
                <a:solidFill>
                  <a:srgbClr val="767A7E"/>
                </a:solidFill>
              </a:defRPr>
            </a:lvl4pPr>
            <a:lvl5pPr marL="742950" indent="-123825" eaLnBrk="0" fontAlgn="base" hangingPunct="0">
              <a:spcBef>
                <a:spcPct val="25000"/>
              </a:spcBef>
              <a:spcAft>
                <a:spcPct val="0"/>
              </a:spcAft>
              <a:buClr>
                <a:srgbClr val="7F7F7F"/>
              </a:buClr>
              <a:buFont typeface="Wingdings" pitchFamily="2" charset="2"/>
              <a:buChar char="n"/>
              <a:defRPr sz="1000"/>
            </a:lvl5pPr>
            <a:lvl6pPr marL="1200150" indent="-123825" fontAlgn="base">
              <a:spcBef>
                <a:spcPct val="25000"/>
              </a:spcBef>
              <a:spcAft>
                <a:spcPct val="0"/>
              </a:spcAft>
              <a:buClr>
                <a:srgbClr val="EF7E00"/>
              </a:buClr>
              <a:buFont typeface="Wingdings" pitchFamily="-80" charset="2"/>
              <a:buChar char="n"/>
              <a:defRPr sz="1000"/>
            </a:lvl6pPr>
            <a:lvl7pPr marL="1657350" indent="-123825" fontAlgn="base">
              <a:spcBef>
                <a:spcPct val="25000"/>
              </a:spcBef>
              <a:spcAft>
                <a:spcPct val="0"/>
              </a:spcAft>
              <a:buClr>
                <a:srgbClr val="EF7E00"/>
              </a:buClr>
              <a:buFont typeface="Wingdings" pitchFamily="-80" charset="2"/>
              <a:buChar char="n"/>
              <a:defRPr sz="1000"/>
            </a:lvl7pPr>
            <a:lvl8pPr marL="2114550" indent="-123825" fontAlgn="base">
              <a:spcBef>
                <a:spcPct val="25000"/>
              </a:spcBef>
              <a:spcAft>
                <a:spcPct val="0"/>
              </a:spcAft>
              <a:buClr>
                <a:srgbClr val="EF7E00"/>
              </a:buClr>
              <a:buFont typeface="Wingdings" pitchFamily="-80" charset="2"/>
              <a:buChar char="n"/>
              <a:defRPr sz="1000"/>
            </a:lvl8pPr>
            <a:lvl9pPr marL="2571750" indent="-123825" fontAlgn="base">
              <a:spcBef>
                <a:spcPct val="25000"/>
              </a:spcBef>
              <a:spcAft>
                <a:spcPct val="0"/>
              </a:spcAft>
              <a:buClr>
                <a:srgbClr val="EF7E00"/>
              </a:buClr>
              <a:buFont typeface="Wingdings" pitchFamily="-80" charset="2"/>
              <a:buChar char="n"/>
              <a:defRPr sz="1000"/>
            </a:lvl9pPr>
          </a:lstStyle>
          <a:p>
            <a:pPr lvl="1"/>
            <a:r>
              <a:rPr lang="en-US" b="1" dirty="0"/>
              <a:t>Build the most relevant factor allocation</a:t>
            </a:r>
          </a:p>
        </p:txBody>
      </p:sp>
      <p:sp>
        <p:nvSpPr>
          <p:cNvPr id="53" name="ZoneTexte 40"/>
          <p:cNvSpPr txBox="1"/>
          <p:nvPr/>
        </p:nvSpPr>
        <p:spPr>
          <a:xfrm>
            <a:off x="510138" y="3110095"/>
            <a:ext cx="384225" cy="327679"/>
          </a:xfrm>
          <a:prstGeom prst="rect">
            <a:avLst/>
          </a:prstGeom>
          <a:solidFill>
            <a:schemeClr val="tx1"/>
          </a:solidFill>
          <a:ln>
            <a:noFill/>
          </a:ln>
          <a:effectLst>
            <a:outerShdw blurRad="50800" dist="38100" dir="2700000" algn="tl" rotWithShape="0">
              <a:prstClr val="black">
                <a:alpha val="40000"/>
              </a:prstClr>
            </a:outerShdw>
          </a:effectLst>
        </p:spPr>
        <p:txBody>
          <a:bodyPr wrap="square" rtlCol="0" anchor="ctr">
            <a:noAutofit/>
          </a:bodyPr>
          <a:lstStyle>
            <a:defPPr>
              <a:defRPr lang="fr-FR"/>
            </a:defPPr>
            <a:lvl1pPr marR="0" lvl="0" indent="0" algn="ctr" eaLnBrk="0" fontAlgn="base" hangingPunct="0">
              <a:lnSpc>
                <a:spcPct val="90000"/>
              </a:lnSpc>
              <a:spcBef>
                <a:spcPts val="0"/>
              </a:spcBef>
              <a:spcAft>
                <a:spcPct val="0"/>
              </a:spcAft>
              <a:buClr>
                <a:srgbClr val="00B0E7"/>
              </a:buClr>
              <a:buSzTx/>
              <a:buFont typeface="Marlett" pitchFamily="2" charset="2"/>
              <a:buNone/>
              <a:tabLst/>
              <a:defRPr kumimoji="0" sz="1600" b="1" i="0" u="none" strike="noStrike" kern="0" cap="none" spc="0" normalizeH="0" baseline="0">
                <a:ln>
                  <a:noFill/>
                </a:ln>
                <a:solidFill>
                  <a:srgbClr val="FFFFFF"/>
                </a:solidFill>
                <a:effectLst/>
                <a:uLnTx/>
                <a:uFillTx/>
                <a:latin typeface="+mj-lt"/>
                <a:ea typeface="ＭＳ Ｐゴシック" pitchFamily="34" charset="-128"/>
              </a:defRPr>
            </a:lvl1pPr>
          </a:lstStyle>
          <a:p>
            <a:r>
              <a:rPr lang="en-US" dirty="0"/>
              <a:t>2</a:t>
            </a:r>
          </a:p>
        </p:txBody>
      </p:sp>
      <p:cxnSp>
        <p:nvCxnSpPr>
          <p:cNvPr id="54" name="Straight Connector 3"/>
          <p:cNvCxnSpPr/>
          <p:nvPr/>
        </p:nvCxnSpPr>
        <p:spPr bwMode="auto">
          <a:xfrm>
            <a:off x="1068712" y="3423026"/>
            <a:ext cx="4392000" cy="0"/>
          </a:xfrm>
          <a:prstGeom prst="line">
            <a:avLst/>
          </a:prstGeom>
          <a:solidFill>
            <a:schemeClr val="bg2"/>
          </a:solidFill>
          <a:ln w="9525" cap="flat" cmpd="sng" algn="ctr">
            <a:solidFill>
              <a:schemeClr val="tx1"/>
            </a:solidFill>
            <a:prstDash val="solid"/>
            <a:round/>
            <a:headEnd type="none" w="med" len="med"/>
            <a:tailEnd type="none" w="med" len="med"/>
          </a:ln>
          <a:effectLst/>
        </p:spPr>
      </p:cxnSp>
      <p:sp>
        <p:nvSpPr>
          <p:cNvPr id="56" name="Titre 1"/>
          <p:cNvSpPr txBox="1">
            <a:spLocks/>
          </p:cNvSpPr>
          <p:nvPr/>
        </p:nvSpPr>
        <p:spPr>
          <a:xfrm>
            <a:off x="539999" y="799865"/>
            <a:ext cx="8063999" cy="38749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1" kern="1200" spc="50" baseline="0">
                <a:solidFill>
                  <a:schemeClr val="tx1"/>
                </a:solidFill>
                <a:latin typeface="+mj-lt"/>
                <a:ea typeface="+mj-ea"/>
                <a:cs typeface="+mj-cs"/>
              </a:defRPr>
            </a:lvl1pPr>
          </a:lstStyle>
          <a:p>
            <a:r>
              <a:rPr lang="en-US" dirty="0">
                <a:solidFill>
                  <a:srgbClr val="003C64"/>
                </a:solidFill>
              </a:rPr>
              <a:t>Identification of current market regime and selection of relevant factor</a:t>
            </a:r>
            <a:endParaRPr lang="en-GB" dirty="0"/>
          </a:p>
        </p:txBody>
      </p:sp>
      <p:grpSp>
        <p:nvGrpSpPr>
          <p:cNvPr id="57" name="Groupe 56"/>
          <p:cNvGrpSpPr/>
          <p:nvPr/>
        </p:nvGrpSpPr>
        <p:grpSpPr>
          <a:xfrm>
            <a:off x="6854773" y="3614580"/>
            <a:ext cx="1194590" cy="258532"/>
            <a:chOff x="422920" y="1318616"/>
            <a:chExt cx="1157376" cy="258532"/>
          </a:xfrm>
        </p:grpSpPr>
        <p:pic>
          <p:nvPicPr>
            <p:cNvPr id="58" name="Picture 2" descr="C:\Users\desaintsr\AppData\Local\Microsoft\Windows\Temporary Internet Files\Content.IE5\KPEMW64X\clock-160966_960_72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2920" y="1344311"/>
              <a:ext cx="211788" cy="211788"/>
            </a:xfrm>
            <a:prstGeom prst="rect">
              <a:avLst/>
            </a:prstGeom>
            <a:noFill/>
            <a:extLst>
              <a:ext uri="{909E8E84-426E-40DD-AFC4-6F175D3DCCD1}">
                <a14:hiddenFill xmlns:a14="http://schemas.microsoft.com/office/drawing/2010/main">
                  <a:solidFill>
                    <a:srgbClr val="FFFFFF"/>
                  </a:solidFill>
                </a14:hiddenFill>
              </a:ext>
            </a:extLst>
          </p:spPr>
        </p:pic>
        <p:sp>
          <p:nvSpPr>
            <p:cNvPr id="59" name="ZoneTexte 58"/>
            <p:cNvSpPr txBox="1"/>
            <p:nvPr/>
          </p:nvSpPr>
          <p:spPr>
            <a:xfrm>
              <a:off x="668524" y="1318616"/>
              <a:ext cx="911772" cy="258532"/>
            </a:xfrm>
            <a:prstGeom prst="rect">
              <a:avLst/>
            </a:prstGeom>
            <a:noFill/>
          </p:spPr>
          <p:txBody>
            <a:bodyPr wrap="square" lIns="0" rIns="0" rtlCol="0">
              <a:spAutoFit/>
            </a:bodyPr>
            <a:lstStyle/>
            <a:p>
              <a:pPr eaLnBrk="0" fontAlgn="base" hangingPunct="0">
                <a:lnSpc>
                  <a:spcPct val="90000"/>
                </a:lnSpc>
                <a:spcBef>
                  <a:spcPct val="50000"/>
                </a:spcBef>
                <a:spcAft>
                  <a:spcPct val="0"/>
                </a:spcAft>
                <a:buClr>
                  <a:srgbClr val="00B0E7"/>
                </a:buClr>
              </a:pPr>
              <a:r>
                <a:rPr lang="en-US" sz="1200" b="1" dirty="0">
                  <a:solidFill>
                    <a:schemeClr val="tx2"/>
                  </a:solidFill>
                  <a:ea typeface="ＭＳ Ｐゴシック" pitchFamily="34" charset="-128"/>
                  <a:cs typeface="Arial" panose="020B0604020202020204" pitchFamily="34" charset="0"/>
                </a:rPr>
                <a:t>Weekly</a:t>
              </a:r>
              <a:endParaRPr lang="en-US" sz="900" b="1" dirty="0">
                <a:solidFill>
                  <a:schemeClr val="tx2"/>
                </a:solidFill>
                <a:latin typeface="+mj-lt"/>
                <a:ea typeface="ＭＳ Ｐゴシック" pitchFamily="34" charset="-128"/>
                <a:cs typeface="Arial" panose="020B0604020202020204" pitchFamily="34" charset="0"/>
              </a:endParaRPr>
            </a:p>
          </p:txBody>
        </p:sp>
      </p:grpSp>
      <p:grpSp>
        <p:nvGrpSpPr>
          <p:cNvPr id="60" name="Groupe 59"/>
          <p:cNvGrpSpPr/>
          <p:nvPr/>
        </p:nvGrpSpPr>
        <p:grpSpPr>
          <a:xfrm>
            <a:off x="6854773" y="4860433"/>
            <a:ext cx="1194590" cy="258532"/>
            <a:chOff x="422920" y="1318616"/>
            <a:chExt cx="1157376" cy="258532"/>
          </a:xfrm>
        </p:grpSpPr>
        <p:pic>
          <p:nvPicPr>
            <p:cNvPr id="61" name="Picture 2" descr="C:\Users\desaintsr\AppData\Local\Microsoft\Windows\Temporary Internet Files\Content.IE5\KPEMW64X\clock-160966_960_72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2920" y="1344311"/>
              <a:ext cx="211788" cy="211788"/>
            </a:xfrm>
            <a:prstGeom prst="rect">
              <a:avLst/>
            </a:prstGeom>
            <a:noFill/>
            <a:extLst>
              <a:ext uri="{909E8E84-426E-40DD-AFC4-6F175D3DCCD1}">
                <a14:hiddenFill xmlns:a14="http://schemas.microsoft.com/office/drawing/2010/main">
                  <a:solidFill>
                    <a:srgbClr val="FFFFFF"/>
                  </a:solidFill>
                </a14:hiddenFill>
              </a:ext>
            </a:extLst>
          </p:spPr>
        </p:pic>
        <p:sp>
          <p:nvSpPr>
            <p:cNvPr id="62" name="ZoneTexte 61"/>
            <p:cNvSpPr txBox="1"/>
            <p:nvPr/>
          </p:nvSpPr>
          <p:spPr>
            <a:xfrm>
              <a:off x="668524" y="1318616"/>
              <a:ext cx="911772" cy="258532"/>
            </a:xfrm>
            <a:prstGeom prst="rect">
              <a:avLst/>
            </a:prstGeom>
            <a:noFill/>
          </p:spPr>
          <p:txBody>
            <a:bodyPr wrap="square" lIns="0" rIns="0" rtlCol="0">
              <a:spAutoFit/>
            </a:bodyPr>
            <a:lstStyle/>
            <a:p>
              <a:pPr eaLnBrk="0" fontAlgn="base" hangingPunct="0">
                <a:lnSpc>
                  <a:spcPct val="90000"/>
                </a:lnSpc>
                <a:spcBef>
                  <a:spcPct val="50000"/>
                </a:spcBef>
                <a:spcAft>
                  <a:spcPct val="0"/>
                </a:spcAft>
                <a:buClr>
                  <a:srgbClr val="00B0E7"/>
                </a:buClr>
              </a:pPr>
              <a:r>
                <a:rPr lang="en-US" sz="1200" b="1" dirty="0">
                  <a:solidFill>
                    <a:schemeClr val="tx2"/>
                  </a:solidFill>
                  <a:ea typeface="ＭＳ Ｐゴシック" pitchFamily="34" charset="-128"/>
                  <a:cs typeface="Arial" panose="020B0604020202020204" pitchFamily="34" charset="0"/>
                </a:rPr>
                <a:t>Weekly</a:t>
              </a:r>
              <a:endParaRPr lang="en-US" sz="900" b="1" dirty="0">
                <a:solidFill>
                  <a:schemeClr val="tx2"/>
                </a:solidFill>
                <a:latin typeface="+mj-lt"/>
                <a:ea typeface="ＭＳ Ｐゴシック" pitchFamily="34" charset="-128"/>
                <a:cs typeface="Arial" panose="020B0604020202020204" pitchFamily="34" charset="0"/>
              </a:endParaRPr>
            </a:p>
          </p:txBody>
        </p:sp>
      </p:grpSp>
      <p:grpSp>
        <p:nvGrpSpPr>
          <p:cNvPr id="5" name="Groupe 4"/>
          <p:cNvGrpSpPr/>
          <p:nvPr/>
        </p:nvGrpSpPr>
        <p:grpSpPr>
          <a:xfrm>
            <a:off x="-938679" y="1921753"/>
            <a:ext cx="5748016" cy="1080740"/>
            <a:chOff x="-5598756" y="2633700"/>
            <a:chExt cx="5748016" cy="1080740"/>
          </a:xfrm>
        </p:grpSpPr>
        <p:sp>
          <p:nvSpPr>
            <p:cNvPr id="64" name="Rectangle à coins arrondis 63"/>
            <p:cNvSpPr/>
            <p:nvPr/>
          </p:nvSpPr>
          <p:spPr>
            <a:xfrm>
              <a:off x="-4143375" y="2633700"/>
              <a:ext cx="3091441" cy="1080740"/>
            </a:xfrm>
            <a:prstGeom prst="roundRect">
              <a:avLst>
                <a:gd name="adj" fmla="val 10654"/>
              </a:avLst>
            </a:prstGeom>
            <a:solidFill>
              <a:srgbClr val="F5F5F5"/>
            </a:solidFill>
            <a:ln w="6350" cap="flat" cmpd="sng" algn="ctr">
              <a:solidFill>
                <a:schemeClr val="bg1">
                  <a:lumMod val="50000"/>
                </a:schemeClr>
              </a:solidFill>
              <a:prstDash val="solid"/>
            </a:ln>
            <a:effectLst/>
          </p:spPr>
          <p:txBody>
            <a:bodyPr rtlCol="0" anchor="ctr"/>
            <a:lstStyle/>
            <a:p>
              <a:pPr marL="0" marR="0" lvl="0" indent="0" algn="ctr" defTabSz="914400" eaLnBrk="0" fontAlgn="base" latinLnBrk="0" hangingPunct="0">
                <a:lnSpc>
                  <a:spcPct val="90000"/>
                </a:lnSpc>
                <a:spcBef>
                  <a:spcPct val="50000"/>
                </a:spcBef>
                <a:spcAft>
                  <a:spcPct val="0"/>
                </a:spcAft>
                <a:buClr>
                  <a:srgbClr val="00B0E7"/>
                </a:buClr>
                <a:buSzTx/>
                <a:buFont typeface="Marlett" pitchFamily="2" charset="2"/>
                <a:buNone/>
                <a:tabLst/>
                <a:defRPr/>
              </a:pPr>
              <a:endParaRPr kumimoji="0" lang="en-US" sz="1100" b="0" i="0" u="none" strike="noStrike" kern="0" cap="none" spc="0" normalizeH="0" baseline="0" noProof="0" dirty="0" smtClean="0">
                <a:ln>
                  <a:noFill/>
                </a:ln>
                <a:solidFill>
                  <a:srgbClr val="FFFFFF"/>
                </a:solidFill>
                <a:effectLst/>
                <a:uLnTx/>
                <a:uFillTx/>
                <a:latin typeface="+mj-lt"/>
                <a:ea typeface="+mn-ea"/>
                <a:cs typeface="+mn-cs"/>
              </a:endParaRPr>
            </a:p>
          </p:txBody>
        </p:sp>
        <p:pic>
          <p:nvPicPr>
            <p:cNvPr id="103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98756" y="2797720"/>
              <a:ext cx="5748016"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4" name="ZoneTexte 40"/>
          <p:cNvSpPr txBox="1"/>
          <p:nvPr/>
        </p:nvSpPr>
        <p:spPr>
          <a:xfrm>
            <a:off x="510138" y="1541975"/>
            <a:ext cx="384225" cy="327679"/>
          </a:xfrm>
          <a:prstGeom prst="rect">
            <a:avLst/>
          </a:prstGeom>
          <a:solidFill>
            <a:schemeClr val="tx1"/>
          </a:solidFill>
          <a:ln>
            <a:noFill/>
          </a:ln>
          <a:effectLst>
            <a:outerShdw blurRad="50800" dist="38100" dir="2700000" algn="tl" rotWithShape="0">
              <a:prstClr val="black">
                <a:alpha val="40000"/>
              </a:prstClr>
            </a:outerShdw>
          </a:effectLst>
        </p:spPr>
        <p:txBody>
          <a:bodyPr wrap="square" rtlCol="0" anchor="ctr">
            <a:noAutofit/>
          </a:bodyPr>
          <a:lstStyle>
            <a:defPPr>
              <a:defRPr lang="fr-FR"/>
            </a:defPPr>
            <a:lvl1pPr marR="0" lvl="0" indent="0" algn="ctr" eaLnBrk="0" fontAlgn="base" hangingPunct="0">
              <a:lnSpc>
                <a:spcPct val="90000"/>
              </a:lnSpc>
              <a:spcBef>
                <a:spcPts val="0"/>
              </a:spcBef>
              <a:spcAft>
                <a:spcPct val="0"/>
              </a:spcAft>
              <a:buClr>
                <a:srgbClr val="00B0E7"/>
              </a:buClr>
              <a:buSzTx/>
              <a:buFont typeface="Marlett" pitchFamily="2" charset="2"/>
              <a:buNone/>
              <a:tabLst/>
              <a:defRPr kumimoji="0" sz="1600" b="1" i="0" u="none" strike="noStrike" kern="0" cap="none" spc="0" normalizeH="0" baseline="0">
                <a:ln>
                  <a:noFill/>
                </a:ln>
                <a:solidFill>
                  <a:srgbClr val="FFFFFF"/>
                </a:solidFill>
                <a:effectLst/>
                <a:uLnTx/>
                <a:uFillTx/>
                <a:latin typeface="+mj-lt"/>
                <a:ea typeface="ＭＳ Ｐゴシック" pitchFamily="34" charset="-128"/>
              </a:defRPr>
            </a:lvl1pPr>
          </a:lstStyle>
          <a:p>
            <a:r>
              <a:rPr lang="en-US" dirty="0" smtClean="0"/>
              <a:t>1</a:t>
            </a:r>
            <a:endParaRPr lang="en-US" dirty="0"/>
          </a:p>
        </p:txBody>
      </p:sp>
      <p:sp>
        <p:nvSpPr>
          <p:cNvPr id="55" name="Espace réservé du numéro de diapositive 4">
            <a:extLst>
              <a:ext uri="{FF2B5EF4-FFF2-40B4-BE49-F238E27FC236}">
                <a16:creationId xmlns="" xmlns:a16="http://schemas.microsoft.com/office/drawing/2014/main" id="{644972FE-E6DE-457C-B7E1-C27331DF5C39}"/>
              </a:ext>
            </a:extLst>
          </p:cNvPr>
          <p:cNvSpPr txBox="1">
            <a:spLocks/>
          </p:cNvSpPr>
          <p:nvPr/>
        </p:nvSpPr>
        <p:spPr>
          <a:xfrm>
            <a:off x="452578" y="6443056"/>
            <a:ext cx="359782" cy="180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B1C6FFC-D040-034F-8B69-20295064E64D}" type="slidenum">
              <a:rPr lang="fr-FR" sz="800"/>
              <a:pPr/>
              <a:t>50</a:t>
            </a:fld>
            <a:endParaRPr lang="fr-FR" sz="800" dirty="0"/>
          </a:p>
        </p:txBody>
      </p:sp>
      <p:sp>
        <p:nvSpPr>
          <p:cNvPr id="65"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63" name="Rectangle 62"/>
          <p:cNvSpPr/>
          <p:nvPr/>
        </p:nvSpPr>
        <p:spPr>
          <a:xfrm>
            <a:off x="5153025" y="131880"/>
            <a:ext cx="3455583" cy="3839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schemeClr val="tx1"/>
                </a:solidFill>
              </a:rPr>
              <a:t>CPR</a:t>
            </a:r>
            <a:endParaRPr lang="fr-FR" dirty="0">
              <a:solidFill>
                <a:schemeClr val="tx1"/>
              </a:solidFill>
            </a:endParaRPr>
          </a:p>
        </p:txBody>
      </p:sp>
    </p:spTree>
    <p:extLst>
      <p:ext uri="{BB962C8B-B14F-4D97-AF65-F5344CB8AC3E}">
        <p14:creationId xmlns:p14="http://schemas.microsoft.com/office/powerpoint/2010/main" val="211843012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7">
            <a:extLst>
              <a:ext uri="{FF2B5EF4-FFF2-40B4-BE49-F238E27FC236}">
                <a16:creationId xmlns="" xmlns:a16="http://schemas.microsoft.com/office/drawing/2014/main" id="{E26272D1-DA7B-448D-9C96-A33C84E8FB23}"/>
              </a:ext>
            </a:extLst>
          </p:cNvPr>
          <p:cNvSpPr>
            <a:spLocks noGrp="1"/>
          </p:cNvSpPr>
          <p:nvPr>
            <p:ph type="body" sz="quarter" idx="13"/>
          </p:nvPr>
        </p:nvSpPr>
        <p:spPr/>
        <p:txBody>
          <a:bodyPr/>
          <a:lstStyle/>
          <a:p>
            <a:r>
              <a:rPr lang="fr-BE" dirty="0"/>
              <a:t>05</a:t>
            </a:r>
          </a:p>
          <a:p>
            <a:endParaRPr lang="fr-BE" dirty="0"/>
          </a:p>
        </p:txBody>
      </p:sp>
      <p:sp>
        <p:nvSpPr>
          <p:cNvPr id="7" name="Titre 6">
            <a:extLst>
              <a:ext uri="{FF2B5EF4-FFF2-40B4-BE49-F238E27FC236}">
                <a16:creationId xmlns="" xmlns:a16="http://schemas.microsoft.com/office/drawing/2014/main" id="{DA5CA6E9-8A86-471A-90B4-750CAD6563D2}"/>
              </a:ext>
            </a:extLst>
          </p:cNvPr>
          <p:cNvSpPr>
            <a:spLocks noGrp="1"/>
          </p:cNvSpPr>
          <p:nvPr>
            <p:ph type="title"/>
          </p:nvPr>
        </p:nvSpPr>
        <p:spPr/>
        <p:txBody>
          <a:bodyPr/>
          <a:lstStyle/>
          <a:p>
            <a:r>
              <a:rPr lang="en-US" dirty="0"/>
              <a:t>Map the smart beta stars</a:t>
            </a:r>
          </a:p>
        </p:txBody>
      </p:sp>
      <p:sp>
        <p:nvSpPr>
          <p:cNvPr id="20" name="Espace réservé du numéro de diapositive 4">
            <a:extLst>
              <a:ext uri="{FF2B5EF4-FFF2-40B4-BE49-F238E27FC236}">
                <a16:creationId xmlns="" xmlns:a16="http://schemas.microsoft.com/office/drawing/2014/main" id="{1525FDB3-4D6A-4970-97BB-DB49570F5E91}"/>
              </a:ext>
            </a:extLst>
          </p:cNvPr>
          <p:cNvSpPr>
            <a:spLocks noGrp="1"/>
          </p:cNvSpPr>
          <p:nvPr>
            <p:ph type="sldNum" sz="quarter" idx="12"/>
          </p:nvPr>
        </p:nvSpPr>
        <p:spPr>
          <a:xfrm>
            <a:off x="540000" y="6480000"/>
            <a:ext cx="180000" cy="180000"/>
          </a:xfrm>
        </p:spPr>
        <p:txBody>
          <a:bodyPr/>
          <a:lstStyle/>
          <a:p>
            <a:fld id="{2B1C6FFC-D040-034F-8B69-20295064E64D}" type="slidenum">
              <a:rPr lang="fr-FR" smtClean="0"/>
              <a:t>51</a:t>
            </a:fld>
            <a:endParaRPr lang="fr-FR" dirty="0"/>
          </a:p>
        </p:txBody>
      </p:sp>
      <p:sp>
        <p:nvSpPr>
          <p:cNvPr id="2" name="Espace réservé du pied de page 1"/>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4007892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b="0" dirty="0"/>
              <a:t>A broad range to offer investors various benefits</a:t>
            </a:r>
            <a:endParaRPr lang="fr-FR" dirty="0"/>
          </a:p>
        </p:txBody>
      </p:sp>
      <p:sp>
        <p:nvSpPr>
          <p:cNvPr id="5" name="Espace réservé du numéro de diapositive 4"/>
          <p:cNvSpPr>
            <a:spLocks noGrp="1"/>
          </p:cNvSpPr>
          <p:nvPr>
            <p:ph type="sldNum" sz="quarter" idx="12"/>
          </p:nvPr>
        </p:nvSpPr>
        <p:spPr>
          <a:xfrm>
            <a:off x="540000" y="6470764"/>
            <a:ext cx="180000" cy="180000"/>
          </a:xfrm>
        </p:spPr>
        <p:txBody>
          <a:bodyPr/>
          <a:lstStyle/>
          <a:p>
            <a:fld id="{2B1C6FFC-D040-034F-8B69-20295064E64D}" type="slidenum">
              <a:rPr lang="fr-FR" smtClean="0"/>
              <a:t>52</a:t>
            </a:fld>
            <a:endParaRPr lang="fr-FR" dirty="0"/>
          </a:p>
        </p:txBody>
      </p:sp>
      <p:pic>
        <p:nvPicPr>
          <p:cNvPr id="5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79655" y="3598159"/>
            <a:ext cx="1728192" cy="1232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ZoneTexte 36"/>
          <p:cNvSpPr txBox="1"/>
          <p:nvPr/>
        </p:nvSpPr>
        <p:spPr>
          <a:xfrm>
            <a:off x="809605" y="1387943"/>
            <a:ext cx="1278914" cy="370985"/>
          </a:xfrm>
          <a:prstGeom prst="rect">
            <a:avLst/>
          </a:prstGeom>
          <a:solidFill>
            <a:srgbClr val="002060"/>
          </a:solidFill>
        </p:spPr>
        <p:txBody>
          <a:bodyPr wrap="square" tIns="108000" bIns="108000" rtlCol="0" anchor="ctr">
            <a:noAutofit/>
          </a:bodyPr>
          <a:lstStyle/>
          <a:p>
            <a:pPr algn="ctr"/>
            <a:r>
              <a:rPr lang="en-US" sz="1000" b="1" dirty="0" smtClean="0">
                <a:solidFill>
                  <a:srgbClr val="FFFFFF"/>
                </a:solidFill>
              </a:rPr>
              <a:t>Minimum </a:t>
            </a:r>
          </a:p>
          <a:p>
            <a:pPr algn="ctr"/>
            <a:r>
              <a:rPr lang="en-US" sz="1000" b="1" dirty="0" smtClean="0">
                <a:solidFill>
                  <a:srgbClr val="FFFFFF"/>
                </a:solidFill>
              </a:rPr>
              <a:t>Variance</a:t>
            </a:r>
            <a:endParaRPr lang="en-US" sz="1000" b="1" dirty="0">
              <a:solidFill>
                <a:srgbClr val="FFFFFF"/>
              </a:solidFill>
            </a:endParaRPr>
          </a:p>
        </p:txBody>
      </p:sp>
      <p:sp>
        <p:nvSpPr>
          <p:cNvPr id="55" name="ZoneTexte 36"/>
          <p:cNvSpPr txBox="1"/>
          <p:nvPr/>
        </p:nvSpPr>
        <p:spPr>
          <a:xfrm>
            <a:off x="2159732" y="1387436"/>
            <a:ext cx="1389035" cy="371998"/>
          </a:xfrm>
          <a:prstGeom prst="rect">
            <a:avLst/>
          </a:prstGeom>
          <a:solidFill>
            <a:srgbClr val="002060"/>
          </a:solidFill>
        </p:spPr>
        <p:txBody>
          <a:bodyPr wrap="square" tIns="108000" bIns="108000" rtlCol="0" anchor="ctr">
            <a:spAutoFit/>
          </a:bodyPr>
          <a:lstStyle/>
          <a:p>
            <a:pPr algn="ctr"/>
            <a:r>
              <a:rPr lang="en-US" sz="1000" b="1" dirty="0" smtClean="0">
                <a:solidFill>
                  <a:srgbClr val="FFFFFF"/>
                </a:solidFill>
              </a:rPr>
              <a:t>Risk Parity</a:t>
            </a:r>
            <a:endParaRPr lang="en-US" sz="1000" b="1" dirty="0">
              <a:solidFill>
                <a:srgbClr val="FFFFFF"/>
              </a:solidFill>
            </a:endParaRPr>
          </a:p>
        </p:txBody>
      </p:sp>
      <p:sp>
        <p:nvSpPr>
          <p:cNvPr id="56" name="ZoneTexte 36"/>
          <p:cNvSpPr txBox="1"/>
          <p:nvPr/>
        </p:nvSpPr>
        <p:spPr>
          <a:xfrm>
            <a:off x="3707904" y="1387943"/>
            <a:ext cx="1247561" cy="370985"/>
          </a:xfrm>
          <a:prstGeom prst="rect">
            <a:avLst/>
          </a:prstGeom>
          <a:solidFill>
            <a:srgbClr val="002060"/>
          </a:solidFill>
        </p:spPr>
        <p:txBody>
          <a:bodyPr wrap="square" tIns="108000" bIns="108000" rtlCol="0" anchor="ctr">
            <a:noAutofit/>
          </a:bodyPr>
          <a:lstStyle/>
          <a:p>
            <a:pPr algn="ctr"/>
            <a:r>
              <a:rPr lang="en-US" sz="1000" b="1" dirty="0" smtClean="0">
                <a:solidFill>
                  <a:srgbClr val="FFFFFF"/>
                </a:solidFill>
              </a:rPr>
              <a:t>EDHEC Multi smart </a:t>
            </a:r>
            <a:endParaRPr lang="en-US" sz="1000" b="1" dirty="0">
              <a:solidFill>
                <a:srgbClr val="FFFFFF"/>
              </a:solidFill>
            </a:endParaRPr>
          </a:p>
        </p:txBody>
      </p:sp>
      <p:sp>
        <p:nvSpPr>
          <p:cNvPr id="57" name="ZoneTexte 36"/>
          <p:cNvSpPr txBox="1"/>
          <p:nvPr/>
        </p:nvSpPr>
        <p:spPr>
          <a:xfrm>
            <a:off x="5040052" y="1387943"/>
            <a:ext cx="1111013" cy="370985"/>
          </a:xfrm>
          <a:prstGeom prst="rect">
            <a:avLst/>
          </a:prstGeom>
          <a:solidFill>
            <a:srgbClr val="002060"/>
          </a:solidFill>
        </p:spPr>
        <p:txBody>
          <a:bodyPr wrap="square" tIns="108000" bIns="108000" rtlCol="0" anchor="ctr">
            <a:noAutofit/>
          </a:bodyPr>
          <a:lstStyle/>
          <a:p>
            <a:pPr algn="ctr"/>
            <a:r>
              <a:rPr lang="en-US" sz="1000" b="1" dirty="0" smtClean="0">
                <a:solidFill>
                  <a:srgbClr val="FFFFFF"/>
                </a:solidFill>
              </a:rPr>
              <a:t>Mono factors</a:t>
            </a:r>
            <a:endParaRPr lang="en-US" sz="1000" b="1" dirty="0">
              <a:solidFill>
                <a:srgbClr val="FFFFFF"/>
              </a:solidFill>
            </a:endParaRPr>
          </a:p>
        </p:txBody>
      </p:sp>
      <p:sp>
        <p:nvSpPr>
          <p:cNvPr id="58" name="Rectangle 57"/>
          <p:cNvSpPr/>
          <p:nvPr/>
        </p:nvSpPr>
        <p:spPr bwMode="auto">
          <a:xfrm>
            <a:off x="104625" y="3585788"/>
            <a:ext cx="652412" cy="1411582"/>
          </a:xfrm>
          <a:prstGeom prst="rect">
            <a:avLst/>
          </a:prstGeom>
          <a:solidFill>
            <a:schemeClr val="tx2"/>
          </a:solidFill>
          <a:ln>
            <a:solidFill>
              <a:srgbClr val="002060"/>
            </a:solidFill>
          </a:ln>
        </p:spPr>
        <p:txBody>
          <a:bodyPr wrap="square" tIns="108000" bIns="108000" rtlCol="0" anchor="ctr">
            <a:noAutofit/>
          </a:bodyPr>
          <a:lstStyle/>
          <a:p>
            <a:pPr algn="ctr"/>
            <a:r>
              <a:rPr lang="en-US" sz="800" b="1" dirty="0" smtClean="0">
                <a:solidFill>
                  <a:srgbClr val="FFFFFF"/>
                </a:solidFill>
              </a:rPr>
              <a:t>Strategy scoring (from Low to High)</a:t>
            </a:r>
            <a:endParaRPr lang="en-US" sz="800" b="1" dirty="0">
              <a:solidFill>
                <a:srgbClr val="FFFFFF"/>
              </a:solidFill>
            </a:endParaRPr>
          </a:p>
        </p:txBody>
      </p:sp>
      <p:sp>
        <p:nvSpPr>
          <p:cNvPr id="59" name="Rectangle 58"/>
          <p:cNvSpPr/>
          <p:nvPr/>
        </p:nvSpPr>
        <p:spPr bwMode="auto">
          <a:xfrm>
            <a:off x="104625" y="1767704"/>
            <a:ext cx="652412" cy="716742"/>
          </a:xfrm>
          <a:prstGeom prst="rect">
            <a:avLst/>
          </a:prstGeom>
          <a:solidFill>
            <a:schemeClr val="tx2"/>
          </a:solidFill>
          <a:ln>
            <a:solidFill>
              <a:srgbClr val="002060"/>
            </a:solidFill>
          </a:ln>
        </p:spPr>
        <p:txBody>
          <a:bodyPr wrap="square" tIns="108000" bIns="108000" rtlCol="0" anchor="ctr">
            <a:noAutofit/>
          </a:bodyPr>
          <a:lstStyle/>
          <a:p>
            <a:pPr algn="ctr"/>
            <a:r>
              <a:rPr lang="en-US" sz="800" b="1" dirty="0" smtClean="0">
                <a:solidFill>
                  <a:srgbClr val="FFFFFF"/>
                </a:solidFill>
              </a:rPr>
              <a:t>Client Need</a:t>
            </a:r>
            <a:endParaRPr lang="en-US" sz="800" b="1" dirty="0">
              <a:solidFill>
                <a:srgbClr val="FFFFFF"/>
              </a:solidFill>
            </a:endParaRPr>
          </a:p>
        </p:txBody>
      </p:sp>
      <p:sp>
        <p:nvSpPr>
          <p:cNvPr id="60" name="ZoneTexte 36"/>
          <p:cNvSpPr txBox="1"/>
          <p:nvPr/>
        </p:nvSpPr>
        <p:spPr>
          <a:xfrm>
            <a:off x="809605" y="1767704"/>
            <a:ext cx="1278914" cy="716743"/>
          </a:xfrm>
          <a:prstGeom prst="rect">
            <a:avLst/>
          </a:prstGeom>
          <a:noFill/>
          <a:ln w="3175">
            <a:solidFill>
              <a:schemeClr val="tx2">
                <a:lumMod val="10000"/>
                <a:lumOff val="90000"/>
              </a:schemeClr>
            </a:solidFill>
          </a:ln>
        </p:spPr>
        <p:txBody>
          <a:bodyPr wrap="square" tIns="108000" bIns="108000" rtlCol="0" anchor="ctr">
            <a:noAutofit/>
          </a:bodyPr>
          <a:lstStyle/>
          <a:p>
            <a:pPr algn="ctr"/>
            <a:r>
              <a:rPr lang="en-US" sz="900" dirty="0" smtClean="0">
                <a:solidFill>
                  <a:srgbClr val="002060"/>
                </a:solidFill>
              </a:rPr>
              <a:t>« </a:t>
            </a:r>
            <a:r>
              <a:rPr lang="en-US" sz="900" b="1" dirty="0" smtClean="0">
                <a:solidFill>
                  <a:srgbClr val="002060"/>
                </a:solidFill>
              </a:rPr>
              <a:t>Avoid unrewarded risks </a:t>
            </a:r>
            <a:r>
              <a:rPr lang="en-US" sz="900" b="1" dirty="0" smtClean="0">
                <a:solidFill>
                  <a:srgbClr val="00B0F0"/>
                </a:solidFill>
              </a:rPr>
              <a:t>with reduced drawdowns</a:t>
            </a:r>
            <a:r>
              <a:rPr lang="en-US" sz="900" dirty="0" smtClean="0">
                <a:solidFill>
                  <a:srgbClr val="002060"/>
                </a:solidFill>
              </a:rPr>
              <a:t> »</a:t>
            </a:r>
            <a:endParaRPr lang="en-US" sz="900" b="1" dirty="0">
              <a:solidFill>
                <a:srgbClr val="002060"/>
              </a:solidFill>
            </a:endParaRPr>
          </a:p>
        </p:txBody>
      </p:sp>
      <p:sp>
        <p:nvSpPr>
          <p:cNvPr id="61" name="ZoneTexte 36"/>
          <p:cNvSpPr txBox="1"/>
          <p:nvPr/>
        </p:nvSpPr>
        <p:spPr>
          <a:xfrm>
            <a:off x="2159732" y="1767704"/>
            <a:ext cx="1389035" cy="716743"/>
          </a:xfrm>
          <a:prstGeom prst="rect">
            <a:avLst/>
          </a:prstGeom>
          <a:noFill/>
          <a:ln w="3175">
            <a:solidFill>
              <a:schemeClr val="tx2">
                <a:lumMod val="10000"/>
                <a:lumOff val="90000"/>
              </a:schemeClr>
            </a:solidFill>
          </a:ln>
        </p:spPr>
        <p:txBody>
          <a:bodyPr wrap="square" tIns="108000" bIns="108000" rtlCol="0" anchor="ctr">
            <a:noAutofit/>
          </a:bodyPr>
          <a:lstStyle>
            <a:defPPr>
              <a:defRPr lang="fr-FR"/>
            </a:defPPr>
            <a:lvl1pPr algn="ctr">
              <a:defRPr sz="1000" b="1">
                <a:solidFill>
                  <a:schemeClr val="bg1"/>
                </a:solidFill>
              </a:defRPr>
            </a:lvl1pPr>
          </a:lstStyle>
          <a:p>
            <a:r>
              <a:rPr lang="en-US" sz="900" dirty="0" smtClean="0">
                <a:solidFill>
                  <a:srgbClr val="002060"/>
                </a:solidFill>
              </a:rPr>
              <a:t>« Limit unrewarded risks with </a:t>
            </a:r>
            <a:r>
              <a:rPr lang="en-US" sz="900" dirty="0" smtClean="0">
                <a:solidFill>
                  <a:srgbClr val="00B0F0"/>
                </a:solidFill>
              </a:rPr>
              <a:t>capital diversification</a:t>
            </a:r>
            <a:r>
              <a:rPr lang="en-US" sz="900" dirty="0" smtClean="0">
                <a:solidFill>
                  <a:srgbClr val="002060"/>
                </a:solidFill>
              </a:rPr>
              <a:t> »</a:t>
            </a:r>
            <a:endParaRPr lang="en-US" sz="900" dirty="0">
              <a:solidFill>
                <a:srgbClr val="00B0F0"/>
              </a:solidFill>
            </a:endParaRPr>
          </a:p>
        </p:txBody>
      </p:sp>
      <p:sp>
        <p:nvSpPr>
          <p:cNvPr id="62" name="ZoneTexte 36"/>
          <p:cNvSpPr txBox="1"/>
          <p:nvPr/>
        </p:nvSpPr>
        <p:spPr>
          <a:xfrm>
            <a:off x="3707904" y="1767704"/>
            <a:ext cx="1247561" cy="716743"/>
          </a:xfrm>
          <a:prstGeom prst="rect">
            <a:avLst/>
          </a:prstGeom>
          <a:noFill/>
          <a:ln w="3175">
            <a:solidFill>
              <a:schemeClr val="tx2">
                <a:lumMod val="10000"/>
                <a:lumOff val="90000"/>
              </a:schemeClr>
            </a:solidFill>
          </a:ln>
        </p:spPr>
        <p:txBody>
          <a:bodyPr wrap="square" tIns="108000" bIns="108000" rtlCol="0" anchor="ctr">
            <a:noAutofit/>
          </a:bodyPr>
          <a:lstStyle>
            <a:defPPr>
              <a:defRPr lang="fr-FR"/>
            </a:defPPr>
            <a:lvl1pPr algn="ctr">
              <a:defRPr sz="1000" b="1">
                <a:solidFill>
                  <a:schemeClr val="bg1"/>
                </a:solidFill>
              </a:defRPr>
            </a:lvl1pPr>
          </a:lstStyle>
          <a:p>
            <a:r>
              <a:rPr lang="en-US" sz="900" dirty="0" smtClean="0">
                <a:solidFill>
                  <a:srgbClr val="002060"/>
                </a:solidFill>
              </a:rPr>
              <a:t>« </a:t>
            </a:r>
            <a:r>
              <a:rPr lang="en-US" sz="900" dirty="0" smtClean="0">
                <a:solidFill>
                  <a:srgbClr val="00B0F0"/>
                </a:solidFill>
              </a:rPr>
              <a:t>Capture &amp; diversify </a:t>
            </a:r>
            <a:r>
              <a:rPr lang="en-US" sz="900" dirty="0" smtClean="0">
                <a:solidFill>
                  <a:srgbClr val="002060"/>
                </a:solidFill>
              </a:rPr>
              <a:t>rewarded risks »</a:t>
            </a:r>
            <a:endParaRPr lang="en-US" sz="900" dirty="0">
              <a:solidFill>
                <a:srgbClr val="002060"/>
              </a:solidFill>
            </a:endParaRPr>
          </a:p>
        </p:txBody>
      </p:sp>
      <p:sp>
        <p:nvSpPr>
          <p:cNvPr id="63" name="ZoneTexte 36"/>
          <p:cNvSpPr txBox="1"/>
          <p:nvPr/>
        </p:nvSpPr>
        <p:spPr>
          <a:xfrm>
            <a:off x="5040052" y="1767704"/>
            <a:ext cx="1111013" cy="716743"/>
          </a:xfrm>
          <a:prstGeom prst="rect">
            <a:avLst/>
          </a:prstGeom>
          <a:noFill/>
          <a:ln w="3175">
            <a:solidFill>
              <a:schemeClr val="tx2">
                <a:lumMod val="10000"/>
                <a:lumOff val="90000"/>
              </a:schemeClr>
            </a:solidFill>
          </a:ln>
        </p:spPr>
        <p:txBody>
          <a:bodyPr wrap="square" tIns="108000" bIns="108000" rtlCol="0" anchor="ctr">
            <a:noAutofit/>
          </a:bodyPr>
          <a:lstStyle>
            <a:defPPr>
              <a:defRPr lang="fr-FR"/>
            </a:defPPr>
            <a:lvl1pPr algn="ctr">
              <a:defRPr sz="1000" b="1">
                <a:solidFill>
                  <a:schemeClr val="bg1"/>
                </a:solidFill>
              </a:defRPr>
            </a:lvl1pPr>
          </a:lstStyle>
          <a:p>
            <a:r>
              <a:rPr lang="en-US" sz="900" dirty="0" smtClean="0">
                <a:solidFill>
                  <a:srgbClr val="002060"/>
                </a:solidFill>
              </a:rPr>
              <a:t>« </a:t>
            </a:r>
            <a:r>
              <a:rPr lang="en-US" sz="900" dirty="0" smtClean="0">
                <a:solidFill>
                  <a:srgbClr val="00B0F0"/>
                </a:solidFill>
              </a:rPr>
              <a:t>Capture rewarded risks</a:t>
            </a:r>
            <a:r>
              <a:rPr lang="en-US" sz="900" dirty="0" smtClean="0">
                <a:solidFill>
                  <a:srgbClr val="002060"/>
                </a:solidFill>
              </a:rPr>
              <a:t> »</a:t>
            </a:r>
            <a:endParaRPr lang="en-US" sz="900" dirty="0">
              <a:solidFill>
                <a:srgbClr val="002060"/>
              </a:solidFill>
            </a:endParaRPr>
          </a:p>
        </p:txBody>
      </p:sp>
      <p:sp>
        <p:nvSpPr>
          <p:cNvPr id="64" name="ZoneTexte 36"/>
          <p:cNvSpPr txBox="1"/>
          <p:nvPr/>
        </p:nvSpPr>
        <p:spPr>
          <a:xfrm>
            <a:off x="809605" y="2547246"/>
            <a:ext cx="1278914" cy="551083"/>
          </a:xfrm>
          <a:prstGeom prst="rect">
            <a:avLst/>
          </a:prstGeom>
          <a:solidFill>
            <a:schemeClr val="bg1"/>
          </a:solidFill>
          <a:ln w="3175">
            <a:solidFill>
              <a:schemeClr val="tx2">
                <a:lumMod val="10000"/>
                <a:lumOff val="90000"/>
              </a:schemeClr>
            </a:solidFill>
          </a:ln>
        </p:spPr>
        <p:txBody>
          <a:bodyPr wrap="square" tIns="108000" bIns="108000" rtlCol="0" anchor="ctr">
            <a:noAutofit/>
          </a:bodyPr>
          <a:lstStyle/>
          <a:p>
            <a:pPr algn="ctr"/>
            <a:r>
              <a:rPr lang="en-US" sz="900" b="1" dirty="0" smtClean="0">
                <a:solidFill>
                  <a:srgbClr val="00B0F0"/>
                </a:solidFill>
              </a:rPr>
              <a:t>Amundi Funds Conservative range</a:t>
            </a:r>
          </a:p>
        </p:txBody>
      </p:sp>
      <p:sp>
        <p:nvSpPr>
          <p:cNvPr id="65" name="ZoneTexte 36"/>
          <p:cNvSpPr txBox="1"/>
          <p:nvPr/>
        </p:nvSpPr>
        <p:spPr>
          <a:xfrm>
            <a:off x="2159732" y="2547246"/>
            <a:ext cx="1389035" cy="551083"/>
          </a:xfrm>
          <a:prstGeom prst="rect">
            <a:avLst/>
          </a:prstGeom>
          <a:solidFill>
            <a:schemeClr val="bg1"/>
          </a:solidFill>
          <a:ln w="3175">
            <a:solidFill>
              <a:schemeClr val="tx2">
                <a:lumMod val="10000"/>
                <a:lumOff val="90000"/>
              </a:schemeClr>
            </a:solidFill>
          </a:ln>
        </p:spPr>
        <p:txBody>
          <a:bodyPr wrap="square" tIns="108000" bIns="108000" rtlCol="0" anchor="ctr">
            <a:noAutofit/>
          </a:bodyPr>
          <a:lstStyle/>
          <a:p>
            <a:pPr algn="ctr"/>
            <a:r>
              <a:rPr lang="en-US" sz="900" b="1" dirty="0" smtClean="0">
                <a:solidFill>
                  <a:srgbClr val="00B0F0"/>
                </a:solidFill>
              </a:rPr>
              <a:t>AF Equity Euro Risk Parity</a:t>
            </a:r>
          </a:p>
        </p:txBody>
      </p:sp>
      <p:sp>
        <p:nvSpPr>
          <p:cNvPr id="66" name="ZoneTexte 36"/>
          <p:cNvSpPr txBox="1"/>
          <p:nvPr/>
        </p:nvSpPr>
        <p:spPr>
          <a:xfrm>
            <a:off x="3713999" y="2547246"/>
            <a:ext cx="1236006" cy="551083"/>
          </a:xfrm>
          <a:prstGeom prst="rect">
            <a:avLst/>
          </a:prstGeom>
          <a:solidFill>
            <a:schemeClr val="bg1"/>
          </a:solidFill>
          <a:ln w="3175">
            <a:solidFill>
              <a:schemeClr val="tx2">
                <a:lumMod val="10000"/>
                <a:lumOff val="90000"/>
              </a:schemeClr>
            </a:solidFill>
          </a:ln>
        </p:spPr>
        <p:txBody>
          <a:bodyPr wrap="square" tIns="108000" bIns="108000" rtlCol="0" anchor="ctr">
            <a:noAutofit/>
          </a:bodyPr>
          <a:lstStyle>
            <a:defPPr>
              <a:defRPr lang="fr-FR"/>
            </a:defPPr>
            <a:lvl1pPr algn="ctr">
              <a:defRPr sz="1000" b="1">
                <a:solidFill>
                  <a:srgbClr val="00B0F0"/>
                </a:solidFill>
              </a:defRPr>
            </a:lvl1pPr>
          </a:lstStyle>
          <a:p>
            <a:r>
              <a:rPr lang="en-US" sz="800" dirty="0" smtClean="0"/>
              <a:t>Amundi Index Eq. Multi Smart Alloc. Sci. Beta &amp; ETF equivalent</a:t>
            </a:r>
            <a:endParaRPr lang="en-US" sz="800" dirty="0"/>
          </a:p>
        </p:txBody>
      </p:sp>
      <p:sp>
        <p:nvSpPr>
          <p:cNvPr id="67" name="ZoneTexte 36"/>
          <p:cNvSpPr txBox="1"/>
          <p:nvPr/>
        </p:nvSpPr>
        <p:spPr>
          <a:xfrm>
            <a:off x="5046004" y="2547246"/>
            <a:ext cx="1099729" cy="551083"/>
          </a:xfrm>
          <a:prstGeom prst="rect">
            <a:avLst/>
          </a:prstGeom>
          <a:solidFill>
            <a:schemeClr val="bg1"/>
          </a:solidFill>
          <a:ln w="3175">
            <a:solidFill>
              <a:schemeClr val="tx2">
                <a:lumMod val="10000"/>
                <a:lumOff val="90000"/>
              </a:schemeClr>
            </a:solidFill>
          </a:ln>
        </p:spPr>
        <p:txBody>
          <a:bodyPr wrap="square" tIns="108000" bIns="108000" rtlCol="0" anchor="ctr">
            <a:noAutofit/>
          </a:bodyPr>
          <a:lstStyle>
            <a:defPPr>
              <a:defRPr lang="fr-FR"/>
            </a:defPPr>
            <a:lvl1pPr algn="ctr">
              <a:defRPr sz="1000" b="1">
                <a:solidFill>
                  <a:srgbClr val="00B0F0"/>
                </a:solidFill>
              </a:defRPr>
            </a:lvl1pPr>
          </a:lstStyle>
          <a:p>
            <a:r>
              <a:rPr lang="en-US" sz="900" dirty="0" smtClean="0"/>
              <a:t>Amundi ETF MSCI Europe Factor range</a:t>
            </a:r>
            <a:endParaRPr lang="en-US" sz="900" dirty="0"/>
          </a:p>
        </p:txBody>
      </p:sp>
      <p:sp>
        <p:nvSpPr>
          <p:cNvPr id="68" name="Rectangle 67"/>
          <p:cNvSpPr/>
          <p:nvPr/>
        </p:nvSpPr>
        <p:spPr bwMode="auto">
          <a:xfrm>
            <a:off x="104625" y="2547246"/>
            <a:ext cx="652412" cy="551083"/>
          </a:xfrm>
          <a:prstGeom prst="rect">
            <a:avLst/>
          </a:prstGeom>
          <a:solidFill>
            <a:schemeClr val="tx2"/>
          </a:solidFill>
          <a:ln>
            <a:solidFill>
              <a:srgbClr val="002060"/>
            </a:solidFill>
          </a:ln>
        </p:spPr>
        <p:txBody>
          <a:bodyPr wrap="square" tIns="108000" bIns="108000" rtlCol="0" anchor="ctr">
            <a:noAutofit/>
          </a:bodyPr>
          <a:lstStyle/>
          <a:p>
            <a:pPr algn="ctr"/>
            <a:r>
              <a:rPr lang="en-US" sz="800" b="1" dirty="0" smtClean="0">
                <a:solidFill>
                  <a:srgbClr val="FFFFFF"/>
                </a:solidFill>
              </a:rPr>
              <a:t>Amundi Flagship</a:t>
            </a:r>
            <a:endParaRPr lang="en-US" sz="800" b="1" dirty="0">
              <a:solidFill>
                <a:srgbClr val="FFFFFF"/>
              </a:solidFill>
            </a:endParaRPr>
          </a:p>
        </p:txBody>
      </p:sp>
      <p:sp>
        <p:nvSpPr>
          <p:cNvPr id="69" name="Rectangle 68"/>
          <p:cNvSpPr/>
          <p:nvPr/>
        </p:nvSpPr>
        <p:spPr>
          <a:xfrm>
            <a:off x="3713999" y="1124243"/>
            <a:ext cx="3619866" cy="249299"/>
          </a:xfrm>
          <a:prstGeom prst="rect">
            <a:avLst/>
          </a:prstGeom>
          <a:solidFill>
            <a:srgbClr val="00B0F0"/>
          </a:solidFill>
        </p:spPr>
        <p:txBody>
          <a:bodyPr wrap="square">
            <a:spAutoFit/>
          </a:bodyPr>
          <a:lstStyle/>
          <a:p>
            <a:pPr algn="ctr" defTabSz="914077">
              <a:lnSpc>
                <a:spcPct val="85000"/>
              </a:lnSpc>
              <a:defRPr/>
            </a:pPr>
            <a:r>
              <a:rPr lang="en-US" altLang="fr-FR" sz="1200" b="1" kern="0" dirty="0" smtClean="0">
                <a:solidFill>
                  <a:srgbClr val="FFFFFF"/>
                </a:solidFill>
              </a:rPr>
              <a:t>Capture Rewarded Risks</a:t>
            </a:r>
            <a:endParaRPr lang="en-US" altLang="fr-FR" sz="1100" b="1" i="1" kern="0" dirty="0">
              <a:solidFill>
                <a:srgbClr val="FFFFFF"/>
              </a:solidFill>
            </a:endParaRPr>
          </a:p>
        </p:txBody>
      </p:sp>
      <p:sp>
        <p:nvSpPr>
          <p:cNvPr id="70" name="Rectangle 69"/>
          <p:cNvSpPr/>
          <p:nvPr/>
        </p:nvSpPr>
        <p:spPr>
          <a:xfrm>
            <a:off x="809605" y="1124243"/>
            <a:ext cx="2739162" cy="249299"/>
          </a:xfrm>
          <a:prstGeom prst="rect">
            <a:avLst/>
          </a:prstGeom>
          <a:solidFill>
            <a:srgbClr val="00B0F0"/>
          </a:solidFill>
        </p:spPr>
        <p:txBody>
          <a:bodyPr wrap="square">
            <a:spAutoFit/>
          </a:bodyPr>
          <a:lstStyle/>
          <a:p>
            <a:pPr algn="ctr" defTabSz="914077">
              <a:lnSpc>
                <a:spcPct val="85000"/>
              </a:lnSpc>
              <a:defRPr/>
            </a:pPr>
            <a:r>
              <a:rPr lang="en-US" altLang="fr-FR" sz="1200" b="1" kern="0" dirty="0" smtClean="0">
                <a:solidFill>
                  <a:srgbClr val="FFFFFF"/>
                </a:solidFill>
              </a:rPr>
              <a:t>Avoid Unrewarded Risks</a:t>
            </a:r>
            <a:endParaRPr lang="en-US" altLang="fr-FR" sz="1100" b="1" i="1" kern="0" dirty="0">
              <a:solidFill>
                <a:srgbClr val="FFFFFF"/>
              </a:solidFill>
            </a:endParaRPr>
          </a:p>
        </p:txBody>
      </p:sp>
      <p:sp>
        <p:nvSpPr>
          <p:cNvPr id="71" name="Rectangle 70"/>
          <p:cNvSpPr/>
          <p:nvPr/>
        </p:nvSpPr>
        <p:spPr bwMode="auto">
          <a:xfrm>
            <a:off x="104625" y="3132082"/>
            <a:ext cx="652412" cy="423300"/>
          </a:xfrm>
          <a:prstGeom prst="rect">
            <a:avLst/>
          </a:prstGeom>
          <a:solidFill>
            <a:schemeClr val="tx2"/>
          </a:solidFill>
          <a:ln>
            <a:solidFill>
              <a:srgbClr val="002060"/>
            </a:solidFill>
          </a:ln>
        </p:spPr>
        <p:txBody>
          <a:bodyPr wrap="square" tIns="108000" bIns="108000" rtlCol="0" anchor="ctr">
            <a:noAutofit/>
          </a:bodyPr>
          <a:lstStyle/>
          <a:p>
            <a:pPr algn="ctr"/>
            <a:r>
              <a:rPr lang="en-US" sz="800" b="1" dirty="0" smtClean="0">
                <a:solidFill>
                  <a:srgbClr val="FFFFFF"/>
                </a:solidFill>
              </a:rPr>
              <a:t>Funds / Strategy AUM </a:t>
            </a:r>
            <a:endParaRPr lang="en-US" sz="800" b="1" dirty="0">
              <a:solidFill>
                <a:srgbClr val="FFFFFF"/>
              </a:solidFill>
            </a:endParaRPr>
          </a:p>
        </p:txBody>
      </p:sp>
      <p:sp>
        <p:nvSpPr>
          <p:cNvPr id="72" name="Rectangle 71"/>
          <p:cNvSpPr/>
          <p:nvPr/>
        </p:nvSpPr>
        <p:spPr bwMode="auto">
          <a:xfrm>
            <a:off x="104625" y="5071688"/>
            <a:ext cx="652412" cy="1083463"/>
          </a:xfrm>
          <a:prstGeom prst="rect">
            <a:avLst/>
          </a:prstGeom>
          <a:solidFill>
            <a:schemeClr val="tx2"/>
          </a:solidFill>
          <a:ln>
            <a:solidFill>
              <a:srgbClr val="002060"/>
            </a:solidFill>
          </a:ln>
        </p:spPr>
        <p:txBody>
          <a:bodyPr wrap="square" tIns="108000" bIns="108000" rtlCol="0" anchor="ctr">
            <a:noAutofit/>
          </a:bodyPr>
          <a:lstStyle/>
          <a:p>
            <a:pPr algn="ctr"/>
            <a:r>
              <a:rPr lang="en-US" sz="800" b="1" dirty="0" smtClean="0">
                <a:solidFill>
                  <a:srgbClr val="FFFFFF"/>
                </a:solidFill>
              </a:rPr>
              <a:t>Client Benefits</a:t>
            </a:r>
            <a:endParaRPr lang="en-US" sz="800" b="1" dirty="0">
              <a:solidFill>
                <a:srgbClr val="FFFFFF"/>
              </a:solidFill>
            </a:endParaRPr>
          </a:p>
        </p:txBody>
      </p:sp>
      <p:sp>
        <p:nvSpPr>
          <p:cNvPr id="73" name="Rectangle 72"/>
          <p:cNvSpPr/>
          <p:nvPr/>
        </p:nvSpPr>
        <p:spPr>
          <a:xfrm>
            <a:off x="809605" y="3136199"/>
            <a:ext cx="1278914" cy="415067"/>
          </a:xfrm>
          <a:prstGeom prst="rect">
            <a:avLst/>
          </a:prstGeom>
          <a:ln w="3175">
            <a:solidFill>
              <a:schemeClr val="tx2">
                <a:lumMod val="10000"/>
                <a:lumOff val="90000"/>
              </a:schemeClr>
            </a:solidFill>
          </a:ln>
        </p:spPr>
        <p:txBody>
          <a:bodyPr wrap="square" anchor="ctr">
            <a:noAutofit/>
          </a:bodyPr>
          <a:lstStyle/>
          <a:p>
            <a:pPr algn="ctr"/>
            <a:r>
              <a:rPr lang="en-US" sz="900" b="1" dirty="0" smtClean="0">
                <a:solidFill>
                  <a:srgbClr val="00B0F0"/>
                </a:solidFill>
              </a:rPr>
              <a:t>1430 M€ /  </a:t>
            </a:r>
            <a:r>
              <a:rPr lang="en-US" sz="900" b="1" dirty="0" smtClean="0">
                <a:solidFill>
                  <a:schemeClr val="accent1"/>
                </a:solidFill>
              </a:rPr>
              <a:t>4 400 M</a:t>
            </a:r>
            <a:r>
              <a:rPr lang="en-US" sz="900" b="1" dirty="0" smtClean="0">
                <a:solidFill>
                  <a:srgbClr val="00B0F0"/>
                </a:solidFill>
              </a:rPr>
              <a:t>€*</a:t>
            </a:r>
            <a:endParaRPr lang="en-US" sz="900" b="1" dirty="0">
              <a:solidFill>
                <a:srgbClr val="00B0F0"/>
              </a:solidFill>
            </a:endParaRPr>
          </a:p>
        </p:txBody>
      </p:sp>
      <p:sp>
        <p:nvSpPr>
          <p:cNvPr id="74" name="Rectangle 73"/>
          <p:cNvSpPr/>
          <p:nvPr/>
        </p:nvSpPr>
        <p:spPr>
          <a:xfrm>
            <a:off x="2159732" y="3136199"/>
            <a:ext cx="1389035" cy="415067"/>
          </a:xfrm>
          <a:prstGeom prst="rect">
            <a:avLst/>
          </a:prstGeom>
          <a:ln w="3175">
            <a:solidFill>
              <a:schemeClr val="tx2">
                <a:lumMod val="10000"/>
                <a:lumOff val="90000"/>
              </a:schemeClr>
            </a:solidFill>
          </a:ln>
        </p:spPr>
        <p:txBody>
          <a:bodyPr wrap="square" anchor="ctr">
            <a:noAutofit/>
          </a:bodyPr>
          <a:lstStyle/>
          <a:p>
            <a:pPr algn="ctr"/>
            <a:r>
              <a:rPr lang="en-US" sz="900" b="1" dirty="0" smtClean="0">
                <a:solidFill>
                  <a:srgbClr val="00B0F0"/>
                </a:solidFill>
              </a:rPr>
              <a:t>671 M€ /  1 870 M€</a:t>
            </a:r>
            <a:endParaRPr lang="en-US" sz="900" b="1" dirty="0">
              <a:solidFill>
                <a:srgbClr val="00B0F0"/>
              </a:solidFill>
            </a:endParaRPr>
          </a:p>
        </p:txBody>
      </p:sp>
      <p:sp>
        <p:nvSpPr>
          <p:cNvPr id="75" name="Rectangle 74"/>
          <p:cNvSpPr/>
          <p:nvPr/>
        </p:nvSpPr>
        <p:spPr>
          <a:xfrm>
            <a:off x="3707904" y="3136199"/>
            <a:ext cx="1247561" cy="415067"/>
          </a:xfrm>
          <a:prstGeom prst="rect">
            <a:avLst/>
          </a:prstGeom>
          <a:ln w="3175">
            <a:solidFill>
              <a:schemeClr val="tx2">
                <a:lumMod val="10000"/>
                <a:lumOff val="90000"/>
              </a:schemeClr>
            </a:solidFill>
          </a:ln>
        </p:spPr>
        <p:txBody>
          <a:bodyPr wrap="square" anchor="ctr">
            <a:noAutofit/>
          </a:bodyPr>
          <a:lstStyle/>
          <a:p>
            <a:pPr algn="ctr"/>
            <a:r>
              <a:rPr lang="en-US" sz="900" b="1" dirty="0" smtClean="0">
                <a:solidFill>
                  <a:srgbClr val="00B0F0"/>
                </a:solidFill>
              </a:rPr>
              <a:t>960 M€</a:t>
            </a:r>
            <a:endParaRPr lang="en-US" sz="900" b="1" dirty="0">
              <a:solidFill>
                <a:srgbClr val="00B0F0"/>
              </a:solidFill>
            </a:endParaRPr>
          </a:p>
        </p:txBody>
      </p:sp>
      <p:sp>
        <p:nvSpPr>
          <p:cNvPr id="76" name="Rectangle 75"/>
          <p:cNvSpPr/>
          <p:nvPr/>
        </p:nvSpPr>
        <p:spPr>
          <a:xfrm>
            <a:off x="5046004" y="3136199"/>
            <a:ext cx="1099729" cy="415067"/>
          </a:xfrm>
          <a:prstGeom prst="rect">
            <a:avLst/>
          </a:prstGeom>
          <a:ln w="3175">
            <a:solidFill>
              <a:schemeClr val="tx2">
                <a:lumMod val="10000"/>
                <a:lumOff val="90000"/>
              </a:schemeClr>
            </a:solidFill>
          </a:ln>
        </p:spPr>
        <p:txBody>
          <a:bodyPr wrap="square" anchor="ctr">
            <a:noAutofit/>
          </a:bodyPr>
          <a:lstStyle/>
          <a:p>
            <a:pPr algn="ctr"/>
            <a:r>
              <a:rPr lang="en-US" sz="900" b="1" dirty="0" smtClean="0">
                <a:solidFill>
                  <a:srgbClr val="00B0F0"/>
                </a:solidFill>
              </a:rPr>
              <a:t>1200 </a:t>
            </a:r>
            <a:r>
              <a:rPr lang="en-US" sz="900" b="1" dirty="0">
                <a:solidFill>
                  <a:srgbClr val="00B0F0"/>
                </a:solidFill>
              </a:rPr>
              <a:t>M€</a:t>
            </a:r>
          </a:p>
        </p:txBody>
      </p:sp>
      <p:sp>
        <p:nvSpPr>
          <p:cNvPr id="77" name="ZoneTexte 36"/>
          <p:cNvSpPr txBox="1"/>
          <p:nvPr/>
        </p:nvSpPr>
        <p:spPr>
          <a:xfrm>
            <a:off x="791581" y="5071688"/>
            <a:ext cx="1296938" cy="1075804"/>
          </a:xfrm>
          <a:prstGeom prst="rect">
            <a:avLst/>
          </a:prstGeom>
          <a:solidFill>
            <a:schemeClr val="bg1"/>
          </a:solidFill>
          <a:ln w="3175">
            <a:solidFill>
              <a:schemeClr val="tx2">
                <a:lumMod val="10000"/>
                <a:lumOff val="90000"/>
              </a:schemeClr>
            </a:solidFill>
          </a:ln>
        </p:spPr>
        <p:txBody>
          <a:bodyPr wrap="square" tIns="108000" bIns="108000" rtlCol="0" anchor="t">
            <a:noAutofit/>
          </a:bodyPr>
          <a:lstStyle>
            <a:defPPr>
              <a:defRPr lang="fr-FR"/>
            </a:defPPr>
            <a:lvl1pPr algn="ctr">
              <a:defRPr sz="900">
                <a:solidFill>
                  <a:srgbClr val="002060"/>
                </a:solidFill>
              </a:defRPr>
            </a:lvl1pPr>
          </a:lstStyle>
          <a:p>
            <a:pPr marL="92075" indent="-92075" algn="l">
              <a:buFont typeface="Wingdings" panose="05000000000000000000" pitchFamily="2" charset="2"/>
              <a:buChar char="§"/>
            </a:pPr>
            <a:r>
              <a:rPr lang="en-US" dirty="0"/>
              <a:t>Steady </a:t>
            </a:r>
            <a:r>
              <a:rPr lang="en-US" dirty="0" smtClean="0"/>
              <a:t>performance</a:t>
            </a:r>
          </a:p>
          <a:p>
            <a:pPr marL="92075" indent="-92075" algn="l">
              <a:buFont typeface="Wingdings" panose="05000000000000000000" pitchFamily="2" charset="2"/>
              <a:buChar char="§"/>
            </a:pPr>
            <a:r>
              <a:rPr lang="en-US" dirty="0" smtClean="0"/>
              <a:t>High </a:t>
            </a:r>
            <a:r>
              <a:rPr lang="en-US" dirty="0"/>
              <a:t>S</a:t>
            </a:r>
            <a:r>
              <a:rPr lang="en-US" dirty="0" smtClean="0"/>
              <a:t>harpe </a:t>
            </a:r>
            <a:r>
              <a:rPr lang="en-US" dirty="0"/>
              <a:t>ratio due to high return asymmetry</a:t>
            </a:r>
          </a:p>
        </p:txBody>
      </p:sp>
      <p:sp>
        <p:nvSpPr>
          <p:cNvPr id="78" name="ZoneTexte 36"/>
          <p:cNvSpPr txBox="1"/>
          <p:nvPr/>
        </p:nvSpPr>
        <p:spPr>
          <a:xfrm>
            <a:off x="2159732" y="5071688"/>
            <a:ext cx="1408611" cy="1075804"/>
          </a:xfrm>
          <a:prstGeom prst="rect">
            <a:avLst/>
          </a:prstGeom>
          <a:solidFill>
            <a:schemeClr val="bg1"/>
          </a:solidFill>
          <a:ln w="3175">
            <a:solidFill>
              <a:schemeClr val="tx2">
                <a:lumMod val="10000"/>
                <a:lumOff val="90000"/>
              </a:schemeClr>
            </a:solidFill>
          </a:ln>
        </p:spPr>
        <p:txBody>
          <a:bodyPr wrap="square" tIns="108000" bIns="108000" rtlCol="0" anchor="t">
            <a:noAutofit/>
          </a:bodyPr>
          <a:lstStyle>
            <a:defPPr>
              <a:defRPr lang="fr-FR"/>
            </a:defPPr>
            <a:lvl1pPr marL="171450" indent="-171450">
              <a:buFont typeface="Arial" panose="020B0604020202020204" pitchFamily="34" charset="0"/>
              <a:buChar char="•"/>
              <a:defRPr sz="900">
                <a:solidFill>
                  <a:srgbClr val="002060"/>
                </a:solidFill>
              </a:defRPr>
            </a:lvl1pPr>
          </a:lstStyle>
          <a:p>
            <a:pPr marL="92075" indent="-92075">
              <a:buFont typeface="Wingdings" panose="05000000000000000000" pitchFamily="2" charset="2"/>
              <a:buChar char="§"/>
            </a:pPr>
            <a:r>
              <a:rPr lang="en-US" dirty="0" smtClean="0"/>
              <a:t>High </a:t>
            </a:r>
            <a:r>
              <a:rPr lang="en-US" dirty="0"/>
              <a:t>risk distribution</a:t>
            </a:r>
          </a:p>
          <a:p>
            <a:pPr marL="92075" indent="-92075">
              <a:buFont typeface="Wingdings" panose="05000000000000000000" pitchFamily="2" charset="2"/>
              <a:buChar char="§"/>
            </a:pPr>
            <a:r>
              <a:rPr lang="en-US" dirty="0" smtClean="0"/>
              <a:t>Robust </a:t>
            </a:r>
            <a:r>
              <a:rPr lang="en-US" dirty="0"/>
              <a:t>performance even when equities </a:t>
            </a:r>
            <a:r>
              <a:rPr lang="en-US" dirty="0" smtClean="0"/>
              <a:t>exhibit </a:t>
            </a:r>
            <a:r>
              <a:rPr lang="en-US" dirty="0"/>
              <a:t>higher correlation</a:t>
            </a:r>
          </a:p>
        </p:txBody>
      </p:sp>
      <p:sp>
        <p:nvSpPr>
          <p:cNvPr id="79" name="ZoneTexte 36"/>
          <p:cNvSpPr txBox="1"/>
          <p:nvPr/>
        </p:nvSpPr>
        <p:spPr>
          <a:xfrm>
            <a:off x="3707904" y="5071688"/>
            <a:ext cx="1253425" cy="1075804"/>
          </a:xfrm>
          <a:prstGeom prst="rect">
            <a:avLst/>
          </a:prstGeom>
          <a:solidFill>
            <a:schemeClr val="bg1"/>
          </a:solidFill>
          <a:ln w="3175">
            <a:solidFill>
              <a:schemeClr val="tx2">
                <a:lumMod val="10000"/>
                <a:lumOff val="90000"/>
              </a:schemeClr>
            </a:solidFill>
          </a:ln>
        </p:spPr>
        <p:txBody>
          <a:bodyPr wrap="square" tIns="108000" bIns="108000" rtlCol="0" anchor="t">
            <a:noAutofit/>
          </a:bodyPr>
          <a:lstStyle>
            <a:defPPr>
              <a:defRPr lang="fr-FR"/>
            </a:defPPr>
            <a:lvl1pPr marL="171450" indent="-171450">
              <a:buFont typeface="Arial" panose="020B0604020202020204" pitchFamily="34" charset="0"/>
              <a:buChar char="•"/>
              <a:defRPr sz="900">
                <a:solidFill>
                  <a:srgbClr val="002060"/>
                </a:solidFill>
              </a:defRPr>
            </a:lvl1pPr>
          </a:lstStyle>
          <a:p>
            <a:pPr marL="92075" indent="-92075">
              <a:buFont typeface="Wingdings" panose="05000000000000000000" pitchFamily="2" charset="2"/>
              <a:buChar char="§"/>
            </a:pPr>
            <a:r>
              <a:rPr lang="en-US" dirty="0" smtClean="0"/>
              <a:t>Premium </a:t>
            </a:r>
            <a:r>
              <a:rPr lang="en-US" dirty="0"/>
              <a:t>associated with factors</a:t>
            </a:r>
          </a:p>
          <a:p>
            <a:pPr marL="92075" indent="-92075">
              <a:buFont typeface="Wingdings" panose="05000000000000000000" pitchFamily="2" charset="2"/>
              <a:buChar char="§"/>
            </a:pPr>
            <a:r>
              <a:rPr lang="en-US" dirty="0" smtClean="0"/>
              <a:t>Good diversification across </a:t>
            </a:r>
            <a:r>
              <a:rPr lang="en-US" dirty="0"/>
              <a:t>styles</a:t>
            </a:r>
          </a:p>
        </p:txBody>
      </p:sp>
      <p:sp>
        <p:nvSpPr>
          <p:cNvPr id="80" name="ZoneTexte 36"/>
          <p:cNvSpPr txBox="1"/>
          <p:nvPr/>
        </p:nvSpPr>
        <p:spPr>
          <a:xfrm>
            <a:off x="5040052" y="5071688"/>
            <a:ext cx="1114819" cy="1075804"/>
          </a:xfrm>
          <a:prstGeom prst="rect">
            <a:avLst/>
          </a:prstGeom>
          <a:solidFill>
            <a:schemeClr val="bg1"/>
          </a:solidFill>
          <a:ln w="3175">
            <a:solidFill>
              <a:schemeClr val="tx2">
                <a:lumMod val="10000"/>
                <a:lumOff val="90000"/>
              </a:schemeClr>
            </a:solidFill>
          </a:ln>
        </p:spPr>
        <p:txBody>
          <a:bodyPr wrap="square" tIns="108000" bIns="108000" rtlCol="0" anchor="t">
            <a:noAutofit/>
          </a:bodyPr>
          <a:lstStyle>
            <a:defPPr>
              <a:defRPr lang="fr-FR"/>
            </a:defPPr>
            <a:lvl1pPr marL="171450" indent="-171450">
              <a:buFont typeface="Arial" panose="020B0604020202020204" pitchFamily="34" charset="0"/>
              <a:buChar char="•"/>
              <a:defRPr sz="900">
                <a:solidFill>
                  <a:srgbClr val="002060"/>
                </a:solidFill>
              </a:defRPr>
            </a:lvl1pPr>
          </a:lstStyle>
          <a:p>
            <a:pPr marL="92075" indent="-92075">
              <a:buFont typeface="Wingdings" panose="05000000000000000000" pitchFamily="2" charset="2"/>
              <a:buChar char="§"/>
            </a:pPr>
            <a:r>
              <a:rPr lang="en-US" dirty="0" smtClean="0"/>
              <a:t>Cost efficient building blocks to implement factor views</a:t>
            </a:r>
            <a:endParaRPr lang="en-US" dirty="0"/>
          </a:p>
        </p:txBody>
      </p:sp>
      <p:sp>
        <p:nvSpPr>
          <p:cNvPr id="81" name="ZoneTexte 36"/>
          <p:cNvSpPr txBox="1"/>
          <p:nvPr/>
        </p:nvSpPr>
        <p:spPr>
          <a:xfrm>
            <a:off x="6228184" y="1387943"/>
            <a:ext cx="1111013" cy="370985"/>
          </a:xfrm>
          <a:prstGeom prst="rect">
            <a:avLst/>
          </a:prstGeom>
          <a:solidFill>
            <a:srgbClr val="002060"/>
          </a:solidFill>
        </p:spPr>
        <p:txBody>
          <a:bodyPr wrap="square" tIns="108000" bIns="108000" rtlCol="0" anchor="ctr">
            <a:noAutofit/>
          </a:bodyPr>
          <a:lstStyle/>
          <a:p>
            <a:pPr algn="ctr"/>
            <a:r>
              <a:rPr lang="en-US" sz="1000" b="1" dirty="0" smtClean="0">
                <a:solidFill>
                  <a:srgbClr val="FFFFFF"/>
                </a:solidFill>
              </a:rPr>
              <a:t>Dynamic factor allocation</a:t>
            </a:r>
            <a:endParaRPr lang="en-US" sz="1000" b="1" dirty="0">
              <a:solidFill>
                <a:srgbClr val="FFFFFF"/>
              </a:solidFill>
            </a:endParaRPr>
          </a:p>
        </p:txBody>
      </p:sp>
      <p:sp>
        <p:nvSpPr>
          <p:cNvPr id="82" name="ZoneTexte 81"/>
          <p:cNvSpPr txBox="1"/>
          <p:nvPr/>
        </p:nvSpPr>
        <p:spPr>
          <a:xfrm>
            <a:off x="6228184" y="1767704"/>
            <a:ext cx="1111013" cy="716743"/>
          </a:xfrm>
          <a:prstGeom prst="rect">
            <a:avLst/>
          </a:prstGeom>
          <a:noFill/>
          <a:ln w="3175">
            <a:solidFill>
              <a:schemeClr val="tx2">
                <a:lumMod val="10000"/>
                <a:lumOff val="90000"/>
              </a:schemeClr>
            </a:solidFill>
          </a:ln>
        </p:spPr>
        <p:txBody>
          <a:bodyPr wrap="square" tIns="108000" bIns="108000" rtlCol="0" anchor="ctr">
            <a:noAutofit/>
          </a:bodyPr>
          <a:lstStyle>
            <a:defPPr>
              <a:defRPr lang="fr-FR"/>
            </a:defPPr>
            <a:lvl1pPr algn="ctr">
              <a:defRPr sz="1000" b="1">
                <a:solidFill>
                  <a:schemeClr val="bg1"/>
                </a:solidFill>
              </a:defRPr>
            </a:lvl1pPr>
          </a:lstStyle>
          <a:p>
            <a:r>
              <a:rPr lang="en-US" sz="900" dirty="0" smtClean="0">
                <a:solidFill>
                  <a:srgbClr val="002060"/>
                </a:solidFill>
              </a:rPr>
              <a:t>« </a:t>
            </a:r>
            <a:r>
              <a:rPr lang="en-US" sz="900" dirty="0" smtClean="0">
                <a:solidFill>
                  <a:srgbClr val="001C4B"/>
                </a:solidFill>
              </a:rPr>
              <a:t>Capture rewarded risks </a:t>
            </a:r>
            <a:r>
              <a:rPr lang="en-US" sz="900" dirty="0" smtClean="0">
                <a:solidFill>
                  <a:srgbClr val="00B0F0"/>
                </a:solidFill>
              </a:rPr>
              <a:t>through market cycles</a:t>
            </a:r>
            <a:r>
              <a:rPr lang="en-US" sz="900" dirty="0" smtClean="0">
                <a:solidFill>
                  <a:srgbClr val="002060"/>
                </a:solidFill>
              </a:rPr>
              <a:t> »</a:t>
            </a:r>
            <a:endParaRPr lang="en-US" sz="900" dirty="0">
              <a:solidFill>
                <a:srgbClr val="002060"/>
              </a:solidFill>
            </a:endParaRPr>
          </a:p>
        </p:txBody>
      </p:sp>
      <p:sp>
        <p:nvSpPr>
          <p:cNvPr id="83" name="ZoneTexte 36"/>
          <p:cNvSpPr txBox="1"/>
          <p:nvPr/>
        </p:nvSpPr>
        <p:spPr>
          <a:xfrm>
            <a:off x="6234136" y="2547246"/>
            <a:ext cx="1099729" cy="551083"/>
          </a:xfrm>
          <a:prstGeom prst="rect">
            <a:avLst/>
          </a:prstGeom>
          <a:solidFill>
            <a:schemeClr val="bg1"/>
          </a:solidFill>
          <a:ln w="3175">
            <a:solidFill>
              <a:schemeClr val="tx2">
                <a:lumMod val="10000"/>
                <a:lumOff val="90000"/>
              </a:schemeClr>
            </a:solidFill>
          </a:ln>
        </p:spPr>
        <p:txBody>
          <a:bodyPr wrap="square" tIns="108000" bIns="108000" rtlCol="0" anchor="ctr">
            <a:noAutofit/>
          </a:bodyPr>
          <a:lstStyle>
            <a:defPPr>
              <a:defRPr lang="fr-FR"/>
            </a:defPPr>
            <a:lvl1pPr algn="ctr">
              <a:defRPr sz="900" b="1">
                <a:solidFill>
                  <a:srgbClr val="00B0F0"/>
                </a:solidFill>
              </a:defRPr>
            </a:lvl1pPr>
          </a:lstStyle>
          <a:p>
            <a:r>
              <a:rPr lang="en-US" dirty="0" smtClean="0"/>
              <a:t>NA</a:t>
            </a:r>
            <a:endParaRPr lang="en-US" dirty="0"/>
          </a:p>
        </p:txBody>
      </p:sp>
      <p:sp>
        <p:nvSpPr>
          <p:cNvPr id="84" name="Rectangle 83"/>
          <p:cNvSpPr/>
          <p:nvPr/>
        </p:nvSpPr>
        <p:spPr>
          <a:xfrm>
            <a:off x="6234136" y="3136199"/>
            <a:ext cx="1099729" cy="415067"/>
          </a:xfrm>
          <a:prstGeom prst="rect">
            <a:avLst/>
          </a:prstGeom>
          <a:solidFill>
            <a:schemeClr val="bg1"/>
          </a:solidFill>
          <a:ln w="3175">
            <a:solidFill>
              <a:schemeClr val="tx2">
                <a:lumMod val="10000"/>
                <a:lumOff val="90000"/>
              </a:schemeClr>
            </a:solidFill>
          </a:ln>
        </p:spPr>
        <p:txBody>
          <a:bodyPr wrap="square" tIns="108000" bIns="108000" rtlCol="0" anchor="ctr">
            <a:noAutofit/>
          </a:bodyPr>
          <a:lstStyle/>
          <a:p>
            <a:pPr algn="ctr"/>
            <a:r>
              <a:rPr lang="en-US" sz="900" b="1" dirty="0" smtClean="0">
                <a:solidFill>
                  <a:srgbClr val="00B0F0"/>
                </a:solidFill>
              </a:rPr>
              <a:t>NA</a:t>
            </a:r>
            <a:endParaRPr lang="en-US" sz="900" b="1" dirty="0">
              <a:solidFill>
                <a:srgbClr val="00B0F0"/>
              </a:solidFill>
            </a:endParaRPr>
          </a:p>
        </p:txBody>
      </p:sp>
      <p:sp>
        <p:nvSpPr>
          <p:cNvPr id="85" name="ZoneTexte 36"/>
          <p:cNvSpPr txBox="1"/>
          <p:nvPr/>
        </p:nvSpPr>
        <p:spPr>
          <a:xfrm>
            <a:off x="6264188" y="5071688"/>
            <a:ext cx="1114819" cy="1075804"/>
          </a:xfrm>
          <a:prstGeom prst="rect">
            <a:avLst/>
          </a:prstGeom>
          <a:solidFill>
            <a:schemeClr val="bg1"/>
          </a:solidFill>
          <a:ln w="3175">
            <a:solidFill>
              <a:schemeClr val="tx2">
                <a:lumMod val="10000"/>
                <a:lumOff val="90000"/>
              </a:schemeClr>
            </a:solidFill>
          </a:ln>
        </p:spPr>
        <p:txBody>
          <a:bodyPr wrap="square" tIns="108000" bIns="108000" rtlCol="0" anchor="t">
            <a:noAutofit/>
          </a:bodyPr>
          <a:lstStyle>
            <a:defPPr>
              <a:defRPr lang="fr-FR"/>
            </a:defPPr>
            <a:lvl1pPr marL="171450" indent="-171450">
              <a:buFont typeface="Arial" panose="020B0604020202020204" pitchFamily="34" charset="0"/>
              <a:buChar char="•"/>
              <a:defRPr sz="900">
                <a:solidFill>
                  <a:srgbClr val="002060"/>
                </a:solidFill>
              </a:defRPr>
            </a:lvl1pPr>
          </a:lstStyle>
          <a:p>
            <a:pPr marL="92075" indent="-92075">
              <a:buFont typeface="Wingdings" panose="05000000000000000000" pitchFamily="2" charset="2"/>
              <a:buChar char="§"/>
            </a:pPr>
            <a:r>
              <a:rPr lang="en-US" dirty="0"/>
              <a:t>Steady performance </a:t>
            </a:r>
          </a:p>
          <a:p>
            <a:pPr marL="92075" indent="-92075">
              <a:buFont typeface="Wingdings" panose="05000000000000000000" pitchFamily="2" charset="2"/>
              <a:buChar char="§"/>
            </a:pPr>
            <a:r>
              <a:rPr lang="en-US" dirty="0"/>
              <a:t>Exploiting factors’ </a:t>
            </a:r>
            <a:r>
              <a:rPr lang="en-US" dirty="0" smtClean="0"/>
              <a:t>behavior to </a:t>
            </a:r>
            <a:r>
              <a:rPr lang="en-US" dirty="0"/>
              <a:t>navigate market cycle and regimes</a:t>
            </a:r>
          </a:p>
        </p:txBody>
      </p:sp>
      <p:pic>
        <p:nvPicPr>
          <p:cNvPr id="86"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l="26784" r="19788"/>
          <a:stretch/>
        </p:blipFill>
        <p:spPr bwMode="auto">
          <a:xfrm>
            <a:off x="3890418" y="3660010"/>
            <a:ext cx="1473670" cy="1284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3115" y="3660011"/>
            <a:ext cx="2158942" cy="128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97568" y="3644834"/>
            <a:ext cx="2590864"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0" name="ZoneTexte 36"/>
          <p:cNvSpPr txBox="1"/>
          <p:nvPr/>
        </p:nvSpPr>
        <p:spPr>
          <a:xfrm>
            <a:off x="7488324" y="1394486"/>
            <a:ext cx="1476164" cy="370985"/>
          </a:xfrm>
          <a:prstGeom prst="rect">
            <a:avLst/>
          </a:prstGeom>
          <a:solidFill>
            <a:srgbClr val="002060"/>
          </a:solidFill>
        </p:spPr>
        <p:txBody>
          <a:bodyPr wrap="square" tIns="108000" bIns="108000" rtlCol="0" anchor="ctr">
            <a:noAutofit/>
          </a:bodyPr>
          <a:lstStyle/>
          <a:p>
            <a:pPr algn="ctr"/>
            <a:r>
              <a:rPr lang="en-US" sz="1000" b="1" dirty="0" smtClean="0">
                <a:solidFill>
                  <a:srgbClr val="FFFFFF"/>
                </a:solidFill>
              </a:rPr>
              <a:t>Dynamic factor allocation</a:t>
            </a:r>
            <a:endParaRPr lang="en-US" sz="1000" b="1" dirty="0">
              <a:solidFill>
                <a:srgbClr val="FFFFFF"/>
              </a:solidFill>
            </a:endParaRPr>
          </a:p>
        </p:txBody>
      </p:sp>
      <p:sp>
        <p:nvSpPr>
          <p:cNvPr id="91" name="ZoneTexte 90"/>
          <p:cNvSpPr txBox="1"/>
          <p:nvPr/>
        </p:nvSpPr>
        <p:spPr>
          <a:xfrm>
            <a:off x="7488324" y="1774247"/>
            <a:ext cx="1476164" cy="716743"/>
          </a:xfrm>
          <a:prstGeom prst="rect">
            <a:avLst/>
          </a:prstGeom>
          <a:noFill/>
          <a:ln w="3175">
            <a:solidFill>
              <a:schemeClr val="tx2">
                <a:lumMod val="10000"/>
                <a:lumOff val="90000"/>
              </a:schemeClr>
            </a:solidFill>
          </a:ln>
        </p:spPr>
        <p:txBody>
          <a:bodyPr wrap="square" tIns="108000" bIns="108000" rtlCol="0" anchor="ctr">
            <a:noAutofit/>
          </a:bodyPr>
          <a:lstStyle>
            <a:defPPr>
              <a:defRPr lang="fr-FR"/>
            </a:defPPr>
            <a:lvl1pPr algn="ctr">
              <a:defRPr sz="1000" b="1">
                <a:solidFill>
                  <a:schemeClr val="bg1"/>
                </a:solidFill>
              </a:defRPr>
            </a:lvl1pPr>
          </a:lstStyle>
          <a:p>
            <a:r>
              <a:rPr lang="en-US" sz="900" dirty="0">
                <a:solidFill>
                  <a:srgbClr val="002060"/>
                </a:solidFill>
              </a:rPr>
              <a:t>« Generate </a:t>
            </a:r>
            <a:r>
              <a:rPr lang="en-US" sz="900" dirty="0" smtClean="0">
                <a:solidFill>
                  <a:srgbClr val="002060"/>
                </a:solidFill>
              </a:rPr>
              <a:t>return from multi-factors allocation »</a:t>
            </a:r>
            <a:endParaRPr lang="en-US" sz="900" dirty="0">
              <a:solidFill>
                <a:srgbClr val="002060"/>
              </a:solidFill>
            </a:endParaRPr>
          </a:p>
        </p:txBody>
      </p:sp>
      <p:sp>
        <p:nvSpPr>
          <p:cNvPr id="92" name="ZoneTexte 36"/>
          <p:cNvSpPr txBox="1"/>
          <p:nvPr/>
        </p:nvSpPr>
        <p:spPr>
          <a:xfrm>
            <a:off x="7494276" y="2553789"/>
            <a:ext cx="1461171" cy="551083"/>
          </a:xfrm>
          <a:prstGeom prst="rect">
            <a:avLst/>
          </a:prstGeom>
          <a:solidFill>
            <a:schemeClr val="bg1"/>
          </a:solidFill>
          <a:ln w="3175">
            <a:solidFill>
              <a:schemeClr val="tx2">
                <a:lumMod val="10000"/>
                <a:lumOff val="90000"/>
              </a:schemeClr>
            </a:solidFill>
          </a:ln>
        </p:spPr>
        <p:txBody>
          <a:bodyPr wrap="square" tIns="108000" bIns="108000" rtlCol="0" anchor="ctr">
            <a:noAutofit/>
          </a:bodyPr>
          <a:lstStyle>
            <a:defPPr>
              <a:defRPr lang="fr-FR"/>
            </a:defPPr>
            <a:lvl1pPr algn="ctr">
              <a:defRPr sz="900" b="1">
                <a:solidFill>
                  <a:srgbClr val="00B0F0"/>
                </a:solidFill>
              </a:defRPr>
            </a:lvl1pPr>
          </a:lstStyle>
          <a:p>
            <a:r>
              <a:rPr lang="en-US" dirty="0" smtClean="0"/>
              <a:t>CPR GEAR range</a:t>
            </a:r>
          </a:p>
        </p:txBody>
      </p:sp>
      <p:sp>
        <p:nvSpPr>
          <p:cNvPr id="93" name="Rectangle 92"/>
          <p:cNvSpPr/>
          <p:nvPr/>
        </p:nvSpPr>
        <p:spPr>
          <a:xfrm>
            <a:off x="7494276" y="3142742"/>
            <a:ext cx="1461171" cy="415067"/>
          </a:xfrm>
          <a:prstGeom prst="rect">
            <a:avLst/>
          </a:prstGeom>
          <a:solidFill>
            <a:schemeClr val="bg1"/>
          </a:solidFill>
          <a:ln w="3175">
            <a:solidFill>
              <a:schemeClr val="tx2">
                <a:lumMod val="10000"/>
                <a:lumOff val="90000"/>
              </a:schemeClr>
            </a:solidFill>
          </a:ln>
        </p:spPr>
        <p:txBody>
          <a:bodyPr wrap="square" tIns="108000" bIns="108000" rtlCol="0" anchor="ctr">
            <a:noAutofit/>
          </a:bodyPr>
          <a:lstStyle/>
          <a:p>
            <a:pPr algn="ctr"/>
            <a:r>
              <a:rPr lang="en-US" sz="900" b="1" dirty="0">
                <a:solidFill>
                  <a:srgbClr val="00B0F0"/>
                </a:solidFill>
              </a:rPr>
              <a:t>2 500 M€ **</a:t>
            </a:r>
          </a:p>
        </p:txBody>
      </p:sp>
      <p:sp>
        <p:nvSpPr>
          <p:cNvPr id="94" name="ZoneTexte 36"/>
          <p:cNvSpPr txBox="1"/>
          <p:nvPr/>
        </p:nvSpPr>
        <p:spPr>
          <a:xfrm>
            <a:off x="7488324" y="5071688"/>
            <a:ext cx="1481221" cy="1075689"/>
          </a:xfrm>
          <a:prstGeom prst="rect">
            <a:avLst/>
          </a:prstGeom>
          <a:solidFill>
            <a:schemeClr val="bg1"/>
          </a:solidFill>
          <a:ln w="3175">
            <a:solidFill>
              <a:schemeClr val="tx2">
                <a:lumMod val="10000"/>
                <a:lumOff val="90000"/>
              </a:schemeClr>
            </a:solidFill>
          </a:ln>
        </p:spPr>
        <p:txBody>
          <a:bodyPr wrap="square" tIns="108000" bIns="108000" rtlCol="0" anchor="t">
            <a:noAutofit/>
          </a:bodyPr>
          <a:lstStyle>
            <a:defPPr>
              <a:defRPr lang="fr-FR"/>
            </a:defPPr>
            <a:lvl1pPr marL="171450" indent="-171450">
              <a:buFont typeface="Arial" panose="020B0604020202020204" pitchFamily="34" charset="0"/>
              <a:buChar char="•"/>
              <a:defRPr sz="900">
                <a:solidFill>
                  <a:srgbClr val="002060"/>
                </a:solidFill>
              </a:defRPr>
            </a:lvl1pPr>
          </a:lstStyle>
          <a:p>
            <a:pPr marL="92075" indent="-92075">
              <a:buFont typeface="Wingdings" panose="05000000000000000000" pitchFamily="2" charset="2"/>
              <a:buChar char="§"/>
            </a:pPr>
            <a:r>
              <a:rPr lang="en-US" dirty="0" smtClean="0"/>
              <a:t>An all-weather market regime approach</a:t>
            </a:r>
          </a:p>
          <a:p>
            <a:pPr marL="92075" indent="-92075">
              <a:buFont typeface="Wingdings" panose="05000000000000000000" pitchFamily="2" charset="2"/>
              <a:buChar char="§"/>
            </a:pPr>
            <a:r>
              <a:rPr lang="en-US" dirty="0" smtClean="0"/>
              <a:t>Steady and resilient performance</a:t>
            </a:r>
            <a:endParaRPr lang="en-US" dirty="0"/>
          </a:p>
          <a:p>
            <a:pPr marL="92075" indent="-92075">
              <a:buFont typeface="Wingdings" panose="05000000000000000000" pitchFamily="2" charset="2"/>
              <a:buChar char="§"/>
            </a:pPr>
            <a:r>
              <a:rPr lang="en-US" dirty="0" smtClean="0"/>
              <a:t>Adaptable and scalable model </a:t>
            </a:r>
          </a:p>
        </p:txBody>
      </p:sp>
      <p:sp>
        <p:nvSpPr>
          <p:cNvPr id="95" name="ZoneTexte 94"/>
          <p:cNvSpPr txBox="1"/>
          <p:nvPr/>
        </p:nvSpPr>
        <p:spPr>
          <a:xfrm>
            <a:off x="447822" y="6320606"/>
            <a:ext cx="4655127" cy="215444"/>
          </a:xfrm>
          <a:prstGeom prst="rect">
            <a:avLst/>
          </a:prstGeom>
          <a:noFill/>
        </p:spPr>
        <p:txBody>
          <a:bodyPr wrap="square" rtlCol="0">
            <a:spAutoFit/>
          </a:bodyPr>
          <a:lstStyle/>
          <a:p>
            <a:r>
              <a:rPr lang="fr-FR" sz="800" dirty="0" smtClean="0">
                <a:solidFill>
                  <a:schemeClr val="bg1">
                    <a:lumMod val="50000"/>
                  </a:schemeClr>
                </a:solidFill>
              </a:rPr>
              <a:t>** </a:t>
            </a:r>
            <a:r>
              <a:rPr lang="fr-FR" sz="800" dirty="0" err="1" smtClean="0">
                <a:solidFill>
                  <a:schemeClr val="bg1">
                    <a:lumMod val="50000"/>
                  </a:schemeClr>
                </a:solidFill>
              </a:rPr>
              <a:t>Including</a:t>
            </a:r>
            <a:r>
              <a:rPr lang="fr-FR" sz="800" dirty="0" smtClean="0">
                <a:solidFill>
                  <a:schemeClr val="bg1">
                    <a:lumMod val="50000"/>
                  </a:schemeClr>
                </a:solidFill>
              </a:rPr>
              <a:t> </a:t>
            </a:r>
            <a:r>
              <a:rPr lang="fr-FR" sz="800" dirty="0" err="1" smtClean="0">
                <a:solidFill>
                  <a:schemeClr val="bg1">
                    <a:lumMod val="50000"/>
                  </a:schemeClr>
                </a:solidFill>
              </a:rPr>
              <a:t>dedicated</a:t>
            </a:r>
            <a:r>
              <a:rPr lang="fr-FR" sz="800" dirty="0" smtClean="0">
                <a:solidFill>
                  <a:schemeClr val="bg1">
                    <a:lumMod val="50000"/>
                  </a:schemeClr>
                </a:solidFill>
              </a:rPr>
              <a:t> </a:t>
            </a:r>
            <a:r>
              <a:rPr lang="fr-FR" sz="800" dirty="0" err="1" smtClean="0">
                <a:solidFill>
                  <a:schemeClr val="bg1">
                    <a:lumMod val="50000"/>
                  </a:schemeClr>
                </a:solidFill>
              </a:rPr>
              <a:t>strategies</a:t>
            </a:r>
            <a:r>
              <a:rPr lang="fr-FR" sz="800" dirty="0">
                <a:solidFill>
                  <a:schemeClr val="bg1">
                    <a:lumMod val="50000"/>
                  </a:schemeClr>
                </a:solidFill>
              </a:rPr>
              <a:t> </a:t>
            </a:r>
            <a:r>
              <a:rPr lang="fr-FR" sz="800" dirty="0" smtClean="0">
                <a:solidFill>
                  <a:schemeClr val="bg1">
                    <a:lumMod val="50000"/>
                  </a:schemeClr>
                </a:solidFill>
              </a:rPr>
              <a:t>/ Source : CPR AM as of </a:t>
            </a:r>
            <a:r>
              <a:rPr lang="fr-FR" sz="800" dirty="0" err="1" smtClean="0">
                <a:solidFill>
                  <a:schemeClr val="bg1">
                    <a:lumMod val="50000"/>
                  </a:schemeClr>
                </a:solidFill>
              </a:rPr>
              <a:t>June</a:t>
            </a:r>
            <a:r>
              <a:rPr lang="fr-FR" sz="800" dirty="0" smtClean="0">
                <a:solidFill>
                  <a:schemeClr val="bg1">
                    <a:lumMod val="50000"/>
                  </a:schemeClr>
                </a:solidFill>
              </a:rPr>
              <a:t> 2017</a:t>
            </a:r>
            <a:endParaRPr lang="fr-FR" sz="800" dirty="0">
              <a:solidFill>
                <a:schemeClr val="bg1">
                  <a:lumMod val="50000"/>
                </a:schemeClr>
              </a:solidFill>
            </a:endParaRPr>
          </a:p>
        </p:txBody>
      </p:sp>
      <p:sp>
        <p:nvSpPr>
          <p:cNvPr id="96" name="Rectangle 95"/>
          <p:cNvSpPr/>
          <p:nvPr/>
        </p:nvSpPr>
        <p:spPr>
          <a:xfrm>
            <a:off x="7494276" y="1124242"/>
            <a:ext cx="1470212" cy="249300"/>
          </a:xfrm>
          <a:prstGeom prst="rect">
            <a:avLst/>
          </a:prstGeom>
          <a:solidFill>
            <a:srgbClr val="00B0F0"/>
          </a:solidFill>
        </p:spPr>
        <p:txBody>
          <a:bodyPr wrap="square" anchor="ctr">
            <a:noAutofit/>
          </a:bodyPr>
          <a:lstStyle/>
          <a:p>
            <a:pPr algn="ctr" defTabSz="914077">
              <a:lnSpc>
                <a:spcPct val="85000"/>
              </a:lnSpc>
              <a:defRPr/>
            </a:pPr>
            <a:r>
              <a:rPr lang="en-US" altLang="fr-FR" sz="1000" b="1" kern="0" dirty="0" smtClean="0">
                <a:solidFill>
                  <a:srgbClr val="FFFFFF"/>
                </a:solidFill>
              </a:rPr>
              <a:t>Harness </a:t>
            </a:r>
            <a:r>
              <a:rPr lang="en-US" altLang="fr-FR" sz="1000" b="1" kern="0" dirty="0">
                <a:solidFill>
                  <a:srgbClr val="FFFFFF"/>
                </a:solidFill>
              </a:rPr>
              <a:t>alpha </a:t>
            </a:r>
            <a:r>
              <a:rPr lang="en-US" altLang="fr-FR" sz="1000" b="1" kern="0" dirty="0" smtClean="0">
                <a:solidFill>
                  <a:srgbClr val="FFFFFF"/>
                </a:solidFill>
              </a:rPr>
              <a:t>factors</a:t>
            </a:r>
            <a:endParaRPr lang="en-US" altLang="fr-FR" sz="1000" b="1" kern="0" dirty="0">
              <a:solidFill>
                <a:srgbClr val="FFFFFF"/>
              </a:solidFill>
            </a:endParaRPr>
          </a:p>
        </p:txBody>
      </p:sp>
      <p:pic>
        <p:nvPicPr>
          <p:cNvPr id="9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00861" y="3605779"/>
            <a:ext cx="2565658" cy="1278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7" name="ZoneTexte 86"/>
          <p:cNvSpPr txBox="1"/>
          <p:nvPr/>
        </p:nvSpPr>
        <p:spPr>
          <a:xfrm>
            <a:off x="456876" y="6203648"/>
            <a:ext cx="6071701" cy="215444"/>
          </a:xfrm>
          <a:prstGeom prst="rect">
            <a:avLst/>
          </a:prstGeom>
          <a:noFill/>
        </p:spPr>
        <p:txBody>
          <a:bodyPr wrap="square" rtlCol="0">
            <a:spAutoFit/>
          </a:bodyPr>
          <a:lstStyle/>
          <a:p>
            <a:r>
              <a:rPr lang="fr-FR" sz="800" dirty="0" smtClean="0">
                <a:solidFill>
                  <a:schemeClr val="bg1">
                    <a:lumMod val="50000"/>
                  </a:schemeClr>
                </a:solidFill>
              </a:rPr>
              <a:t>*</a:t>
            </a:r>
            <a:r>
              <a:rPr lang="fr-FR" sz="800" dirty="0" err="1" smtClean="0">
                <a:solidFill>
                  <a:schemeClr val="bg1">
                    <a:lumMod val="50000"/>
                  </a:schemeClr>
                </a:solidFill>
              </a:rPr>
              <a:t>Including</a:t>
            </a:r>
            <a:r>
              <a:rPr lang="fr-FR" sz="800" dirty="0" smtClean="0">
                <a:solidFill>
                  <a:schemeClr val="bg1">
                    <a:lumMod val="50000"/>
                  </a:schemeClr>
                </a:solidFill>
              </a:rPr>
              <a:t> minimum variance &amp; optimum diversification </a:t>
            </a:r>
            <a:r>
              <a:rPr lang="fr-FR" sz="800" dirty="0" err="1" smtClean="0">
                <a:solidFill>
                  <a:schemeClr val="bg1">
                    <a:lumMod val="50000"/>
                  </a:schemeClr>
                </a:solidFill>
              </a:rPr>
              <a:t>strategies</a:t>
            </a:r>
            <a:r>
              <a:rPr lang="fr-FR" sz="800" dirty="0" smtClean="0">
                <a:solidFill>
                  <a:schemeClr val="bg1">
                    <a:lumMod val="50000"/>
                  </a:schemeClr>
                </a:solidFill>
              </a:rPr>
              <a:t> / Source : Amundi as of </a:t>
            </a:r>
            <a:r>
              <a:rPr lang="fr-FR" sz="800" dirty="0" err="1" smtClean="0">
                <a:solidFill>
                  <a:schemeClr val="bg1">
                    <a:lumMod val="50000"/>
                  </a:schemeClr>
                </a:solidFill>
              </a:rPr>
              <a:t>June</a:t>
            </a:r>
            <a:r>
              <a:rPr lang="fr-FR" sz="800" dirty="0" smtClean="0">
                <a:solidFill>
                  <a:schemeClr val="bg1">
                    <a:lumMod val="50000"/>
                  </a:schemeClr>
                </a:solidFill>
              </a:rPr>
              <a:t> 2017 </a:t>
            </a:r>
            <a:endParaRPr lang="fr-FR" sz="800" dirty="0">
              <a:solidFill>
                <a:schemeClr val="bg1">
                  <a:lumMod val="50000"/>
                </a:schemeClr>
              </a:solidFill>
            </a:endParaRPr>
          </a:p>
        </p:txBody>
      </p:sp>
      <p:sp>
        <p:nvSpPr>
          <p:cNvPr id="51"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Tree>
    <p:extLst>
      <p:ext uri="{BB962C8B-B14F-4D97-AF65-F5344CB8AC3E}">
        <p14:creationId xmlns:p14="http://schemas.microsoft.com/office/powerpoint/2010/main" val="291349978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7">
            <a:extLst>
              <a:ext uri="{FF2B5EF4-FFF2-40B4-BE49-F238E27FC236}">
                <a16:creationId xmlns="" xmlns:a16="http://schemas.microsoft.com/office/drawing/2014/main" id="{E26272D1-DA7B-448D-9C96-A33C84E8FB23}"/>
              </a:ext>
            </a:extLst>
          </p:cNvPr>
          <p:cNvSpPr>
            <a:spLocks noGrp="1"/>
          </p:cNvSpPr>
          <p:nvPr>
            <p:ph type="body" sz="quarter" idx="13"/>
          </p:nvPr>
        </p:nvSpPr>
        <p:spPr/>
        <p:txBody>
          <a:bodyPr/>
          <a:lstStyle/>
          <a:p>
            <a:r>
              <a:rPr lang="fr-BE"/>
              <a:t>06</a:t>
            </a:r>
          </a:p>
          <a:p>
            <a:endParaRPr lang="fr-BE" dirty="0"/>
          </a:p>
        </p:txBody>
      </p:sp>
      <p:sp>
        <p:nvSpPr>
          <p:cNvPr id="7" name="Titre 6">
            <a:extLst>
              <a:ext uri="{FF2B5EF4-FFF2-40B4-BE49-F238E27FC236}">
                <a16:creationId xmlns="" xmlns:a16="http://schemas.microsoft.com/office/drawing/2014/main" id="{DA5CA6E9-8A86-471A-90B4-750CAD6563D2}"/>
              </a:ext>
            </a:extLst>
          </p:cNvPr>
          <p:cNvSpPr>
            <a:spLocks noGrp="1"/>
          </p:cNvSpPr>
          <p:nvPr>
            <p:ph type="title"/>
          </p:nvPr>
        </p:nvSpPr>
        <p:spPr/>
        <p:txBody>
          <a:bodyPr/>
          <a:lstStyle/>
          <a:p>
            <a:r>
              <a:rPr lang="en-US" dirty="0"/>
              <a:t>Appendix</a:t>
            </a:r>
          </a:p>
        </p:txBody>
      </p:sp>
      <p:sp>
        <p:nvSpPr>
          <p:cNvPr id="6" name="Espace réservé du texte 5">
            <a:extLst>
              <a:ext uri="{FF2B5EF4-FFF2-40B4-BE49-F238E27FC236}">
                <a16:creationId xmlns="" xmlns:a16="http://schemas.microsoft.com/office/drawing/2014/main" id="{7BA6178F-0C0D-4E45-AC28-7120A907FF08}"/>
              </a:ext>
            </a:extLst>
          </p:cNvPr>
          <p:cNvSpPr>
            <a:spLocks noGrp="1"/>
          </p:cNvSpPr>
          <p:nvPr>
            <p:ph type="body" idx="1"/>
          </p:nvPr>
        </p:nvSpPr>
        <p:spPr/>
        <p:txBody>
          <a:bodyPr/>
          <a:lstStyle/>
          <a:p>
            <a:r>
              <a:rPr lang="fr-BE" dirty="0"/>
              <a:t>Product Flagships</a:t>
            </a:r>
          </a:p>
        </p:txBody>
      </p:sp>
      <p:sp>
        <p:nvSpPr>
          <p:cNvPr id="20" name="Espace réservé du numéro de diapositive 4">
            <a:extLst>
              <a:ext uri="{FF2B5EF4-FFF2-40B4-BE49-F238E27FC236}">
                <a16:creationId xmlns="" xmlns:a16="http://schemas.microsoft.com/office/drawing/2014/main" id="{1525FDB3-4D6A-4970-97BB-DB49570F5E91}"/>
              </a:ext>
            </a:extLst>
          </p:cNvPr>
          <p:cNvSpPr>
            <a:spLocks noGrp="1"/>
          </p:cNvSpPr>
          <p:nvPr>
            <p:ph type="sldNum" sz="quarter" idx="12"/>
          </p:nvPr>
        </p:nvSpPr>
        <p:spPr/>
        <p:txBody>
          <a:bodyPr/>
          <a:lstStyle/>
          <a:p>
            <a:fld id="{2B1C6FFC-D040-034F-8B69-20295064E64D}" type="slidenum">
              <a:rPr lang="fr-FR" smtClean="0"/>
              <a:pPr/>
              <a:t>53</a:t>
            </a:fld>
            <a:endParaRPr lang="fr-FR" dirty="0"/>
          </a:p>
        </p:txBody>
      </p:sp>
      <p:sp>
        <p:nvSpPr>
          <p:cNvPr id="2" name="Espace réservé du pied de page 1"/>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3733577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624964" y="1609835"/>
            <a:ext cx="3902468" cy="432014"/>
          </a:xfrm>
          <a:prstGeom prst="wedgeRectCallout">
            <a:avLst>
              <a:gd name="adj1" fmla="val -21947"/>
              <a:gd name="adj2" fmla="val 5095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5000"/>
              </a:lnSpc>
              <a:spcBef>
                <a:spcPct val="50000"/>
              </a:spcBef>
            </a:pPr>
            <a:r>
              <a:rPr lang="en-GB" sz="1600" b="1" dirty="0">
                <a:solidFill>
                  <a:schemeClr val="bg1"/>
                </a:solidFill>
                <a:ea typeface="ＭＳ Ｐゴシック" charset="-128"/>
              </a:rPr>
              <a:t>RISK EFFICIENT SOLUTIONS</a:t>
            </a:r>
          </a:p>
        </p:txBody>
      </p:sp>
      <p:sp>
        <p:nvSpPr>
          <p:cNvPr id="14" name="Rectangle 13"/>
          <p:cNvSpPr/>
          <p:nvPr/>
        </p:nvSpPr>
        <p:spPr>
          <a:xfrm>
            <a:off x="4792953" y="1609835"/>
            <a:ext cx="3960440" cy="432014"/>
          </a:xfrm>
          <a:prstGeom prst="wedgeRectCallout">
            <a:avLst>
              <a:gd name="adj1" fmla="val -20683"/>
              <a:gd name="adj2" fmla="val 4573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5000"/>
              </a:lnSpc>
              <a:spcBef>
                <a:spcPct val="50000"/>
              </a:spcBef>
            </a:pPr>
            <a:r>
              <a:rPr lang="en-GB" sz="1600" b="1" dirty="0">
                <a:solidFill>
                  <a:schemeClr val="bg1"/>
                </a:solidFill>
                <a:ea typeface="ＭＳ Ｐゴシック" charset="-128"/>
              </a:rPr>
              <a:t>FACTOR INVESTING SOLUTIONS</a:t>
            </a:r>
          </a:p>
        </p:txBody>
      </p:sp>
      <p:sp>
        <p:nvSpPr>
          <p:cNvPr id="15" name="Forme libre 14"/>
          <p:cNvSpPr/>
          <p:nvPr/>
        </p:nvSpPr>
        <p:spPr>
          <a:xfrm>
            <a:off x="624965" y="2115925"/>
            <a:ext cx="3902467" cy="109612"/>
          </a:xfrm>
          <a:custGeom>
            <a:avLst/>
            <a:gdLst>
              <a:gd name="connsiteX0" fmla="*/ 0 w 3452812"/>
              <a:gd name="connsiteY0" fmla="*/ 4762 h 171450"/>
              <a:gd name="connsiteX1" fmla="*/ 1323975 w 3452812"/>
              <a:gd name="connsiteY1" fmla="*/ 4762 h 171450"/>
              <a:gd name="connsiteX2" fmla="*/ 1323975 w 3452812"/>
              <a:gd name="connsiteY2" fmla="*/ 171450 h 171450"/>
              <a:gd name="connsiteX3" fmla="*/ 1695450 w 3452812"/>
              <a:gd name="connsiteY3" fmla="*/ 0 h 171450"/>
              <a:gd name="connsiteX4" fmla="*/ 3452812 w 3452812"/>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812" h="171450">
                <a:moveTo>
                  <a:pt x="0" y="4762"/>
                </a:moveTo>
                <a:lnTo>
                  <a:pt x="1323975" y="4762"/>
                </a:lnTo>
                <a:lnTo>
                  <a:pt x="1323975" y="171450"/>
                </a:lnTo>
                <a:lnTo>
                  <a:pt x="1695450" y="0"/>
                </a:lnTo>
                <a:lnTo>
                  <a:pt x="3452812"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orme libre 15"/>
          <p:cNvSpPr/>
          <p:nvPr/>
        </p:nvSpPr>
        <p:spPr>
          <a:xfrm>
            <a:off x="4792953" y="2111590"/>
            <a:ext cx="3960440" cy="113947"/>
          </a:xfrm>
          <a:custGeom>
            <a:avLst/>
            <a:gdLst>
              <a:gd name="connsiteX0" fmla="*/ 0 w 3452812"/>
              <a:gd name="connsiteY0" fmla="*/ 4762 h 171450"/>
              <a:gd name="connsiteX1" fmla="*/ 1323975 w 3452812"/>
              <a:gd name="connsiteY1" fmla="*/ 4762 h 171450"/>
              <a:gd name="connsiteX2" fmla="*/ 1323975 w 3452812"/>
              <a:gd name="connsiteY2" fmla="*/ 171450 h 171450"/>
              <a:gd name="connsiteX3" fmla="*/ 1695450 w 3452812"/>
              <a:gd name="connsiteY3" fmla="*/ 0 h 171450"/>
              <a:gd name="connsiteX4" fmla="*/ 3452812 w 3452812"/>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812" h="171450">
                <a:moveTo>
                  <a:pt x="0" y="4762"/>
                </a:moveTo>
                <a:lnTo>
                  <a:pt x="1323975" y="4762"/>
                </a:lnTo>
                <a:lnTo>
                  <a:pt x="1323975" y="171450"/>
                </a:lnTo>
                <a:lnTo>
                  <a:pt x="1695450" y="0"/>
                </a:lnTo>
                <a:lnTo>
                  <a:pt x="3452812"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12"/>
          <p:cNvSpPr/>
          <p:nvPr/>
        </p:nvSpPr>
        <p:spPr>
          <a:xfrm>
            <a:off x="648933" y="2523157"/>
            <a:ext cx="3902468" cy="659118"/>
          </a:xfrm>
          <a:prstGeom prst="wedgeRectCallout">
            <a:avLst>
              <a:gd name="adj1" fmla="val -21947"/>
              <a:gd name="adj2" fmla="val 50959"/>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5000"/>
              </a:lnSpc>
              <a:spcBef>
                <a:spcPct val="50000"/>
              </a:spcBef>
            </a:pPr>
            <a:r>
              <a:rPr lang="en-US" sz="1200" b="1" dirty="0">
                <a:solidFill>
                  <a:srgbClr val="002060"/>
                </a:solidFill>
                <a:ea typeface="ＭＳ Ｐゴシック" charset="-128"/>
              </a:rPr>
              <a:t>Minimum </a:t>
            </a:r>
            <a:r>
              <a:rPr lang="en-US" sz="1200" b="1" dirty="0" smtClean="0">
                <a:solidFill>
                  <a:srgbClr val="002060"/>
                </a:solidFill>
                <a:ea typeface="ＭＳ Ｐゴシック" charset="-128"/>
              </a:rPr>
              <a:t>Variance </a:t>
            </a:r>
          </a:p>
          <a:p>
            <a:pPr algn="ctr" eaLnBrk="0" hangingPunct="0">
              <a:lnSpc>
                <a:spcPct val="85000"/>
              </a:lnSpc>
              <a:spcBef>
                <a:spcPct val="50000"/>
              </a:spcBef>
            </a:pPr>
            <a:r>
              <a:rPr lang="en-US" sz="1200" kern="0" dirty="0" smtClean="0">
                <a:solidFill>
                  <a:srgbClr val="002060"/>
                </a:solidFill>
              </a:rPr>
              <a:t>(Conservative flagship range)</a:t>
            </a:r>
            <a:endParaRPr lang="en-US" sz="1200" kern="0" dirty="0">
              <a:solidFill>
                <a:srgbClr val="002060"/>
              </a:solidFill>
            </a:endParaRPr>
          </a:p>
        </p:txBody>
      </p:sp>
      <p:sp>
        <p:nvSpPr>
          <p:cNvPr id="28" name="Rectangle 13"/>
          <p:cNvSpPr/>
          <p:nvPr/>
        </p:nvSpPr>
        <p:spPr>
          <a:xfrm>
            <a:off x="4792953" y="3945735"/>
            <a:ext cx="3902468" cy="674836"/>
          </a:xfrm>
          <a:prstGeom prst="wedgeRectCallout">
            <a:avLst>
              <a:gd name="adj1" fmla="val -20683"/>
              <a:gd name="adj2" fmla="val 45731"/>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77" fontAlgn="base">
              <a:lnSpc>
                <a:spcPct val="85000"/>
              </a:lnSpc>
              <a:spcBef>
                <a:spcPct val="0"/>
              </a:spcBef>
              <a:spcAft>
                <a:spcPct val="0"/>
              </a:spcAft>
            </a:pPr>
            <a:r>
              <a:rPr lang="en-GB" altLang="fr-FR" sz="1200" b="1" kern="0" dirty="0">
                <a:solidFill>
                  <a:srgbClr val="002060"/>
                </a:solidFill>
              </a:rPr>
              <a:t>Risk-based Dynamic Factor Allocation </a:t>
            </a:r>
          </a:p>
          <a:p>
            <a:pPr algn="ctr" defTabSz="914077" fontAlgn="base">
              <a:lnSpc>
                <a:spcPct val="85000"/>
              </a:lnSpc>
              <a:spcBef>
                <a:spcPct val="0"/>
              </a:spcBef>
              <a:spcAft>
                <a:spcPct val="0"/>
              </a:spcAft>
            </a:pPr>
            <a:endParaRPr lang="en-GB" altLang="fr-FR" sz="1200" b="1" kern="0" dirty="0">
              <a:solidFill>
                <a:srgbClr val="002060"/>
              </a:solidFill>
            </a:endParaRPr>
          </a:p>
          <a:p>
            <a:pPr algn="ctr" defTabSz="914077" fontAlgn="base">
              <a:lnSpc>
                <a:spcPct val="85000"/>
              </a:lnSpc>
              <a:spcBef>
                <a:spcPct val="0"/>
              </a:spcBef>
              <a:spcAft>
                <a:spcPct val="0"/>
              </a:spcAft>
            </a:pPr>
            <a:r>
              <a:rPr lang="en-GB" altLang="fr-FR" sz="1200" kern="0" dirty="0">
                <a:solidFill>
                  <a:srgbClr val="002060"/>
                </a:solidFill>
              </a:rPr>
              <a:t>(Amundi Smart Beta </a:t>
            </a:r>
            <a:r>
              <a:rPr lang="en-GB" altLang="fr-FR" sz="1200" kern="0" dirty="0" smtClean="0">
                <a:solidFill>
                  <a:srgbClr val="002060"/>
                </a:solidFill>
              </a:rPr>
              <a:t>Platform proprietary strategy)</a:t>
            </a:r>
            <a:endParaRPr lang="en-GB" altLang="fr-FR" sz="1200" kern="0" dirty="0">
              <a:solidFill>
                <a:srgbClr val="002060"/>
              </a:solidFill>
            </a:endParaRPr>
          </a:p>
        </p:txBody>
      </p:sp>
      <p:sp>
        <p:nvSpPr>
          <p:cNvPr id="29" name="Rectangle 12"/>
          <p:cNvSpPr/>
          <p:nvPr/>
        </p:nvSpPr>
        <p:spPr>
          <a:xfrm>
            <a:off x="648934" y="3244839"/>
            <a:ext cx="3902468" cy="651823"/>
          </a:xfrm>
          <a:prstGeom prst="wedgeRectCallout">
            <a:avLst>
              <a:gd name="adj1" fmla="val -21947"/>
              <a:gd name="adj2" fmla="val 50959"/>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5000"/>
              </a:lnSpc>
              <a:spcBef>
                <a:spcPct val="50000"/>
              </a:spcBef>
            </a:pPr>
            <a:r>
              <a:rPr lang="en-US" sz="1200" b="1" dirty="0">
                <a:solidFill>
                  <a:srgbClr val="002060"/>
                </a:solidFill>
              </a:rPr>
              <a:t>Risk </a:t>
            </a:r>
            <a:r>
              <a:rPr lang="en-US" sz="1200" b="1" dirty="0" smtClean="0">
                <a:solidFill>
                  <a:srgbClr val="002060"/>
                </a:solidFill>
              </a:rPr>
              <a:t>Parity Strategy</a:t>
            </a:r>
            <a:endParaRPr lang="en-US" sz="1200" b="1" dirty="0">
              <a:solidFill>
                <a:srgbClr val="002060"/>
              </a:solidFill>
              <a:ea typeface="ＭＳ Ｐゴシック" charset="-128"/>
            </a:endParaRPr>
          </a:p>
        </p:txBody>
      </p:sp>
      <p:sp>
        <p:nvSpPr>
          <p:cNvPr id="30" name="Rectangle 29"/>
          <p:cNvSpPr/>
          <p:nvPr/>
        </p:nvSpPr>
        <p:spPr>
          <a:xfrm>
            <a:off x="624964" y="2194584"/>
            <a:ext cx="3950406" cy="341277"/>
          </a:xfrm>
          <a:prstGeom prst="rect">
            <a:avLst/>
          </a:prstGeom>
          <a:noFill/>
          <a:ln w="19050" cmpd="sng">
            <a:noFill/>
          </a:ln>
        </p:spPr>
        <p:txBody>
          <a:bodyPr wrap="square" rtlCol="0" anchor="t">
            <a:noAutofit/>
          </a:bodyPr>
          <a:lstStyle/>
          <a:p>
            <a:pPr algn="ctr">
              <a:buClr>
                <a:srgbClr val="002060"/>
              </a:buClr>
            </a:pPr>
            <a:r>
              <a:rPr lang="en-US" sz="1200" b="1" dirty="0" smtClean="0">
                <a:solidFill>
                  <a:schemeClr val="tx1">
                    <a:lumMod val="50000"/>
                    <a:lumOff val="50000"/>
                  </a:schemeClr>
                </a:solidFill>
              </a:rPr>
              <a:t>To </a:t>
            </a:r>
            <a:r>
              <a:rPr lang="en-US" sz="1200" b="1" dirty="0">
                <a:solidFill>
                  <a:schemeClr val="tx1">
                    <a:lumMod val="50000"/>
                    <a:lumOff val="50000"/>
                  </a:schemeClr>
                </a:solidFill>
              </a:rPr>
              <a:t>A</a:t>
            </a:r>
            <a:r>
              <a:rPr lang="en-US" sz="1200" b="1" dirty="0" smtClean="0">
                <a:solidFill>
                  <a:schemeClr val="tx1">
                    <a:lumMod val="50000"/>
                    <a:lumOff val="50000"/>
                  </a:schemeClr>
                </a:solidFill>
              </a:rPr>
              <a:t>void Unrewarded Risks</a:t>
            </a:r>
            <a:endParaRPr lang="en-US" sz="1200" b="1" dirty="0">
              <a:solidFill>
                <a:schemeClr val="tx1">
                  <a:lumMod val="50000"/>
                  <a:lumOff val="50000"/>
                </a:schemeClr>
              </a:solidFill>
            </a:endParaRPr>
          </a:p>
        </p:txBody>
      </p:sp>
      <p:sp>
        <p:nvSpPr>
          <p:cNvPr id="22" name="Rectangle 12"/>
          <p:cNvSpPr/>
          <p:nvPr/>
        </p:nvSpPr>
        <p:spPr>
          <a:xfrm>
            <a:off x="4792953" y="2523157"/>
            <a:ext cx="3902468" cy="659118"/>
          </a:xfrm>
          <a:prstGeom prst="wedgeRectCallout">
            <a:avLst>
              <a:gd name="adj1" fmla="val -21947"/>
              <a:gd name="adj2" fmla="val 50959"/>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5000"/>
              </a:lnSpc>
              <a:spcBef>
                <a:spcPct val="50000"/>
              </a:spcBef>
            </a:pPr>
            <a:r>
              <a:rPr lang="en-US" sz="1200" b="1" dirty="0" smtClean="0">
                <a:solidFill>
                  <a:srgbClr val="002060"/>
                </a:solidFill>
              </a:rPr>
              <a:t>Single Factors </a:t>
            </a:r>
          </a:p>
          <a:p>
            <a:pPr algn="ctr" eaLnBrk="0" hangingPunct="0">
              <a:lnSpc>
                <a:spcPct val="85000"/>
              </a:lnSpc>
              <a:spcBef>
                <a:spcPct val="50000"/>
              </a:spcBef>
            </a:pPr>
            <a:r>
              <a:rPr lang="en-US" sz="1200" kern="0" dirty="0" smtClean="0">
                <a:solidFill>
                  <a:srgbClr val="002060"/>
                </a:solidFill>
              </a:rPr>
              <a:t>(</a:t>
            </a:r>
            <a:r>
              <a:rPr lang="en-US" sz="1200" kern="0" dirty="0">
                <a:solidFill>
                  <a:srgbClr val="002060"/>
                </a:solidFill>
              </a:rPr>
              <a:t>MSCI ETF </a:t>
            </a:r>
            <a:r>
              <a:rPr lang="en-US" sz="1200" kern="0" dirty="0" smtClean="0">
                <a:solidFill>
                  <a:srgbClr val="002060"/>
                </a:solidFill>
              </a:rPr>
              <a:t>Europe/US Factor </a:t>
            </a:r>
            <a:r>
              <a:rPr lang="en-US" sz="1200" kern="0" dirty="0">
                <a:solidFill>
                  <a:srgbClr val="002060"/>
                </a:solidFill>
              </a:rPr>
              <a:t>Range)</a:t>
            </a:r>
          </a:p>
        </p:txBody>
      </p:sp>
      <p:sp>
        <p:nvSpPr>
          <p:cNvPr id="24" name="Rectangle 12"/>
          <p:cNvSpPr/>
          <p:nvPr/>
        </p:nvSpPr>
        <p:spPr>
          <a:xfrm>
            <a:off x="4792953" y="3228937"/>
            <a:ext cx="3902468" cy="651823"/>
          </a:xfrm>
          <a:prstGeom prst="wedgeRectCallout">
            <a:avLst>
              <a:gd name="adj1" fmla="val -21947"/>
              <a:gd name="adj2" fmla="val 50959"/>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77" fontAlgn="base">
              <a:lnSpc>
                <a:spcPct val="85000"/>
              </a:lnSpc>
              <a:spcBef>
                <a:spcPct val="0"/>
              </a:spcBef>
              <a:spcAft>
                <a:spcPct val="0"/>
              </a:spcAft>
              <a:defRPr/>
            </a:pPr>
            <a:endParaRPr lang="en-GB" altLang="fr-FR" sz="1200" b="1" kern="0" dirty="0" smtClean="0">
              <a:solidFill>
                <a:srgbClr val="002060"/>
              </a:solidFill>
            </a:endParaRPr>
          </a:p>
          <a:p>
            <a:pPr algn="ctr" defTabSz="914077" fontAlgn="base">
              <a:lnSpc>
                <a:spcPct val="85000"/>
              </a:lnSpc>
              <a:spcBef>
                <a:spcPct val="0"/>
              </a:spcBef>
              <a:spcAft>
                <a:spcPct val="0"/>
              </a:spcAft>
              <a:defRPr/>
            </a:pPr>
            <a:endParaRPr lang="en-GB" altLang="fr-FR" sz="1200" b="1" kern="0" dirty="0" smtClean="0">
              <a:solidFill>
                <a:srgbClr val="002060"/>
              </a:solidFill>
            </a:endParaRPr>
          </a:p>
          <a:p>
            <a:pPr algn="ctr" defTabSz="914077" fontAlgn="base">
              <a:lnSpc>
                <a:spcPct val="85000"/>
              </a:lnSpc>
              <a:spcBef>
                <a:spcPct val="0"/>
              </a:spcBef>
              <a:spcAft>
                <a:spcPct val="0"/>
              </a:spcAft>
              <a:defRPr/>
            </a:pPr>
            <a:endParaRPr lang="en-GB" altLang="fr-FR" sz="1200" b="1" kern="0" dirty="0">
              <a:solidFill>
                <a:srgbClr val="002060"/>
              </a:solidFill>
            </a:endParaRPr>
          </a:p>
          <a:p>
            <a:pPr algn="ctr" defTabSz="914077" fontAlgn="base">
              <a:lnSpc>
                <a:spcPct val="85000"/>
              </a:lnSpc>
              <a:spcBef>
                <a:spcPct val="0"/>
              </a:spcBef>
              <a:spcAft>
                <a:spcPct val="0"/>
              </a:spcAft>
              <a:defRPr/>
            </a:pPr>
            <a:r>
              <a:rPr lang="en-GB" altLang="fr-FR" sz="1200" kern="0" dirty="0" smtClean="0">
                <a:solidFill>
                  <a:srgbClr val="002060"/>
                </a:solidFill>
              </a:rPr>
              <a:t> (ERI Scientific Beta partnership / passive solutions)</a:t>
            </a:r>
            <a:endParaRPr lang="en-GB" altLang="fr-FR" sz="1200" kern="0" dirty="0">
              <a:solidFill>
                <a:srgbClr val="002060"/>
              </a:solidFill>
            </a:endParaRPr>
          </a:p>
        </p:txBody>
      </p:sp>
      <p:sp>
        <p:nvSpPr>
          <p:cNvPr id="25" name="Rectangle 13"/>
          <p:cNvSpPr/>
          <p:nvPr/>
        </p:nvSpPr>
        <p:spPr>
          <a:xfrm>
            <a:off x="4792953" y="5147786"/>
            <a:ext cx="3902468" cy="674836"/>
          </a:xfrm>
          <a:prstGeom prst="wedgeRectCallout">
            <a:avLst>
              <a:gd name="adj1" fmla="val -20683"/>
              <a:gd name="adj2" fmla="val 45731"/>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77" fontAlgn="base">
              <a:lnSpc>
                <a:spcPct val="85000"/>
              </a:lnSpc>
              <a:spcBef>
                <a:spcPct val="0"/>
              </a:spcBef>
              <a:spcAft>
                <a:spcPct val="0"/>
              </a:spcAft>
              <a:defRPr/>
            </a:pPr>
            <a:r>
              <a:rPr lang="en-GB" altLang="fr-FR" sz="1200" b="1" kern="0" dirty="0">
                <a:solidFill>
                  <a:srgbClr val="002060"/>
                </a:solidFill>
              </a:rPr>
              <a:t>Return-based Dynamic </a:t>
            </a:r>
            <a:r>
              <a:rPr lang="en-GB" altLang="fr-FR" sz="1200" b="1" kern="0" dirty="0" smtClean="0">
                <a:solidFill>
                  <a:srgbClr val="002060"/>
                </a:solidFill>
              </a:rPr>
              <a:t>Factor allocation</a:t>
            </a:r>
          </a:p>
          <a:p>
            <a:pPr algn="ctr" defTabSz="914077" fontAlgn="base">
              <a:lnSpc>
                <a:spcPct val="85000"/>
              </a:lnSpc>
              <a:spcBef>
                <a:spcPct val="0"/>
              </a:spcBef>
              <a:spcAft>
                <a:spcPct val="0"/>
              </a:spcAft>
              <a:defRPr/>
            </a:pPr>
            <a:endParaRPr lang="en-GB" altLang="fr-FR" sz="1200" b="1" kern="0" dirty="0">
              <a:solidFill>
                <a:srgbClr val="002060"/>
              </a:solidFill>
            </a:endParaRPr>
          </a:p>
          <a:p>
            <a:pPr algn="ctr" defTabSz="914077" fontAlgn="base">
              <a:lnSpc>
                <a:spcPct val="85000"/>
              </a:lnSpc>
              <a:spcBef>
                <a:spcPct val="0"/>
              </a:spcBef>
              <a:spcAft>
                <a:spcPct val="0"/>
              </a:spcAft>
              <a:defRPr/>
            </a:pPr>
            <a:r>
              <a:rPr lang="en-GB" altLang="fr-FR" sz="1200" kern="0" dirty="0">
                <a:solidFill>
                  <a:srgbClr val="002060"/>
                </a:solidFill>
              </a:rPr>
              <a:t>(CPR AM, </a:t>
            </a:r>
            <a:r>
              <a:rPr lang="en-GB" altLang="fr-FR" sz="1200" kern="0" dirty="0" err="1">
                <a:solidFill>
                  <a:srgbClr val="002060"/>
                </a:solidFill>
              </a:rPr>
              <a:t>Amundi’s</a:t>
            </a:r>
            <a:r>
              <a:rPr lang="en-GB" altLang="fr-FR" sz="1200" kern="0" dirty="0">
                <a:solidFill>
                  <a:srgbClr val="002060"/>
                </a:solidFill>
              </a:rPr>
              <a:t> quant boutique strategy)</a:t>
            </a:r>
          </a:p>
        </p:txBody>
      </p:sp>
      <p:sp>
        <p:nvSpPr>
          <p:cNvPr id="26" name="Rectangle 25"/>
          <p:cNvSpPr/>
          <p:nvPr/>
        </p:nvSpPr>
        <p:spPr>
          <a:xfrm>
            <a:off x="4814193" y="2194584"/>
            <a:ext cx="3950406" cy="333447"/>
          </a:xfrm>
          <a:prstGeom prst="rect">
            <a:avLst/>
          </a:prstGeom>
          <a:noFill/>
          <a:ln w="19050" cmpd="sng">
            <a:noFill/>
          </a:ln>
        </p:spPr>
        <p:txBody>
          <a:bodyPr wrap="square" rtlCol="0" anchor="t">
            <a:noAutofit/>
          </a:bodyPr>
          <a:lstStyle/>
          <a:p>
            <a:pPr algn="ctr">
              <a:buClr>
                <a:srgbClr val="002060"/>
              </a:buClr>
            </a:pPr>
            <a:r>
              <a:rPr lang="en-US" sz="1200" b="1" dirty="0" smtClean="0">
                <a:solidFill>
                  <a:schemeClr val="accent3"/>
                </a:solidFill>
              </a:rPr>
              <a:t>To Capture  Rewarded Risk Factors</a:t>
            </a:r>
            <a:endParaRPr lang="en-US" sz="1200" b="1" dirty="0">
              <a:solidFill>
                <a:schemeClr val="accent3"/>
              </a:solidFill>
            </a:endParaRPr>
          </a:p>
        </p:txBody>
      </p:sp>
      <p:sp>
        <p:nvSpPr>
          <p:cNvPr id="31" name="Rectangle 30"/>
          <p:cNvSpPr/>
          <p:nvPr/>
        </p:nvSpPr>
        <p:spPr>
          <a:xfrm>
            <a:off x="4797970" y="4890378"/>
            <a:ext cx="3950406" cy="333447"/>
          </a:xfrm>
          <a:prstGeom prst="rect">
            <a:avLst/>
          </a:prstGeom>
          <a:noFill/>
          <a:ln w="19050" cmpd="sng">
            <a:noFill/>
          </a:ln>
        </p:spPr>
        <p:txBody>
          <a:bodyPr wrap="square" rtlCol="0" anchor="t">
            <a:noAutofit/>
          </a:bodyPr>
          <a:lstStyle/>
          <a:p>
            <a:pPr algn="ctr">
              <a:buClr>
                <a:srgbClr val="002060"/>
              </a:buClr>
            </a:pPr>
            <a:r>
              <a:rPr lang="en-US" sz="1200" b="1" dirty="0" smtClean="0">
                <a:solidFill>
                  <a:schemeClr val="accent3"/>
                </a:solidFill>
              </a:rPr>
              <a:t>To Capture Alpha Factors</a:t>
            </a:r>
            <a:endParaRPr lang="en-US" sz="1200" b="1" dirty="0">
              <a:solidFill>
                <a:schemeClr val="accent3"/>
              </a:solidFill>
            </a:endParaRPr>
          </a:p>
        </p:txBody>
      </p:sp>
      <p:sp>
        <p:nvSpPr>
          <p:cNvPr id="20" name="Forme libre 15"/>
          <p:cNvSpPr/>
          <p:nvPr/>
        </p:nvSpPr>
        <p:spPr>
          <a:xfrm>
            <a:off x="4763967" y="4776431"/>
            <a:ext cx="3960440" cy="113947"/>
          </a:xfrm>
          <a:custGeom>
            <a:avLst/>
            <a:gdLst>
              <a:gd name="connsiteX0" fmla="*/ 0 w 3452812"/>
              <a:gd name="connsiteY0" fmla="*/ 4762 h 171450"/>
              <a:gd name="connsiteX1" fmla="*/ 1323975 w 3452812"/>
              <a:gd name="connsiteY1" fmla="*/ 4762 h 171450"/>
              <a:gd name="connsiteX2" fmla="*/ 1323975 w 3452812"/>
              <a:gd name="connsiteY2" fmla="*/ 171450 h 171450"/>
              <a:gd name="connsiteX3" fmla="*/ 1695450 w 3452812"/>
              <a:gd name="connsiteY3" fmla="*/ 0 h 171450"/>
              <a:gd name="connsiteX4" fmla="*/ 3452812 w 3452812"/>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812" h="171450">
                <a:moveTo>
                  <a:pt x="0" y="4762"/>
                </a:moveTo>
                <a:lnTo>
                  <a:pt x="1323975" y="4762"/>
                </a:lnTo>
                <a:lnTo>
                  <a:pt x="1323975" y="171450"/>
                </a:lnTo>
                <a:lnTo>
                  <a:pt x="1695450" y="0"/>
                </a:lnTo>
                <a:lnTo>
                  <a:pt x="3452812"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6150" y="3293005"/>
            <a:ext cx="264001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itre 1"/>
          <p:cNvSpPr>
            <a:spLocks noGrp="1"/>
          </p:cNvSpPr>
          <p:nvPr>
            <p:ph type="title"/>
          </p:nvPr>
        </p:nvSpPr>
        <p:spPr>
          <a:xfrm>
            <a:off x="539999" y="698265"/>
            <a:ext cx="8063999" cy="387493"/>
          </a:xfrm>
        </p:spPr>
        <p:txBody>
          <a:bodyPr/>
          <a:lstStyle/>
          <a:p>
            <a:r>
              <a:rPr lang="fr-FR" dirty="0"/>
              <a:t>Smart Beta at Amundi: </a:t>
            </a:r>
            <a:r>
              <a:rPr lang="fr-FR" dirty="0">
                <a:solidFill>
                  <a:schemeClr val="accent1"/>
                </a:solidFill>
              </a:rPr>
              <a:t>Product flagships</a:t>
            </a:r>
          </a:p>
        </p:txBody>
      </p:sp>
      <p:sp>
        <p:nvSpPr>
          <p:cNvPr id="19" name="Espace réservé du numéro de diapositive 4"/>
          <p:cNvSpPr txBox="1">
            <a:spLocks/>
          </p:cNvSpPr>
          <p:nvPr/>
        </p:nvSpPr>
        <p:spPr>
          <a:xfrm>
            <a:off x="424873" y="6441876"/>
            <a:ext cx="443345" cy="90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B1C6FFC-D040-034F-8B69-20295064E64D}" type="slidenum">
              <a:rPr lang="fr-FR" sz="800" spc="30"/>
              <a:pPr/>
              <a:t>54</a:t>
            </a:fld>
            <a:endParaRPr lang="fr-FR" sz="800" spc="30" dirty="0"/>
          </a:p>
        </p:txBody>
      </p:sp>
      <p:sp>
        <p:nvSpPr>
          <p:cNvPr id="21"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Tree>
    <p:extLst>
      <p:ext uri="{BB962C8B-B14F-4D97-AF65-F5344CB8AC3E}">
        <p14:creationId xmlns:p14="http://schemas.microsoft.com/office/powerpoint/2010/main" val="50067188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re 31">
            <a:extLst>
              <a:ext uri="{FF2B5EF4-FFF2-40B4-BE49-F238E27FC236}">
                <a16:creationId xmlns="" xmlns:a16="http://schemas.microsoft.com/office/drawing/2014/main" id="{C6A78915-F2B5-4D62-9199-A56840455C94}"/>
              </a:ext>
            </a:extLst>
          </p:cNvPr>
          <p:cNvSpPr>
            <a:spLocks noGrp="1"/>
          </p:cNvSpPr>
          <p:nvPr>
            <p:ph type="title"/>
          </p:nvPr>
        </p:nvSpPr>
        <p:spPr/>
        <p:txBody>
          <a:bodyPr>
            <a:normAutofit fontScale="90000"/>
          </a:bodyPr>
          <a:lstStyle/>
          <a:p>
            <a:r>
              <a:rPr lang="en-US" dirty="0"/>
              <a:t>Portfolio construction matters in Factor investing - </a:t>
            </a:r>
            <a:r>
              <a:rPr lang="en-US" dirty="0">
                <a:solidFill>
                  <a:schemeClr val="accent1"/>
                </a:solidFill>
              </a:rPr>
              <a:t>Example with the Momentum factor</a:t>
            </a:r>
            <a:r>
              <a:rPr lang="en-US" dirty="0"/>
              <a:t/>
            </a:r>
            <a:br>
              <a:rPr lang="en-US" dirty="0"/>
            </a:br>
            <a:endParaRPr lang="fr-BE" dirty="0"/>
          </a:p>
        </p:txBody>
      </p:sp>
      <p:sp>
        <p:nvSpPr>
          <p:cNvPr id="17" name="Espace réservé du numéro de diapositive 6"/>
          <p:cNvSpPr>
            <a:spLocks noGrp="1"/>
          </p:cNvSpPr>
          <p:nvPr>
            <p:ph type="sldNum" sz="quarter" idx="12"/>
          </p:nvPr>
        </p:nvSpPr>
        <p:spPr/>
        <p:txBody>
          <a:bodyPr/>
          <a:lstStyle/>
          <a:p>
            <a:fld id="{C12E7156-0CA6-462A-9A46-AEFB5E440988}" type="slidenum">
              <a:rPr lang="fr-BE" smtClean="0"/>
              <a:pPr/>
              <a:t>55</a:t>
            </a:fld>
            <a:endParaRPr lang="fr-BE" dirty="0"/>
          </a:p>
        </p:txBody>
      </p:sp>
      <p:graphicFrame>
        <p:nvGraphicFramePr>
          <p:cNvPr id="10" name="Chart 9"/>
          <p:cNvGraphicFramePr>
            <a:graphicFrameLocks noChangeAspect="1"/>
          </p:cNvGraphicFramePr>
          <p:nvPr>
            <p:extLst>
              <p:ext uri="{D42A27DB-BD31-4B8C-83A1-F6EECF244321}">
                <p14:modId xmlns:p14="http://schemas.microsoft.com/office/powerpoint/2010/main" val="3557225123"/>
              </p:ext>
            </p:extLst>
          </p:nvPr>
        </p:nvGraphicFramePr>
        <p:xfrm>
          <a:off x="580390" y="2249208"/>
          <a:ext cx="3619500" cy="3016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hart 15"/>
          <p:cNvGraphicFramePr>
            <a:graphicFrameLocks/>
          </p:cNvGraphicFramePr>
          <p:nvPr>
            <p:extLst>
              <p:ext uri="{D42A27DB-BD31-4B8C-83A1-F6EECF244321}">
                <p14:modId xmlns:p14="http://schemas.microsoft.com/office/powerpoint/2010/main" val="2547541800"/>
              </p:ext>
            </p:extLst>
          </p:nvPr>
        </p:nvGraphicFramePr>
        <p:xfrm>
          <a:off x="4909568" y="2233343"/>
          <a:ext cx="3618000" cy="3016800"/>
        </p:xfrm>
        <a:graphic>
          <a:graphicData uri="http://schemas.openxmlformats.org/drawingml/2006/chart">
            <c:chart xmlns:c="http://schemas.openxmlformats.org/drawingml/2006/chart" xmlns:r="http://schemas.openxmlformats.org/officeDocument/2006/relationships" r:id="rId3"/>
          </a:graphicData>
        </a:graphic>
      </p:graphicFrame>
      <p:sp>
        <p:nvSpPr>
          <p:cNvPr id="39" name="Espace réservé du texte 38">
            <a:extLst>
              <a:ext uri="{FF2B5EF4-FFF2-40B4-BE49-F238E27FC236}">
                <a16:creationId xmlns="" xmlns:a16="http://schemas.microsoft.com/office/drawing/2014/main" id="{3DFF613F-730D-4D27-B95E-17C03CBA665F}"/>
              </a:ext>
            </a:extLst>
          </p:cNvPr>
          <p:cNvSpPr>
            <a:spLocks noGrp="1"/>
          </p:cNvSpPr>
          <p:nvPr>
            <p:ph type="body" sz="quarter" idx="14"/>
          </p:nvPr>
        </p:nvSpPr>
        <p:spPr/>
        <p:txBody>
          <a:bodyPr/>
          <a:lstStyle/>
          <a:p>
            <a:pPr algn="l"/>
            <a:r>
              <a:rPr lang="en-US" dirty="0"/>
              <a:t>Source: FactSet, </a:t>
            </a:r>
            <a:r>
              <a:rPr lang="en-US" dirty="0" err="1"/>
              <a:t>BarraOne</a:t>
            </a:r>
            <a:r>
              <a:rPr lang="en-US" dirty="0"/>
              <a:t>, </a:t>
            </a:r>
            <a:r>
              <a:rPr lang="en-US" dirty="0" err="1"/>
              <a:t>Amundi</a:t>
            </a:r>
            <a:r>
              <a:rPr lang="en-US" dirty="0"/>
              <a:t>, as of 31/12/2016</a:t>
            </a:r>
          </a:p>
        </p:txBody>
      </p:sp>
      <p:sp>
        <p:nvSpPr>
          <p:cNvPr id="44" name="TextBox 4">
            <a:extLst>
              <a:ext uri="{FF2B5EF4-FFF2-40B4-BE49-F238E27FC236}">
                <a16:creationId xmlns="" xmlns:a16="http://schemas.microsoft.com/office/drawing/2014/main" id="{B433C39E-3119-472B-8961-7ED9932BE613}"/>
              </a:ext>
            </a:extLst>
          </p:cNvPr>
          <p:cNvSpPr txBox="1"/>
          <p:nvPr/>
        </p:nvSpPr>
        <p:spPr>
          <a:xfrm>
            <a:off x="1445010" y="1638290"/>
            <a:ext cx="1890261"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Brexit: currency and equity </a:t>
            </a:r>
            <a:br>
              <a:rPr lang="en-US" dirty="0"/>
            </a:br>
            <a:r>
              <a:rPr lang="en-US" dirty="0"/>
              <a:t>performance of MSCI UK</a:t>
            </a:r>
          </a:p>
        </p:txBody>
      </p:sp>
      <p:sp>
        <p:nvSpPr>
          <p:cNvPr id="45" name="TextBox 4">
            <a:extLst>
              <a:ext uri="{FF2B5EF4-FFF2-40B4-BE49-F238E27FC236}">
                <a16:creationId xmlns="" xmlns:a16="http://schemas.microsoft.com/office/drawing/2014/main" id="{77A085FA-35FE-4957-BA47-58E12155E7AC}"/>
              </a:ext>
            </a:extLst>
          </p:cNvPr>
          <p:cNvSpPr txBox="1"/>
          <p:nvPr/>
        </p:nvSpPr>
        <p:spPr>
          <a:xfrm>
            <a:off x="5604321" y="1638290"/>
            <a:ext cx="2228494"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Abenomics: currency and equity </a:t>
            </a:r>
            <a:br>
              <a:rPr lang="en-US" dirty="0"/>
            </a:br>
            <a:r>
              <a:rPr lang="en-US" dirty="0"/>
              <a:t>performance of MSCI Japan</a:t>
            </a:r>
          </a:p>
        </p:txBody>
      </p:sp>
      <p:sp>
        <p:nvSpPr>
          <p:cNvPr id="2" name="Espace réservé du pied de page 1"/>
          <p:cNvSpPr>
            <a:spLocks noGrp="1"/>
          </p:cNvSpPr>
          <p:nvPr>
            <p:ph type="ftr" sz="quarter" idx="11"/>
          </p:nvPr>
        </p:nvSpPr>
        <p:spPr/>
        <p:txBody>
          <a:bodyPr/>
          <a:lstStyle/>
          <a:p>
            <a:r>
              <a:rPr lang="en-US" dirty="0" smtClean="0"/>
              <a:t>Smart Beta - Investment Solutions</a:t>
            </a:r>
            <a:endParaRPr lang="fr-FR" dirty="0"/>
          </a:p>
        </p:txBody>
      </p:sp>
    </p:spTree>
    <p:extLst>
      <p:ext uri="{BB962C8B-B14F-4D97-AF65-F5344CB8AC3E}">
        <p14:creationId xmlns:p14="http://schemas.microsoft.com/office/powerpoint/2010/main" val="310720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normAutofit fontScale="90000"/>
          </a:bodyPr>
          <a:lstStyle/>
          <a:p>
            <a:r>
              <a:rPr lang="en-US" dirty="0"/>
              <a:t>Performance of Amundi Funds Equity </a:t>
            </a:r>
            <a:br>
              <a:rPr lang="en-US" dirty="0"/>
            </a:br>
            <a:r>
              <a:rPr lang="en-US" dirty="0">
                <a:solidFill>
                  <a:schemeClr val="accent1"/>
                </a:solidFill>
              </a:rPr>
              <a:t>Europe Conservative</a:t>
            </a:r>
            <a:endParaRPr lang="fr-FR" dirty="0">
              <a:solidFill>
                <a:schemeClr val="accent1"/>
              </a:solidFill>
            </a:endParaRPr>
          </a:p>
        </p:txBody>
      </p:sp>
      <p:sp>
        <p:nvSpPr>
          <p:cNvPr id="17" name="Espace réservé du numéro de diapositive 6"/>
          <p:cNvSpPr>
            <a:spLocks noGrp="1"/>
          </p:cNvSpPr>
          <p:nvPr>
            <p:ph type="sldNum" sz="quarter" idx="12"/>
          </p:nvPr>
        </p:nvSpPr>
        <p:spPr/>
        <p:txBody>
          <a:bodyPr/>
          <a:lstStyle/>
          <a:p>
            <a:fld id="{C12E7156-0CA6-462A-9A46-AEFB5E440988}" type="slidenum">
              <a:rPr lang="fr-BE" smtClean="0">
                <a:solidFill>
                  <a:srgbClr val="003C64"/>
                </a:solidFill>
              </a:rPr>
              <a:pPr/>
              <a:t>56</a:t>
            </a:fld>
            <a:endParaRPr lang="fr-BE" dirty="0">
              <a:solidFill>
                <a:srgbClr val="003C64"/>
              </a:solidFill>
            </a:endParaRPr>
          </a:p>
        </p:txBody>
      </p:sp>
      <p:sp>
        <p:nvSpPr>
          <p:cNvPr id="9" name="Espace réservé du texte 8">
            <a:extLst>
              <a:ext uri="{FF2B5EF4-FFF2-40B4-BE49-F238E27FC236}">
                <a16:creationId xmlns="" xmlns:a16="http://schemas.microsoft.com/office/drawing/2014/main" id="{75B3B145-2285-4079-BCCD-F4E27740FD9E}"/>
              </a:ext>
            </a:extLst>
          </p:cNvPr>
          <p:cNvSpPr>
            <a:spLocks noGrp="1"/>
          </p:cNvSpPr>
          <p:nvPr>
            <p:ph type="body" sz="quarter" idx="14"/>
          </p:nvPr>
        </p:nvSpPr>
        <p:spPr>
          <a:xfrm>
            <a:off x="539750" y="5539942"/>
            <a:ext cx="8064248" cy="533258"/>
          </a:xfrm>
        </p:spPr>
        <p:txBody>
          <a:bodyPr/>
          <a:lstStyle/>
          <a:p>
            <a:pPr>
              <a:spcBef>
                <a:spcPts val="0"/>
              </a:spcBef>
            </a:pPr>
            <a:r>
              <a:rPr lang="en-US" dirty="0"/>
              <a:t>Source: </a:t>
            </a:r>
            <a:r>
              <a:rPr lang="en-US" dirty="0" err="1"/>
              <a:t>Amundi</a:t>
            </a:r>
            <a:r>
              <a:rPr lang="en-US" dirty="0"/>
              <a:t> </a:t>
            </a:r>
            <a:r>
              <a:rPr lang="en-US" dirty="0" smtClean="0"/>
              <a:t>AM. </a:t>
            </a:r>
            <a:r>
              <a:rPr lang="en-US" dirty="0"/>
              <a:t>Gross performance as of </a:t>
            </a:r>
            <a:r>
              <a:rPr lang="en-US" dirty="0" smtClean="0"/>
              <a:t>31/01/2018 </a:t>
            </a:r>
            <a:r>
              <a:rPr lang="en-US" dirty="0"/>
              <a:t>of the IE share class.</a:t>
            </a:r>
          </a:p>
          <a:p>
            <a:pPr>
              <a:spcBef>
                <a:spcPts val="0"/>
              </a:spcBef>
            </a:pPr>
            <a:r>
              <a:rPr lang="en-US" dirty="0"/>
              <a:t>Amundi Funds Equity Europe Conservative was launched on 29/04/2009.</a:t>
            </a:r>
          </a:p>
          <a:p>
            <a:pPr>
              <a:spcBef>
                <a:spcPts val="0"/>
              </a:spcBef>
            </a:pPr>
            <a:r>
              <a:rPr lang="en-US" dirty="0"/>
              <a:t>Morningstar Rating Overall of the IE share class as of </a:t>
            </a:r>
            <a:r>
              <a:rPr lang="en-US" dirty="0" smtClean="0"/>
              <a:t>January 2018</a:t>
            </a:r>
            <a:endParaRPr lang="en-US" dirty="0"/>
          </a:p>
          <a:p>
            <a:pPr>
              <a:spcBef>
                <a:spcPts val="0"/>
              </a:spcBef>
            </a:pPr>
            <a:r>
              <a:rPr lang="en-US" dirty="0"/>
              <a:t>Past performance is not a reliable indicator of future results or a guarantee of future returns. </a:t>
            </a:r>
          </a:p>
        </p:txBody>
      </p:sp>
      <p:graphicFrame>
        <p:nvGraphicFramePr>
          <p:cNvPr id="11" name="Table 10"/>
          <p:cNvGraphicFramePr>
            <a:graphicFrameLocks noGrp="1"/>
          </p:cNvGraphicFramePr>
          <p:nvPr>
            <p:extLst>
              <p:ext uri="{D42A27DB-BD31-4B8C-83A1-F6EECF244321}">
                <p14:modId xmlns:p14="http://schemas.microsoft.com/office/powerpoint/2010/main" val="1234134898"/>
              </p:ext>
            </p:extLst>
          </p:nvPr>
        </p:nvGraphicFramePr>
        <p:xfrm>
          <a:off x="5010109" y="4352754"/>
          <a:ext cx="2595600" cy="445770"/>
        </p:xfrm>
        <a:graphic>
          <a:graphicData uri="http://schemas.openxmlformats.org/drawingml/2006/table">
            <a:tbl>
              <a:tblPr/>
              <a:tblGrid>
                <a:gridCol w="1548000">
                  <a:extLst>
                    <a:ext uri="{9D8B030D-6E8A-4147-A177-3AD203B41FA5}">
                      <a16:colId xmlns="" xmlns:a16="http://schemas.microsoft.com/office/drawing/2014/main" val="20000"/>
                    </a:ext>
                  </a:extLst>
                </a:gridCol>
                <a:gridCol w="1047600">
                  <a:extLst>
                    <a:ext uri="{9D8B030D-6E8A-4147-A177-3AD203B41FA5}">
                      <a16:colId xmlns="" xmlns:a16="http://schemas.microsoft.com/office/drawing/2014/main" val="20001"/>
                    </a:ext>
                  </a:extLst>
                </a:gridCol>
              </a:tblGrid>
              <a:tr h="161925">
                <a:tc>
                  <a:txBody>
                    <a:bodyPr/>
                    <a:lstStyle/>
                    <a:p>
                      <a:pPr algn="l" fontAlgn="ctr"/>
                      <a:r>
                        <a:rPr lang="en-US" sz="900" b="0" i="0" u="none" strike="noStrike" dirty="0">
                          <a:solidFill>
                            <a:schemeClr val="bg1"/>
                          </a:solidFill>
                          <a:effectLst/>
                          <a:latin typeface="Arial"/>
                        </a:rPr>
                        <a:t>Morningstar Rating (Overall)</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900" b="0" i="0" u="none" strike="noStrike" dirty="0">
                          <a:solidFill>
                            <a:schemeClr val="tx1"/>
                          </a:solidFill>
                          <a:effectLst/>
                          <a:latin typeface="Wingding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0"/>
                  </a:ext>
                </a:extLst>
              </a:tr>
              <a:tr h="171450">
                <a:tc gridSpan="2">
                  <a:txBody>
                    <a:bodyPr/>
                    <a:lstStyle/>
                    <a:p>
                      <a:pPr algn="l" fontAlgn="t"/>
                      <a:r>
                        <a:rPr lang="it-IT" sz="900" b="0" i="0" u="none" strike="noStrike" dirty="0">
                          <a:solidFill>
                            <a:schemeClr val="tx1"/>
                          </a:solidFill>
                          <a:effectLst/>
                          <a:latin typeface="+mn-lt"/>
                        </a:rPr>
                        <a:t>(Amundi Fds Eq Europe Conservative - IE (C))</a:t>
                      </a:r>
                    </a:p>
                    <a:p>
                      <a:pPr algn="l" fontAlgn="t"/>
                      <a:endParaRPr lang="it-IT" sz="900" b="0" i="0" u="none" strike="noStrike" dirty="0">
                        <a:solidFill>
                          <a:schemeClr val="tx1"/>
                        </a:solidFill>
                        <a:effectLst/>
                        <a:latin typeface="Arial"/>
                      </a:endParaRPr>
                    </a:p>
                  </a:txBody>
                  <a:tcPr marL="9525" marR="9525" marT="952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 xmlns:a16="http://schemas.microsoft.com/office/drawing/2014/main" val="10001"/>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281673150"/>
              </p:ext>
            </p:extLst>
          </p:nvPr>
        </p:nvGraphicFramePr>
        <p:xfrm>
          <a:off x="541821" y="3647041"/>
          <a:ext cx="4301107" cy="1894889"/>
        </p:xfrm>
        <a:graphic>
          <a:graphicData uri="http://schemas.openxmlformats.org/drawingml/2006/table">
            <a:tbl>
              <a:tblPr/>
              <a:tblGrid>
                <a:gridCol w="1302889">
                  <a:extLst>
                    <a:ext uri="{9D8B030D-6E8A-4147-A177-3AD203B41FA5}">
                      <a16:colId xmlns="" xmlns:a16="http://schemas.microsoft.com/office/drawing/2014/main" val="20000"/>
                    </a:ext>
                  </a:extLst>
                </a:gridCol>
                <a:gridCol w="499863">
                  <a:extLst>
                    <a:ext uri="{9D8B030D-6E8A-4147-A177-3AD203B41FA5}">
                      <a16:colId xmlns="" xmlns:a16="http://schemas.microsoft.com/office/drawing/2014/main" val="20001"/>
                    </a:ext>
                  </a:extLst>
                </a:gridCol>
                <a:gridCol w="579602">
                  <a:extLst>
                    <a:ext uri="{9D8B030D-6E8A-4147-A177-3AD203B41FA5}">
                      <a16:colId xmlns="" xmlns:a16="http://schemas.microsoft.com/office/drawing/2014/main" val="20002"/>
                    </a:ext>
                  </a:extLst>
                </a:gridCol>
                <a:gridCol w="612360">
                  <a:extLst>
                    <a:ext uri="{9D8B030D-6E8A-4147-A177-3AD203B41FA5}">
                      <a16:colId xmlns="" xmlns:a16="http://schemas.microsoft.com/office/drawing/2014/main" val="20003"/>
                    </a:ext>
                  </a:extLst>
                </a:gridCol>
                <a:gridCol w="439535">
                  <a:extLst>
                    <a:ext uri="{9D8B030D-6E8A-4147-A177-3AD203B41FA5}">
                      <a16:colId xmlns="" xmlns:a16="http://schemas.microsoft.com/office/drawing/2014/main" val="20004"/>
                    </a:ext>
                  </a:extLst>
                </a:gridCol>
                <a:gridCol w="866858">
                  <a:extLst>
                    <a:ext uri="{9D8B030D-6E8A-4147-A177-3AD203B41FA5}">
                      <a16:colId xmlns="" xmlns:a16="http://schemas.microsoft.com/office/drawing/2014/main" val="20005"/>
                    </a:ext>
                  </a:extLst>
                </a:gridCol>
              </a:tblGrid>
              <a:tr h="382071">
                <a:tc>
                  <a:txBody>
                    <a:bodyPr/>
                    <a:lstStyle/>
                    <a:p>
                      <a:pPr algn="l" rtl="0" fontAlgn="ctr"/>
                      <a:r>
                        <a:rPr lang="en-US" sz="800" b="1" i="0" u="none" strike="noStrike" dirty="0" smtClean="0">
                          <a:solidFill>
                            <a:schemeClr val="bg1"/>
                          </a:solidFill>
                          <a:effectLst/>
                          <a:latin typeface="+mn-lt"/>
                        </a:rPr>
                        <a:t>Gross annualized performance in</a:t>
                      </a:r>
                      <a:br>
                        <a:rPr lang="en-US" sz="800" b="1" i="0" u="none" strike="noStrike" dirty="0" smtClean="0">
                          <a:solidFill>
                            <a:schemeClr val="bg1"/>
                          </a:solidFill>
                          <a:effectLst/>
                          <a:latin typeface="+mn-lt"/>
                        </a:rPr>
                      </a:br>
                      <a:r>
                        <a:rPr lang="en-US" sz="800" b="1" i="0" u="none" strike="noStrike" dirty="0" smtClean="0">
                          <a:solidFill>
                            <a:schemeClr val="bg1"/>
                          </a:solidFill>
                          <a:effectLst/>
                          <a:latin typeface="+mn-lt"/>
                        </a:rPr>
                        <a:t>EUR as of</a:t>
                      </a:r>
                      <a:r>
                        <a:rPr lang="en-US" sz="800" b="1" i="0" u="none" strike="noStrike" baseline="0" dirty="0" smtClean="0">
                          <a:solidFill>
                            <a:schemeClr val="bg1"/>
                          </a:solidFill>
                          <a:effectLst/>
                          <a:latin typeface="+mn-lt"/>
                        </a:rPr>
                        <a:t> 31</a:t>
                      </a:r>
                      <a:r>
                        <a:rPr lang="en-US" sz="800" b="1" i="0" u="none" strike="noStrike" dirty="0" smtClean="0">
                          <a:solidFill>
                            <a:schemeClr val="bg1"/>
                          </a:solidFill>
                          <a:effectLst/>
                          <a:latin typeface="+mn-lt"/>
                        </a:rPr>
                        <a:t>/01/2018</a:t>
                      </a:r>
                      <a:endParaRPr lang="en-US" sz="800" b="1" i="0" u="none" strike="noStrike" dirty="0">
                        <a:solidFill>
                          <a:schemeClr val="bg1"/>
                        </a:solidFill>
                        <a:effectLst/>
                        <a:latin typeface="+mn-lt"/>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800" b="1" i="0" u="none" strike="noStrike" dirty="0">
                          <a:solidFill>
                            <a:schemeClr val="bg1"/>
                          </a:solidFill>
                          <a:effectLst/>
                          <a:latin typeface="Arial"/>
                        </a:rPr>
                        <a:t>YTD</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chemeClr val="bg1"/>
                          </a:solidFill>
                          <a:effectLst/>
                          <a:latin typeface="Arial"/>
                        </a:rPr>
                        <a:t>1 year</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chemeClr val="bg1"/>
                          </a:solidFill>
                          <a:effectLst/>
                          <a:latin typeface="Arial"/>
                        </a:rPr>
                        <a:t>3 yea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chemeClr val="bg1"/>
                          </a:solidFill>
                          <a:effectLst/>
                          <a:latin typeface="Arial"/>
                        </a:rPr>
                        <a:t>5 yea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US" sz="800" b="1" i="0" u="none" strike="noStrike" dirty="0" smtClean="0">
                          <a:solidFill>
                            <a:schemeClr val="bg1"/>
                          </a:solidFill>
                          <a:effectLst/>
                          <a:latin typeface="Arial"/>
                        </a:rPr>
                        <a:t>Since inception </a:t>
                      </a:r>
                      <a:r>
                        <a:rPr lang="en-US" sz="800" b="1" i="0" u="none" strike="noStrike" dirty="0">
                          <a:solidFill>
                            <a:schemeClr val="bg1"/>
                          </a:solidFill>
                          <a:effectLst/>
                          <a:latin typeface="Arial"/>
                        </a:rPr>
                        <a:t>(29/04/2009)</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0"/>
                  </a:ext>
                </a:extLst>
              </a:tr>
              <a:tr h="59329">
                <a:tc>
                  <a:txBody>
                    <a:bodyPr/>
                    <a:lstStyle/>
                    <a:p>
                      <a:pPr algn="l" fontAlgn="ctr"/>
                      <a:r>
                        <a:rPr lang="en-US" sz="800" b="0" i="0" u="none" strike="noStrike" dirty="0">
                          <a:solidFill>
                            <a:schemeClr val="tx1"/>
                          </a:solidFill>
                          <a:effectLst/>
                          <a:latin typeface="Arial"/>
                        </a:rPr>
                        <a:t>Portfolio</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7.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3.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1"/>
                  </a:ext>
                </a:extLst>
              </a:tr>
              <a:tr h="135144">
                <a:tc>
                  <a:txBody>
                    <a:bodyPr/>
                    <a:lstStyle/>
                    <a:p>
                      <a:pPr algn="l" fontAlgn="ctr"/>
                      <a:r>
                        <a:rPr lang="en-US" sz="800" b="0" i="0" u="none" strike="noStrike" dirty="0">
                          <a:solidFill>
                            <a:schemeClr val="tx1"/>
                          </a:solidFill>
                          <a:effectLst/>
                          <a:latin typeface="Arial"/>
                        </a:rPr>
                        <a:t>Benchmark</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2.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5.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9.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0.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2"/>
                  </a:ext>
                </a:extLst>
              </a:tr>
              <a:tr h="135144">
                <a:tc>
                  <a:txBody>
                    <a:bodyPr/>
                    <a:lstStyle/>
                    <a:p>
                      <a:pPr algn="l" fontAlgn="ctr"/>
                      <a:r>
                        <a:rPr lang="en-US" sz="800" b="0" i="0" u="none" strike="noStrike" dirty="0">
                          <a:solidFill>
                            <a:schemeClr val="tx1"/>
                          </a:solidFill>
                          <a:effectLst/>
                          <a:latin typeface="Arial"/>
                        </a:rPr>
                        <a:t>Excess Return </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2.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3"/>
                  </a:ext>
                </a:extLst>
              </a:tr>
              <a:tr h="135144">
                <a:tc>
                  <a:txBody>
                    <a:bodyPr/>
                    <a:lstStyle/>
                    <a:p>
                      <a:pPr algn="l" rtl="0" fontAlgn="ctr"/>
                      <a:r>
                        <a:rPr lang="en-US" sz="800" b="1" i="0" u="none" strike="noStrike" dirty="0">
                          <a:solidFill>
                            <a:schemeClr val="bg1"/>
                          </a:solidFill>
                          <a:effectLst/>
                          <a:latin typeface="Arial"/>
                        </a:rPr>
                        <a:t>Risk Indicato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ctr" defTabSz="914400" rtl="0" eaLnBrk="1" fontAlgn="ctr" latinLnBrk="0" hangingPunct="1"/>
                      <a:r>
                        <a:rPr lang="en-US" sz="800" b="0" i="0" u="none" strike="noStrike" kern="1200" dirty="0">
                          <a:solidFill>
                            <a:schemeClr val="tx1"/>
                          </a:solidFill>
                          <a:effectLst/>
                          <a:latin typeface="Arial"/>
                          <a:ea typeface="+mn-ea"/>
                          <a:cs typeface="+mn-cs"/>
                        </a:rPr>
                        <a:t> </a:t>
                      </a:r>
                      <a:r>
                        <a:rPr lang="en-US" sz="800" b="1" i="0" u="none" strike="noStrike" dirty="0" smtClean="0">
                          <a:solidFill>
                            <a:schemeClr val="bg1"/>
                          </a:solidFill>
                          <a:effectLst/>
                          <a:latin typeface="+mn-lt"/>
                        </a:rPr>
                        <a:t>YTD</a:t>
                      </a:r>
                      <a:endParaRPr lang="en-US" sz="800" b="0" i="0" u="none" strike="noStrike" kern="1200" dirty="0">
                        <a:solidFill>
                          <a:schemeClr val="tx1"/>
                        </a:solidFill>
                        <a:effectLst/>
                        <a:latin typeface="Arial"/>
                        <a:ea typeface="+mn-ea"/>
                        <a:cs typeface="+mn-cs"/>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800" b="1" i="0" u="none" strike="noStrike" kern="1200" dirty="0">
                          <a:solidFill>
                            <a:schemeClr val="bg1"/>
                          </a:solidFill>
                          <a:effectLst/>
                          <a:latin typeface="Arial"/>
                          <a:ea typeface="+mn-ea"/>
                          <a:cs typeface="+mn-cs"/>
                        </a:rPr>
                        <a:t>1 year</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800" b="1" i="0" u="none" strike="noStrike" kern="1200" dirty="0">
                          <a:solidFill>
                            <a:schemeClr val="bg1"/>
                          </a:solidFill>
                          <a:effectLst/>
                          <a:latin typeface="Arial"/>
                          <a:ea typeface="+mn-ea"/>
                          <a:cs typeface="+mn-cs"/>
                        </a:rPr>
                        <a:t>3 yea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800" b="1" i="0" u="none" strike="noStrike" kern="1200" dirty="0">
                          <a:solidFill>
                            <a:schemeClr val="bg1"/>
                          </a:solidFill>
                          <a:effectLst/>
                          <a:latin typeface="Arial"/>
                          <a:ea typeface="+mn-ea"/>
                          <a:cs typeface="+mn-cs"/>
                        </a:rPr>
                        <a:t>5 yea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800" b="1" i="0" u="none" strike="noStrike" kern="1200" dirty="0" smtClean="0">
                          <a:solidFill>
                            <a:schemeClr val="bg1"/>
                          </a:solidFill>
                          <a:effectLst/>
                          <a:latin typeface="Arial"/>
                          <a:ea typeface="+mn-ea"/>
                          <a:cs typeface="+mn-cs"/>
                        </a:rPr>
                        <a:t>Since inception</a:t>
                      </a:r>
                      <a:r>
                        <a:rPr lang="en-US" sz="800" b="0" i="0" u="none" strike="noStrike" kern="1200" dirty="0">
                          <a:solidFill>
                            <a:schemeClr val="tx1"/>
                          </a:solidFill>
                          <a:effectLst/>
                          <a:latin typeface="Arial"/>
                          <a:ea typeface="+mn-ea"/>
                          <a:cs typeface="+mn-cs"/>
                        </a:rPr>
                        <a:t> </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4"/>
                  </a:ext>
                </a:extLst>
              </a:tr>
              <a:tr h="64622">
                <a:tc>
                  <a:txBody>
                    <a:bodyPr/>
                    <a:lstStyle/>
                    <a:p>
                      <a:pPr algn="l" rtl="0" fontAlgn="ctr"/>
                      <a:r>
                        <a:rPr lang="en-US" sz="800" b="0" i="0" u="none" strike="noStrike" dirty="0">
                          <a:solidFill>
                            <a:schemeClr val="tx1"/>
                          </a:solidFill>
                          <a:effectLst/>
                          <a:latin typeface="Arial"/>
                        </a:rPr>
                        <a:t>Portfolio Volatility</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7.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3.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2.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2.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5"/>
                  </a:ext>
                </a:extLst>
              </a:tr>
              <a:tr h="158994">
                <a:tc>
                  <a:txBody>
                    <a:bodyPr/>
                    <a:lstStyle/>
                    <a:p>
                      <a:pPr algn="l" rtl="0" fontAlgn="ctr"/>
                      <a:r>
                        <a:rPr lang="en-US" sz="800" b="0" i="0" u="none" strike="noStrike" dirty="0">
                          <a:solidFill>
                            <a:schemeClr val="tx1"/>
                          </a:solidFill>
                          <a:effectLst/>
                          <a:latin typeface="Arial"/>
                        </a:rPr>
                        <a:t>Benchmark Volatility</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7.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7.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4.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4.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6.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6"/>
                  </a:ext>
                </a:extLst>
              </a:tr>
              <a:tr h="135144">
                <a:tc>
                  <a:txBody>
                    <a:bodyPr/>
                    <a:lstStyle/>
                    <a:p>
                      <a:pPr algn="l" rtl="0" fontAlgn="ctr"/>
                      <a:r>
                        <a:rPr lang="en-US" sz="800" b="0" i="0" u="none" strike="noStrike" dirty="0">
                          <a:solidFill>
                            <a:schemeClr val="tx1"/>
                          </a:solidFill>
                          <a:effectLst/>
                          <a:latin typeface="Arial"/>
                        </a:rPr>
                        <a:t>Ex-post Tracking Error</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6.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7"/>
                  </a:ext>
                </a:extLst>
              </a:tr>
              <a:tr h="135144">
                <a:tc>
                  <a:txBody>
                    <a:bodyPr/>
                    <a:lstStyle/>
                    <a:p>
                      <a:pPr algn="l" rtl="0" fontAlgn="ctr"/>
                      <a:r>
                        <a:rPr lang="en-US" sz="800" b="0" i="0" u="none" strike="noStrike" dirty="0">
                          <a:solidFill>
                            <a:schemeClr val="tx1"/>
                          </a:solidFill>
                          <a:effectLst/>
                          <a:latin typeface="Arial"/>
                        </a:rPr>
                        <a:t>Portfolio Max drawdown </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6.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8"/>
                  </a:ext>
                </a:extLst>
              </a:tr>
              <a:tr h="135144">
                <a:tc>
                  <a:txBody>
                    <a:bodyPr/>
                    <a:lstStyle/>
                    <a:p>
                      <a:pPr algn="l" rtl="0" fontAlgn="ctr"/>
                      <a:r>
                        <a:rPr lang="en-US" sz="800" b="0" i="0" u="none" strike="noStrike">
                          <a:solidFill>
                            <a:schemeClr val="tx1"/>
                          </a:solidFill>
                          <a:effectLst/>
                          <a:latin typeface="Arial"/>
                        </a:rPr>
                        <a:t>Benchmark Max drawdown</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6.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25.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25.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25.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9"/>
                  </a:ext>
                </a:extLst>
              </a:tr>
              <a:tr h="133120">
                <a:tc>
                  <a:txBody>
                    <a:bodyPr/>
                    <a:lstStyle/>
                    <a:p>
                      <a:pPr algn="l" rtl="0" fontAlgn="ctr"/>
                      <a:r>
                        <a:rPr lang="en-US" sz="800" b="0" i="0" u="none" strike="noStrike">
                          <a:solidFill>
                            <a:schemeClr val="tx1"/>
                          </a:solidFill>
                          <a:effectLst/>
                          <a:latin typeface="Arial"/>
                        </a:rPr>
                        <a:t>Portfolio Return to Risk</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2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6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5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9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0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10"/>
                  </a:ext>
                </a:extLst>
              </a:tr>
              <a:tr h="146950">
                <a:tc>
                  <a:txBody>
                    <a:bodyPr/>
                    <a:lstStyle/>
                    <a:p>
                      <a:pPr algn="l" rtl="0" fontAlgn="ctr"/>
                      <a:r>
                        <a:rPr lang="en-US" sz="800" b="0" i="0" u="none" strike="noStrike" dirty="0">
                          <a:solidFill>
                            <a:schemeClr val="tx1"/>
                          </a:solidFill>
                          <a:effectLst/>
                          <a:latin typeface="Arial"/>
                        </a:rPr>
                        <a:t>Benchmark Return to Risk</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2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6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3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6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7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11"/>
                  </a:ext>
                </a:extLst>
              </a:tr>
            </a:tbl>
          </a:graphicData>
        </a:graphic>
      </p:graphicFrame>
      <p:graphicFrame>
        <p:nvGraphicFramePr>
          <p:cNvPr id="18" name="Table 14">
            <a:extLst>
              <a:ext uri="{FF2B5EF4-FFF2-40B4-BE49-F238E27FC236}">
                <a16:creationId xmlns="" xmlns:a16="http://schemas.microsoft.com/office/drawing/2014/main" id="{C74D7DCB-D361-4BCC-9AA7-1570951DD876}"/>
              </a:ext>
            </a:extLst>
          </p:cNvPr>
          <p:cNvGraphicFramePr>
            <a:graphicFrameLocks noGrp="1"/>
          </p:cNvGraphicFramePr>
          <p:nvPr>
            <p:extLst>
              <p:ext uri="{D42A27DB-BD31-4B8C-83A1-F6EECF244321}">
                <p14:modId xmlns:p14="http://schemas.microsoft.com/office/powerpoint/2010/main" val="3250419276"/>
              </p:ext>
            </p:extLst>
          </p:nvPr>
        </p:nvGraphicFramePr>
        <p:xfrm>
          <a:off x="5010109" y="3647041"/>
          <a:ext cx="2379736" cy="382071"/>
        </p:xfrm>
        <a:graphic>
          <a:graphicData uri="http://schemas.openxmlformats.org/drawingml/2006/table">
            <a:tbl>
              <a:tblPr/>
              <a:tblGrid>
                <a:gridCol w="1544630">
                  <a:extLst>
                    <a:ext uri="{9D8B030D-6E8A-4147-A177-3AD203B41FA5}">
                      <a16:colId xmlns="" xmlns:a16="http://schemas.microsoft.com/office/drawing/2014/main" val="20001"/>
                    </a:ext>
                  </a:extLst>
                </a:gridCol>
                <a:gridCol w="835106">
                  <a:extLst>
                    <a:ext uri="{9D8B030D-6E8A-4147-A177-3AD203B41FA5}">
                      <a16:colId xmlns="" xmlns:a16="http://schemas.microsoft.com/office/drawing/2014/main" val="20002"/>
                    </a:ext>
                  </a:extLst>
                </a:gridCol>
              </a:tblGrid>
              <a:tr h="382071">
                <a:tc>
                  <a:txBody>
                    <a:bodyPr/>
                    <a:lstStyle/>
                    <a:p>
                      <a:pPr algn="ctr" fontAlgn="ctr"/>
                      <a:r>
                        <a:rPr lang="en-US" sz="800" b="1" i="0" u="none" strike="noStrike" dirty="0" err="1" smtClean="0">
                          <a:solidFill>
                            <a:schemeClr val="bg1"/>
                          </a:solidFill>
                          <a:effectLst/>
                          <a:latin typeface="+mn-lt"/>
                        </a:rPr>
                        <a:t>AuM</a:t>
                      </a:r>
                      <a:r>
                        <a:rPr lang="en-US" sz="800" b="1" i="0" u="none" strike="noStrike" dirty="0" smtClean="0">
                          <a:solidFill>
                            <a:schemeClr val="bg1"/>
                          </a:solidFill>
                          <a:effectLst/>
                          <a:latin typeface="+mn-lt"/>
                        </a:rPr>
                        <a:t> (€M)</a:t>
                      </a:r>
                      <a:endParaRPr lang="en-US" sz="800" b="1" i="0" u="none" strike="noStrike" dirty="0">
                        <a:solidFill>
                          <a:schemeClr val="bg1"/>
                        </a:solidFill>
                        <a:effectLst/>
                        <a:latin typeface="Arial"/>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fr-FR" sz="800" b="0" i="0" u="none" strike="noStrike" kern="1200" dirty="0" smtClean="0">
                          <a:solidFill>
                            <a:schemeClr val="tx1"/>
                          </a:solidFill>
                          <a:effectLst/>
                          <a:latin typeface="Arial"/>
                          <a:ea typeface="+mn-ea"/>
                          <a:cs typeface="+mn-cs"/>
                        </a:rPr>
                        <a:t>851</a:t>
                      </a:r>
                      <a:endParaRPr lang="en-US" sz="800" b="0" i="0" u="none" strike="noStrike" kern="1200" dirty="0">
                        <a:solidFill>
                          <a:schemeClr val="tx1"/>
                        </a:solidFill>
                        <a:effectLst/>
                        <a:latin typeface="Arial"/>
                        <a:ea typeface="+mn-ea"/>
                        <a:cs typeface="+mn-cs"/>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0"/>
                  </a:ext>
                </a:extLst>
              </a:tr>
            </a:tbl>
          </a:graphicData>
        </a:graphic>
      </p:graphicFrame>
      <p:sp>
        <p:nvSpPr>
          <p:cNvPr id="3" name="Espace réservé du pied de page 2"/>
          <p:cNvSpPr>
            <a:spLocks noGrp="1"/>
          </p:cNvSpPr>
          <p:nvPr>
            <p:ph type="ftr" sz="quarter" idx="11"/>
          </p:nvPr>
        </p:nvSpPr>
        <p:spPr/>
        <p:txBody>
          <a:bodyPr/>
          <a:lstStyle/>
          <a:p>
            <a:r>
              <a:rPr lang="it-IT" dirty="0" smtClean="0">
                <a:solidFill>
                  <a:srgbClr val="003C64"/>
                </a:solidFill>
              </a:rPr>
              <a:t>Smart Beta - </a:t>
            </a:r>
            <a:r>
              <a:rPr lang="it-IT" dirty="0" err="1" smtClean="0">
                <a:solidFill>
                  <a:srgbClr val="003C64"/>
                </a:solidFill>
              </a:rPr>
              <a:t>Investment</a:t>
            </a:r>
            <a:r>
              <a:rPr lang="it-IT" dirty="0" smtClean="0">
                <a:solidFill>
                  <a:srgbClr val="003C64"/>
                </a:solidFill>
              </a:rPr>
              <a:t> Solutions</a:t>
            </a:r>
            <a:endParaRPr lang="fr-FR" dirty="0">
              <a:solidFill>
                <a:srgbClr val="003C64"/>
              </a:solidFill>
            </a:endParaRPr>
          </a:p>
        </p:txBody>
      </p:sp>
      <p:graphicFrame>
        <p:nvGraphicFramePr>
          <p:cNvPr id="12" name="Chart 1"/>
          <p:cNvGraphicFramePr>
            <a:graphicFrameLocks/>
          </p:cNvGraphicFramePr>
          <p:nvPr>
            <p:extLst>
              <p:ext uri="{D42A27DB-BD31-4B8C-83A1-F6EECF244321}">
                <p14:modId xmlns:p14="http://schemas.microsoft.com/office/powerpoint/2010/main" val="4142516911"/>
              </p:ext>
            </p:extLst>
          </p:nvPr>
        </p:nvGraphicFramePr>
        <p:xfrm>
          <a:off x="504063" y="1281557"/>
          <a:ext cx="4006850" cy="24659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
          <p:cNvGraphicFramePr>
            <a:graphicFrameLocks/>
          </p:cNvGraphicFramePr>
          <p:nvPr>
            <p:extLst>
              <p:ext uri="{D42A27DB-BD31-4B8C-83A1-F6EECF244321}">
                <p14:modId xmlns:p14="http://schemas.microsoft.com/office/powerpoint/2010/main" val="996328944"/>
              </p:ext>
            </p:extLst>
          </p:nvPr>
        </p:nvGraphicFramePr>
        <p:xfrm>
          <a:off x="4712463" y="1342771"/>
          <a:ext cx="3891661" cy="2123948"/>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3642553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Europe Conservative – Portfolio views</a:t>
            </a:r>
            <a:endParaRPr lang="en-GB" dirty="0"/>
          </a:p>
        </p:txBody>
      </p:sp>
      <p:sp>
        <p:nvSpPr>
          <p:cNvPr id="24" name="Espace réservé du numéro de diapositive 6"/>
          <p:cNvSpPr>
            <a:spLocks noGrp="1"/>
          </p:cNvSpPr>
          <p:nvPr>
            <p:ph type="sldNum" sz="quarter" idx="12"/>
          </p:nvPr>
        </p:nvSpPr>
        <p:spPr/>
        <p:txBody>
          <a:bodyPr/>
          <a:lstStyle/>
          <a:p>
            <a:fld id="{C12E7156-0CA6-462A-9A46-AEFB5E440988}" type="slidenum">
              <a:rPr lang="fr-BE" smtClean="0"/>
              <a:pPr/>
              <a:t>57</a:t>
            </a:fld>
            <a:endParaRPr lang="fr-BE" dirty="0"/>
          </a:p>
        </p:txBody>
      </p:sp>
      <p:sp>
        <p:nvSpPr>
          <p:cNvPr id="20" name="Espace réservé du texte 19">
            <a:extLst>
              <a:ext uri="{FF2B5EF4-FFF2-40B4-BE49-F238E27FC236}">
                <a16:creationId xmlns="" xmlns:a16="http://schemas.microsoft.com/office/drawing/2014/main" id="{E4B8BB87-2AD9-47E6-861D-756E23D68744}"/>
              </a:ext>
            </a:extLst>
          </p:cNvPr>
          <p:cNvSpPr>
            <a:spLocks noGrp="1"/>
          </p:cNvSpPr>
          <p:nvPr>
            <p:ph type="body" sz="quarter" idx="14"/>
          </p:nvPr>
        </p:nvSpPr>
        <p:spPr/>
        <p:txBody>
          <a:bodyPr/>
          <a:lstStyle/>
          <a:p>
            <a:pPr algn="l"/>
            <a:r>
              <a:rPr lang="en-US" dirty="0"/>
              <a:t>Source: Amundi </a:t>
            </a:r>
            <a:r>
              <a:rPr lang="en-US" dirty="0" smtClean="0"/>
              <a:t>AM. 31/01/2018</a:t>
            </a:r>
            <a:r>
              <a:rPr lang="en-US" dirty="0"/>
              <a:t/>
            </a:r>
            <a:br>
              <a:rPr lang="en-US" dirty="0"/>
            </a:br>
            <a:r>
              <a:rPr lang="en-US" dirty="0"/>
              <a:t>Morningstar Rating Overall of the IE share class as of </a:t>
            </a:r>
            <a:r>
              <a:rPr lang="en-US" dirty="0" smtClean="0"/>
              <a:t>January 2018</a:t>
            </a:r>
            <a:endParaRPr lang="en-US" dirty="0"/>
          </a:p>
        </p:txBody>
      </p:sp>
      <p:graphicFrame>
        <p:nvGraphicFramePr>
          <p:cNvPr id="23" name="Table 22"/>
          <p:cNvGraphicFramePr>
            <a:graphicFrameLocks noGrp="1"/>
          </p:cNvGraphicFramePr>
          <p:nvPr>
            <p:extLst>
              <p:ext uri="{D42A27DB-BD31-4B8C-83A1-F6EECF244321}">
                <p14:modId xmlns:p14="http://schemas.microsoft.com/office/powerpoint/2010/main" val="4291636331"/>
              </p:ext>
            </p:extLst>
          </p:nvPr>
        </p:nvGraphicFramePr>
        <p:xfrm>
          <a:off x="720000" y="3844899"/>
          <a:ext cx="3663521" cy="1917873"/>
        </p:xfrm>
        <a:graphic>
          <a:graphicData uri="http://schemas.openxmlformats.org/drawingml/2006/table">
            <a:tbl>
              <a:tblPr/>
              <a:tblGrid>
                <a:gridCol w="2007488">
                  <a:extLst>
                    <a:ext uri="{9D8B030D-6E8A-4147-A177-3AD203B41FA5}">
                      <a16:colId xmlns="" xmlns:a16="http://schemas.microsoft.com/office/drawing/2014/main" val="20000"/>
                    </a:ext>
                  </a:extLst>
                </a:gridCol>
                <a:gridCol w="825760">
                  <a:extLst>
                    <a:ext uri="{9D8B030D-6E8A-4147-A177-3AD203B41FA5}">
                      <a16:colId xmlns="" xmlns:a16="http://schemas.microsoft.com/office/drawing/2014/main" val="20003"/>
                    </a:ext>
                  </a:extLst>
                </a:gridCol>
                <a:gridCol w="830273">
                  <a:extLst>
                    <a:ext uri="{9D8B030D-6E8A-4147-A177-3AD203B41FA5}">
                      <a16:colId xmlns="" xmlns:a16="http://schemas.microsoft.com/office/drawing/2014/main" val="1028209695"/>
                    </a:ext>
                  </a:extLst>
                </a:gridCol>
              </a:tblGrid>
              <a:tr h="330852">
                <a:tc>
                  <a:txBody>
                    <a:bodyPr/>
                    <a:lstStyle/>
                    <a:p>
                      <a:pPr algn="ctr" rtl="0" fontAlgn="ctr"/>
                      <a:r>
                        <a:rPr lang="en-US" sz="800" b="1" i="0" u="none" strike="noStrike" dirty="0">
                          <a:solidFill>
                            <a:schemeClr val="bg1"/>
                          </a:solidFill>
                          <a:effectLst/>
                          <a:latin typeface="+mn-lt"/>
                        </a:rPr>
                        <a:t>As of </a:t>
                      </a:r>
                      <a:r>
                        <a:rPr lang="en-US" sz="900" b="1" i="0" u="none" strike="noStrike" dirty="0" smtClean="0">
                          <a:solidFill>
                            <a:schemeClr val="bg1"/>
                          </a:solidFill>
                          <a:effectLst/>
                          <a:latin typeface="+mn-lt"/>
                        </a:rPr>
                        <a:t>31/01/2018</a:t>
                      </a:r>
                      <a:endParaRPr lang="en-US" sz="800" b="1" i="0" u="none" strike="noStrike" dirty="0">
                        <a:solidFill>
                          <a:schemeClr val="bg1"/>
                        </a:solidFill>
                        <a:effectLst/>
                        <a:latin typeface="+mn-lt"/>
                      </a:endParaRPr>
                    </a:p>
                  </a:txBody>
                  <a:tcPr marL="7706" marR="7706" marT="770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900" b="1" i="0" u="none" strike="noStrike" dirty="0" smtClean="0">
                          <a:solidFill>
                            <a:schemeClr val="bg1"/>
                          </a:solidFill>
                          <a:effectLst/>
                          <a:latin typeface="+mn-lt"/>
                        </a:rPr>
                        <a:t>AFE Europe </a:t>
                      </a:r>
                      <a:r>
                        <a:rPr lang="en-US" sz="900" b="1" i="0" u="none" strike="noStrike" dirty="0">
                          <a:solidFill>
                            <a:schemeClr val="bg1"/>
                          </a:solidFill>
                          <a:effectLst/>
                          <a:latin typeface="+mn-lt"/>
                        </a:rPr>
                        <a:t>Conservative</a:t>
                      </a:r>
                    </a:p>
                  </a:txBody>
                  <a:tcPr marL="7706" marR="7706" marT="770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chemeClr val="bg1"/>
                          </a:solidFill>
                          <a:effectLst/>
                          <a:latin typeface="+mn-lt"/>
                        </a:rPr>
                        <a:t>MSCI Europe</a:t>
                      </a:r>
                    </a:p>
                  </a:txBody>
                  <a:tcPr marL="7706" marR="7706" marT="770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 xmlns:a16="http://schemas.microsoft.com/office/drawing/2014/main" val="10000"/>
                  </a:ext>
                </a:extLst>
              </a:tr>
              <a:tr h="172729">
                <a:tc>
                  <a:txBody>
                    <a:bodyPr/>
                    <a:lstStyle/>
                    <a:p>
                      <a:pPr algn="l" fontAlgn="b"/>
                      <a:r>
                        <a:rPr lang="en-US" sz="900" b="0" i="0" u="none" strike="noStrike">
                          <a:solidFill>
                            <a:srgbClr val="002060"/>
                          </a:solidFill>
                          <a:effectLst/>
                          <a:latin typeface="Arial"/>
                        </a:rPr>
                        <a:t>NOVO NORDISK A/S</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b"/>
                      <a:r>
                        <a:rPr lang="en-US" sz="900" b="0" i="0" u="none" strike="noStrike">
                          <a:solidFill>
                            <a:srgbClr val="002060"/>
                          </a:solidFill>
                          <a:effectLst/>
                          <a:latin typeface="Arial"/>
                        </a:rPr>
                        <a:t>2.5%</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b"/>
                      <a:r>
                        <a:rPr lang="en-US" sz="900" b="0" i="0" u="none" strike="noStrike">
                          <a:solidFill>
                            <a:srgbClr val="002060"/>
                          </a:solidFill>
                          <a:effectLst/>
                          <a:latin typeface="Arial"/>
                        </a:rPr>
                        <a:t>1.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1"/>
                  </a:ext>
                </a:extLst>
              </a:tr>
              <a:tr h="167640">
                <a:tc>
                  <a:txBody>
                    <a:bodyPr/>
                    <a:lstStyle/>
                    <a:p>
                      <a:pPr algn="l" fontAlgn="b"/>
                      <a:r>
                        <a:rPr lang="en-US" sz="900" b="0" i="0" u="none" strike="noStrike">
                          <a:solidFill>
                            <a:srgbClr val="002060"/>
                          </a:solidFill>
                          <a:effectLst/>
                          <a:latin typeface="Arial"/>
                        </a:rPr>
                        <a:t>SWISSCOM A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900" b="0" i="0" u="none" strike="noStrike">
                          <a:solidFill>
                            <a:srgbClr val="002060"/>
                          </a:solidFill>
                          <a:effectLst/>
                          <a:latin typeface="Arial"/>
                        </a:rPr>
                        <a:t>2.4%</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900" b="0" i="0" u="none" strike="noStrike">
                          <a:solidFill>
                            <a:srgbClr val="002060"/>
                          </a:solidFill>
                          <a:effectLst/>
                          <a:latin typeface="Arial"/>
                        </a:rPr>
                        <a:t>0.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02"/>
                  </a:ext>
                </a:extLst>
              </a:tr>
              <a:tr h="132080">
                <a:tc>
                  <a:txBody>
                    <a:bodyPr/>
                    <a:lstStyle/>
                    <a:p>
                      <a:pPr algn="l" fontAlgn="b"/>
                      <a:r>
                        <a:rPr lang="en-US" sz="900" b="0" i="0" u="none" strike="noStrike">
                          <a:solidFill>
                            <a:srgbClr val="002060"/>
                          </a:solidFill>
                          <a:effectLst/>
                          <a:latin typeface="Arial"/>
                        </a:rPr>
                        <a:t>DIAGEO PLC</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b"/>
                      <a:r>
                        <a:rPr lang="en-US" sz="900" b="0" i="0" u="none" strike="noStrike">
                          <a:solidFill>
                            <a:srgbClr val="002060"/>
                          </a:solidFill>
                          <a:effectLst/>
                          <a:latin typeface="Arial"/>
                        </a:rPr>
                        <a:t>2.4%</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b"/>
                      <a:r>
                        <a:rPr lang="en-US" sz="900" b="0" i="0" u="none" strike="noStrike">
                          <a:solidFill>
                            <a:srgbClr val="002060"/>
                          </a:solidFill>
                          <a:effectLst/>
                          <a:latin typeface="Arial"/>
                        </a:rPr>
                        <a:t>0.9%</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3"/>
                  </a:ext>
                </a:extLst>
              </a:tr>
              <a:tr h="147615">
                <a:tc>
                  <a:txBody>
                    <a:bodyPr/>
                    <a:lstStyle/>
                    <a:p>
                      <a:pPr algn="l" fontAlgn="b"/>
                      <a:r>
                        <a:rPr lang="en-US" sz="900" b="0" i="0" u="none" strike="noStrike">
                          <a:solidFill>
                            <a:srgbClr val="002060"/>
                          </a:solidFill>
                          <a:effectLst/>
                          <a:latin typeface="Arial"/>
                        </a:rPr>
                        <a:t>VINCI SA</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900" b="0" i="0" u="none" strike="noStrike">
                          <a:solidFill>
                            <a:srgbClr val="002060"/>
                          </a:solidFill>
                          <a:effectLst/>
                          <a:latin typeface="Arial"/>
                        </a:rPr>
                        <a:t>2.4%</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900" b="0" i="0" u="none" strike="noStrike">
                          <a:solidFill>
                            <a:srgbClr val="002060"/>
                          </a:solidFill>
                          <a:effectLst/>
                          <a:latin typeface="Arial"/>
                        </a:rPr>
                        <a:t>0.5%</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04"/>
                  </a:ext>
                </a:extLst>
              </a:tr>
              <a:tr h="133546">
                <a:tc>
                  <a:txBody>
                    <a:bodyPr/>
                    <a:lstStyle/>
                    <a:p>
                      <a:pPr algn="l" fontAlgn="b"/>
                      <a:r>
                        <a:rPr lang="en-US" sz="900" b="0" i="0" u="none" strike="noStrike">
                          <a:solidFill>
                            <a:srgbClr val="002060"/>
                          </a:solidFill>
                          <a:effectLst/>
                          <a:latin typeface="Arial"/>
                        </a:rPr>
                        <a:t>HENKEL AG AND CO KGAA</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b"/>
                      <a:r>
                        <a:rPr lang="en-US" sz="900" b="0" i="0" u="none" strike="noStrike">
                          <a:solidFill>
                            <a:srgbClr val="002060"/>
                          </a:solidFill>
                          <a:effectLst/>
                          <a:latin typeface="Arial"/>
                        </a:rPr>
                        <a:t>2.3%</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b"/>
                      <a:r>
                        <a:rPr lang="en-US" sz="900" b="0" i="0" u="none" strike="noStrike">
                          <a:solidFill>
                            <a:srgbClr val="002060"/>
                          </a:solidFill>
                          <a:effectLst/>
                          <a:latin typeface="Arial"/>
                        </a:rPr>
                        <a:t>0.4%</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5"/>
                  </a:ext>
                </a:extLst>
              </a:tr>
              <a:tr h="135565">
                <a:tc>
                  <a:txBody>
                    <a:bodyPr/>
                    <a:lstStyle/>
                    <a:p>
                      <a:pPr algn="l" fontAlgn="b"/>
                      <a:r>
                        <a:rPr lang="en-US" sz="900" b="0" i="0" u="none" strike="noStrike">
                          <a:solidFill>
                            <a:srgbClr val="002060"/>
                          </a:solidFill>
                          <a:effectLst/>
                          <a:latin typeface="Arial"/>
                        </a:rPr>
                        <a:t>ENEL SPA</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900" b="0" i="0" u="none" strike="noStrike">
                          <a:solidFill>
                            <a:srgbClr val="002060"/>
                          </a:solidFill>
                          <a:effectLst/>
                          <a:latin typeface="Arial"/>
                        </a:rPr>
                        <a:t>2.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900" b="0" i="0" u="none" strike="noStrike">
                          <a:solidFill>
                            <a:srgbClr val="002060"/>
                          </a:solidFill>
                          <a:effectLst/>
                          <a:latin typeface="Arial"/>
                        </a:rPr>
                        <a:t>0.5%</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06"/>
                  </a:ext>
                </a:extLst>
              </a:tr>
              <a:tr h="126834">
                <a:tc>
                  <a:txBody>
                    <a:bodyPr/>
                    <a:lstStyle/>
                    <a:p>
                      <a:pPr algn="l" fontAlgn="b"/>
                      <a:r>
                        <a:rPr lang="fr-FR" sz="900" b="0" i="0" u="none" strike="noStrike">
                          <a:solidFill>
                            <a:srgbClr val="002060"/>
                          </a:solidFill>
                          <a:effectLst/>
                          <a:latin typeface="Arial"/>
                        </a:rPr>
                        <a:t>MICHELIN (CIE GALE DES ETABTS)</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b"/>
                      <a:r>
                        <a:rPr lang="en-US" sz="900" b="0" i="0" u="none" strike="noStrike">
                          <a:solidFill>
                            <a:srgbClr val="002060"/>
                          </a:solidFill>
                          <a:effectLst/>
                          <a:latin typeface="Arial"/>
                        </a:rPr>
                        <a:t>2.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b"/>
                      <a:r>
                        <a:rPr lang="en-US" sz="900" b="0" i="0" u="none" strike="noStrike">
                          <a:solidFill>
                            <a:srgbClr val="002060"/>
                          </a:solidFill>
                          <a:effectLst/>
                          <a:latin typeface="Arial"/>
                        </a:rPr>
                        <a:t>0.3%</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7"/>
                  </a:ext>
                </a:extLst>
              </a:tr>
              <a:tr h="138917">
                <a:tc>
                  <a:txBody>
                    <a:bodyPr/>
                    <a:lstStyle/>
                    <a:p>
                      <a:pPr algn="l" fontAlgn="b"/>
                      <a:r>
                        <a:rPr lang="en-US" sz="900" b="0" i="0" u="none" strike="noStrike" dirty="0">
                          <a:solidFill>
                            <a:srgbClr val="002060"/>
                          </a:solidFill>
                          <a:effectLst/>
                          <a:latin typeface="Arial"/>
                        </a:rPr>
                        <a:t>SANOFI</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900" b="0" i="0" u="none" strike="noStrike">
                          <a:solidFill>
                            <a:srgbClr val="002060"/>
                          </a:solidFill>
                          <a:effectLst/>
                          <a:latin typeface="Arial"/>
                        </a:rPr>
                        <a:t>2.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900" b="0" i="0" u="none" strike="noStrike">
                          <a:solidFill>
                            <a:srgbClr val="002060"/>
                          </a:solidFill>
                          <a:effectLst/>
                          <a:latin typeface="Arial"/>
                        </a:rPr>
                        <a:t>1.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08"/>
                  </a:ext>
                </a:extLst>
              </a:tr>
              <a:tr h="134397">
                <a:tc>
                  <a:txBody>
                    <a:bodyPr/>
                    <a:lstStyle/>
                    <a:p>
                      <a:pPr algn="l" fontAlgn="b"/>
                      <a:r>
                        <a:rPr lang="en-US" sz="900" b="0" i="0" u="none" strike="noStrike">
                          <a:solidFill>
                            <a:srgbClr val="002060"/>
                          </a:solidFill>
                          <a:effectLst/>
                          <a:latin typeface="Arial"/>
                        </a:rPr>
                        <a:t>BEIERSDORF A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b"/>
                      <a:r>
                        <a:rPr lang="en-US" sz="900" b="0" i="0" u="none" strike="noStrike">
                          <a:solidFill>
                            <a:srgbClr val="002060"/>
                          </a:solidFill>
                          <a:effectLst/>
                          <a:latin typeface="Arial"/>
                        </a:rPr>
                        <a:t>2.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b"/>
                      <a:r>
                        <a:rPr lang="en-US" sz="900" b="0" i="0" u="none" strike="noStrike" dirty="0">
                          <a:solidFill>
                            <a:srgbClr val="002060"/>
                          </a:solidFill>
                          <a:effectLst/>
                          <a:latin typeface="Arial"/>
                        </a:rPr>
                        <a:t>0.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9"/>
                  </a:ext>
                </a:extLst>
              </a:tr>
              <a:tr h="135626">
                <a:tc>
                  <a:txBody>
                    <a:bodyPr/>
                    <a:lstStyle/>
                    <a:p>
                      <a:pPr algn="l" fontAlgn="b"/>
                      <a:r>
                        <a:rPr lang="en-US" sz="900" b="0" i="0" u="none" strike="noStrike">
                          <a:solidFill>
                            <a:srgbClr val="002060"/>
                          </a:solidFill>
                          <a:effectLst/>
                          <a:latin typeface="Arial"/>
                        </a:rPr>
                        <a:t>ROCHE HOLDING A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900" b="0" i="0" u="none" strike="noStrike">
                          <a:solidFill>
                            <a:srgbClr val="002060"/>
                          </a:solidFill>
                          <a:effectLst/>
                          <a:latin typeface="Arial"/>
                        </a:rPr>
                        <a:t>2.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900" b="0" i="0" u="none" strike="noStrike" dirty="0">
                          <a:solidFill>
                            <a:srgbClr val="002060"/>
                          </a:solidFill>
                          <a:effectLst/>
                          <a:latin typeface="Arial"/>
                        </a:rPr>
                        <a:t>1.7%</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10"/>
                  </a:ext>
                </a:extLst>
              </a:tr>
              <a:tr h="119766">
                <a:tc>
                  <a:txBody>
                    <a:bodyPr/>
                    <a:lstStyle/>
                    <a:p>
                      <a:pPr marL="0" algn="l" defTabSz="914400" rtl="0" eaLnBrk="1" fontAlgn="b" latinLnBrk="0" hangingPunct="1"/>
                      <a:r>
                        <a:rPr lang="fr-FR" sz="900" b="1" i="0" u="none" strike="noStrike" kern="1200" dirty="0">
                          <a:solidFill>
                            <a:schemeClr val="bg1"/>
                          </a:solidFill>
                          <a:effectLst/>
                          <a:latin typeface="+mn-lt"/>
                          <a:ea typeface="+mn-ea"/>
                          <a:cs typeface="+mn-cs"/>
                        </a:rPr>
                        <a:t>TOTAL</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ctr" defTabSz="914400" rtl="0" eaLnBrk="1" fontAlgn="b" latinLnBrk="0" hangingPunct="1"/>
                      <a:r>
                        <a:rPr lang="fr-FR" sz="900" b="1" i="0" u="none" strike="noStrike" kern="1200" dirty="0" smtClean="0">
                          <a:solidFill>
                            <a:schemeClr val="bg1"/>
                          </a:solidFill>
                          <a:effectLst/>
                          <a:latin typeface="+mn-lt"/>
                          <a:ea typeface="+mn-ea"/>
                          <a:cs typeface="+mn-cs"/>
                        </a:rPr>
                        <a:t>22.3%</a:t>
                      </a:r>
                      <a:endParaRPr lang="fr-FR" sz="900" b="1" i="0" u="none" strike="noStrike" kern="1200" dirty="0">
                        <a:solidFill>
                          <a:schemeClr val="bg1"/>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ctr" defTabSz="914400" rtl="0" eaLnBrk="1" fontAlgn="b" latinLnBrk="0" hangingPunct="1"/>
                      <a:r>
                        <a:rPr lang="fr-FR" sz="900" b="1" i="0" u="none" strike="noStrike" kern="1200" dirty="0" smtClean="0">
                          <a:solidFill>
                            <a:schemeClr val="bg1"/>
                          </a:solidFill>
                          <a:effectLst/>
                          <a:latin typeface="+mn-lt"/>
                          <a:ea typeface="+mn-ea"/>
                          <a:cs typeface="+mn-cs"/>
                        </a:rPr>
                        <a:t>6.7%</a:t>
                      </a:r>
                      <a:endParaRPr lang="fr-FR" sz="900" b="1" i="0" u="none" strike="noStrike" kern="1200" dirty="0">
                        <a:solidFill>
                          <a:schemeClr val="bg1"/>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 xmlns:a16="http://schemas.microsoft.com/office/drawing/2014/main" val="10011"/>
                  </a:ext>
                </a:extLst>
              </a:tr>
            </a:tbl>
          </a:graphicData>
        </a:graphic>
      </p:graphicFrame>
      <p:sp>
        <p:nvSpPr>
          <p:cNvPr id="26" name="TextBox 4">
            <a:extLst>
              <a:ext uri="{FF2B5EF4-FFF2-40B4-BE49-F238E27FC236}">
                <a16:creationId xmlns="" xmlns:a16="http://schemas.microsoft.com/office/drawing/2014/main" id="{D76E7019-4AEE-4756-95C0-F0E0990364B2}"/>
              </a:ext>
            </a:extLst>
          </p:cNvPr>
          <p:cNvSpPr txBox="1"/>
          <p:nvPr/>
        </p:nvSpPr>
        <p:spPr>
          <a:xfrm>
            <a:off x="1867946" y="1163959"/>
            <a:ext cx="1321196"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ector breakdown</a:t>
            </a:r>
          </a:p>
        </p:txBody>
      </p:sp>
      <p:sp>
        <p:nvSpPr>
          <p:cNvPr id="27" name="TextBox 4">
            <a:extLst>
              <a:ext uri="{FF2B5EF4-FFF2-40B4-BE49-F238E27FC236}">
                <a16:creationId xmlns="" xmlns:a16="http://schemas.microsoft.com/office/drawing/2014/main" id="{C7390D25-7093-464F-ADF3-E51BC61AFF80}"/>
              </a:ext>
            </a:extLst>
          </p:cNvPr>
          <p:cNvSpPr txBox="1"/>
          <p:nvPr/>
        </p:nvSpPr>
        <p:spPr>
          <a:xfrm>
            <a:off x="6081537" y="1163959"/>
            <a:ext cx="1407758"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Country breakdown</a:t>
            </a:r>
          </a:p>
        </p:txBody>
      </p:sp>
      <p:sp>
        <p:nvSpPr>
          <p:cNvPr id="28" name="TextBox 4">
            <a:extLst>
              <a:ext uri="{FF2B5EF4-FFF2-40B4-BE49-F238E27FC236}">
                <a16:creationId xmlns="" xmlns:a16="http://schemas.microsoft.com/office/drawing/2014/main" id="{DAD1ED73-BC13-4839-8B81-5013AD1B5B83}"/>
              </a:ext>
            </a:extLst>
          </p:cNvPr>
          <p:cNvSpPr txBox="1"/>
          <p:nvPr/>
        </p:nvSpPr>
        <p:spPr>
          <a:xfrm>
            <a:off x="2000194" y="3525548"/>
            <a:ext cx="1056701"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Main holdings</a:t>
            </a:r>
          </a:p>
        </p:txBody>
      </p:sp>
      <p:graphicFrame>
        <p:nvGraphicFramePr>
          <p:cNvPr id="30" name="Table 13">
            <a:extLst>
              <a:ext uri="{FF2B5EF4-FFF2-40B4-BE49-F238E27FC236}">
                <a16:creationId xmlns="" xmlns:a16="http://schemas.microsoft.com/office/drawing/2014/main" id="{00623BB9-3227-4DB9-AA29-450CD96E6FA8}"/>
              </a:ext>
            </a:extLst>
          </p:cNvPr>
          <p:cNvGraphicFramePr>
            <a:graphicFrameLocks noGrp="1"/>
          </p:cNvGraphicFramePr>
          <p:nvPr>
            <p:extLst>
              <p:ext uri="{D42A27DB-BD31-4B8C-83A1-F6EECF244321}">
                <p14:modId xmlns:p14="http://schemas.microsoft.com/office/powerpoint/2010/main" val="2877889085"/>
              </p:ext>
            </p:extLst>
          </p:nvPr>
        </p:nvGraphicFramePr>
        <p:xfrm>
          <a:off x="5998094" y="5432807"/>
          <a:ext cx="2145322" cy="241166"/>
        </p:xfrm>
        <a:graphic>
          <a:graphicData uri="http://schemas.openxmlformats.org/drawingml/2006/table">
            <a:tbl>
              <a:tblPr/>
              <a:tblGrid>
                <a:gridCol w="1249209">
                  <a:extLst>
                    <a:ext uri="{9D8B030D-6E8A-4147-A177-3AD203B41FA5}">
                      <a16:colId xmlns="" xmlns:a16="http://schemas.microsoft.com/office/drawing/2014/main" val="20000"/>
                    </a:ext>
                  </a:extLst>
                </a:gridCol>
                <a:gridCol w="896113">
                  <a:extLst>
                    <a:ext uri="{9D8B030D-6E8A-4147-A177-3AD203B41FA5}">
                      <a16:colId xmlns="" xmlns:a16="http://schemas.microsoft.com/office/drawing/2014/main" val="20001"/>
                    </a:ext>
                  </a:extLst>
                </a:gridCol>
              </a:tblGrid>
              <a:tr h="24116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rPr>
                        <a:t> Number</a:t>
                      </a:r>
                      <a:r>
                        <a:rPr lang="en-US" sz="900" b="0" i="0" u="none" strike="noStrike" baseline="0" dirty="0">
                          <a:solidFill>
                            <a:schemeClr val="bg1"/>
                          </a:solidFill>
                          <a:effectLst/>
                          <a:latin typeface="+mn-lt"/>
                        </a:rPr>
                        <a:t> of holdings</a:t>
                      </a:r>
                      <a:endParaRPr lang="en-US" sz="900" b="0" i="0" u="none" strike="noStrike" dirty="0">
                        <a:solidFill>
                          <a:schemeClr val="bg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fr-FR" sz="900" b="0" i="0" u="none" strike="noStrike" dirty="0" smtClean="0">
                          <a:solidFill>
                            <a:schemeClr val="tx1"/>
                          </a:solidFill>
                          <a:effectLst/>
                          <a:latin typeface="Arial"/>
                        </a:rPr>
                        <a:t>100</a:t>
                      </a:r>
                      <a:endParaRPr lang="en-US" sz="900" b="0" i="0" u="none" strike="noStrike" dirty="0">
                        <a:solidFill>
                          <a:schemeClr val="tx1"/>
                        </a:solidFill>
                        <a:effectLst/>
                        <a:latin typeface="Arial"/>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0"/>
                  </a:ext>
                </a:extLst>
              </a:tr>
            </a:tbl>
          </a:graphicData>
        </a:graphic>
      </p:graphicFrame>
      <p:sp>
        <p:nvSpPr>
          <p:cNvPr id="4" name="Espace réservé du pied de page 3"/>
          <p:cNvSpPr>
            <a:spLocks noGrp="1"/>
          </p:cNvSpPr>
          <p:nvPr>
            <p:ph type="ftr" sz="quarter" idx="11"/>
          </p:nvPr>
        </p:nvSpPr>
        <p:spPr/>
        <p:txBody>
          <a:bodyPr/>
          <a:lstStyle/>
          <a:p>
            <a:r>
              <a:rPr lang="it-IT" dirty="0" smtClean="0"/>
              <a:t>Smart Beta - </a:t>
            </a:r>
            <a:r>
              <a:rPr lang="it-IT" dirty="0" err="1" smtClean="0"/>
              <a:t>Investment</a:t>
            </a:r>
            <a:r>
              <a:rPr lang="it-IT" dirty="0" smtClean="0"/>
              <a:t> Solutions</a:t>
            </a:r>
            <a:endParaRPr lang="fr-FR" dirty="0"/>
          </a:p>
        </p:txBody>
      </p:sp>
      <p:graphicFrame>
        <p:nvGraphicFramePr>
          <p:cNvPr id="14" name="Graphique 13" title="Sector Exposure"/>
          <p:cNvGraphicFramePr>
            <a:graphicFrameLocks/>
          </p:cNvGraphicFramePr>
          <p:nvPr>
            <p:extLst>
              <p:ext uri="{D42A27DB-BD31-4B8C-83A1-F6EECF244321}">
                <p14:modId xmlns:p14="http://schemas.microsoft.com/office/powerpoint/2010/main" val="1296267974"/>
              </p:ext>
            </p:extLst>
          </p:nvPr>
        </p:nvGraphicFramePr>
        <p:xfrm>
          <a:off x="647954" y="1450848"/>
          <a:ext cx="3715258" cy="19728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Graphique 16"/>
          <p:cNvGraphicFramePr>
            <a:graphicFrameLocks/>
          </p:cNvGraphicFramePr>
          <p:nvPr>
            <p:extLst>
              <p:ext uri="{D42A27DB-BD31-4B8C-83A1-F6EECF244321}">
                <p14:modId xmlns:p14="http://schemas.microsoft.com/office/powerpoint/2010/main" val="2574211855"/>
              </p:ext>
            </p:extLst>
          </p:nvPr>
        </p:nvGraphicFramePr>
        <p:xfrm>
          <a:off x="4914011" y="1486789"/>
          <a:ext cx="3671951" cy="3909568"/>
        </p:xfrm>
        <a:graphic>
          <a:graphicData uri="http://schemas.openxmlformats.org/drawingml/2006/chart">
            <c:chart xmlns:c="http://schemas.openxmlformats.org/drawingml/2006/chart" xmlns:r="http://schemas.openxmlformats.org/officeDocument/2006/relationships" r:id="rId3"/>
          </a:graphicData>
        </a:graphic>
      </p:graphicFrame>
      <p:pic>
        <p:nvPicPr>
          <p:cNvPr id="13" name="Picture 2" descr="C:\Users\radegond\Desktop\Morningstar_4s.jpg">
            <a:extLst>
              <a:ext uri="{FF2B5EF4-FFF2-40B4-BE49-F238E27FC236}">
                <a16:creationId xmlns="" xmlns:a16="http://schemas.microsoft.com/office/drawing/2014/main" id="{30322CAA-650E-404A-8156-9D940A3D7D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88400" y="0"/>
            <a:ext cx="1155600" cy="1222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230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normAutofit fontScale="90000"/>
          </a:bodyPr>
          <a:lstStyle/>
          <a:p>
            <a:r>
              <a:rPr lang="en-US" dirty="0"/>
              <a:t>Performance of Amundi Funds Equity </a:t>
            </a:r>
            <a:br>
              <a:rPr lang="en-US" dirty="0"/>
            </a:br>
            <a:r>
              <a:rPr lang="en-US" dirty="0">
                <a:solidFill>
                  <a:schemeClr val="accent1"/>
                </a:solidFill>
              </a:rPr>
              <a:t>Global Conservative</a:t>
            </a:r>
            <a:endParaRPr lang="fr-FR" dirty="0">
              <a:solidFill>
                <a:schemeClr val="accent1"/>
              </a:solidFill>
            </a:endParaRPr>
          </a:p>
        </p:txBody>
      </p:sp>
      <p:sp>
        <p:nvSpPr>
          <p:cNvPr id="17" name="Espace réservé du numéro de diapositive 6"/>
          <p:cNvSpPr>
            <a:spLocks noGrp="1"/>
          </p:cNvSpPr>
          <p:nvPr>
            <p:ph type="sldNum" sz="quarter" idx="12"/>
          </p:nvPr>
        </p:nvSpPr>
        <p:spPr/>
        <p:txBody>
          <a:bodyPr/>
          <a:lstStyle/>
          <a:p>
            <a:fld id="{C12E7156-0CA6-462A-9A46-AEFB5E440988}" type="slidenum">
              <a:rPr lang="fr-BE" smtClean="0"/>
              <a:pPr/>
              <a:t>58</a:t>
            </a:fld>
            <a:endParaRPr lang="fr-BE" dirty="0"/>
          </a:p>
        </p:txBody>
      </p:sp>
      <p:sp>
        <p:nvSpPr>
          <p:cNvPr id="9" name="Espace réservé du texte 8">
            <a:extLst>
              <a:ext uri="{FF2B5EF4-FFF2-40B4-BE49-F238E27FC236}">
                <a16:creationId xmlns="" xmlns:a16="http://schemas.microsoft.com/office/drawing/2014/main" id="{75B3B145-2285-4079-BCCD-F4E27740FD9E}"/>
              </a:ext>
            </a:extLst>
          </p:cNvPr>
          <p:cNvSpPr>
            <a:spLocks noGrp="1"/>
          </p:cNvSpPr>
          <p:nvPr>
            <p:ph type="body" sz="quarter" idx="14"/>
          </p:nvPr>
        </p:nvSpPr>
        <p:spPr>
          <a:xfrm>
            <a:off x="539750" y="5557023"/>
            <a:ext cx="8064248" cy="516176"/>
          </a:xfrm>
        </p:spPr>
        <p:txBody>
          <a:bodyPr/>
          <a:lstStyle/>
          <a:p>
            <a:pPr algn="l">
              <a:spcBef>
                <a:spcPts val="0"/>
              </a:spcBef>
            </a:pPr>
            <a:r>
              <a:rPr lang="en-US" dirty="0"/>
              <a:t>Source: </a:t>
            </a:r>
            <a:r>
              <a:rPr lang="en-US" dirty="0" err="1"/>
              <a:t>Amundi</a:t>
            </a:r>
            <a:r>
              <a:rPr lang="en-US" dirty="0"/>
              <a:t> </a:t>
            </a:r>
            <a:r>
              <a:rPr lang="en-US" dirty="0" smtClean="0"/>
              <a:t>AM. </a:t>
            </a:r>
            <a:r>
              <a:rPr lang="en-US" dirty="0"/>
              <a:t>Gross performance as of </a:t>
            </a:r>
            <a:r>
              <a:rPr lang="en-US" dirty="0" smtClean="0"/>
              <a:t>31/01/2018 </a:t>
            </a:r>
            <a:r>
              <a:rPr lang="en-US" dirty="0"/>
              <a:t>of the </a:t>
            </a:r>
            <a:r>
              <a:rPr lang="en-US" dirty="0" smtClean="0"/>
              <a:t>IU </a:t>
            </a:r>
            <a:r>
              <a:rPr lang="en-US" dirty="0"/>
              <a:t>share class.</a:t>
            </a:r>
          </a:p>
          <a:p>
            <a:pPr algn="l">
              <a:spcBef>
                <a:spcPts val="0"/>
              </a:spcBef>
            </a:pPr>
            <a:r>
              <a:rPr lang="en-US" dirty="0"/>
              <a:t>Amundi Funds Equity Global Conservative was launched on 09/07/2012</a:t>
            </a:r>
          </a:p>
          <a:p>
            <a:pPr algn="l">
              <a:spcBef>
                <a:spcPts val="0"/>
              </a:spcBef>
            </a:pPr>
            <a:r>
              <a:rPr lang="en-US" dirty="0"/>
              <a:t>Morningstar Rating Overall of the IU share class as of </a:t>
            </a:r>
            <a:r>
              <a:rPr lang="en-US" dirty="0" smtClean="0"/>
              <a:t>January 2018</a:t>
            </a:r>
            <a:endParaRPr lang="en-US" dirty="0"/>
          </a:p>
          <a:p>
            <a:pPr algn="l">
              <a:spcBef>
                <a:spcPts val="0"/>
              </a:spcBef>
            </a:pPr>
            <a:r>
              <a:rPr lang="en-US" dirty="0"/>
              <a:t>Past performance is not a reliable indicator of future results or a guarantee of future returns. </a:t>
            </a:r>
          </a:p>
        </p:txBody>
      </p:sp>
      <p:graphicFrame>
        <p:nvGraphicFramePr>
          <p:cNvPr id="14" name="Table 14">
            <a:extLst>
              <a:ext uri="{FF2B5EF4-FFF2-40B4-BE49-F238E27FC236}">
                <a16:creationId xmlns="" xmlns:a16="http://schemas.microsoft.com/office/drawing/2014/main" id="{CC24A7D6-F235-4261-B45D-1FA291270DB9}"/>
              </a:ext>
            </a:extLst>
          </p:cNvPr>
          <p:cNvGraphicFramePr>
            <a:graphicFrameLocks noGrp="1"/>
          </p:cNvGraphicFramePr>
          <p:nvPr>
            <p:extLst>
              <p:ext uri="{D42A27DB-BD31-4B8C-83A1-F6EECF244321}">
                <p14:modId xmlns:p14="http://schemas.microsoft.com/office/powerpoint/2010/main" val="2723921869"/>
              </p:ext>
            </p:extLst>
          </p:nvPr>
        </p:nvGraphicFramePr>
        <p:xfrm>
          <a:off x="5010109" y="3647041"/>
          <a:ext cx="2379736" cy="382071"/>
        </p:xfrm>
        <a:graphic>
          <a:graphicData uri="http://schemas.openxmlformats.org/drawingml/2006/table">
            <a:tbl>
              <a:tblPr/>
              <a:tblGrid>
                <a:gridCol w="1544630">
                  <a:extLst>
                    <a:ext uri="{9D8B030D-6E8A-4147-A177-3AD203B41FA5}">
                      <a16:colId xmlns="" xmlns:a16="http://schemas.microsoft.com/office/drawing/2014/main" val="20001"/>
                    </a:ext>
                  </a:extLst>
                </a:gridCol>
                <a:gridCol w="835106">
                  <a:extLst>
                    <a:ext uri="{9D8B030D-6E8A-4147-A177-3AD203B41FA5}">
                      <a16:colId xmlns="" xmlns:a16="http://schemas.microsoft.com/office/drawing/2014/main" val="20002"/>
                    </a:ext>
                  </a:extLst>
                </a:gridCol>
              </a:tblGrid>
              <a:tr h="382071">
                <a:tc>
                  <a:txBody>
                    <a:bodyPr/>
                    <a:lstStyle/>
                    <a:p>
                      <a:pPr algn="ctr" fontAlgn="ctr"/>
                      <a:r>
                        <a:rPr lang="en-US" sz="800" b="1" i="0" u="none" strike="noStrike" dirty="0" err="1">
                          <a:solidFill>
                            <a:schemeClr val="bg1"/>
                          </a:solidFill>
                          <a:effectLst/>
                          <a:latin typeface="+mn-lt"/>
                        </a:rPr>
                        <a:t>AuM</a:t>
                      </a:r>
                      <a:r>
                        <a:rPr lang="en-US" sz="800" b="1" i="0" u="none" strike="noStrike" dirty="0">
                          <a:solidFill>
                            <a:schemeClr val="bg1"/>
                          </a:solidFill>
                          <a:effectLst/>
                          <a:latin typeface="+mn-lt"/>
                        </a:rPr>
                        <a:t> </a:t>
                      </a:r>
                      <a:r>
                        <a:rPr lang="en-US" sz="800" b="1" i="0" u="none" strike="noStrike" dirty="0" smtClean="0">
                          <a:solidFill>
                            <a:schemeClr val="bg1"/>
                          </a:solidFill>
                          <a:effectLst/>
                          <a:latin typeface="+mn-lt"/>
                        </a:rPr>
                        <a:t>(€M</a:t>
                      </a:r>
                      <a:r>
                        <a:rPr lang="en-US" sz="800" b="1" i="0" u="none" strike="noStrike" dirty="0">
                          <a:solidFill>
                            <a:schemeClr val="bg1"/>
                          </a:solidFill>
                          <a:effectLst/>
                          <a:latin typeface="+mn-lt"/>
                        </a:rPr>
                        <a:t>)</a:t>
                      </a:r>
                      <a:endParaRPr lang="en-US" sz="800" b="1" i="0" u="none" strike="noStrike" dirty="0">
                        <a:solidFill>
                          <a:schemeClr val="bg1"/>
                        </a:solidFill>
                        <a:effectLst/>
                        <a:latin typeface="Arial"/>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800" b="0" i="0" u="none" strike="noStrike" kern="1200" dirty="0" smtClean="0">
                          <a:solidFill>
                            <a:schemeClr val="tx1"/>
                          </a:solidFill>
                          <a:effectLst/>
                          <a:latin typeface="Arial"/>
                          <a:ea typeface="+mn-ea"/>
                          <a:cs typeface="+mn-cs"/>
                        </a:rPr>
                        <a:t>208</a:t>
                      </a:r>
                      <a:endParaRPr lang="en-US" sz="800" b="0" i="0" u="none" strike="noStrike" kern="1200" dirty="0">
                        <a:solidFill>
                          <a:schemeClr val="tx1"/>
                        </a:solidFill>
                        <a:effectLst/>
                        <a:latin typeface="Arial"/>
                        <a:ea typeface="+mn-ea"/>
                        <a:cs typeface="+mn-cs"/>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0"/>
                  </a:ext>
                </a:extLst>
              </a:tr>
            </a:tbl>
          </a:graphicData>
        </a:graphic>
      </p:graphicFrame>
      <p:sp>
        <p:nvSpPr>
          <p:cNvPr id="3" name="Espace réservé du pied de page 2"/>
          <p:cNvSpPr>
            <a:spLocks noGrp="1"/>
          </p:cNvSpPr>
          <p:nvPr>
            <p:ph type="ftr" sz="quarter" idx="11"/>
          </p:nvPr>
        </p:nvSpPr>
        <p:spPr/>
        <p:txBody>
          <a:bodyPr/>
          <a:lstStyle/>
          <a:p>
            <a:r>
              <a:rPr lang="en-US" dirty="0"/>
              <a:t>Smart Beta - Investment Solutions</a:t>
            </a:r>
            <a:endParaRPr lang="fr-FR" dirty="0"/>
          </a:p>
        </p:txBody>
      </p:sp>
      <p:graphicFrame>
        <p:nvGraphicFramePr>
          <p:cNvPr id="12" name="Table 14"/>
          <p:cNvGraphicFramePr>
            <a:graphicFrameLocks noGrp="1"/>
          </p:cNvGraphicFramePr>
          <p:nvPr>
            <p:extLst>
              <p:ext uri="{D42A27DB-BD31-4B8C-83A1-F6EECF244321}">
                <p14:modId xmlns:p14="http://schemas.microsoft.com/office/powerpoint/2010/main" val="2710488689"/>
              </p:ext>
            </p:extLst>
          </p:nvPr>
        </p:nvGraphicFramePr>
        <p:xfrm>
          <a:off x="543559" y="3646805"/>
          <a:ext cx="4301999" cy="1893753"/>
        </p:xfrm>
        <a:graphic>
          <a:graphicData uri="http://schemas.openxmlformats.org/drawingml/2006/table">
            <a:tbl>
              <a:tblPr/>
              <a:tblGrid>
                <a:gridCol w="1303159">
                  <a:extLst>
                    <a:ext uri="{9D8B030D-6E8A-4147-A177-3AD203B41FA5}">
                      <a16:colId xmlns="" xmlns:a16="http://schemas.microsoft.com/office/drawing/2014/main" val="20000"/>
                    </a:ext>
                  </a:extLst>
                </a:gridCol>
                <a:gridCol w="499967">
                  <a:extLst>
                    <a:ext uri="{9D8B030D-6E8A-4147-A177-3AD203B41FA5}">
                      <a16:colId xmlns="" xmlns:a16="http://schemas.microsoft.com/office/drawing/2014/main" val="20001"/>
                    </a:ext>
                  </a:extLst>
                </a:gridCol>
                <a:gridCol w="571465">
                  <a:extLst>
                    <a:ext uri="{9D8B030D-6E8A-4147-A177-3AD203B41FA5}">
                      <a16:colId xmlns="" xmlns:a16="http://schemas.microsoft.com/office/drawing/2014/main" val="20002"/>
                    </a:ext>
                  </a:extLst>
                </a:gridCol>
                <a:gridCol w="558916">
                  <a:extLst>
                    <a:ext uri="{9D8B030D-6E8A-4147-A177-3AD203B41FA5}">
                      <a16:colId xmlns="" xmlns:a16="http://schemas.microsoft.com/office/drawing/2014/main" val="20003"/>
                    </a:ext>
                  </a:extLst>
                </a:gridCol>
                <a:gridCol w="501454">
                  <a:extLst>
                    <a:ext uri="{9D8B030D-6E8A-4147-A177-3AD203B41FA5}">
                      <a16:colId xmlns="" xmlns:a16="http://schemas.microsoft.com/office/drawing/2014/main" val="20004"/>
                    </a:ext>
                  </a:extLst>
                </a:gridCol>
                <a:gridCol w="867038">
                  <a:extLst>
                    <a:ext uri="{9D8B030D-6E8A-4147-A177-3AD203B41FA5}">
                      <a16:colId xmlns="" xmlns:a16="http://schemas.microsoft.com/office/drawing/2014/main" val="20005"/>
                    </a:ext>
                  </a:extLst>
                </a:gridCol>
              </a:tblGrid>
              <a:tr h="381805">
                <a:tc>
                  <a:txBody>
                    <a:bodyPr/>
                    <a:lstStyle/>
                    <a:p>
                      <a:pPr algn="l" rtl="0" fontAlgn="ctr"/>
                      <a:r>
                        <a:rPr lang="en-US" sz="800" b="1" i="0" u="none" strike="noStrike" dirty="0" smtClean="0">
                          <a:solidFill>
                            <a:schemeClr val="bg1"/>
                          </a:solidFill>
                          <a:effectLst/>
                          <a:latin typeface="+mn-lt"/>
                        </a:rPr>
                        <a:t>Gross annualized performance in</a:t>
                      </a:r>
                      <a:br>
                        <a:rPr lang="en-US" sz="800" b="1" i="0" u="none" strike="noStrike" dirty="0" smtClean="0">
                          <a:solidFill>
                            <a:schemeClr val="bg1"/>
                          </a:solidFill>
                          <a:effectLst/>
                          <a:latin typeface="+mn-lt"/>
                        </a:rPr>
                      </a:br>
                      <a:r>
                        <a:rPr lang="en-US" sz="800" b="1" i="0" u="none" strike="noStrike" dirty="0" smtClean="0">
                          <a:solidFill>
                            <a:schemeClr val="bg1"/>
                          </a:solidFill>
                          <a:effectLst/>
                          <a:latin typeface="+mn-lt"/>
                        </a:rPr>
                        <a:t>USD as of</a:t>
                      </a:r>
                      <a:r>
                        <a:rPr lang="en-US" sz="800" b="1" i="0" u="none" strike="noStrike" baseline="0" dirty="0" smtClean="0">
                          <a:solidFill>
                            <a:schemeClr val="bg1"/>
                          </a:solidFill>
                          <a:effectLst/>
                          <a:latin typeface="+mn-lt"/>
                        </a:rPr>
                        <a:t> 31</a:t>
                      </a:r>
                      <a:r>
                        <a:rPr lang="en-US" sz="800" b="1" i="0" u="none" strike="noStrike" dirty="0" smtClean="0">
                          <a:solidFill>
                            <a:schemeClr val="bg1"/>
                          </a:solidFill>
                          <a:effectLst/>
                          <a:latin typeface="+mn-lt"/>
                        </a:rPr>
                        <a:t>/01/2018</a:t>
                      </a:r>
                      <a:endParaRPr lang="en-US" sz="800" b="1" i="0" u="none" strike="noStrike" dirty="0">
                        <a:solidFill>
                          <a:schemeClr val="bg1"/>
                        </a:solidFill>
                        <a:effectLst/>
                        <a:latin typeface="+mn-lt"/>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C64"/>
                    </a:solidFill>
                  </a:tcPr>
                </a:tc>
                <a:tc>
                  <a:txBody>
                    <a:bodyPr/>
                    <a:lstStyle/>
                    <a:p>
                      <a:pPr algn="ctr" fontAlgn="ctr"/>
                      <a:r>
                        <a:rPr lang="en-US" sz="800" b="1" i="0" u="none" strike="noStrike" dirty="0">
                          <a:solidFill>
                            <a:srgbClr val="FFFFFF"/>
                          </a:solidFill>
                          <a:effectLst/>
                          <a:latin typeface="Arial"/>
                        </a:rPr>
                        <a:t>YTD</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algn="ctr" fontAlgn="ctr"/>
                      <a:r>
                        <a:rPr lang="en-US" sz="800" b="1" i="0" u="none" strike="noStrike" dirty="0">
                          <a:solidFill>
                            <a:srgbClr val="FFFFFF"/>
                          </a:solidFill>
                          <a:effectLst/>
                          <a:latin typeface="Arial"/>
                        </a:rPr>
                        <a:t>1 year</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algn="ctr" fontAlgn="ctr"/>
                      <a:r>
                        <a:rPr lang="en-US" sz="800" b="1" i="0" u="none" strike="noStrike" dirty="0">
                          <a:solidFill>
                            <a:srgbClr val="FFFFFF"/>
                          </a:solidFill>
                          <a:effectLst/>
                          <a:latin typeface="Arial"/>
                        </a:rPr>
                        <a:t>3 yea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algn="ctr" fontAlgn="ctr"/>
                      <a:r>
                        <a:rPr lang="en-US" sz="800" b="1" i="0" u="none" strike="noStrike" dirty="0">
                          <a:solidFill>
                            <a:srgbClr val="FFFFFF"/>
                          </a:solidFill>
                          <a:effectLst/>
                          <a:latin typeface="Arial"/>
                        </a:rPr>
                        <a:t>5 yea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algn="ctr" rtl="0" fontAlgn="ctr"/>
                      <a:r>
                        <a:rPr lang="en-US" sz="800" b="1" i="0" u="none" strike="noStrike" dirty="0" smtClean="0">
                          <a:solidFill>
                            <a:srgbClr val="FFFFFF"/>
                          </a:solidFill>
                          <a:effectLst/>
                          <a:latin typeface="Arial"/>
                        </a:rPr>
                        <a:t>Since</a:t>
                      </a:r>
                      <a:r>
                        <a:rPr lang="en-US" sz="800" b="1" i="0" u="none" strike="noStrike" baseline="0" dirty="0" smtClean="0">
                          <a:solidFill>
                            <a:srgbClr val="FFFFFF"/>
                          </a:solidFill>
                          <a:effectLst/>
                          <a:latin typeface="Arial"/>
                        </a:rPr>
                        <a:t> </a:t>
                      </a:r>
                      <a:r>
                        <a:rPr lang="en-US" sz="800" b="1" i="0" u="none" strike="noStrike" dirty="0" smtClean="0">
                          <a:solidFill>
                            <a:srgbClr val="FFFFFF"/>
                          </a:solidFill>
                          <a:effectLst/>
                          <a:latin typeface="Arial"/>
                        </a:rPr>
                        <a:t>inception (09/07/2012)</a:t>
                      </a:r>
                      <a:endParaRPr lang="en-US" sz="800" b="1" i="0" u="none" strike="noStrike" dirty="0">
                        <a:solidFill>
                          <a:srgbClr val="FFFFFF"/>
                        </a:solidFill>
                        <a:effectLst/>
                        <a:latin typeface="Arial"/>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extLst>
                  <a:ext uri="{0D108BD9-81ED-4DB2-BD59-A6C34878D82A}">
                    <a16:rowId xmlns="" xmlns:a16="http://schemas.microsoft.com/office/drawing/2014/main" val="10000"/>
                  </a:ext>
                </a:extLst>
              </a:tr>
              <a:tr h="131354">
                <a:tc>
                  <a:txBody>
                    <a:bodyPr/>
                    <a:lstStyle/>
                    <a:p>
                      <a:pPr algn="l" fontAlgn="ctr"/>
                      <a:r>
                        <a:rPr lang="en-US" sz="800" b="0" i="0" u="none" strike="noStrike" dirty="0">
                          <a:solidFill>
                            <a:srgbClr val="003C64"/>
                          </a:solidFill>
                          <a:effectLst/>
                          <a:latin typeface="Arial"/>
                        </a:rPr>
                        <a:t>Portfolio</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3.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9.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0.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1"/>
                  </a:ext>
                </a:extLst>
              </a:tr>
              <a:tr h="135050">
                <a:tc>
                  <a:txBody>
                    <a:bodyPr/>
                    <a:lstStyle/>
                    <a:p>
                      <a:pPr algn="l" fontAlgn="ctr"/>
                      <a:r>
                        <a:rPr lang="en-US" sz="800" b="0" i="0" u="none" strike="noStrike" dirty="0">
                          <a:solidFill>
                            <a:srgbClr val="003C64"/>
                          </a:solidFill>
                          <a:effectLst/>
                          <a:latin typeface="Arial"/>
                        </a:rPr>
                        <a:t>Benchmark</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5.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25.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3.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2"/>
                  </a:ext>
                </a:extLst>
              </a:tr>
              <a:tr h="135050">
                <a:tc>
                  <a:txBody>
                    <a:bodyPr/>
                    <a:lstStyle/>
                    <a:p>
                      <a:pPr algn="l" fontAlgn="ctr"/>
                      <a:r>
                        <a:rPr lang="en-US" sz="800" b="0" i="0" u="none" strike="noStrike" dirty="0">
                          <a:solidFill>
                            <a:srgbClr val="003C64"/>
                          </a:solidFill>
                          <a:effectLst/>
                          <a:latin typeface="Arial"/>
                        </a:rPr>
                        <a:t>Excess Return </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6.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3"/>
                  </a:ext>
                </a:extLst>
              </a:tr>
              <a:tr h="135050">
                <a:tc>
                  <a:txBody>
                    <a:bodyPr/>
                    <a:lstStyle/>
                    <a:p>
                      <a:pPr algn="l" rtl="0" fontAlgn="ctr"/>
                      <a:r>
                        <a:rPr lang="en-US" sz="800" b="1" i="0" u="none" strike="noStrike" dirty="0">
                          <a:solidFill>
                            <a:srgbClr val="FFFFFF"/>
                          </a:solidFill>
                          <a:effectLst/>
                          <a:latin typeface="Arial"/>
                        </a:rPr>
                        <a:t>Risk Indicato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C64"/>
                    </a:solidFill>
                  </a:tcPr>
                </a:tc>
                <a:tc>
                  <a:txBody>
                    <a:bodyPr/>
                    <a:lstStyle/>
                    <a:p>
                      <a:pPr marL="0" algn="ctr" defTabSz="914400" rtl="0" eaLnBrk="1" fontAlgn="ctr" latinLnBrk="0" hangingPunct="1"/>
                      <a:r>
                        <a:rPr lang="en-US" sz="800" b="1" i="0" u="none" strike="noStrike" kern="1200" dirty="0">
                          <a:solidFill>
                            <a:srgbClr val="FFFFFF"/>
                          </a:solidFill>
                          <a:effectLst/>
                          <a:latin typeface="Arial"/>
                          <a:ea typeface="+mn-ea"/>
                          <a:cs typeface="+mn-cs"/>
                        </a:rPr>
                        <a:t> </a:t>
                      </a:r>
                      <a:r>
                        <a:rPr lang="en-US" sz="800" b="1" i="0" u="none" strike="noStrike" dirty="0" smtClean="0">
                          <a:solidFill>
                            <a:srgbClr val="FFFFFF"/>
                          </a:solidFill>
                          <a:effectLst/>
                          <a:latin typeface="Arial"/>
                        </a:rPr>
                        <a:t>YTD</a:t>
                      </a:r>
                      <a:endParaRPr lang="en-US" sz="800" b="1" i="0" u="none" strike="noStrike" kern="1200" dirty="0">
                        <a:solidFill>
                          <a:srgbClr val="FFFFFF"/>
                        </a:solidFill>
                        <a:effectLst/>
                        <a:latin typeface="Arial"/>
                        <a:ea typeface="+mn-ea"/>
                        <a:cs typeface="+mn-cs"/>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marL="0" algn="ctr" defTabSz="914400" rtl="0" eaLnBrk="1" fontAlgn="ctr" latinLnBrk="0" hangingPunct="1"/>
                      <a:r>
                        <a:rPr lang="en-US" sz="800" b="1" i="0" u="none" strike="noStrike" kern="1200" dirty="0">
                          <a:solidFill>
                            <a:srgbClr val="FFFFFF"/>
                          </a:solidFill>
                          <a:effectLst/>
                          <a:latin typeface="Arial"/>
                          <a:ea typeface="+mn-ea"/>
                          <a:cs typeface="+mn-cs"/>
                        </a:rPr>
                        <a:t>1 year</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marL="0" algn="ctr" defTabSz="914400" rtl="0" eaLnBrk="1" fontAlgn="ctr" latinLnBrk="0" hangingPunct="1"/>
                      <a:r>
                        <a:rPr lang="en-US" sz="800" b="1" i="0" u="none" strike="noStrike" kern="1200" dirty="0">
                          <a:solidFill>
                            <a:srgbClr val="FFFFFF"/>
                          </a:solidFill>
                          <a:effectLst/>
                          <a:latin typeface="Arial"/>
                          <a:ea typeface="+mn-ea"/>
                          <a:cs typeface="+mn-cs"/>
                        </a:rPr>
                        <a:t>3 yea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marL="0" algn="ctr" defTabSz="914400" rtl="0" eaLnBrk="1" fontAlgn="ctr" latinLnBrk="0" hangingPunct="1"/>
                      <a:r>
                        <a:rPr lang="en-US" sz="800" b="1" i="0" u="none" strike="noStrike" kern="1200" dirty="0">
                          <a:solidFill>
                            <a:srgbClr val="FFFFFF"/>
                          </a:solidFill>
                          <a:effectLst/>
                          <a:latin typeface="Arial"/>
                          <a:ea typeface="+mn-ea"/>
                          <a:cs typeface="+mn-cs"/>
                        </a:rPr>
                        <a:t>5 yea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marL="0" algn="ctr" defTabSz="914400" rtl="0" eaLnBrk="1" fontAlgn="ctr" latinLnBrk="0" hangingPunct="1"/>
                      <a:r>
                        <a:rPr lang="en-US" sz="800" b="1" i="0" u="none" strike="noStrike" kern="1200" dirty="0" smtClean="0">
                          <a:solidFill>
                            <a:srgbClr val="FFFFFF"/>
                          </a:solidFill>
                          <a:effectLst/>
                          <a:latin typeface="Arial"/>
                          <a:ea typeface="+mn-ea"/>
                          <a:cs typeface="+mn-cs"/>
                        </a:rPr>
                        <a:t>Since inception</a:t>
                      </a:r>
                      <a:r>
                        <a:rPr lang="en-US" sz="800" b="1" i="0" u="none" strike="noStrike" kern="1200" dirty="0">
                          <a:solidFill>
                            <a:srgbClr val="FFFFFF"/>
                          </a:solidFill>
                          <a:effectLst/>
                          <a:latin typeface="Arial"/>
                          <a:ea typeface="+mn-ea"/>
                          <a:cs typeface="+mn-cs"/>
                        </a:rPr>
                        <a:t> </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extLst>
                  <a:ext uri="{0D108BD9-81ED-4DB2-BD59-A6C34878D82A}">
                    <a16:rowId xmlns="" xmlns:a16="http://schemas.microsoft.com/office/drawing/2014/main" val="10004"/>
                  </a:ext>
                </a:extLst>
              </a:tr>
              <a:tr h="131354">
                <a:tc>
                  <a:txBody>
                    <a:bodyPr/>
                    <a:lstStyle/>
                    <a:p>
                      <a:pPr algn="l" rtl="0" fontAlgn="ctr"/>
                      <a:r>
                        <a:rPr lang="en-US" sz="800" b="0" i="0" u="none" strike="noStrike" dirty="0">
                          <a:solidFill>
                            <a:srgbClr val="003C64"/>
                          </a:solidFill>
                          <a:effectLst/>
                          <a:latin typeface="Arial"/>
                        </a:rPr>
                        <a:t>Portfolio Volatility</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4.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4.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8.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8.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8.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5"/>
                  </a:ext>
                </a:extLst>
              </a:tr>
              <a:tr h="158883">
                <a:tc>
                  <a:txBody>
                    <a:bodyPr/>
                    <a:lstStyle/>
                    <a:p>
                      <a:pPr algn="l" rtl="0" fontAlgn="ctr"/>
                      <a:r>
                        <a:rPr lang="en-US" sz="800" b="0" i="0" u="none" strike="noStrike" dirty="0">
                          <a:solidFill>
                            <a:srgbClr val="003C64"/>
                          </a:solidFill>
                          <a:effectLst/>
                          <a:latin typeface="Arial"/>
                        </a:rPr>
                        <a:t>Benchmark Volatility</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6.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5.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0.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6"/>
                  </a:ext>
                </a:extLst>
              </a:tr>
              <a:tr h="135050">
                <a:tc>
                  <a:txBody>
                    <a:bodyPr/>
                    <a:lstStyle/>
                    <a:p>
                      <a:pPr algn="l" rtl="0" fontAlgn="ctr"/>
                      <a:r>
                        <a:rPr lang="en-US" sz="800" b="0" i="0" u="none" strike="noStrike" dirty="0">
                          <a:solidFill>
                            <a:srgbClr val="003C64"/>
                          </a:solidFill>
                          <a:effectLst/>
                          <a:latin typeface="Arial"/>
                        </a:rPr>
                        <a:t>Ex-post Tracking Error</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3.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7"/>
                  </a:ext>
                </a:extLst>
              </a:tr>
              <a:tr h="135050">
                <a:tc>
                  <a:txBody>
                    <a:bodyPr/>
                    <a:lstStyle/>
                    <a:p>
                      <a:pPr algn="l" rtl="0" fontAlgn="ctr"/>
                      <a:r>
                        <a:rPr lang="en-US" sz="800" b="0" i="0" u="none" strike="noStrike" dirty="0">
                          <a:solidFill>
                            <a:srgbClr val="003C64"/>
                          </a:solidFill>
                          <a:effectLst/>
                          <a:latin typeface="Arial"/>
                        </a:rPr>
                        <a:t>Portfolio Max drawdown </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2.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8"/>
                  </a:ext>
                </a:extLst>
              </a:tr>
              <a:tr h="135050">
                <a:tc>
                  <a:txBody>
                    <a:bodyPr/>
                    <a:lstStyle/>
                    <a:p>
                      <a:pPr algn="l" rtl="0" fontAlgn="ctr"/>
                      <a:r>
                        <a:rPr lang="en-US" sz="800" b="0" i="0" u="none" strike="noStrike">
                          <a:solidFill>
                            <a:srgbClr val="003C64"/>
                          </a:solidFill>
                          <a:effectLst/>
                          <a:latin typeface="Arial"/>
                        </a:rPr>
                        <a:t>Benchmark Max drawdown</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9"/>
                  </a:ext>
                </a:extLst>
              </a:tr>
              <a:tr h="133027">
                <a:tc>
                  <a:txBody>
                    <a:bodyPr/>
                    <a:lstStyle/>
                    <a:p>
                      <a:pPr algn="l" rtl="0" fontAlgn="ctr"/>
                      <a:r>
                        <a:rPr lang="en-US" sz="800" b="0" i="0" u="none" strike="noStrike">
                          <a:solidFill>
                            <a:srgbClr val="003C64"/>
                          </a:solidFill>
                          <a:effectLst/>
                          <a:latin typeface="Arial"/>
                        </a:rPr>
                        <a:t>Portfolio Return to Risk</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4.2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10"/>
                  </a:ext>
                </a:extLst>
              </a:tr>
              <a:tr h="146848">
                <a:tc>
                  <a:txBody>
                    <a:bodyPr/>
                    <a:lstStyle/>
                    <a:p>
                      <a:pPr algn="l" rtl="0" fontAlgn="ctr"/>
                      <a:r>
                        <a:rPr lang="en-US" sz="800" b="0" i="0" u="none" strike="noStrike" dirty="0">
                          <a:solidFill>
                            <a:srgbClr val="003C64"/>
                          </a:solidFill>
                          <a:effectLst/>
                          <a:latin typeface="Arial"/>
                        </a:rPr>
                        <a:t>Benchmark Return to Risk</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4.9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11"/>
                  </a:ext>
                </a:extLst>
              </a:tr>
            </a:tbl>
          </a:graphicData>
        </a:graphic>
      </p:graphicFrame>
      <p:graphicFrame>
        <p:nvGraphicFramePr>
          <p:cNvPr id="18" name="Chart 6"/>
          <p:cNvGraphicFramePr>
            <a:graphicFrameLocks/>
          </p:cNvGraphicFramePr>
          <p:nvPr>
            <p:extLst>
              <p:ext uri="{D42A27DB-BD31-4B8C-83A1-F6EECF244321}">
                <p14:modId xmlns:p14="http://schemas.microsoft.com/office/powerpoint/2010/main" val="723916488"/>
              </p:ext>
            </p:extLst>
          </p:nvPr>
        </p:nvGraphicFramePr>
        <p:xfrm>
          <a:off x="504063" y="1281558"/>
          <a:ext cx="4006850" cy="24659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9"/>
          <p:cNvGraphicFramePr>
            <a:graphicFrameLocks/>
          </p:cNvGraphicFramePr>
          <p:nvPr>
            <p:extLst>
              <p:ext uri="{D42A27DB-BD31-4B8C-83A1-F6EECF244321}">
                <p14:modId xmlns:p14="http://schemas.microsoft.com/office/powerpoint/2010/main" val="933706329"/>
              </p:ext>
            </p:extLst>
          </p:nvPr>
        </p:nvGraphicFramePr>
        <p:xfrm>
          <a:off x="4712463" y="1342771"/>
          <a:ext cx="3891661" cy="2123948"/>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4177761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Global Conservative – Portfolio views</a:t>
            </a:r>
            <a:endParaRPr lang="en-GB" dirty="0"/>
          </a:p>
        </p:txBody>
      </p:sp>
      <p:sp>
        <p:nvSpPr>
          <p:cNvPr id="24" name="Espace réservé du numéro de diapositive 6"/>
          <p:cNvSpPr>
            <a:spLocks noGrp="1"/>
          </p:cNvSpPr>
          <p:nvPr>
            <p:ph type="sldNum" sz="quarter" idx="12"/>
          </p:nvPr>
        </p:nvSpPr>
        <p:spPr/>
        <p:txBody>
          <a:bodyPr/>
          <a:lstStyle/>
          <a:p>
            <a:fld id="{C12E7156-0CA6-462A-9A46-AEFB5E440988}" type="slidenum">
              <a:rPr lang="fr-BE" smtClean="0"/>
              <a:pPr/>
              <a:t>59</a:t>
            </a:fld>
            <a:endParaRPr lang="fr-BE" dirty="0"/>
          </a:p>
        </p:txBody>
      </p:sp>
      <p:sp>
        <p:nvSpPr>
          <p:cNvPr id="20" name="Espace réservé du texte 19">
            <a:extLst>
              <a:ext uri="{FF2B5EF4-FFF2-40B4-BE49-F238E27FC236}">
                <a16:creationId xmlns="" xmlns:a16="http://schemas.microsoft.com/office/drawing/2014/main" id="{E4B8BB87-2AD9-47E6-861D-756E23D68744}"/>
              </a:ext>
            </a:extLst>
          </p:cNvPr>
          <p:cNvSpPr>
            <a:spLocks noGrp="1"/>
          </p:cNvSpPr>
          <p:nvPr>
            <p:ph type="body" sz="quarter" idx="14"/>
          </p:nvPr>
        </p:nvSpPr>
        <p:spPr/>
        <p:txBody>
          <a:bodyPr/>
          <a:lstStyle/>
          <a:p>
            <a:pPr algn="l"/>
            <a:r>
              <a:rPr lang="en-US" dirty="0"/>
              <a:t>Source: Amundi </a:t>
            </a:r>
            <a:r>
              <a:rPr lang="en-US" dirty="0" smtClean="0"/>
              <a:t>AM. 31/01/2018</a:t>
            </a:r>
            <a:r>
              <a:rPr lang="en-US" dirty="0"/>
              <a:t/>
            </a:r>
            <a:br>
              <a:rPr lang="en-US" dirty="0"/>
            </a:br>
            <a:r>
              <a:rPr lang="en-US" dirty="0"/>
              <a:t>Morningstar Rating Overall of the </a:t>
            </a:r>
            <a:r>
              <a:rPr lang="en-US" dirty="0" smtClean="0"/>
              <a:t>IU </a:t>
            </a:r>
            <a:r>
              <a:rPr lang="en-US" dirty="0"/>
              <a:t>share class as of </a:t>
            </a:r>
            <a:r>
              <a:rPr lang="en-US" dirty="0" smtClean="0"/>
              <a:t>January2018</a:t>
            </a:r>
            <a:endParaRPr lang="en-US" dirty="0"/>
          </a:p>
        </p:txBody>
      </p:sp>
      <p:graphicFrame>
        <p:nvGraphicFramePr>
          <p:cNvPr id="23" name="Table 22"/>
          <p:cNvGraphicFramePr>
            <a:graphicFrameLocks noGrp="1"/>
          </p:cNvGraphicFramePr>
          <p:nvPr>
            <p:extLst>
              <p:ext uri="{D42A27DB-BD31-4B8C-83A1-F6EECF244321}">
                <p14:modId xmlns:p14="http://schemas.microsoft.com/office/powerpoint/2010/main" val="3559150086"/>
              </p:ext>
            </p:extLst>
          </p:nvPr>
        </p:nvGraphicFramePr>
        <p:xfrm>
          <a:off x="720000" y="3844899"/>
          <a:ext cx="3795601" cy="1917873"/>
        </p:xfrm>
        <a:graphic>
          <a:graphicData uri="http://schemas.openxmlformats.org/drawingml/2006/table">
            <a:tbl>
              <a:tblPr/>
              <a:tblGrid>
                <a:gridCol w="2079864">
                  <a:extLst>
                    <a:ext uri="{9D8B030D-6E8A-4147-A177-3AD203B41FA5}">
                      <a16:colId xmlns="" xmlns:a16="http://schemas.microsoft.com/office/drawing/2014/main" val="20000"/>
                    </a:ext>
                  </a:extLst>
                </a:gridCol>
                <a:gridCol w="855531">
                  <a:extLst>
                    <a:ext uri="{9D8B030D-6E8A-4147-A177-3AD203B41FA5}">
                      <a16:colId xmlns="" xmlns:a16="http://schemas.microsoft.com/office/drawing/2014/main" val="20003"/>
                    </a:ext>
                  </a:extLst>
                </a:gridCol>
                <a:gridCol w="860206">
                  <a:extLst>
                    <a:ext uri="{9D8B030D-6E8A-4147-A177-3AD203B41FA5}">
                      <a16:colId xmlns="" xmlns:a16="http://schemas.microsoft.com/office/drawing/2014/main" val="1028209695"/>
                    </a:ext>
                  </a:extLst>
                </a:gridCol>
              </a:tblGrid>
              <a:tr h="330852">
                <a:tc>
                  <a:txBody>
                    <a:bodyPr/>
                    <a:lstStyle/>
                    <a:p>
                      <a:pPr algn="ctr" rtl="0" fontAlgn="ctr"/>
                      <a:r>
                        <a:rPr lang="en-US" sz="800" b="1" i="0" u="none" strike="noStrike" dirty="0">
                          <a:solidFill>
                            <a:schemeClr val="bg1"/>
                          </a:solidFill>
                          <a:effectLst/>
                          <a:latin typeface="+mn-lt"/>
                        </a:rPr>
                        <a:t>As of </a:t>
                      </a:r>
                      <a:r>
                        <a:rPr lang="en-US" sz="900" b="1" i="0" u="none" strike="noStrike" dirty="0" smtClean="0">
                          <a:solidFill>
                            <a:schemeClr val="bg1"/>
                          </a:solidFill>
                          <a:effectLst/>
                          <a:latin typeface="+mn-lt"/>
                        </a:rPr>
                        <a:t>31/01/2018</a:t>
                      </a:r>
                      <a:endParaRPr lang="en-US" sz="800" b="1" i="0" u="none" strike="noStrike" dirty="0">
                        <a:solidFill>
                          <a:schemeClr val="bg1"/>
                        </a:solidFill>
                        <a:effectLst/>
                        <a:latin typeface="+mn-lt"/>
                      </a:endParaRPr>
                    </a:p>
                  </a:txBody>
                  <a:tcPr marL="7706" marR="7706" marT="770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900" b="1" i="0" u="none" strike="noStrike" dirty="0" smtClean="0">
                          <a:solidFill>
                            <a:schemeClr val="bg1"/>
                          </a:solidFill>
                          <a:effectLst/>
                          <a:latin typeface="+mn-lt"/>
                        </a:rPr>
                        <a:t>AFE Global </a:t>
                      </a:r>
                      <a:r>
                        <a:rPr lang="en-US" sz="900" b="1" i="0" u="none" strike="noStrike" dirty="0">
                          <a:solidFill>
                            <a:schemeClr val="bg1"/>
                          </a:solidFill>
                          <a:effectLst/>
                          <a:latin typeface="+mn-lt"/>
                        </a:rPr>
                        <a:t>Conservative</a:t>
                      </a:r>
                    </a:p>
                  </a:txBody>
                  <a:tcPr marL="7706" marR="7706" marT="770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chemeClr val="bg1"/>
                          </a:solidFill>
                          <a:effectLst/>
                          <a:latin typeface="+mn-lt"/>
                        </a:rPr>
                        <a:t>MSCI World</a:t>
                      </a:r>
                    </a:p>
                  </a:txBody>
                  <a:tcPr marL="7706" marR="7706" marT="770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 xmlns:a16="http://schemas.microsoft.com/office/drawing/2014/main" val="10000"/>
                  </a:ext>
                </a:extLst>
              </a:tr>
              <a:tr h="172729">
                <a:tc>
                  <a:txBody>
                    <a:bodyPr/>
                    <a:lstStyle/>
                    <a:p>
                      <a:pPr marL="0" algn="l" defTabSz="914400" rtl="0" eaLnBrk="1" fontAlgn="ctr" latinLnBrk="0" hangingPunct="1"/>
                      <a:r>
                        <a:rPr lang="en-US" sz="900" b="0" i="0" u="none" strike="noStrike" kern="1200">
                          <a:solidFill>
                            <a:srgbClr val="002060"/>
                          </a:solidFill>
                          <a:effectLst/>
                          <a:latin typeface="Arial"/>
                          <a:ea typeface="+mn-ea"/>
                          <a:cs typeface="+mn-cs"/>
                        </a:rPr>
                        <a:t>NORTHROP GRUMMAN CORP</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900" b="0" i="0" u="none" strike="noStrike" kern="1200">
                          <a:solidFill>
                            <a:srgbClr val="002060"/>
                          </a:solidFill>
                          <a:effectLst/>
                          <a:latin typeface="Arial"/>
                          <a:ea typeface="+mn-ea"/>
                          <a:cs typeface="+mn-cs"/>
                        </a:rPr>
                        <a:t>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900" b="0" i="0" u="none" strike="noStrike" kern="1200">
                          <a:solidFill>
                            <a:srgbClr val="002060"/>
                          </a:solidFill>
                          <a:effectLst/>
                          <a:latin typeface="Arial"/>
                          <a:ea typeface="+mn-ea"/>
                          <a:cs typeface="+mn-cs"/>
                        </a:rPr>
                        <a:t>0.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1"/>
                  </a:ext>
                </a:extLst>
              </a:tr>
              <a:tr h="167640">
                <a:tc>
                  <a:txBody>
                    <a:bodyPr/>
                    <a:lstStyle/>
                    <a:p>
                      <a:pPr marL="0" algn="l" defTabSz="914400" rtl="0" eaLnBrk="1" fontAlgn="ctr" latinLnBrk="0" hangingPunct="1"/>
                      <a:r>
                        <a:rPr lang="en-US" sz="900" b="0" i="0" u="none" strike="noStrike" kern="1200">
                          <a:solidFill>
                            <a:srgbClr val="002060"/>
                          </a:solidFill>
                          <a:effectLst/>
                          <a:latin typeface="Arial"/>
                          <a:ea typeface="+mn-ea"/>
                          <a:cs typeface="+mn-cs"/>
                        </a:rPr>
                        <a:t>3M CO.</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ctr" latinLnBrk="0" hangingPunct="1"/>
                      <a:r>
                        <a:rPr lang="en-US" sz="900" b="0" i="0" u="none" strike="noStrike" kern="1200">
                          <a:solidFill>
                            <a:srgbClr val="002060"/>
                          </a:solidFill>
                          <a:effectLst/>
                          <a:latin typeface="Arial"/>
                          <a:ea typeface="+mn-ea"/>
                          <a:cs typeface="+mn-cs"/>
                        </a:rPr>
                        <a:t>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ctr" latinLnBrk="0" hangingPunct="1"/>
                      <a:r>
                        <a:rPr lang="en-US" sz="900" b="0" i="0" u="none" strike="noStrike" kern="1200">
                          <a:solidFill>
                            <a:srgbClr val="002060"/>
                          </a:solidFill>
                          <a:effectLst/>
                          <a:latin typeface="Arial"/>
                          <a:ea typeface="+mn-ea"/>
                          <a:cs typeface="+mn-cs"/>
                        </a:rPr>
                        <a:t>0.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02"/>
                  </a:ext>
                </a:extLst>
              </a:tr>
              <a:tr h="132080">
                <a:tc>
                  <a:txBody>
                    <a:bodyPr/>
                    <a:lstStyle/>
                    <a:p>
                      <a:pPr marL="0" algn="l" defTabSz="914400" rtl="0" eaLnBrk="1" fontAlgn="ctr" latinLnBrk="0" hangingPunct="1"/>
                      <a:r>
                        <a:rPr lang="en-US" sz="900" b="0" i="0" u="none" strike="noStrike" kern="1200">
                          <a:solidFill>
                            <a:srgbClr val="002060"/>
                          </a:solidFill>
                          <a:effectLst/>
                          <a:latin typeface="Arial"/>
                          <a:ea typeface="+mn-ea"/>
                          <a:cs typeface="+mn-cs"/>
                        </a:rPr>
                        <a:t>HONEYWELL INTERNATIONAL INC</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900" b="0" i="0" u="none" strike="noStrike" kern="1200">
                          <a:solidFill>
                            <a:srgbClr val="002060"/>
                          </a:solidFill>
                          <a:effectLst/>
                          <a:latin typeface="Arial"/>
                          <a:ea typeface="+mn-ea"/>
                          <a:cs typeface="+mn-cs"/>
                        </a:rPr>
                        <a:t>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900" b="0" i="0" u="none" strike="noStrike" kern="1200">
                          <a:solidFill>
                            <a:srgbClr val="002060"/>
                          </a:solidFill>
                          <a:effectLst/>
                          <a:latin typeface="Arial"/>
                          <a:ea typeface="+mn-ea"/>
                          <a:cs typeface="+mn-cs"/>
                        </a:rPr>
                        <a:t>0.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3"/>
                  </a:ext>
                </a:extLst>
              </a:tr>
              <a:tr h="147615">
                <a:tc>
                  <a:txBody>
                    <a:bodyPr/>
                    <a:lstStyle/>
                    <a:p>
                      <a:pPr marL="0" algn="l" defTabSz="914400" rtl="0" eaLnBrk="1" fontAlgn="ctr" latinLnBrk="0" hangingPunct="1"/>
                      <a:r>
                        <a:rPr lang="en-US" sz="900" b="0" i="0" u="none" strike="noStrike" kern="1200">
                          <a:solidFill>
                            <a:srgbClr val="002060"/>
                          </a:solidFill>
                          <a:effectLst/>
                          <a:latin typeface="Arial"/>
                          <a:ea typeface="+mn-ea"/>
                          <a:cs typeface="+mn-cs"/>
                        </a:rPr>
                        <a:t>BEIERSDORF A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ctr" latinLnBrk="0" hangingPunct="1"/>
                      <a:r>
                        <a:rPr lang="en-US" sz="900" b="0" i="0" u="none" strike="noStrike" kern="1200">
                          <a:solidFill>
                            <a:srgbClr val="002060"/>
                          </a:solidFill>
                          <a:effectLst/>
                          <a:latin typeface="Arial"/>
                          <a:ea typeface="+mn-ea"/>
                          <a:cs typeface="+mn-cs"/>
                        </a:rPr>
                        <a:t>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ctr" latinLnBrk="0" hangingPunct="1"/>
                      <a:r>
                        <a:rPr lang="en-US" sz="900" b="0" i="0" u="none" strike="noStrike" kern="1200">
                          <a:solidFill>
                            <a:srgbClr val="002060"/>
                          </a:solidFill>
                          <a:effectLst/>
                          <a:latin typeface="Arial"/>
                          <a:ea typeface="+mn-ea"/>
                          <a:cs typeface="+mn-cs"/>
                        </a:rPr>
                        <a:t>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04"/>
                  </a:ext>
                </a:extLst>
              </a:tr>
              <a:tr h="133546">
                <a:tc>
                  <a:txBody>
                    <a:bodyPr/>
                    <a:lstStyle/>
                    <a:p>
                      <a:pPr marL="0" algn="l" defTabSz="914400" rtl="0" eaLnBrk="1" fontAlgn="ctr" latinLnBrk="0" hangingPunct="1"/>
                      <a:r>
                        <a:rPr lang="en-US" sz="900" b="0" i="0" u="none" strike="noStrike" kern="1200">
                          <a:solidFill>
                            <a:srgbClr val="002060"/>
                          </a:solidFill>
                          <a:effectLst/>
                          <a:latin typeface="Arial"/>
                          <a:ea typeface="+mn-ea"/>
                          <a:cs typeface="+mn-cs"/>
                        </a:rPr>
                        <a:t>MCDONALD S CORP</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900" b="0" i="0" u="none" strike="noStrike" kern="1200">
                          <a:solidFill>
                            <a:srgbClr val="002060"/>
                          </a:solidFill>
                          <a:effectLst/>
                          <a:latin typeface="Arial"/>
                          <a:ea typeface="+mn-ea"/>
                          <a:cs typeface="+mn-cs"/>
                        </a:rPr>
                        <a:t>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900" b="0" i="0" u="none" strike="noStrike" kern="1200">
                          <a:solidFill>
                            <a:srgbClr val="002060"/>
                          </a:solidFill>
                          <a:effectLst/>
                          <a:latin typeface="Arial"/>
                          <a:ea typeface="+mn-ea"/>
                          <a:cs typeface="+mn-cs"/>
                        </a:rPr>
                        <a:t>0.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5"/>
                  </a:ext>
                </a:extLst>
              </a:tr>
              <a:tr h="135565">
                <a:tc>
                  <a:txBody>
                    <a:bodyPr/>
                    <a:lstStyle/>
                    <a:p>
                      <a:pPr marL="0" algn="l" defTabSz="914400" rtl="0" eaLnBrk="1" fontAlgn="ctr" latinLnBrk="0" hangingPunct="1"/>
                      <a:r>
                        <a:rPr lang="en-US" sz="900" b="0" i="0" u="none" strike="noStrike" kern="1200">
                          <a:solidFill>
                            <a:srgbClr val="002060"/>
                          </a:solidFill>
                          <a:effectLst/>
                          <a:latin typeface="Arial"/>
                          <a:ea typeface="+mn-ea"/>
                          <a:cs typeface="+mn-cs"/>
                        </a:rPr>
                        <a:t>JOHNSON &amp; JOHNSON</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ctr" latinLnBrk="0" hangingPunct="1"/>
                      <a:r>
                        <a:rPr lang="en-US" sz="900" b="0" i="0" u="none" strike="noStrike" kern="1200">
                          <a:solidFill>
                            <a:srgbClr val="002060"/>
                          </a:solidFill>
                          <a:effectLst/>
                          <a:latin typeface="Arial"/>
                          <a:ea typeface="+mn-ea"/>
                          <a:cs typeface="+mn-cs"/>
                        </a:rPr>
                        <a:t>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ctr" latinLnBrk="0" hangingPunct="1"/>
                      <a:r>
                        <a:rPr lang="en-US" sz="900" b="0" i="0" u="none" strike="noStrike" kern="1200">
                          <a:solidFill>
                            <a:srgbClr val="002060"/>
                          </a:solidFill>
                          <a:effectLst/>
                          <a:latin typeface="Arial"/>
                          <a:ea typeface="+mn-ea"/>
                          <a:cs typeface="+mn-cs"/>
                        </a:rPr>
                        <a:t>0.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06"/>
                  </a:ext>
                </a:extLst>
              </a:tr>
              <a:tr h="126834">
                <a:tc>
                  <a:txBody>
                    <a:bodyPr/>
                    <a:lstStyle/>
                    <a:p>
                      <a:pPr marL="0" algn="l" defTabSz="914400" rtl="0" eaLnBrk="1" fontAlgn="ctr" latinLnBrk="0" hangingPunct="1"/>
                      <a:r>
                        <a:rPr lang="en-US" sz="900" b="0" i="0" u="none" strike="noStrike" kern="1200" dirty="0">
                          <a:solidFill>
                            <a:srgbClr val="002060"/>
                          </a:solidFill>
                          <a:effectLst/>
                          <a:latin typeface="Arial"/>
                          <a:ea typeface="+mn-ea"/>
                          <a:cs typeface="+mn-cs"/>
                        </a:rPr>
                        <a:t>NEXTERA ENERGY INC</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900" b="0" i="0" u="none" strike="noStrike" kern="1200">
                          <a:solidFill>
                            <a:srgbClr val="002060"/>
                          </a:solidFill>
                          <a:effectLst/>
                          <a:latin typeface="Arial"/>
                          <a:ea typeface="+mn-ea"/>
                          <a:cs typeface="+mn-cs"/>
                        </a:rPr>
                        <a:t>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900" b="0" i="0" u="none" strike="noStrike" kern="1200" dirty="0">
                          <a:solidFill>
                            <a:srgbClr val="002060"/>
                          </a:solidFill>
                          <a:effectLst/>
                          <a:latin typeface="Arial"/>
                          <a:ea typeface="+mn-ea"/>
                          <a:cs typeface="+mn-cs"/>
                        </a:rPr>
                        <a:t>0.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7"/>
                  </a:ext>
                </a:extLst>
              </a:tr>
              <a:tr h="138917">
                <a:tc>
                  <a:txBody>
                    <a:bodyPr/>
                    <a:lstStyle/>
                    <a:p>
                      <a:pPr algn="l" fontAlgn="b"/>
                      <a:r>
                        <a:rPr lang="en-US" sz="900" b="0" i="0" u="none" strike="noStrike">
                          <a:solidFill>
                            <a:srgbClr val="002060"/>
                          </a:solidFill>
                          <a:effectLst/>
                          <a:latin typeface="Arial"/>
                        </a:rPr>
                        <a:t>PEPSICO INC/NC</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ctr"/>
                      <a:r>
                        <a:rPr lang="en-US" sz="900" b="0" i="0" u="none" strike="noStrike">
                          <a:solidFill>
                            <a:srgbClr val="002060"/>
                          </a:solidFill>
                          <a:effectLst/>
                          <a:latin typeface="Arial"/>
                        </a:rPr>
                        <a:t>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ctr"/>
                      <a:r>
                        <a:rPr lang="en-US" sz="900" b="0" i="0" u="none" strike="noStrike">
                          <a:solidFill>
                            <a:srgbClr val="002060"/>
                          </a:solidFill>
                          <a:effectLst/>
                          <a:latin typeface="Arial"/>
                        </a:rPr>
                        <a:t>0.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08"/>
                  </a:ext>
                </a:extLst>
              </a:tr>
              <a:tr h="134397">
                <a:tc>
                  <a:txBody>
                    <a:bodyPr/>
                    <a:lstStyle/>
                    <a:p>
                      <a:pPr algn="l" fontAlgn="b"/>
                      <a:r>
                        <a:rPr lang="en-US" sz="900" b="0" i="0" u="none" strike="noStrike">
                          <a:solidFill>
                            <a:srgbClr val="002060"/>
                          </a:solidFill>
                          <a:effectLst/>
                          <a:latin typeface="Arial"/>
                        </a:rPr>
                        <a:t>PFIZER INC</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ctr"/>
                      <a:r>
                        <a:rPr lang="en-US" sz="900" b="0" i="0" u="none" strike="noStrike">
                          <a:solidFill>
                            <a:srgbClr val="002060"/>
                          </a:solidFill>
                          <a:effectLst/>
                          <a:latin typeface="Arial"/>
                        </a:rPr>
                        <a:t>1.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ctr"/>
                      <a:r>
                        <a:rPr lang="en-US" sz="900" b="0" i="0" u="none" strike="noStrike">
                          <a:solidFill>
                            <a:srgbClr val="002060"/>
                          </a:solidFill>
                          <a:effectLst/>
                          <a:latin typeface="Arial"/>
                        </a:rPr>
                        <a:t>0.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9"/>
                  </a:ext>
                </a:extLst>
              </a:tr>
              <a:tr h="135626">
                <a:tc>
                  <a:txBody>
                    <a:bodyPr/>
                    <a:lstStyle/>
                    <a:p>
                      <a:pPr algn="l" fontAlgn="b"/>
                      <a:r>
                        <a:rPr lang="en-US" sz="900" b="0" i="0" u="none" strike="noStrike">
                          <a:solidFill>
                            <a:srgbClr val="002060"/>
                          </a:solidFill>
                          <a:effectLst/>
                          <a:latin typeface="Arial"/>
                        </a:rPr>
                        <a:t>AGL ENERGY LTD</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ctr"/>
                      <a:r>
                        <a:rPr lang="en-US" sz="900" b="0" i="0" u="none" strike="noStrike">
                          <a:solidFill>
                            <a:srgbClr val="002060"/>
                          </a:solidFill>
                          <a:effectLst/>
                          <a:latin typeface="Arial"/>
                        </a:rPr>
                        <a:t>1.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ctr"/>
                      <a:r>
                        <a:rPr lang="en-US" sz="900" b="0" i="0" u="none" strike="noStrike" dirty="0">
                          <a:solidFill>
                            <a:srgbClr val="002060"/>
                          </a:solidFill>
                          <a:effectLst/>
                          <a:latin typeface="Arial"/>
                        </a:rPr>
                        <a:t>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 xmlns:a16="http://schemas.microsoft.com/office/drawing/2014/main" val="10010"/>
                  </a:ext>
                </a:extLst>
              </a:tr>
              <a:tr h="119766">
                <a:tc>
                  <a:txBody>
                    <a:bodyPr/>
                    <a:lstStyle/>
                    <a:p>
                      <a:pPr marL="0" algn="l" defTabSz="914400" rtl="0" eaLnBrk="1" fontAlgn="b" latinLnBrk="0" hangingPunct="1"/>
                      <a:r>
                        <a:rPr lang="fr-FR" sz="900" b="1" i="0" u="none" strike="noStrike" kern="1200" dirty="0">
                          <a:solidFill>
                            <a:schemeClr val="bg1"/>
                          </a:solidFill>
                          <a:effectLst/>
                          <a:latin typeface="+mn-lt"/>
                          <a:ea typeface="+mn-ea"/>
                          <a:cs typeface="+mn-cs"/>
                        </a:rPr>
                        <a:t>TOTAL</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ctr" defTabSz="914400" rtl="0" eaLnBrk="1" fontAlgn="b" latinLnBrk="0" hangingPunct="1"/>
                      <a:r>
                        <a:rPr lang="fr-FR" sz="900" b="1" i="0" u="none" strike="noStrike" kern="1200" dirty="0" smtClean="0">
                          <a:solidFill>
                            <a:schemeClr val="bg1"/>
                          </a:solidFill>
                          <a:effectLst/>
                          <a:latin typeface="+mn-lt"/>
                          <a:ea typeface="+mn-ea"/>
                          <a:cs typeface="+mn-cs"/>
                        </a:rPr>
                        <a:t>19.0%</a:t>
                      </a:r>
                      <a:endParaRPr lang="fr-FR" sz="900" b="1" i="0" u="none" strike="noStrike" kern="1200" dirty="0">
                        <a:solidFill>
                          <a:schemeClr val="bg1"/>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algn="ctr" defTabSz="914400" rtl="0" eaLnBrk="1" fontAlgn="b" latinLnBrk="0" hangingPunct="1"/>
                      <a:r>
                        <a:rPr lang="fr-FR" sz="900" b="1" i="0" u="none" strike="noStrike" kern="1200" dirty="0" smtClean="0">
                          <a:solidFill>
                            <a:schemeClr val="bg1"/>
                          </a:solidFill>
                          <a:effectLst/>
                          <a:latin typeface="+mn-lt"/>
                          <a:ea typeface="+mn-ea"/>
                          <a:cs typeface="+mn-cs"/>
                        </a:rPr>
                        <a:t>3.1%</a:t>
                      </a:r>
                      <a:endParaRPr lang="fr-FR" sz="900" b="1" i="0" u="none" strike="noStrike" kern="1200" dirty="0">
                        <a:solidFill>
                          <a:schemeClr val="bg1"/>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 xmlns:a16="http://schemas.microsoft.com/office/drawing/2014/main" val="10011"/>
                  </a:ext>
                </a:extLst>
              </a:tr>
            </a:tbl>
          </a:graphicData>
        </a:graphic>
      </p:graphicFrame>
      <p:sp>
        <p:nvSpPr>
          <p:cNvPr id="26" name="TextBox 4">
            <a:extLst>
              <a:ext uri="{FF2B5EF4-FFF2-40B4-BE49-F238E27FC236}">
                <a16:creationId xmlns="" xmlns:a16="http://schemas.microsoft.com/office/drawing/2014/main" id="{D76E7019-4AEE-4756-95C0-F0E0990364B2}"/>
              </a:ext>
            </a:extLst>
          </p:cNvPr>
          <p:cNvSpPr txBox="1"/>
          <p:nvPr/>
        </p:nvSpPr>
        <p:spPr>
          <a:xfrm>
            <a:off x="1867946" y="1163959"/>
            <a:ext cx="1321196"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ector breakdown</a:t>
            </a:r>
          </a:p>
        </p:txBody>
      </p:sp>
      <p:sp>
        <p:nvSpPr>
          <p:cNvPr id="27" name="TextBox 4">
            <a:extLst>
              <a:ext uri="{FF2B5EF4-FFF2-40B4-BE49-F238E27FC236}">
                <a16:creationId xmlns="" xmlns:a16="http://schemas.microsoft.com/office/drawing/2014/main" id="{C7390D25-7093-464F-ADF3-E51BC61AFF80}"/>
              </a:ext>
            </a:extLst>
          </p:cNvPr>
          <p:cNvSpPr txBox="1"/>
          <p:nvPr/>
        </p:nvSpPr>
        <p:spPr>
          <a:xfrm>
            <a:off x="6081537" y="1163959"/>
            <a:ext cx="1407758"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Country breakdown</a:t>
            </a:r>
          </a:p>
        </p:txBody>
      </p:sp>
      <p:sp>
        <p:nvSpPr>
          <p:cNvPr id="28" name="TextBox 4">
            <a:extLst>
              <a:ext uri="{FF2B5EF4-FFF2-40B4-BE49-F238E27FC236}">
                <a16:creationId xmlns="" xmlns:a16="http://schemas.microsoft.com/office/drawing/2014/main" id="{DAD1ED73-BC13-4839-8B81-5013AD1B5B83}"/>
              </a:ext>
            </a:extLst>
          </p:cNvPr>
          <p:cNvSpPr txBox="1"/>
          <p:nvPr/>
        </p:nvSpPr>
        <p:spPr>
          <a:xfrm>
            <a:off x="2000194" y="3525548"/>
            <a:ext cx="1056701"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Main holdings</a:t>
            </a:r>
          </a:p>
        </p:txBody>
      </p:sp>
      <p:graphicFrame>
        <p:nvGraphicFramePr>
          <p:cNvPr id="30" name="Table 13">
            <a:extLst>
              <a:ext uri="{FF2B5EF4-FFF2-40B4-BE49-F238E27FC236}">
                <a16:creationId xmlns="" xmlns:a16="http://schemas.microsoft.com/office/drawing/2014/main" id="{00623BB9-3227-4DB9-AA29-450CD96E6FA8}"/>
              </a:ext>
            </a:extLst>
          </p:cNvPr>
          <p:cNvGraphicFramePr>
            <a:graphicFrameLocks noGrp="1"/>
          </p:cNvGraphicFramePr>
          <p:nvPr>
            <p:extLst>
              <p:ext uri="{D42A27DB-BD31-4B8C-83A1-F6EECF244321}">
                <p14:modId xmlns:p14="http://schemas.microsoft.com/office/powerpoint/2010/main" val="2465025689"/>
              </p:ext>
            </p:extLst>
          </p:nvPr>
        </p:nvGraphicFramePr>
        <p:xfrm>
          <a:off x="5998094" y="5432807"/>
          <a:ext cx="2145322" cy="241166"/>
        </p:xfrm>
        <a:graphic>
          <a:graphicData uri="http://schemas.openxmlformats.org/drawingml/2006/table">
            <a:tbl>
              <a:tblPr/>
              <a:tblGrid>
                <a:gridCol w="1249209">
                  <a:extLst>
                    <a:ext uri="{9D8B030D-6E8A-4147-A177-3AD203B41FA5}">
                      <a16:colId xmlns="" xmlns:a16="http://schemas.microsoft.com/office/drawing/2014/main" val="20000"/>
                    </a:ext>
                  </a:extLst>
                </a:gridCol>
                <a:gridCol w="896113">
                  <a:extLst>
                    <a:ext uri="{9D8B030D-6E8A-4147-A177-3AD203B41FA5}">
                      <a16:colId xmlns="" xmlns:a16="http://schemas.microsoft.com/office/drawing/2014/main" val="20001"/>
                    </a:ext>
                  </a:extLst>
                </a:gridCol>
              </a:tblGrid>
              <a:tr h="24116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rPr>
                        <a:t> Number</a:t>
                      </a:r>
                      <a:r>
                        <a:rPr lang="en-US" sz="900" b="0" i="0" u="none" strike="noStrike" baseline="0" dirty="0">
                          <a:solidFill>
                            <a:schemeClr val="bg1"/>
                          </a:solidFill>
                          <a:effectLst/>
                          <a:latin typeface="+mn-lt"/>
                        </a:rPr>
                        <a:t> of holdings</a:t>
                      </a:r>
                      <a:endParaRPr lang="en-US" sz="900" b="0" i="0" u="none" strike="noStrike" dirty="0">
                        <a:solidFill>
                          <a:schemeClr val="bg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fr-FR" sz="900" b="0" i="0" u="none" strike="noStrike" dirty="0" smtClean="0">
                          <a:solidFill>
                            <a:schemeClr val="tx1"/>
                          </a:solidFill>
                          <a:effectLst/>
                          <a:latin typeface="Arial"/>
                        </a:rPr>
                        <a:t>130</a:t>
                      </a:r>
                      <a:endParaRPr lang="en-US" sz="900" b="0" i="0" u="none" strike="noStrike" dirty="0">
                        <a:solidFill>
                          <a:schemeClr val="tx1"/>
                        </a:solidFill>
                        <a:effectLst/>
                        <a:latin typeface="Arial"/>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0"/>
                  </a:ext>
                </a:extLst>
              </a:tr>
            </a:tbl>
          </a:graphicData>
        </a:graphic>
      </p:graphicFrame>
      <p:graphicFrame>
        <p:nvGraphicFramePr>
          <p:cNvPr id="16" name="Graphique 15"/>
          <p:cNvGraphicFramePr>
            <a:graphicFrameLocks/>
          </p:cNvGraphicFramePr>
          <p:nvPr>
            <p:extLst>
              <p:ext uri="{D42A27DB-BD31-4B8C-83A1-F6EECF244321}">
                <p14:modId xmlns:p14="http://schemas.microsoft.com/office/powerpoint/2010/main" val="746166173"/>
              </p:ext>
            </p:extLst>
          </p:nvPr>
        </p:nvGraphicFramePr>
        <p:xfrm>
          <a:off x="647954" y="1450848"/>
          <a:ext cx="3715258" cy="1972818"/>
        </p:xfrm>
        <a:graphic>
          <a:graphicData uri="http://schemas.openxmlformats.org/drawingml/2006/chart">
            <c:chart xmlns:c="http://schemas.openxmlformats.org/drawingml/2006/chart" xmlns:r="http://schemas.openxmlformats.org/officeDocument/2006/relationships" r:id="rId2"/>
          </a:graphicData>
        </a:graphic>
      </p:graphicFrame>
      <p:sp>
        <p:nvSpPr>
          <p:cNvPr id="4" name="Espace réservé du pied de page 3"/>
          <p:cNvSpPr>
            <a:spLocks noGrp="1"/>
          </p:cNvSpPr>
          <p:nvPr>
            <p:ph type="ftr" sz="quarter" idx="11"/>
          </p:nvPr>
        </p:nvSpPr>
        <p:spPr/>
        <p:txBody>
          <a:bodyPr/>
          <a:lstStyle/>
          <a:p>
            <a:r>
              <a:rPr lang="en-US" dirty="0"/>
              <a:t>Smart Beta - Investment Solutions</a:t>
            </a:r>
            <a:endParaRPr lang="fr-FR" dirty="0"/>
          </a:p>
        </p:txBody>
      </p:sp>
      <p:graphicFrame>
        <p:nvGraphicFramePr>
          <p:cNvPr id="14" name="Graphique 13"/>
          <p:cNvGraphicFramePr>
            <a:graphicFrameLocks/>
          </p:cNvGraphicFramePr>
          <p:nvPr>
            <p:extLst>
              <p:ext uri="{D42A27DB-BD31-4B8C-83A1-F6EECF244321}">
                <p14:modId xmlns:p14="http://schemas.microsoft.com/office/powerpoint/2010/main" val="1899888133"/>
              </p:ext>
            </p:extLst>
          </p:nvPr>
        </p:nvGraphicFramePr>
        <p:xfrm>
          <a:off x="4914011" y="1486789"/>
          <a:ext cx="3671951" cy="3909568"/>
        </p:xfrm>
        <a:graphic>
          <a:graphicData uri="http://schemas.openxmlformats.org/drawingml/2006/chart">
            <c:chart xmlns:c="http://schemas.openxmlformats.org/drawingml/2006/chart" xmlns:r="http://schemas.openxmlformats.org/officeDocument/2006/relationships" r:id="rId3"/>
          </a:graphicData>
        </a:graphic>
      </p:graphicFrame>
      <p:pic>
        <p:nvPicPr>
          <p:cNvPr id="13" name="Picture 2" descr="C:\Users\radegond\Desktop\Morningstar_4s.jpg">
            <a:extLst>
              <a:ext uri="{FF2B5EF4-FFF2-40B4-BE49-F238E27FC236}">
                <a16:creationId xmlns="" xmlns:a16="http://schemas.microsoft.com/office/drawing/2014/main" id="{30322CAA-650E-404A-8156-9D940A3D7D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88400" y="0"/>
            <a:ext cx="1155600" cy="1222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353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undi ETF, Indexing &amp; Smart Beta platform</a:t>
            </a:r>
            <a:endParaRPr lang="fr-FR" dirty="0"/>
          </a:p>
        </p:txBody>
      </p:sp>
      <p:sp>
        <p:nvSpPr>
          <p:cNvPr id="3" name="Footer Placeholder 2"/>
          <p:cNvSpPr>
            <a:spLocks noGrp="1"/>
          </p:cNvSpPr>
          <p:nvPr>
            <p:ph type="ftr" sz="quarter" idx="11"/>
          </p:nvPr>
        </p:nvSpPr>
        <p:spPr/>
        <p:txBody>
          <a:bodyPr/>
          <a:lstStyle/>
          <a:p>
            <a:r>
              <a:rPr lang="en-US" dirty="0"/>
              <a:t>Smart Beta - Investment Solutions</a:t>
            </a:r>
            <a:endParaRPr lang="fr-FR" dirty="0"/>
          </a:p>
          <a:p>
            <a:endParaRPr lang="fr-FR" dirty="0"/>
          </a:p>
        </p:txBody>
      </p:sp>
      <p:sp>
        <p:nvSpPr>
          <p:cNvPr id="4" name="Slide Number Placeholder 3"/>
          <p:cNvSpPr>
            <a:spLocks noGrp="1"/>
          </p:cNvSpPr>
          <p:nvPr>
            <p:ph type="sldNum" sz="quarter" idx="12"/>
          </p:nvPr>
        </p:nvSpPr>
        <p:spPr/>
        <p:txBody>
          <a:bodyPr/>
          <a:lstStyle/>
          <a:p>
            <a:fld id="{2B1C6FFC-D040-034F-8B69-20295064E64D}" type="slidenum">
              <a:rPr lang="fr-FR" smtClean="0"/>
              <a:t>6</a:t>
            </a:fld>
            <a:endParaRPr lang="fr-FR" dirty="0"/>
          </a:p>
        </p:txBody>
      </p:sp>
      <p:sp>
        <p:nvSpPr>
          <p:cNvPr id="5" name="Text Placeholder 4"/>
          <p:cNvSpPr>
            <a:spLocks noGrp="1"/>
          </p:cNvSpPr>
          <p:nvPr>
            <p:ph type="body" sz="quarter" idx="13"/>
          </p:nvPr>
        </p:nvSpPr>
        <p:spPr/>
        <p:txBody>
          <a:bodyPr>
            <a:normAutofit fontScale="92500"/>
          </a:bodyPr>
          <a:lstStyle/>
          <a:p>
            <a:pPr marL="4762" lvl="1" indent="0" algn="just">
              <a:spcBef>
                <a:spcPts val="600"/>
              </a:spcBef>
              <a:buClr>
                <a:schemeClr val="accent1"/>
              </a:buClr>
              <a:buNone/>
              <a:defRPr/>
            </a:pPr>
            <a:r>
              <a:rPr lang="en-US" sz="1600" kern="200" dirty="0">
                <a:solidFill>
                  <a:schemeClr val="tx1"/>
                </a:solidFill>
              </a:rPr>
              <a:t>One of Amundi’s key strategic areas of development, accounting for </a:t>
            </a:r>
            <a:r>
              <a:rPr lang="en-US" sz="1600" kern="200" dirty="0" smtClean="0">
                <a:solidFill>
                  <a:schemeClr val="tx1"/>
                </a:solidFill>
              </a:rPr>
              <a:t>more than €90 </a:t>
            </a:r>
            <a:r>
              <a:rPr lang="en-US" sz="1600" kern="200" dirty="0">
                <a:solidFill>
                  <a:schemeClr val="tx1"/>
                </a:solidFill>
              </a:rPr>
              <a:t>bn </a:t>
            </a:r>
            <a:r>
              <a:rPr lang="en-US" sz="1600" kern="200" dirty="0" smtClean="0">
                <a:solidFill>
                  <a:schemeClr val="tx1"/>
                </a:solidFill>
              </a:rPr>
              <a:t>AUM*</a:t>
            </a:r>
            <a:endParaRPr lang="en-US" sz="1600" kern="200" dirty="0">
              <a:solidFill>
                <a:schemeClr val="tx1"/>
              </a:solidFill>
            </a:endParaRPr>
          </a:p>
        </p:txBody>
      </p:sp>
      <p:sp>
        <p:nvSpPr>
          <p:cNvPr id="26" name="Rectangle 25"/>
          <p:cNvSpPr/>
          <p:nvPr/>
        </p:nvSpPr>
        <p:spPr>
          <a:xfrm>
            <a:off x="0" y="1560513"/>
            <a:ext cx="9144000" cy="41433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spcBef>
                <a:spcPts val="1000"/>
              </a:spcBef>
              <a:buClr>
                <a:schemeClr val="accent1"/>
              </a:buClr>
              <a:buSzPct val="130000"/>
              <a:buFont typeface="CambriaMath" charset="0"/>
              <a:buChar char="⎯"/>
              <a:defRPr sz="1600">
                <a:solidFill>
                  <a:schemeClr val="tx2"/>
                </a:solidFill>
                <a:latin typeface="Arial" pitchFamily="34" charset="0"/>
                <a:ea typeface="ＭＳ Ｐゴシック" pitchFamily="34" charset="-128"/>
              </a:defRPr>
            </a:lvl1pPr>
            <a:lvl2pPr marL="742950" indent="-285750" eaLnBrk="0" hangingPunct="0">
              <a:spcBef>
                <a:spcPts val="500"/>
              </a:spcBef>
              <a:buClr>
                <a:schemeClr val="accent2"/>
              </a:buClr>
              <a:buFont typeface="CambriaMath" charset="0"/>
              <a:buChar char="⎯"/>
              <a:defRPr sz="1400">
                <a:solidFill>
                  <a:schemeClr val="tx2"/>
                </a:solidFill>
                <a:latin typeface="Arial" pitchFamily="34" charset="0"/>
                <a:ea typeface="ＭＳ Ｐゴシック" pitchFamily="34" charset="-128"/>
              </a:defRPr>
            </a:lvl2pPr>
            <a:lvl3pPr marL="1143000" indent="-228600" eaLnBrk="0" hangingPunct="0">
              <a:spcBef>
                <a:spcPts val="500"/>
              </a:spcBef>
              <a:buClr>
                <a:schemeClr val="accent2"/>
              </a:buClr>
              <a:buFont typeface="LucidaGrande-Bold" charset="0"/>
              <a:buChar char="⁃"/>
              <a:defRPr sz="1200">
                <a:solidFill>
                  <a:schemeClr val="tx2"/>
                </a:solidFill>
                <a:latin typeface="Arial" pitchFamily="34" charset="0"/>
                <a:ea typeface="ＭＳ Ｐゴシック" pitchFamily="34" charset="-128"/>
              </a:defRPr>
            </a:lvl3pPr>
            <a:lvl4pPr marL="1600200" indent="-228600" eaLnBrk="0" hangingPunct="0">
              <a:spcBef>
                <a:spcPts val="500"/>
              </a:spcBef>
              <a:buFont typeface="Arial" pitchFamily="34" charset="0"/>
              <a:defRPr sz="1200">
                <a:solidFill>
                  <a:schemeClr val="tx1"/>
                </a:solidFill>
                <a:latin typeface="Arial" pitchFamily="34" charset="0"/>
                <a:ea typeface="ＭＳ Ｐゴシック" pitchFamily="34" charset="-128"/>
              </a:defRPr>
            </a:lvl4pPr>
            <a:lvl5pPr marL="2057400" indent="-228600" eaLnBrk="0" hangingPunct="0">
              <a:spcBef>
                <a:spcPts val="500"/>
              </a:spcBef>
              <a:buFont typeface="Arial" pitchFamily="34" charset="0"/>
              <a:defRPr sz="1200">
                <a:solidFill>
                  <a:schemeClr val="accent1"/>
                </a:solidFill>
                <a:latin typeface="Arial" pitchFamily="34" charset="0"/>
                <a:ea typeface="ＭＳ Ｐゴシック" pitchFamily="34" charset="-128"/>
              </a:defRPr>
            </a:lvl5pPr>
            <a:lvl6pPr marL="2514600" indent="-228600"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6pPr>
            <a:lvl7pPr marL="2971800" indent="-228600"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7pPr>
            <a:lvl8pPr marL="3429000" indent="-228600"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8pPr>
            <a:lvl9pPr marL="3886200" indent="-228600"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9pPr>
          </a:lstStyle>
          <a:p>
            <a:pPr algn="ctr" eaLnBrk="1" hangingPunct="1">
              <a:spcBef>
                <a:spcPct val="0"/>
              </a:spcBef>
              <a:buClrTx/>
              <a:buSzTx/>
              <a:buFontTx/>
              <a:buNone/>
              <a:defRPr/>
            </a:pPr>
            <a:endParaRPr lang="en-GB" altLang="en-US" sz="1800" smtClean="0">
              <a:solidFill>
                <a:srgbClr val="FFFFFF"/>
              </a:solidFill>
            </a:endParaRPr>
          </a:p>
        </p:txBody>
      </p:sp>
      <p:sp>
        <p:nvSpPr>
          <p:cNvPr id="27" name="Rectangle 26"/>
          <p:cNvSpPr>
            <a:spLocks noChangeArrowheads="1"/>
          </p:cNvSpPr>
          <p:nvPr/>
        </p:nvSpPr>
        <p:spPr bwMode="auto">
          <a:xfrm>
            <a:off x="3247593" y="1968139"/>
            <a:ext cx="2453707" cy="2662110"/>
          </a:xfrm>
          <a:prstGeom prst="rect">
            <a:avLst/>
          </a:prstGeom>
          <a:solidFill>
            <a:schemeClr val="bg1"/>
          </a:solidFill>
          <a:ln w="19050">
            <a:noFill/>
            <a:miter lim="800000"/>
            <a:headEnd/>
            <a:tailEnd/>
          </a:ln>
          <a:effectLst>
            <a:outerShdw blurRad="38100" dist="12700" dir="2700000" algn="tl" rotWithShape="0">
              <a:srgbClr val="808080">
                <a:alpha val="29999"/>
              </a:srgbClr>
            </a:outerShdw>
          </a:effectLst>
          <a:extLst/>
        </p:spPr>
        <p:txBody>
          <a:bodyPr lIns="180000" tIns="144000" rIns="180000" bIns="180000" anchor="t"/>
          <a:lstStyle/>
          <a:p>
            <a:pPr marL="285750" indent="-285750">
              <a:buClr>
                <a:schemeClr val="accent1"/>
              </a:buClr>
              <a:buFont typeface="Arial" panose="020B0604020202020204" pitchFamily="34" charset="0"/>
              <a:buChar char="−"/>
              <a:defRPr/>
            </a:pPr>
            <a:r>
              <a:rPr lang="en-US" sz="1000" b="1" dirty="0">
                <a:latin typeface="Arial" charset="0"/>
                <a:ea typeface="ＭＳ Ｐゴシック" charset="0"/>
                <a:cs typeface="ＭＳ Ｐゴシック" charset="0"/>
              </a:rPr>
              <a:t>30y+ track record </a:t>
            </a:r>
            <a:r>
              <a:rPr lang="en-US" sz="1000" dirty="0">
                <a:latin typeface="Arial" charset="0"/>
                <a:ea typeface="ＭＳ Ｐゴシック" charset="0"/>
                <a:cs typeface="ＭＳ Ｐゴシック" charset="0"/>
              </a:rPr>
              <a:t>with </a:t>
            </a:r>
            <a:r>
              <a:rPr lang="en-US" sz="1000" dirty="0" smtClean="0">
                <a:latin typeface="Arial" charset="0"/>
                <a:ea typeface="ＭＳ Ｐゴシック" charset="0"/>
                <a:cs typeface="ＭＳ Ｐゴシック" charset="0"/>
              </a:rPr>
              <a:t>more than 100 indexes replicated in </a:t>
            </a:r>
            <a:r>
              <a:rPr lang="en-US" sz="1000" b="1" dirty="0" smtClean="0">
                <a:latin typeface="Arial" charset="0"/>
                <a:ea typeface="ＭＳ Ｐゴシック" charset="0"/>
                <a:cs typeface="ＭＳ Ｐゴシック" charset="0"/>
              </a:rPr>
              <a:t>Equity &amp; Fixed Income</a:t>
            </a:r>
          </a:p>
          <a:p>
            <a:pPr marL="285750" indent="-285750">
              <a:buClr>
                <a:schemeClr val="accent1"/>
              </a:buClr>
              <a:buFont typeface="Arial" panose="020B0604020202020204" pitchFamily="34" charset="0"/>
              <a:buChar char="−"/>
              <a:defRPr/>
            </a:pPr>
            <a:endParaRPr lang="en-US" sz="1000" dirty="0">
              <a:latin typeface="Arial" charset="0"/>
              <a:ea typeface="ＭＳ Ｐゴシック" charset="0"/>
              <a:cs typeface="ＭＳ Ｐゴシック" charset="0"/>
            </a:endParaRPr>
          </a:p>
          <a:p>
            <a:pPr marL="285750" indent="-285750">
              <a:buClr>
                <a:schemeClr val="accent1"/>
              </a:buClr>
              <a:buFont typeface="Arial" panose="020B0604020202020204" pitchFamily="34" charset="0"/>
              <a:buChar char="−"/>
              <a:defRPr/>
            </a:pPr>
            <a:r>
              <a:rPr lang="en-US" sz="1000" dirty="0">
                <a:latin typeface="Arial" charset="0"/>
                <a:ea typeface="ＭＳ Ｐゴシック" charset="0"/>
                <a:cs typeface="ＭＳ Ｐゴシック" charset="0"/>
              </a:rPr>
              <a:t>Leverage on </a:t>
            </a:r>
            <a:r>
              <a:rPr lang="en-US" sz="1000" dirty="0" err="1">
                <a:latin typeface="Arial" charset="0"/>
                <a:ea typeface="ＭＳ Ｐゴシック" charset="0"/>
                <a:cs typeface="ＭＳ Ｐゴシック" charset="0"/>
              </a:rPr>
              <a:t>Amundi’s</a:t>
            </a:r>
            <a:r>
              <a:rPr lang="en-US" sz="1000" dirty="0">
                <a:latin typeface="Arial" charset="0"/>
                <a:ea typeface="ＭＳ Ｐゴシック" charset="0"/>
                <a:cs typeface="ＭＳ Ｐゴシック" charset="0"/>
              </a:rPr>
              <a:t> </a:t>
            </a:r>
            <a:r>
              <a:rPr lang="en-US" sz="1000" b="1" dirty="0">
                <a:latin typeface="Arial" charset="0"/>
                <a:ea typeface="ＭＳ Ｐゴシック" charset="0"/>
                <a:cs typeface="ＭＳ Ｐゴシック" charset="0"/>
              </a:rPr>
              <a:t>outstanding pricing power &amp; dealing excellence</a:t>
            </a:r>
          </a:p>
          <a:p>
            <a:pPr>
              <a:buClr>
                <a:schemeClr val="accent1"/>
              </a:buClr>
              <a:defRPr/>
            </a:pPr>
            <a:endParaRPr lang="en-US" sz="1000" dirty="0" smtClean="0">
              <a:latin typeface="Arial" charset="0"/>
              <a:ea typeface="ＭＳ Ｐゴシック" charset="0"/>
              <a:cs typeface="ＭＳ Ｐゴシック" charset="0"/>
            </a:endParaRPr>
          </a:p>
          <a:p>
            <a:pPr marL="285750" indent="-285750">
              <a:buClr>
                <a:schemeClr val="accent1"/>
              </a:buClr>
              <a:buFont typeface="Arial" panose="020B0604020202020204" pitchFamily="34" charset="0"/>
              <a:buChar char="−"/>
              <a:defRPr/>
            </a:pPr>
            <a:r>
              <a:rPr lang="en-US" sz="1000" dirty="0" smtClean="0">
                <a:latin typeface="Arial" charset="0"/>
                <a:ea typeface="ＭＳ Ｐゴシック" charset="0"/>
                <a:cs typeface="ＭＳ Ｐゴシック" charset="0"/>
              </a:rPr>
              <a:t>Strong </a:t>
            </a:r>
            <a:r>
              <a:rPr lang="en-US" sz="1000" b="1" dirty="0">
                <a:latin typeface="Arial" charset="0"/>
                <a:ea typeface="ＭＳ Ｐゴシック" charset="0"/>
                <a:cs typeface="ＭＳ Ｐゴシック" charset="0"/>
              </a:rPr>
              <a:t>customization capabilities</a:t>
            </a:r>
            <a:r>
              <a:rPr lang="en-US" sz="1000" dirty="0">
                <a:latin typeface="Arial" charset="0"/>
                <a:ea typeface="ＭＳ Ｐゴシック" charset="0"/>
                <a:cs typeface="ＭＳ Ｐゴシック" charset="0"/>
              </a:rPr>
              <a:t>, incl. ESG &amp; low carbon index </a:t>
            </a:r>
            <a:r>
              <a:rPr lang="en-US" sz="1000" dirty="0" smtClean="0">
                <a:latin typeface="Arial" charset="0"/>
                <a:ea typeface="ＭＳ Ｐゴシック" charset="0"/>
                <a:cs typeface="ＭＳ Ｐゴシック" charset="0"/>
              </a:rPr>
              <a:t>solutions</a:t>
            </a:r>
            <a:endParaRPr lang="en-US" sz="1000" dirty="0">
              <a:latin typeface="Arial" charset="0"/>
              <a:ea typeface="ＭＳ Ｐゴシック" charset="0"/>
              <a:cs typeface="ＭＳ Ｐゴシック" charset="0"/>
            </a:endParaRPr>
          </a:p>
          <a:p>
            <a:pPr marL="285750" indent="-285750">
              <a:buClr>
                <a:schemeClr val="accent1"/>
              </a:buClr>
              <a:buFont typeface="Arial" panose="020B0604020202020204" pitchFamily="34" charset="0"/>
              <a:buChar char="−"/>
              <a:defRPr/>
            </a:pPr>
            <a:endParaRPr lang="en-US" sz="1000" dirty="0">
              <a:latin typeface="Arial" charset="0"/>
              <a:ea typeface="ＭＳ Ｐゴシック" charset="0"/>
              <a:cs typeface="ＭＳ Ｐゴシック" charset="0"/>
            </a:endParaRPr>
          </a:p>
          <a:p>
            <a:pPr marL="285750" indent="-285750">
              <a:buClr>
                <a:schemeClr val="accent1"/>
              </a:buClr>
              <a:buFont typeface="Arial" panose="020B0604020202020204" pitchFamily="34" charset="0"/>
              <a:buChar char="−"/>
              <a:defRPr/>
            </a:pPr>
            <a:r>
              <a:rPr lang="en-US" sz="1000" b="1" dirty="0">
                <a:latin typeface="Arial" charset="0"/>
                <a:ea typeface="ＭＳ Ｐゴシック" charset="0"/>
                <a:cs typeface="ＭＳ Ｐゴシック" charset="0"/>
              </a:rPr>
              <a:t>Open-ended </a:t>
            </a:r>
            <a:r>
              <a:rPr lang="en-US" sz="1000" b="1" dirty="0" smtClean="0">
                <a:latin typeface="Arial" charset="0"/>
                <a:ea typeface="ＭＳ Ｐゴシック" charset="0"/>
                <a:cs typeface="ＭＳ Ｐゴシック" charset="0"/>
              </a:rPr>
              <a:t>range </a:t>
            </a:r>
            <a:r>
              <a:rPr lang="en-US" sz="1000" dirty="0">
                <a:latin typeface="Arial" charset="0"/>
                <a:ea typeface="ＭＳ Ｐゴシック" charset="0"/>
                <a:cs typeface="ＭＳ Ｐゴシック" charset="0"/>
              </a:rPr>
              <a:t>covering the </a:t>
            </a:r>
            <a:r>
              <a:rPr lang="en-US" sz="1000" dirty="0" smtClean="0">
                <a:latin typeface="Arial" charset="0"/>
                <a:ea typeface="ＭＳ Ｐゴシック" charset="0"/>
                <a:cs typeface="ＭＳ Ｐゴシック" charset="0"/>
              </a:rPr>
              <a:t>main equity &amp; fixed income exposure</a:t>
            </a:r>
            <a:endParaRPr lang="en-US" sz="1000" dirty="0">
              <a:latin typeface="Arial" charset="0"/>
              <a:ea typeface="ＭＳ Ｐゴシック" charset="0"/>
              <a:cs typeface="ＭＳ Ｐゴシック" charset="0"/>
            </a:endParaRPr>
          </a:p>
        </p:txBody>
      </p:sp>
      <p:sp>
        <p:nvSpPr>
          <p:cNvPr id="28" name="Rectangle 27"/>
          <p:cNvSpPr/>
          <p:nvPr/>
        </p:nvSpPr>
        <p:spPr>
          <a:xfrm>
            <a:off x="3247592" y="1651621"/>
            <a:ext cx="2453708" cy="3825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0"/>
              </a:spcBef>
              <a:spcAft>
                <a:spcPct val="60000"/>
              </a:spcAft>
            </a:pPr>
            <a:r>
              <a:rPr lang="fr-FR" altLang="fr-FR" sz="1400" b="1" dirty="0">
                <a:solidFill>
                  <a:schemeClr val="bg1"/>
                </a:solidFill>
              </a:rPr>
              <a:t>INDEXING</a:t>
            </a:r>
          </a:p>
        </p:txBody>
      </p:sp>
      <p:sp>
        <p:nvSpPr>
          <p:cNvPr id="29" name="Rectangle 28"/>
          <p:cNvSpPr/>
          <p:nvPr/>
        </p:nvSpPr>
        <p:spPr>
          <a:xfrm>
            <a:off x="515938" y="4796791"/>
            <a:ext cx="1390650" cy="811530"/>
          </a:xfrm>
          <a:prstGeom prst="rect">
            <a:avLst/>
          </a:prstGeom>
          <a:solidFill>
            <a:schemeClr val="bg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spcAft>
                <a:spcPct val="60000"/>
              </a:spcAft>
            </a:pPr>
            <a:r>
              <a:rPr lang="fr-FR" sz="1100" b="1" dirty="0">
                <a:solidFill>
                  <a:schemeClr val="bg1"/>
                </a:solidFill>
              </a:rPr>
              <a:t>BESPOKE SOLUTIONS</a:t>
            </a:r>
          </a:p>
        </p:txBody>
      </p:sp>
      <p:sp>
        <p:nvSpPr>
          <p:cNvPr id="30" name="Rectangle 29"/>
          <p:cNvSpPr>
            <a:spLocks noChangeArrowheads="1"/>
          </p:cNvSpPr>
          <p:nvPr/>
        </p:nvSpPr>
        <p:spPr bwMode="auto">
          <a:xfrm>
            <a:off x="515938" y="1968139"/>
            <a:ext cx="2478722" cy="2662110"/>
          </a:xfrm>
          <a:prstGeom prst="rect">
            <a:avLst/>
          </a:prstGeom>
          <a:solidFill>
            <a:schemeClr val="bg1"/>
          </a:solidFill>
          <a:ln w="19050">
            <a:noFill/>
            <a:miter lim="800000"/>
            <a:headEnd/>
            <a:tailEnd/>
          </a:ln>
          <a:effectLst>
            <a:outerShdw blurRad="38100" dist="12700" dir="2700000" algn="tl" rotWithShape="0">
              <a:srgbClr val="808080">
                <a:alpha val="29999"/>
              </a:srgbClr>
            </a:outerShdw>
          </a:effectLst>
          <a:extLst/>
        </p:spPr>
        <p:txBody>
          <a:bodyPr lIns="180000" tIns="144000" rIns="180000" bIns="180000" anchor="t"/>
          <a:lstStyle/>
          <a:p>
            <a:pPr marL="285750" indent="-285750">
              <a:buClr>
                <a:schemeClr val="accent1"/>
              </a:buClr>
              <a:buFont typeface="Arial" panose="020B0604020202020204" pitchFamily="34" charset="0"/>
              <a:buChar char="−"/>
              <a:defRPr/>
            </a:pPr>
            <a:r>
              <a:rPr lang="en-US" sz="1000" b="1" dirty="0">
                <a:latin typeface="Arial" charset="0"/>
                <a:ea typeface="ＭＳ Ｐゴシック" charset="0"/>
                <a:cs typeface="ＭＳ Ｐゴシック" charset="0"/>
              </a:rPr>
              <a:t>5</a:t>
            </a:r>
            <a:r>
              <a:rPr lang="en-US" sz="1000" b="1" baseline="30000" dirty="0">
                <a:latin typeface="Arial" charset="0"/>
                <a:ea typeface="ＭＳ Ｐゴシック" charset="0"/>
                <a:cs typeface="ＭＳ Ｐゴシック" charset="0"/>
              </a:rPr>
              <a:t>th</a:t>
            </a:r>
            <a:r>
              <a:rPr lang="en-US" sz="1000" b="1" dirty="0">
                <a:latin typeface="Arial" charset="0"/>
                <a:ea typeface="ＭＳ Ｐゴシック" charset="0"/>
                <a:cs typeface="ＭＳ Ｐゴシック" charset="0"/>
              </a:rPr>
              <a:t> Largest European </a:t>
            </a:r>
            <a:r>
              <a:rPr lang="en-US" sz="1000" b="1" dirty="0" smtClean="0">
                <a:latin typeface="Arial" charset="0"/>
                <a:ea typeface="ＭＳ Ｐゴシック" charset="0"/>
                <a:cs typeface="ＭＳ Ｐゴシック" charset="0"/>
              </a:rPr>
              <a:t>provider** with over 38bn</a:t>
            </a:r>
            <a:r>
              <a:rPr lang="en-US" sz="1000" b="1" dirty="0">
                <a:latin typeface="Arial" charset="0"/>
                <a:ea typeface="ＭＳ Ｐゴシック" charset="0"/>
                <a:cs typeface="ＭＳ Ｐゴシック" charset="0"/>
              </a:rPr>
              <a:t>€ </a:t>
            </a:r>
            <a:r>
              <a:rPr lang="en-US" sz="1000" b="1" dirty="0" smtClean="0">
                <a:latin typeface="Arial" charset="0"/>
                <a:ea typeface="ＭＳ Ｐゴシック" charset="0"/>
                <a:cs typeface="ＭＳ Ｐゴシック" charset="0"/>
              </a:rPr>
              <a:t>AUM* </a:t>
            </a:r>
            <a:endParaRPr lang="en-US" sz="1000" b="1" dirty="0">
              <a:latin typeface="Arial" charset="0"/>
              <a:ea typeface="ＭＳ Ｐゴシック" charset="0"/>
              <a:cs typeface="ＭＳ Ｐゴシック" charset="0"/>
            </a:endParaRPr>
          </a:p>
          <a:p>
            <a:pPr marL="285750" indent="-285750">
              <a:buClr>
                <a:schemeClr val="accent1"/>
              </a:buClr>
              <a:buFont typeface="Arial" panose="020B0604020202020204" pitchFamily="34" charset="0"/>
              <a:buChar char="−"/>
              <a:defRPr/>
            </a:pPr>
            <a:endParaRPr lang="en-US" sz="1000" b="1" dirty="0">
              <a:latin typeface="Arial" charset="0"/>
              <a:ea typeface="ＭＳ Ｐゴシック" charset="0"/>
              <a:cs typeface="ＭＳ Ｐゴシック" charset="0"/>
            </a:endParaRPr>
          </a:p>
          <a:p>
            <a:pPr marL="285750" indent="-285750">
              <a:buClr>
                <a:schemeClr val="accent1"/>
              </a:buClr>
              <a:buFont typeface="Arial" panose="020B0604020202020204" pitchFamily="34" charset="0"/>
              <a:buChar char="−"/>
              <a:defRPr/>
            </a:pPr>
            <a:r>
              <a:rPr lang="en-US" sz="1000" b="1" dirty="0" smtClean="0">
                <a:latin typeface="Arial" charset="0"/>
                <a:ea typeface="ＭＳ Ｐゴシック" charset="0"/>
                <a:cs typeface="ＭＳ Ｐゴシック" charset="0"/>
              </a:rPr>
              <a:t>Fast </a:t>
            </a:r>
            <a:r>
              <a:rPr lang="en-US" sz="1000" dirty="0" smtClean="0">
                <a:latin typeface="Arial" charset="0"/>
                <a:ea typeface="ＭＳ Ｐゴシック" charset="0"/>
                <a:cs typeface="ＭＳ Ｐゴシック" charset="0"/>
              </a:rPr>
              <a:t>and</a:t>
            </a:r>
            <a:r>
              <a:rPr lang="en-US" sz="1000" b="1" dirty="0" smtClean="0">
                <a:latin typeface="Arial" charset="0"/>
                <a:ea typeface="ＭＳ Ｐゴシック" charset="0"/>
                <a:cs typeface="ＭＳ Ｐゴシック" charset="0"/>
              </a:rPr>
              <a:t> consistent growth </a:t>
            </a:r>
            <a:r>
              <a:rPr lang="en-US" sz="1000" dirty="0" smtClean="0">
                <a:latin typeface="Arial" charset="0"/>
                <a:ea typeface="ＭＳ Ｐゴシック" charset="0"/>
                <a:cs typeface="ＭＳ Ｐゴシック" charset="0"/>
              </a:rPr>
              <a:t>pace</a:t>
            </a:r>
            <a:endParaRPr lang="en-US" sz="1000" dirty="0">
              <a:latin typeface="Arial" charset="0"/>
              <a:ea typeface="ＭＳ Ｐゴシック" charset="0"/>
              <a:cs typeface="ＭＳ Ｐゴシック" charset="0"/>
            </a:endParaRPr>
          </a:p>
          <a:p>
            <a:pPr marL="285750" indent="-285750">
              <a:buClr>
                <a:schemeClr val="accent1"/>
              </a:buClr>
              <a:buFont typeface="Arial" panose="020B0604020202020204" pitchFamily="34" charset="0"/>
              <a:buChar char="−"/>
              <a:defRPr/>
            </a:pPr>
            <a:endParaRPr lang="en-US" sz="1000" dirty="0" smtClean="0">
              <a:latin typeface="Arial" charset="0"/>
              <a:ea typeface="ＭＳ Ｐゴシック" charset="0"/>
              <a:cs typeface="ＭＳ Ｐゴシック" charset="0"/>
            </a:endParaRPr>
          </a:p>
          <a:p>
            <a:pPr marL="285750" indent="-285750">
              <a:buClr>
                <a:schemeClr val="accent1"/>
              </a:buClr>
              <a:buFont typeface="Arial" panose="020B0604020202020204" pitchFamily="34" charset="0"/>
              <a:buChar char="−"/>
              <a:defRPr/>
            </a:pPr>
            <a:r>
              <a:rPr lang="en-US" sz="1000" b="1" dirty="0" smtClean="0">
                <a:latin typeface="Arial" charset="0"/>
                <a:ea typeface="ＭＳ Ｐゴシック" charset="0"/>
                <a:cs typeface="ＭＳ Ｐゴシック" charset="0"/>
              </a:rPr>
              <a:t>100</a:t>
            </a:r>
            <a:r>
              <a:rPr lang="en-US" sz="1000" b="1" dirty="0">
                <a:latin typeface="Arial" charset="0"/>
                <a:ea typeface="ＭＳ Ｐゴシック" charset="0"/>
                <a:cs typeface="ＭＳ Ｐゴシック" charset="0"/>
              </a:rPr>
              <a:t>+ UCITS ETFs </a:t>
            </a:r>
            <a:r>
              <a:rPr lang="en-US" sz="1000" dirty="0" smtClean="0">
                <a:latin typeface="Arial" charset="0"/>
                <a:ea typeface="ＭＳ Ｐゴシック" charset="0"/>
                <a:cs typeface="ＭＳ Ｐゴシック" charset="0"/>
              </a:rPr>
              <a:t>covering all asset allocation needs</a:t>
            </a:r>
          </a:p>
          <a:p>
            <a:pPr marL="285750" indent="-285750">
              <a:buClr>
                <a:schemeClr val="accent1"/>
              </a:buClr>
              <a:buFont typeface="Arial" panose="020B0604020202020204" pitchFamily="34" charset="0"/>
              <a:buChar char="−"/>
              <a:defRPr/>
            </a:pPr>
            <a:endParaRPr lang="en-US" sz="1000" dirty="0">
              <a:latin typeface="Arial" charset="0"/>
              <a:ea typeface="ＭＳ Ｐゴシック" charset="0"/>
              <a:cs typeface="ＭＳ Ｐゴシック" charset="0"/>
            </a:endParaRPr>
          </a:p>
          <a:p>
            <a:pPr marL="285750" indent="-285750">
              <a:buClr>
                <a:schemeClr val="accent1"/>
              </a:buClr>
              <a:buFont typeface="Arial" panose="020B0604020202020204" pitchFamily="34" charset="0"/>
              <a:buChar char="−"/>
              <a:defRPr/>
            </a:pPr>
            <a:r>
              <a:rPr lang="en-US" sz="1000" b="1" dirty="0" smtClean="0">
                <a:latin typeface="Arial" charset="0"/>
                <a:ea typeface="ＭＳ Ｐゴシック" charset="0"/>
                <a:cs typeface="ＭＳ Ｐゴシック" charset="0"/>
              </a:rPr>
              <a:t>500</a:t>
            </a:r>
            <a:r>
              <a:rPr lang="en-US" sz="1000" b="1" dirty="0">
                <a:latin typeface="Arial" charset="0"/>
                <a:ea typeface="ＭＳ Ｐゴシック" charset="0"/>
                <a:cs typeface="ＭＳ Ｐゴシック" charset="0"/>
              </a:rPr>
              <a:t>+ cross listings </a:t>
            </a:r>
            <a:r>
              <a:rPr lang="en-US" sz="1000" dirty="0">
                <a:latin typeface="Arial" charset="0"/>
                <a:ea typeface="ＭＳ Ｐゴシック" charset="0"/>
                <a:cs typeface="ＭＳ Ｐゴシック" charset="0"/>
              </a:rPr>
              <a:t>on the </a:t>
            </a:r>
            <a:r>
              <a:rPr lang="en-US" sz="1000" dirty="0" smtClean="0">
                <a:latin typeface="Arial" charset="0"/>
                <a:ea typeface="ＭＳ Ｐゴシック" charset="0"/>
                <a:cs typeface="ＭＳ Ｐゴシック" charset="0"/>
              </a:rPr>
              <a:t>main European </a:t>
            </a:r>
            <a:r>
              <a:rPr lang="en-US" sz="1000" dirty="0">
                <a:latin typeface="Arial" charset="0"/>
                <a:ea typeface="ＭＳ Ｐゴシック" charset="0"/>
                <a:cs typeface="ＭＳ Ｐゴシック" charset="0"/>
              </a:rPr>
              <a:t>stock </a:t>
            </a:r>
            <a:r>
              <a:rPr lang="en-US" sz="1000" dirty="0" smtClean="0">
                <a:latin typeface="Arial" charset="0"/>
                <a:ea typeface="ＭＳ Ｐゴシック" charset="0"/>
                <a:cs typeface="ＭＳ Ｐゴシック" charset="0"/>
              </a:rPr>
              <a:t>exchanges</a:t>
            </a:r>
          </a:p>
          <a:p>
            <a:pPr marL="285750" indent="-285750">
              <a:buClr>
                <a:schemeClr val="accent1"/>
              </a:buClr>
              <a:buFont typeface="Arial" panose="020B0604020202020204" pitchFamily="34" charset="0"/>
              <a:buChar char="−"/>
              <a:defRPr/>
            </a:pPr>
            <a:endParaRPr lang="en-US" sz="1000" dirty="0">
              <a:latin typeface="Arial" charset="0"/>
              <a:ea typeface="ＭＳ Ｐゴシック" charset="0"/>
              <a:cs typeface="ＭＳ Ｐゴシック" charset="0"/>
            </a:endParaRPr>
          </a:p>
          <a:p>
            <a:pPr marL="285750" indent="-285750">
              <a:buClr>
                <a:schemeClr val="accent1"/>
              </a:buClr>
              <a:buFont typeface="Arial" panose="020B0604020202020204" pitchFamily="34" charset="0"/>
              <a:buChar char="−"/>
              <a:defRPr/>
            </a:pPr>
            <a:r>
              <a:rPr lang="en-US" sz="1000" dirty="0" smtClean="0">
                <a:latin typeface="Arial" charset="0"/>
                <a:ea typeface="ＭＳ Ｐゴシック" charset="0"/>
                <a:cs typeface="ＭＳ Ｐゴシック" charset="0"/>
              </a:rPr>
              <a:t>2 strong pillars : </a:t>
            </a:r>
            <a:r>
              <a:rPr lang="en-US" sz="1000" b="1" dirty="0" smtClean="0">
                <a:latin typeface="Arial" charset="0"/>
                <a:ea typeface="ＭＳ Ｐゴシック" charset="0"/>
                <a:cs typeface="ＭＳ Ｐゴシック" charset="0"/>
              </a:rPr>
              <a:t>cost efficiency &amp; innovation</a:t>
            </a:r>
            <a:endParaRPr lang="en-US" sz="900" dirty="0">
              <a:solidFill>
                <a:schemeClr val="accent5"/>
              </a:solidFill>
              <a:latin typeface="Arial" charset="0"/>
              <a:ea typeface="ＭＳ Ｐゴシック" charset="0"/>
              <a:cs typeface="ＭＳ Ｐゴシック" charset="0"/>
            </a:endParaRPr>
          </a:p>
        </p:txBody>
      </p:sp>
      <p:sp>
        <p:nvSpPr>
          <p:cNvPr id="31" name="Rectangle 30"/>
          <p:cNvSpPr>
            <a:spLocks noChangeArrowheads="1"/>
          </p:cNvSpPr>
          <p:nvPr/>
        </p:nvSpPr>
        <p:spPr bwMode="auto">
          <a:xfrm>
            <a:off x="6150292" y="1968138"/>
            <a:ext cx="2453706" cy="2662110"/>
          </a:xfrm>
          <a:prstGeom prst="rect">
            <a:avLst/>
          </a:prstGeom>
          <a:solidFill>
            <a:schemeClr val="bg1"/>
          </a:solidFill>
          <a:ln w="19050">
            <a:noFill/>
            <a:miter lim="800000"/>
            <a:headEnd/>
            <a:tailEnd/>
          </a:ln>
          <a:effectLst>
            <a:outerShdw blurRad="38100" dist="12700" dir="2700000" algn="tl" rotWithShape="0">
              <a:srgbClr val="808080">
                <a:alpha val="29999"/>
              </a:srgbClr>
            </a:outerShdw>
          </a:effectLst>
          <a:extLst/>
        </p:spPr>
        <p:txBody>
          <a:bodyPr lIns="180000" tIns="144000" rIns="180000" bIns="180000" anchor="t"/>
          <a:lstStyle>
            <a:lvl1pPr marL="285750" indent="-285750"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buClr>
                <a:schemeClr val="accent1"/>
              </a:buClr>
              <a:buFont typeface="Arial" panose="020B0604020202020204" pitchFamily="34" charset="0"/>
              <a:buChar char="−"/>
              <a:defRPr/>
            </a:pPr>
            <a:r>
              <a:rPr lang="en-US" sz="1000" dirty="0" smtClean="0">
                <a:latin typeface="Arial" charset="0"/>
                <a:ea typeface="ＭＳ Ｐゴシック" charset="0"/>
                <a:cs typeface="ＭＳ Ｐゴシック" charset="0"/>
              </a:rPr>
              <a:t>Broad range of </a:t>
            </a:r>
            <a:r>
              <a:rPr lang="en-US" sz="1000" b="1" dirty="0" smtClean="0">
                <a:latin typeface="Arial" charset="0"/>
                <a:ea typeface="ＭＳ Ｐゴシック" charset="0"/>
                <a:cs typeface="ＭＳ Ｐゴシック" charset="0"/>
              </a:rPr>
              <a:t>Factor investing &amp; Risk-efficient </a:t>
            </a:r>
            <a:r>
              <a:rPr lang="en-US" sz="1000" b="1" dirty="0">
                <a:latin typeface="Arial" charset="0"/>
                <a:ea typeface="ＭＳ Ｐゴシック" charset="0"/>
                <a:cs typeface="ＭＳ Ｐゴシック" charset="0"/>
              </a:rPr>
              <a:t>solutions</a:t>
            </a:r>
            <a:r>
              <a:rPr lang="en-US" sz="1000" dirty="0">
                <a:latin typeface="Arial" charset="0"/>
                <a:ea typeface="ＭＳ Ｐゴシック" charset="0"/>
                <a:cs typeface="ＭＳ Ｐゴシック" charset="0"/>
              </a:rPr>
              <a:t> (</a:t>
            </a:r>
            <a:r>
              <a:rPr lang="en-US" sz="1000" dirty="0" err="1">
                <a:latin typeface="Arial" charset="0"/>
                <a:ea typeface="ＭＳ Ｐゴシック" charset="0"/>
                <a:cs typeface="ＭＳ Ｐゴシック" charset="0"/>
              </a:rPr>
              <a:t>e.g</a:t>
            </a:r>
            <a:r>
              <a:rPr lang="en-US" sz="1000" dirty="0">
                <a:latin typeface="Arial" charset="0"/>
                <a:ea typeface="ＭＳ Ｐゴシック" charset="0"/>
                <a:cs typeface="ＭＳ Ｐゴシック" charset="0"/>
              </a:rPr>
              <a:t> </a:t>
            </a:r>
            <a:r>
              <a:rPr lang="en-US" sz="1000" dirty="0" err="1" smtClean="0">
                <a:latin typeface="Arial" charset="0"/>
                <a:ea typeface="ＭＳ Ｐゴシック" charset="0"/>
                <a:cs typeface="ＭＳ Ｐゴシック" charset="0"/>
              </a:rPr>
              <a:t>MinVar</a:t>
            </a:r>
            <a:r>
              <a:rPr lang="en-US" sz="1000" dirty="0" smtClean="0">
                <a:latin typeface="Arial" charset="0"/>
                <a:ea typeface="ＭＳ Ｐゴシック" charset="0"/>
                <a:cs typeface="ＭＳ Ｐゴシック" charset="0"/>
              </a:rPr>
              <a:t> / Risk Parity) </a:t>
            </a:r>
          </a:p>
          <a:p>
            <a:pPr eaLnBrk="1" hangingPunct="1">
              <a:buClr>
                <a:schemeClr val="accent1"/>
              </a:buClr>
              <a:buFont typeface="Arial" panose="020B0604020202020204" pitchFamily="34" charset="0"/>
              <a:buChar char="−"/>
              <a:defRPr/>
            </a:pPr>
            <a:endParaRPr lang="en-US" sz="1000" b="1" dirty="0">
              <a:latin typeface="Arial" charset="0"/>
              <a:ea typeface="ＭＳ Ｐゴシック" charset="0"/>
              <a:cs typeface="ＭＳ Ｐゴシック" charset="0"/>
            </a:endParaRPr>
          </a:p>
          <a:p>
            <a:pPr eaLnBrk="1" hangingPunct="1">
              <a:buClr>
                <a:schemeClr val="accent1"/>
              </a:buClr>
              <a:buFont typeface="Arial" panose="020B0604020202020204" pitchFamily="34" charset="0"/>
              <a:buChar char="−"/>
              <a:defRPr/>
            </a:pPr>
            <a:r>
              <a:rPr lang="en-US" sz="1000" dirty="0" smtClean="0">
                <a:latin typeface="Arial" charset="0"/>
                <a:ea typeface="ＭＳ Ｐゴシック" charset="0"/>
                <a:cs typeface="ＭＳ Ｐゴシック" charset="0"/>
              </a:rPr>
              <a:t>Experience in </a:t>
            </a:r>
            <a:r>
              <a:rPr lang="en-US" sz="1000" b="1" dirty="0" smtClean="0">
                <a:latin typeface="Arial" charset="0"/>
                <a:ea typeface="ＭＳ Ｐゴシック" charset="0"/>
                <a:cs typeface="ＭＳ Ｐゴシック" charset="0"/>
              </a:rPr>
              <a:t>both active &amp; </a:t>
            </a:r>
            <a:r>
              <a:rPr lang="en-US" sz="1000" b="1" dirty="0">
                <a:latin typeface="Arial" charset="0"/>
                <a:ea typeface="ＭＳ Ｐゴシック" charset="0"/>
                <a:cs typeface="ＭＳ Ｐゴシック" charset="0"/>
              </a:rPr>
              <a:t>p</a:t>
            </a:r>
            <a:r>
              <a:rPr lang="en-US" sz="1000" b="1" dirty="0" smtClean="0">
                <a:latin typeface="Arial" charset="0"/>
                <a:ea typeface="ＭＳ Ｐゴシック" charset="0"/>
                <a:cs typeface="ＭＳ Ｐゴシック" charset="0"/>
              </a:rPr>
              <a:t>assive </a:t>
            </a:r>
            <a:r>
              <a:rPr lang="en-US" sz="1000" dirty="0" smtClean="0">
                <a:latin typeface="Arial" charset="0"/>
                <a:ea typeface="ＭＳ Ｐゴシック" charset="0"/>
                <a:cs typeface="ＭＳ Ｐゴシック" charset="0"/>
              </a:rPr>
              <a:t>implementation totalizing over </a:t>
            </a:r>
            <a:r>
              <a:rPr lang="en-US" sz="1000" b="1" dirty="0" smtClean="0">
                <a:latin typeface="Arial" charset="0"/>
                <a:ea typeface="ＭＳ Ｐゴシック" charset="0"/>
                <a:cs typeface="ＭＳ Ｐゴシック" charset="0"/>
              </a:rPr>
              <a:t>€20bn AUM </a:t>
            </a:r>
          </a:p>
          <a:p>
            <a:pPr eaLnBrk="1" hangingPunct="1">
              <a:buClr>
                <a:schemeClr val="accent1"/>
              </a:buClr>
              <a:buFont typeface="Arial" panose="020B0604020202020204" pitchFamily="34" charset="0"/>
              <a:buChar char="−"/>
              <a:defRPr/>
            </a:pPr>
            <a:endParaRPr lang="en-US" sz="1000" dirty="0">
              <a:latin typeface="Arial" charset="0"/>
              <a:ea typeface="ＭＳ Ｐゴシック" charset="0"/>
              <a:cs typeface="ＭＳ Ｐゴシック" charset="0"/>
            </a:endParaRPr>
          </a:p>
          <a:p>
            <a:pPr eaLnBrk="1" hangingPunct="1">
              <a:buClr>
                <a:schemeClr val="accent1"/>
              </a:buClr>
              <a:buFont typeface="Arial" panose="020B0604020202020204" pitchFamily="34" charset="0"/>
              <a:buChar char="−"/>
              <a:defRPr/>
            </a:pPr>
            <a:r>
              <a:rPr lang="en-US" sz="1000" dirty="0" smtClean="0">
                <a:latin typeface="Arial" charset="0"/>
                <a:ea typeface="ＭＳ Ｐゴシック" charset="0"/>
                <a:cs typeface="ＭＳ Ｐゴシック" charset="0"/>
              </a:rPr>
              <a:t>Strong </a:t>
            </a:r>
            <a:r>
              <a:rPr lang="en-US" sz="1000" b="1" dirty="0" smtClean="0">
                <a:latin typeface="Arial" charset="0"/>
                <a:ea typeface="ＭＳ Ｐゴシック" charset="0"/>
                <a:cs typeface="ＭＳ Ｐゴシック" charset="0"/>
              </a:rPr>
              <a:t>tailor-made &amp; advisory </a:t>
            </a:r>
            <a:r>
              <a:rPr lang="en-US" sz="1000" dirty="0" smtClean="0">
                <a:latin typeface="Arial" charset="0"/>
                <a:ea typeface="ＭＳ Ｐゴシック" charset="0"/>
                <a:cs typeface="ＭＳ Ｐゴシック" charset="0"/>
              </a:rPr>
              <a:t>capabilities</a:t>
            </a:r>
            <a:endParaRPr lang="en-US" sz="1000" b="1" dirty="0" smtClean="0">
              <a:latin typeface="Arial" charset="0"/>
              <a:ea typeface="ＭＳ Ｐゴシック" charset="0"/>
              <a:cs typeface="ＭＳ Ｐゴシック" charset="0"/>
            </a:endParaRPr>
          </a:p>
          <a:p>
            <a:pPr eaLnBrk="1" hangingPunct="1">
              <a:buClr>
                <a:schemeClr val="accent1"/>
              </a:buClr>
              <a:buFont typeface="Arial" panose="020B0604020202020204" pitchFamily="34" charset="0"/>
              <a:buChar char="−"/>
              <a:defRPr/>
            </a:pPr>
            <a:endParaRPr lang="en-US" sz="1000" dirty="0">
              <a:latin typeface="Arial" charset="0"/>
              <a:ea typeface="ＭＳ Ｐゴシック" charset="0"/>
              <a:cs typeface="ＭＳ Ｐゴシック" charset="0"/>
            </a:endParaRPr>
          </a:p>
          <a:p>
            <a:pPr eaLnBrk="1" hangingPunct="1">
              <a:buClr>
                <a:schemeClr val="accent1"/>
              </a:buClr>
              <a:buFont typeface="Arial" panose="020B0604020202020204" pitchFamily="34" charset="0"/>
              <a:buChar char="−"/>
              <a:defRPr/>
            </a:pPr>
            <a:r>
              <a:rPr lang="en-US" sz="1000" b="1" dirty="0" smtClean="0">
                <a:latin typeface="Arial" charset="0"/>
                <a:ea typeface="ＭＳ Ｐゴシック" charset="0"/>
                <a:cs typeface="ＭＳ Ｐゴシック" charset="0"/>
              </a:rPr>
              <a:t>Research-backed approach </a:t>
            </a:r>
            <a:r>
              <a:rPr lang="en-US" sz="1000" dirty="0" smtClean="0">
                <a:latin typeface="Arial" charset="0"/>
                <a:ea typeface="ＭＳ Ｐゴシック" charset="0"/>
                <a:cs typeface="ＭＳ Ｐゴシック" charset="0"/>
              </a:rPr>
              <a:t> leveraging Amundi’s Quant &amp; Research teams &amp; reputable partners</a:t>
            </a:r>
            <a:endParaRPr lang="en-US" sz="800" dirty="0" smtClean="0">
              <a:latin typeface="Arial" charset="0"/>
              <a:ea typeface="ＭＳ Ｐゴシック" charset="0"/>
              <a:cs typeface="ＭＳ Ｐゴシック" charset="0"/>
            </a:endParaRPr>
          </a:p>
        </p:txBody>
      </p:sp>
      <p:sp>
        <p:nvSpPr>
          <p:cNvPr id="32" name="Rectangle 31"/>
          <p:cNvSpPr/>
          <p:nvPr/>
        </p:nvSpPr>
        <p:spPr>
          <a:xfrm>
            <a:off x="6150292" y="1651621"/>
            <a:ext cx="2454710" cy="382588"/>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lvl="1" algn="ctr">
              <a:spcBef>
                <a:spcPct val="20000"/>
              </a:spcBef>
              <a:buClr>
                <a:srgbClr val="FFFFFF"/>
              </a:buClr>
              <a:defRPr/>
            </a:pPr>
            <a:r>
              <a:rPr lang="en-US" sz="1400" b="1" dirty="0" smtClean="0">
                <a:solidFill>
                  <a:srgbClr val="FFFFFF"/>
                </a:solidFill>
              </a:rPr>
              <a:t>SMART BETA </a:t>
            </a:r>
            <a:endParaRPr lang="en-US" sz="1400" b="1" dirty="0">
              <a:solidFill>
                <a:srgbClr val="FFFFFF"/>
              </a:solidFill>
            </a:endParaRPr>
          </a:p>
        </p:txBody>
      </p:sp>
      <p:sp>
        <p:nvSpPr>
          <p:cNvPr id="33" name="ZoneTexte 25"/>
          <p:cNvSpPr txBox="1"/>
          <p:nvPr/>
        </p:nvSpPr>
        <p:spPr>
          <a:xfrm>
            <a:off x="1906588" y="4796790"/>
            <a:ext cx="6697409" cy="8115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Ins="180000" bIns="180000" rtlCol="0" anchor="ctr"/>
          <a:lstStyle>
            <a:defPPr>
              <a:defRPr lang="en-US"/>
            </a:defPPr>
            <a:lvl1pPr algn="ctr">
              <a:defRPr sz="12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US" sz="1100" dirty="0" smtClean="0">
              <a:solidFill>
                <a:schemeClr val="tx1"/>
              </a:solidFill>
            </a:endParaRPr>
          </a:p>
          <a:p>
            <a:pPr marL="285750" indent="-285750" algn="l">
              <a:lnSpc>
                <a:spcPct val="90000"/>
              </a:lnSpc>
              <a:buClr>
                <a:schemeClr val="accent1"/>
              </a:buClr>
              <a:buFont typeface="Arial" panose="020B0604020202020204" pitchFamily="34" charset="0"/>
              <a:buChar char="−"/>
              <a:defRPr/>
            </a:pPr>
            <a:r>
              <a:rPr lang="en-US" sz="1000" b="1" dirty="0">
                <a:solidFill>
                  <a:schemeClr val="tx1"/>
                </a:solidFill>
                <a:latin typeface="Arial" charset="0"/>
                <a:ea typeface="ＭＳ Ｐゴシック" charset="0"/>
                <a:cs typeface="ＭＳ Ｐゴシック" charset="0"/>
              </a:rPr>
              <a:t>ETF-based solutions for Distributors : Portfolio Models, Advisory, Training &amp; digital solutions</a:t>
            </a:r>
          </a:p>
          <a:p>
            <a:pPr marL="285750" indent="-285750" algn="l">
              <a:lnSpc>
                <a:spcPct val="90000"/>
              </a:lnSpc>
              <a:buClr>
                <a:schemeClr val="accent1"/>
              </a:buClr>
              <a:buFont typeface="Arial" panose="020B0604020202020204" pitchFamily="34" charset="0"/>
              <a:buChar char="−"/>
              <a:defRPr/>
            </a:pPr>
            <a:r>
              <a:rPr lang="en-US" sz="1000" b="1" dirty="0" smtClean="0">
                <a:solidFill>
                  <a:schemeClr val="tx1"/>
                </a:solidFill>
                <a:latin typeface="Arial" charset="0"/>
                <a:ea typeface="ＭＳ Ｐゴシック" charset="0"/>
                <a:cs typeface="ＭＳ Ｐゴシック" charset="0"/>
              </a:rPr>
              <a:t>Indexing &amp; Factor dedicated mandates </a:t>
            </a:r>
            <a:r>
              <a:rPr lang="en-US" sz="1000" b="1" dirty="0">
                <a:solidFill>
                  <a:schemeClr val="tx1"/>
                </a:solidFill>
                <a:latin typeface="Arial" charset="0"/>
                <a:ea typeface="ＭＳ Ｐゴシック" charset="0"/>
                <a:cs typeface="ＭＳ Ｐゴシック" charset="0"/>
              </a:rPr>
              <a:t>with full range of customization capabilities incl. ESG integration</a:t>
            </a:r>
          </a:p>
          <a:p>
            <a:pPr marL="285750" indent="-285750" algn="l">
              <a:lnSpc>
                <a:spcPct val="90000"/>
              </a:lnSpc>
              <a:buClr>
                <a:schemeClr val="accent1"/>
              </a:buClr>
              <a:buFont typeface="Arial" panose="020B0604020202020204" pitchFamily="34" charset="0"/>
              <a:buChar char="−"/>
              <a:defRPr/>
            </a:pPr>
            <a:r>
              <a:rPr lang="en-US" sz="1000" b="1" dirty="0">
                <a:solidFill>
                  <a:schemeClr val="tx1"/>
                </a:solidFill>
                <a:latin typeface="Arial" charset="0"/>
                <a:ea typeface="ＭＳ Ｐゴシック" charset="0"/>
                <a:cs typeface="ＭＳ Ｐゴシック" charset="0"/>
              </a:rPr>
              <a:t>Proprietary Factor </a:t>
            </a:r>
            <a:r>
              <a:rPr lang="en-US" sz="1000" b="1" dirty="0" smtClean="0">
                <a:solidFill>
                  <a:schemeClr val="tx1"/>
                </a:solidFill>
                <a:latin typeface="Arial" charset="0"/>
                <a:ea typeface="ＭＳ Ｐゴシック" charset="0"/>
                <a:cs typeface="ＭＳ Ｐゴシック" charset="0"/>
              </a:rPr>
              <a:t>design, analysis &amp; </a:t>
            </a:r>
            <a:r>
              <a:rPr lang="en-US" sz="1000" b="1" dirty="0">
                <a:solidFill>
                  <a:schemeClr val="tx1"/>
                </a:solidFill>
                <a:latin typeface="Arial" charset="0"/>
                <a:ea typeface="ＭＳ Ｐゴシック" charset="0"/>
                <a:cs typeface="ＭＳ Ｐゴシック" charset="0"/>
              </a:rPr>
              <a:t>implementation</a:t>
            </a:r>
          </a:p>
          <a:p>
            <a:pPr marL="285750" indent="-285750" algn="l">
              <a:lnSpc>
                <a:spcPct val="90000"/>
              </a:lnSpc>
              <a:buClr>
                <a:schemeClr val="accent1"/>
              </a:buClr>
              <a:buFont typeface="Arial" panose="020B0604020202020204" pitchFamily="34" charset="0"/>
              <a:buChar char="−"/>
              <a:defRPr/>
            </a:pPr>
            <a:r>
              <a:rPr lang="en-US" sz="1000" b="1" dirty="0" smtClean="0">
                <a:solidFill>
                  <a:schemeClr val="tx1"/>
                </a:solidFill>
                <a:latin typeface="Arial" charset="0"/>
                <a:ea typeface="ＭＳ Ｐゴシック" charset="0"/>
                <a:cs typeface="ＭＳ Ｐゴシック" charset="0"/>
              </a:rPr>
              <a:t>Product design: Dedicated </a:t>
            </a:r>
            <a:r>
              <a:rPr lang="en-US" sz="1000" b="1" dirty="0">
                <a:solidFill>
                  <a:schemeClr val="tx1"/>
                </a:solidFill>
                <a:latin typeface="Arial" charset="0"/>
                <a:ea typeface="ＭＳ Ｐゴシック" charset="0"/>
                <a:cs typeface="ＭＳ Ｐゴシック" charset="0"/>
              </a:rPr>
              <a:t>funds, White-labelling…</a:t>
            </a:r>
          </a:p>
        </p:txBody>
      </p:sp>
      <p:sp>
        <p:nvSpPr>
          <p:cNvPr id="34" name="Rectangle 33"/>
          <p:cNvSpPr/>
          <p:nvPr/>
        </p:nvSpPr>
        <p:spPr>
          <a:xfrm>
            <a:off x="8555166" y="4796792"/>
            <a:ext cx="49334" cy="811530"/>
          </a:xfrm>
          <a:prstGeom prst="rect">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342900" indent="-342900" eaLnBrk="0" hangingPunct="0">
              <a:spcBef>
                <a:spcPts val="1000"/>
              </a:spcBef>
              <a:buClr>
                <a:schemeClr val="accent1"/>
              </a:buClr>
              <a:buSzPct val="130000"/>
              <a:buFont typeface="CambriaMath" charset="0"/>
              <a:buChar char="⎯"/>
              <a:defRPr sz="1600">
                <a:solidFill>
                  <a:schemeClr val="tx2"/>
                </a:solidFill>
                <a:latin typeface="Arial" pitchFamily="34" charset="0"/>
                <a:ea typeface="ＭＳ Ｐゴシック" pitchFamily="34" charset="-128"/>
              </a:defRPr>
            </a:lvl1pPr>
            <a:lvl2pPr eaLnBrk="0" hangingPunct="0">
              <a:spcBef>
                <a:spcPts val="500"/>
              </a:spcBef>
              <a:buClr>
                <a:schemeClr val="accent2"/>
              </a:buClr>
              <a:buFont typeface="CambriaMath" charset="0"/>
              <a:buChar char="⎯"/>
              <a:defRPr sz="1400">
                <a:solidFill>
                  <a:schemeClr val="tx2"/>
                </a:solidFill>
                <a:latin typeface="Arial" pitchFamily="34" charset="0"/>
                <a:ea typeface="ＭＳ Ｐゴシック" pitchFamily="34" charset="-128"/>
              </a:defRPr>
            </a:lvl2pPr>
            <a:lvl3pPr marL="1143000" indent="-228600" eaLnBrk="0" hangingPunct="0">
              <a:spcBef>
                <a:spcPts val="500"/>
              </a:spcBef>
              <a:buClr>
                <a:schemeClr val="accent2"/>
              </a:buClr>
              <a:buFont typeface="LucidaGrande-Bold" charset="0"/>
              <a:buChar char="⁃"/>
              <a:defRPr sz="1200">
                <a:solidFill>
                  <a:schemeClr val="tx2"/>
                </a:solidFill>
                <a:latin typeface="Arial" pitchFamily="34" charset="0"/>
                <a:ea typeface="ＭＳ Ｐゴシック" pitchFamily="34" charset="-128"/>
              </a:defRPr>
            </a:lvl3pPr>
            <a:lvl4pPr marL="1600200" indent="-228600" eaLnBrk="0" hangingPunct="0">
              <a:spcBef>
                <a:spcPts val="500"/>
              </a:spcBef>
              <a:buFont typeface="Arial" pitchFamily="34" charset="0"/>
              <a:defRPr sz="1200">
                <a:solidFill>
                  <a:schemeClr val="tx1"/>
                </a:solidFill>
                <a:latin typeface="Arial" pitchFamily="34" charset="0"/>
                <a:ea typeface="ＭＳ Ｐゴシック" pitchFamily="34" charset="-128"/>
              </a:defRPr>
            </a:lvl4pPr>
            <a:lvl5pPr marL="2057400" indent="-228600" eaLnBrk="0" hangingPunct="0">
              <a:spcBef>
                <a:spcPts val="500"/>
              </a:spcBef>
              <a:buFont typeface="Arial" pitchFamily="34" charset="0"/>
              <a:defRPr sz="1200">
                <a:solidFill>
                  <a:schemeClr val="accent1"/>
                </a:solidFill>
                <a:latin typeface="Arial" pitchFamily="34" charset="0"/>
                <a:ea typeface="ＭＳ Ｐゴシック" pitchFamily="34" charset="-128"/>
              </a:defRPr>
            </a:lvl5pPr>
            <a:lvl6pPr marL="2514600" indent="-228600"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6pPr>
            <a:lvl7pPr marL="2971800" indent="-228600"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7pPr>
            <a:lvl8pPr marL="3429000" indent="-228600"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8pPr>
            <a:lvl9pPr marL="3886200" indent="-228600"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9pPr>
          </a:lstStyle>
          <a:p>
            <a:pPr marL="0" lvl="1" algn="ctr" eaLnBrk="1" hangingPunct="1">
              <a:lnSpc>
                <a:spcPct val="150000"/>
              </a:lnSpc>
              <a:spcBef>
                <a:spcPct val="20000"/>
              </a:spcBef>
              <a:buClr>
                <a:srgbClr val="FFFFFF"/>
              </a:buClr>
              <a:buFontTx/>
              <a:buNone/>
              <a:defRPr/>
            </a:pPr>
            <a:endParaRPr lang="en-US" altLang="en-US" sz="2800" smtClean="0">
              <a:solidFill>
                <a:srgbClr val="FFFFFF"/>
              </a:solidFill>
              <a:latin typeface="Calibri" pitchFamily="34" charset="0"/>
            </a:endParaRPr>
          </a:p>
        </p:txBody>
      </p:sp>
      <p:sp>
        <p:nvSpPr>
          <p:cNvPr id="35" name="Rectangle 34"/>
          <p:cNvSpPr/>
          <p:nvPr/>
        </p:nvSpPr>
        <p:spPr>
          <a:xfrm>
            <a:off x="528446" y="4630247"/>
            <a:ext cx="2478722" cy="45719"/>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ctr">
              <a:spcBef>
                <a:spcPct val="20000"/>
              </a:spcBef>
              <a:buClr>
                <a:srgbClr val="FFFFFF"/>
              </a:buClr>
              <a:defRPr/>
            </a:pPr>
            <a:endParaRPr lang="en-US" sz="1400" b="1" dirty="0">
              <a:solidFill>
                <a:srgbClr val="FFFFFF"/>
              </a:solidFill>
            </a:endParaRPr>
          </a:p>
        </p:txBody>
      </p:sp>
      <p:sp>
        <p:nvSpPr>
          <p:cNvPr id="36" name="Rectangle 35"/>
          <p:cNvSpPr/>
          <p:nvPr/>
        </p:nvSpPr>
        <p:spPr>
          <a:xfrm>
            <a:off x="3247593" y="4630247"/>
            <a:ext cx="245370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0"/>
              </a:spcBef>
              <a:spcAft>
                <a:spcPct val="60000"/>
              </a:spcAft>
            </a:pPr>
            <a:endParaRPr lang="fr-FR" altLang="fr-FR" sz="1400" b="1" dirty="0">
              <a:solidFill>
                <a:schemeClr val="bg1"/>
              </a:solidFill>
            </a:endParaRPr>
          </a:p>
        </p:txBody>
      </p:sp>
      <p:sp>
        <p:nvSpPr>
          <p:cNvPr id="37" name="Rectangle 36"/>
          <p:cNvSpPr/>
          <p:nvPr/>
        </p:nvSpPr>
        <p:spPr>
          <a:xfrm>
            <a:off x="6150794" y="4630247"/>
            <a:ext cx="2454710" cy="45719"/>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lvl="1" algn="ctr">
              <a:spcBef>
                <a:spcPct val="20000"/>
              </a:spcBef>
              <a:buClr>
                <a:srgbClr val="FFFFFF"/>
              </a:buClr>
              <a:defRPr/>
            </a:pPr>
            <a:endParaRPr lang="en-US" sz="1400" b="1" dirty="0">
              <a:solidFill>
                <a:srgbClr val="FFFFFF"/>
              </a:solidFill>
            </a:endParaRPr>
          </a:p>
        </p:txBody>
      </p:sp>
      <p:sp>
        <p:nvSpPr>
          <p:cNvPr id="38" name="Rectangle 37"/>
          <p:cNvSpPr/>
          <p:nvPr/>
        </p:nvSpPr>
        <p:spPr>
          <a:xfrm>
            <a:off x="515938" y="1651621"/>
            <a:ext cx="2478722" cy="382587"/>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ctr">
              <a:spcBef>
                <a:spcPct val="20000"/>
              </a:spcBef>
              <a:buClr>
                <a:srgbClr val="FFFFFF"/>
              </a:buClr>
              <a:defRPr/>
            </a:pPr>
            <a:r>
              <a:rPr lang="en-US" sz="1400" b="1" dirty="0" smtClean="0">
                <a:solidFill>
                  <a:srgbClr val="FFFFFF"/>
                </a:solidFill>
              </a:rPr>
              <a:t>ETF</a:t>
            </a:r>
            <a:endParaRPr lang="en-US" sz="1400" b="1" dirty="0">
              <a:solidFill>
                <a:srgbClr val="FFFFFF"/>
              </a:solidFill>
            </a:endParaRPr>
          </a:p>
        </p:txBody>
      </p:sp>
      <p:sp>
        <p:nvSpPr>
          <p:cNvPr id="39" name="Espace réservé du texte 6"/>
          <p:cNvSpPr txBox="1">
            <a:spLocks/>
          </p:cNvSpPr>
          <p:nvPr/>
        </p:nvSpPr>
        <p:spPr bwMode="auto">
          <a:xfrm>
            <a:off x="540000" y="6047263"/>
            <a:ext cx="8064500" cy="135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6350" eaLnBrk="0" hangingPunct="0">
              <a:spcBef>
                <a:spcPts val="1000"/>
              </a:spcBef>
              <a:buClr>
                <a:schemeClr val="accent1"/>
              </a:buClr>
              <a:buSzPct val="130000"/>
              <a:buFont typeface="CambriaMath" charset="0"/>
              <a:buChar char="⎯"/>
              <a:defRPr sz="1600">
                <a:solidFill>
                  <a:schemeClr val="tx2"/>
                </a:solidFill>
                <a:latin typeface="Arial" pitchFamily="34" charset="0"/>
                <a:ea typeface="ＭＳ Ｐゴシック" pitchFamily="34" charset="-128"/>
              </a:defRPr>
            </a:lvl1pPr>
            <a:lvl2pPr marL="401638" indent="-177800" eaLnBrk="0" hangingPunct="0">
              <a:spcBef>
                <a:spcPts val="500"/>
              </a:spcBef>
              <a:buClr>
                <a:schemeClr val="accent2"/>
              </a:buClr>
              <a:buFont typeface="CambriaMath" charset="0"/>
              <a:buChar char="⎯"/>
              <a:defRPr sz="1400">
                <a:solidFill>
                  <a:schemeClr val="tx2"/>
                </a:solidFill>
                <a:latin typeface="Arial" pitchFamily="34" charset="0"/>
                <a:ea typeface="ＭＳ Ｐゴシック" pitchFamily="34" charset="-128"/>
              </a:defRPr>
            </a:lvl2pPr>
            <a:lvl3pPr marL="579438" indent="-131763" eaLnBrk="0" hangingPunct="0">
              <a:spcBef>
                <a:spcPts val="500"/>
              </a:spcBef>
              <a:buClr>
                <a:schemeClr val="accent2"/>
              </a:buClr>
              <a:buFont typeface="LucidaGrande-Bold" charset="0"/>
              <a:buChar char="⁃"/>
              <a:defRPr sz="1200">
                <a:solidFill>
                  <a:schemeClr val="tx2"/>
                </a:solidFill>
                <a:latin typeface="Arial" pitchFamily="34" charset="0"/>
                <a:ea typeface="ＭＳ Ｐゴシック" pitchFamily="34" charset="-128"/>
              </a:defRPr>
            </a:lvl3pPr>
            <a:lvl4pPr marL="7938" indent="1363663" eaLnBrk="0" hangingPunct="0">
              <a:spcBef>
                <a:spcPts val="500"/>
              </a:spcBef>
              <a:buFont typeface="Arial" pitchFamily="34" charset="0"/>
              <a:defRPr sz="1200">
                <a:solidFill>
                  <a:schemeClr val="tx1"/>
                </a:solidFill>
                <a:latin typeface="Arial" pitchFamily="34" charset="0"/>
                <a:ea typeface="ＭＳ Ｐゴシック" pitchFamily="34" charset="-128"/>
              </a:defRPr>
            </a:lvl4pPr>
            <a:lvl5pPr marL="7938" indent="1820863" eaLnBrk="0" hangingPunct="0">
              <a:spcBef>
                <a:spcPts val="500"/>
              </a:spcBef>
              <a:buFont typeface="Arial" pitchFamily="34" charset="0"/>
              <a:defRPr sz="1200">
                <a:solidFill>
                  <a:schemeClr val="accent1"/>
                </a:solidFill>
                <a:latin typeface="Arial" pitchFamily="34" charset="0"/>
                <a:ea typeface="ＭＳ Ｐゴシック" pitchFamily="34" charset="-128"/>
              </a:defRPr>
            </a:lvl5pPr>
            <a:lvl6pPr marL="465138" indent="1820863"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6pPr>
            <a:lvl7pPr marL="922338" indent="1820863"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7pPr>
            <a:lvl8pPr marL="1379538" indent="1820863"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8pPr>
            <a:lvl9pPr marL="1836738" indent="1820863" eaLnBrk="0" fontAlgn="base" hangingPunct="0">
              <a:spcBef>
                <a:spcPts val="500"/>
              </a:spcBef>
              <a:spcAft>
                <a:spcPct val="0"/>
              </a:spcAft>
              <a:buFont typeface="Arial" pitchFamily="34" charset="0"/>
              <a:defRPr sz="1200">
                <a:solidFill>
                  <a:schemeClr val="accent1"/>
                </a:solidFill>
                <a:latin typeface="Arial" pitchFamily="34" charset="0"/>
                <a:ea typeface="ＭＳ Ｐゴシック" pitchFamily="34" charset="-128"/>
              </a:defRPr>
            </a:lvl9pPr>
          </a:lstStyle>
          <a:p>
            <a:pPr eaLnBrk="1" hangingPunct="1">
              <a:buNone/>
            </a:pPr>
            <a:r>
              <a:rPr lang="en-GB" altLang="fr-FR" sz="800" dirty="0">
                <a:latin typeface="+mn-lt"/>
                <a:ea typeface="+mn-ea"/>
              </a:rPr>
              <a:t>Sources: </a:t>
            </a:r>
            <a:r>
              <a:rPr lang="en-GB" altLang="fr-FR" sz="800" dirty="0" smtClean="0">
                <a:latin typeface="+mn-lt"/>
                <a:ea typeface="+mn-ea"/>
              </a:rPr>
              <a:t>*Amundi </a:t>
            </a:r>
            <a:r>
              <a:rPr lang="en-GB" altLang="fr-FR" sz="800" dirty="0">
                <a:latin typeface="+mn-lt"/>
                <a:ea typeface="+mn-ea"/>
              </a:rPr>
              <a:t>ETF Indexing &amp; Smart Beta at end </a:t>
            </a:r>
            <a:r>
              <a:rPr lang="en-GB" altLang="fr-FR" sz="800" dirty="0" smtClean="0">
                <a:latin typeface="+mn-lt"/>
                <a:ea typeface="+mn-ea"/>
              </a:rPr>
              <a:t>December 2017 / **Deutsche Bank </a:t>
            </a:r>
            <a:r>
              <a:rPr lang="en-US" altLang="fr-FR" sz="800" dirty="0" smtClean="0">
                <a:latin typeface="+mn-lt"/>
                <a:ea typeface="+mn-ea"/>
              </a:rPr>
              <a:t>European Monthly ETF Market Review as of December 29</a:t>
            </a:r>
            <a:r>
              <a:rPr lang="en-US" altLang="fr-FR" sz="800" baseline="30000" dirty="0" smtClean="0">
                <a:latin typeface="+mn-lt"/>
                <a:ea typeface="+mn-ea"/>
              </a:rPr>
              <a:t>th</a:t>
            </a:r>
            <a:r>
              <a:rPr lang="en-US" altLang="fr-FR" sz="800" dirty="0" smtClean="0">
                <a:latin typeface="+mn-lt"/>
                <a:ea typeface="+mn-ea"/>
              </a:rPr>
              <a:t>, 2017</a:t>
            </a:r>
            <a:r>
              <a:rPr lang="en-GB" altLang="fr-FR" sz="800" dirty="0" smtClean="0">
                <a:latin typeface="+mn-lt"/>
                <a:ea typeface="+mn-ea"/>
              </a:rPr>
              <a:t>.</a:t>
            </a:r>
            <a:endParaRPr lang="en-US" altLang="fr-FR" sz="800" dirty="0">
              <a:latin typeface="+mn-lt"/>
              <a:ea typeface="+mn-ea"/>
            </a:endParaRPr>
          </a:p>
        </p:txBody>
      </p:sp>
    </p:spTree>
    <p:extLst>
      <p:ext uri="{BB962C8B-B14F-4D97-AF65-F5344CB8AC3E}">
        <p14:creationId xmlns:p14="http://schemas.microsoft.com/office/powerpoint/2010/main" val="362727215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normAutofit fontScale="90000"/>
          </a:bodyPr>
          <a:lstStyle/>
          <a:p>
            <a:r>
              <a:rPr lang="en-US" dirty="0"/>
              <a:t>Performance of Amundi Funds Equity </a:t>
            </a:r>
            <a:r>
              <a:rPr lang="en-US" dirty="0">
                <a:solidFill>
                  <a:schemeClr val="accent1"/>
                </a:solidFill>
              </a:rPr>
              <a:t/>
            </a:r>
            <a:br>
              <a:rPr lang="en-US" dirty="0">
                <a:solidFill>
                  <a:schemeClr val="accent1"/>
                </a:solidFill>
              </a:rPr>
            </a:br>
            <a:r>
              <a:rPr lang="en-US" dirty="0">
                <a:solidFill>
                  <a:schemeClr val="accent1"/>
                </a:solidFill>
              </a:rPr>
              <a:t>Emerging Conservative</a:t>
            </a:r>
            <a:endParaRPr lang="fr-FR" dirty="0">
              <a:solidFill>
                <a:schemeClr val="accent1"/>
              </a:solidFill>
            </a:endParaRPr>
          </a:p>
        </p:txBody>
      </p:sp>
      <p:sp>
        <p:nvSpPr>
          <p:cNvPr id="17" name="Espace réservé du numéro de diapositive 6"/>
          <p:cNvSpPr>
            <a:spLocks noGrp="1"/>
          </p:cNvSpPr>
          <p:nvPr>
            <p:ph type="sldNum" sz="quarter" idx="12"/>
          </p:nvPr>
        </p:nvSpPr>
        <p:spPr/>
        <p:txBody>
          <a:bodyPr/>
          <a:lstStyle/>
          <a:p>
            <a:fld id="{C12E7156-0CA6-462A-9A46-AEFB5E440988}" type="slidenum">
              <a:rPr lang="fr-BE" smtClean="0"/>
              <a:pPr/>
              <a:t>60</a:t>
            </a:fld>
            <a:endParaRPr lang="fr-BE" dirty="0"/>
          </a:p>
        </p:txBody>
      </p:sp>
      <p:sp>
        <p:nvSpPr>
          <p:cNvPr id="9" name="Espace réservé du texte 8">
            <a:extLst>
              <a:ext uri="{FF2B5EF4-FFF2-40B4-BE49-F238E27FC236}">
                <a16:creationId xmlns="" xmlns:a16="http://schemas.microsoft.com/office/drawing/2014/main" id="{75B3B145-2285-4079-BCCD-F4E27740FD9E}"/>
              </a:ext>
            </a:extLst>
          </p:cNvPr>
          <p:cNvSpPr>
            <a:spLocks noGrp="1"/>
          </p:cNvSpPr>
          <p:nvPr>
            <p:ph type="body" sz="quarter" idx="14"/>
          </p:nvPr>
        </p:nvSpPr>
        <p:spPr>
          <a:xfrm>
            <a:off x="539750" y="5549328"/>
            <a:ext cx="8064248" cy="523872"/>
          </a:xfrm>
        </p:spPr>
        <p:txBody>
          <a:bodyPr/>
          <a:lstStyle/>
          <a:p>
            <a:pPr algn="l">
              <a:spcBef>
                <a:spcPts val="0"/>
              </a:spcBef>
            </a:pPr>
            <a:r>
              <a:rPr lang="en-US" dirty="0"/>
              <a:t>Source: </a:t>
            </a:r>
            <a:r>
              <a:rPr lang="en-US" dirty="0" err="1"/>
              <a:t>Amundi</a:t>
            </a:r>
            <a:r>
              <a:rPr lang="en-US" dirty="0"/>
              <a:t> </a:t>
            </a:r>
            <a:r>
              <a:rPr lang="en-US" dirty="0" smtClean="0"/>
              <a:t>AM. </a:t>
            </a:r>
            <a:r>
              <a:rPr lang="en-US" dirty="0"/>
              <a:t>Gross performance as of </a:t>
            </a:r>
            <a:r>
              <a:rPr lang="en-US" dirty="0" smtClean="0"/>
              <a:t>31/01/2018 </a:t>
            </a:r>
            <a:r>
              <a:rPr lang="en-US" dirty="0"/>
              <a:t>the IU share class.</a:t>
            </a:r>
          </a:p>
          <a:p>
            <a:pPr algn="l">
              <a:spcBef>
                <a:spcPts val="0"/>
              </a:spcBef>
            </a:pPr>
            <a:r>
              <a:rPr lang="en-US" dirty="0"/>
              <a:t>Amundi Funds Equity Emerging Conservative was launched on </a:t>
            </a:r>
            <a:r>
              <a:rPr lang="en-US" dirty="0" smtClean="0"/>
              <a:t>04/09/2013</a:t>
            </a:r>
            <a:endParaRPr lang="en-US" dirty="0"/>
          </a:p>
          <a:p>
            <a:pPr algn="l">
              <a:spcBef>
                <a:spcPts val="0"/>
              </a:spcBef>
            </a:pPr>
            <a:r>
              <a:rPr lang="en-US" dirty="0" smtClean="0"/>
              <a:t>Past </a:t>
            </a:r>
            <a:r>
              <a:rPr lang="en-US" dirty="0"/>
              <a:t>performance is not a reliable indicator of future results or a guarantee of future returns. </a:t>
            </a:r>
          </a:p>
        </p:txBody>
      </p:sp>
      <p:graphicFrame>
        <p:nvGraphicFramePr>
          <p:cNvPr id="15" name="Table 14"/>
          <p:cNvGraphicFramePr>
            <a:graphicFrameLocks noGrp="1"/>
          </p:cNvGraphicFramePr>
          <p:nvPr>
            <p:extLst>
              <p:ext uri="{D42A27DB-BD31-4B8C-83A1-F6EECF244321}">
                <p14:modId xmlns:p14="http://schemas.microsoft.com/office/powerpoint/2010/main" val="727506488"/>
              </p:ext>
            </p:extLst>
          </p:nvPr>
        </p:nvGraphicFramePr>
        <p:xfrm>
          <a:off x="541821" y="3647041"/>
          <a:ext cx="4282593" cy="1922955"/>
        </p:xfrm>
        <a:graphic>
          <a:graphicData uri="http://schemas.openxmlformats.org/drawingml/2006/table">
            <a:tbl>
              <a:tblPr/>
              <a:tblGrid>
                <a:gridCol w="1444941">
                  <a:extLst>
                    <a:ext uri="{9D8B030D-6E8A-4147-A177-3AD203B41FA5}">
                      <a16:colId xmlns="" xmlns:a16="http://schemas.microsoft.com/office/drawing/2014/main" val="20000"/>
                    </a:ext>
                  </a:extLst>
                </a:gridCol>
                <a:gridCol w="554362">
                  <a:extLst>
                    <a:ext uri="{9D8B030D-6E8A-4147-A177-3AD203B41FA5}">
                      <a16:colId xmlns="" xmlns:a16="http://schemas.microsoft.com/office/drawing/2014/main" val="20001"/>
                    </a:ext>
                  </a:extLst>
                </a:gridCol>
                <a:gridCol w="682991">
                  <a:extLst>
                    <a:ext uri="{9D8B030D-6E8A-4147-A177-3AD203B41FA5}">
                      <a16:colId xmlns="" xmlns:a16="http://schemas.microsoft.com/office/drawing/2014/main" val="20002"/>
                    </a:ext>
                  </a:extLst>
                </a:gridCol>
                <a:gridCol w="638929">
                  <a:extLst>
                    <a:ext uri="{9D8B030D-6E8A-4147-A177-3AD203B41FA5}">
                      <a16:colId xmlns="" xmlns:a16="http://schemas.microsoft.com/office/drawing/2014/main" val="20003"/>
                    </a:ext>
                  </a:extLst>
                </a:gridCol>
                <a:gridCol w="961370">
                  <a:extLst>
                    <a:ext uri="{9D8B030D-6E8A-4147-A177-3AD203B41FA5}">
                      <a16:colId xmlns="" xmlns:a16="http://schemas.microsoft.com/office/drawing/2014/main" val="20005"/>
                    </a:ext>
                  </a:extLst>
                </a:gridCol>
              </a:tblGrid>
              <a:tr h="382034">
                <a:tc>
                  <a:txBody>
                    <a:bodyPr/>
                    <a:lstStyle/>
                    <a:p>
                      <a:pPr algn="l" rtl="0" fontAlgn="ctr"/>
                      <a:r>
                        <a:rPr lang="en-US" sz="800" b="1" i="0" u="none" strike="noStrike" dirty="0" smtClean="0">
                          <a:solidFill>
                            <a:schemeClr val="bg1"/>
                          </a:solidFill>
                          <a:effectLst/>
                          <a:latin typeface="Arial"/>
                        </a:rPr>
                        <a:t>Gross annualized </a:t>
                      </a:r>
                      <a:r>
                        <a:rPr lang="en-US" sz="800" b="1" i="0" u="none" strike="noStrike" dirty="0">
                          <a:solidFill>
                            <a:schemeClr val="bg1"/>
                          </a:solidFill>
                          <a:effectLst/>
                          <a:latin typeface="Arial"/>
                        </a:rPr>
                        <a:t>performance in</a:t>
                      </a:r>
                      <a:br>
                        <a:rPr lang="en-US" sz="800" b="1" i="0" u="none" strike="noStrike" dirty="0">
                          <a:solidFill>
                            <a:schemeClr val="bg1"/>
                          </a:solidFill>
                          <a:effectLst/>
                          <a:latin typeface="Arial"/>
                        </a:rPr>
                      </a:br>
                      <a:r>
                        <a:rPr lang="en-US" sz="800" b="1" i="0" u="none" strike="noStrike" dirty="0">
                          <a:solidFill>
                            <a:schemeClr val="bg1"/>
                          </a:solidFill>
                          <a:effectLst/>
                          <a:latin typeface="Arial"/>
                        </a:rPr>
                        <a:t>USD as of</a:t>
                      </a:r>
                      <a:r>
                        <a:rPr lang="en-US" sz="800" b="1" i="0" u="none" strike="noStrike" baseline="0" dirty="0">
                          <a:solidFill>
                            <a:schemeClr val="bg1"/>
                          </a:solidFill>
                          <a:effectLst/>
                          <a:latin typeface="Arial"/>
                        </a:rPr>
                        <a:t> </a:t>
                      </a:r>
                      <a:r>
                        <a:rPr lang="en-US" sz="800" b="1" i="0" u="none" strike="noStrike" baseline="0" dirty="0" smtClean="0">
                          <a:solidFill>
                            <a:schemeClr val="bg1"/>
                          </a:solidFill>
                          <a:effectLst/>
                          <a:latin typeface="Arial"/>
                        </a:rPr>
                        <a:t>31</a:t>
                      </a:r>
                      <a:r>
                        <a:rPr lang="en-US" sz="800" b="1" i="0" u="none" strike="noStrike" dirty="0" smtClean="0">
                          <a:solidFill>
                            <a:schemeClr val="bg1"/>
                          </a:solidFill>
                          <a:effectLst/>
                          <a:latin typeface="Arial"/>
                        </a:rPr>
                        <a:t>/01/2018</a:t>
                      </a:r>
                      <a:endParaRPr lang="en-US" sz="800" b="1" i="0" u="none" strike="noStrike" dirty="0">
                        <a:solidFill>
                          <a:schemeClr val="bg1"/>
                        </a:solidFill>
                        <a:effectLst/>
                        <a:latin typeface="Arial"/>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800" b="1" i="0" u="none" strike="noStrike" dirty="0">
                          <a:solidFill>
                            <a:schemeClr val="bg1"/>
                          </a:solidFill>
                          <a:effectLst/>
                          <a:latin typeface="Arial"/>
                        </a:rPr>
                        <a:t>YTD</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chemeClr val="bg1"/>
                          </a:solidFill>
                          <a:effectLst/>
                          <a:latin typeface="Arial"/>
                        </a:rPr>
                        <a:t>1 year</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chemeClr val="bg1"/>
                          </a:solidFill>
                          <a:effectLst/>
                          <a:latin typeface="Arial"/>
                        </a:rPr>
                        <a:t>3 yea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US" sz="800" b="1" i="0" u="none" strike="noStrike" dirty="0" smtClean="0">
                          <a:solidFill>
                            <a:schemeClr val="bg1"/>
                          </a:solidFill>
                          <a:effectLst/>
                          <a:latin typeface="Arial"/>
                        </a:rPr>
                        <a:t>Since inception </a:t>
                      </a:r>
                      <a:r>
                        <a:rPr lang="en-US" sz="800" b="1" i="0" u="none" strike="noStrike" dirty="0">
                          <a:solidFill>
                            <a:schemeClr val="bg1"/>
                          </a:solidFill>
                          <a:effectLst/>
                          <a:latin typeface="Arial"/>
                        </a:rPr>
                        <a:t>(04/09/2013)</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0"/>
                  </a:ext>
                </a:extLst>
              </a:tr>
              <a:tr h="135144">
                <a:tc>
                  <a:txBody>
                    <a:bodyPr/>
                    <a:lstStyle/>
                    <a:p>
                      <a:pPr algn="l" fontAlgn="ctr"/>
                      <a:r>
                        <a:rPr lang="en-US" sz="800" b="0" i="0" u="none" strike="noStrike" dirty="0">
                          <a:solidFill>
                            <a:schemeClr val="tx1"/>
                          </a:solidFill>
                          <a:effectLst/>
                          <a:latin typeface="Arial"/>
                        </a:rPr>
                        <a:t>Portfolio</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3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7.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1"/>
                  </a:ext>
                </a:extLst>
              </a:tr>
              <a:tr h="135144">
                <a:tc>
                  <a:txBody>
                    <a:bodyPr/>
                    <a:lstStyle/>
                    <a:p>
                      <a:pPr algn="l" fontAlgn="ctr"/>
                      <a:r>
                        <a:rPr lang="en-US" sz="800" b="0" i="0" u="none" strike="noStrike" dirty="0">
                          <a:solidFill>
                            <a:schemeClr val="tx1"/>
                          </a:solidFill>
                          <a:effectLst/>
                          <a:latin typeface="Arial"/>
                        </a:rPr>
                        <a:t>Benchmark</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4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9.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2"/>
                  </a:ext>
                </a:extLst>
              </a:tr>
              <a:tr h="135144">
                <a:tc>
                  <a:txBody>
                    <a:bodyPr/>
                    <a:lstStyle/>
                    <a:p>
                      <a:pPr algn="l" fontAlgn="ctr"/>
                      <a:r>
                        <a:rPr lang="en-US" sz="800" b="0" i="0" u="none" strike="noStrike" dirty="0">
                          <a:solidFill>
                            <a:schemeClr val="tx1"/>
                          </a:solidFill>
                          <a:effectLst/>
                          <a:latin typeface="Arial"/>
                        </a:rPr>
                        <a:t>Excess Return </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2.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9.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3.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3"/>
                  </a:ext>
                </a:extLst>
              </a:tr>
              <a:tr h="135144">
                <a:tc>
                  <a:txBody>
                    <a:bodyPr/>
                    <a:lstStyle/>
                    <a:p>
                      <a:pPr algn="l" rtl="0" fontAlgn="ctr"/>
                      <a:r>
                        <a:rPr lang="en-US" sz="800" b="1" i="0" u="none" strike="noStrike" dirty="0">
                          <a:solidFill>
                            <a:schemeClr val="bg1"/>
                          </a:solidFill>
                          <a:effectLst/>
                          <a:latin typeface="Arial"/>
                        </a:rPr>
                        <a:t>Risk Indicato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800" b="1" i="0" u="none" strike="noStrike" dirty="0">
                          <a:solidFill>
                            <a:schemeClr val="bg1"/>
                          </a:solidFill>
                          <a:effectLst/>
                          <a:latin typeface="Arial"/>
                        </a:rPr>
                        <a:t> </a:t>
                      </a:r>
                      <a:r>
                        <a:rPr lang="en-US" sz="800" b="1" i="0" u="none" strike="noStrike" dirty="0" smtClean="0">
                          <a:solidFill>
                            <a:schemeClr val="bg1"/>
                          </a:solidFill>
                          <a:effectLst/>
                          <a:latin typeface="+mn-lt"/>
                        </a:rPr>
                        <a:t>YTD</a:t>
                      </a:r>
                      <a:endParaRPr lang="en-US" sz="800" b="1" i="0" u="none" strike="noStrike" dirty="0">
                        <a:solidFill>
                          <a:schemeClr val="bg1"/>
                        </a:solidFill>
                        <a:effectLst/>
                        <a:latin typeface="Arial"/>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chemeClr val="bg1"/>
                          </a:solidFill>
                          <a:effectLst/>
                          <a:latin typeface="Arial"/>
                        </a:rPr>
                        <a:t>1 year</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chemeClr val="bg1"/>
                          </a:solidFill>
                          <a:effectLst/>
                          <a:latin typeface="Arial"/>
                        </a:rPr>
                        <a:t>3 yea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kumimoji="0" lang="en-US" sz="800" b="1" i="0" u="none" strike="noStrike" kern="1200" cap="none" spc="0" normalizeH="0" baseline="0" noProof="0" dirty="0" smtClean="0">
                          <a:ln>
                            <a:noFill/>
                          </a:ln>
                          <a:solidFill>
                            <a:srgbClr val="FFFFFF"/>
                          </a:solidFill>
                          <a:effectLst/>
                          <a:uLnTx/>
                          <a:uFillTx/>
                          <a:latin typeface="+mn-lt"/>
                          <a:ea typeface="+mn-ea"/>
                          <a:cs typeface="+mn-cs"/>
                        </a:rPr>
                        <a:t>Since inception </a:t>
                      </a:r>
                      <a:endParaRPr lang="fr-FR" sz="900" b="0" i="0" u="none" strike="noStrike" dirty="0">
                        <a:solidFill>
                          <a:srgbClr val="001C4B"/>
                        </a:solidFill>
                        <a:effectLst/>
                        <a:latin typeface="Arial"/>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4"/>
                  </a:ext>
                </a:extLst>
              </a:tr>
              <a:tr h="135144">
                <a:tc>
                  <a:txBody>
                    <a:bodyPr/>
                    <a:lstStyle/>
                    <a:p>
                      <a:pPr algn="l" rtl="0" fontAlgn="ctr"/>
                      <a:r>
                        <a:rPr lang="en-US" sz="800" b="0" i="0" u="none" strike="noStrike" dirty="0">
                          <a:solidFill>
                            <a:schemeClr val="tx1"/>
                          </a:solidFill>
                          <a:effectLst/>
                          <a:latin typeface="Arial"/>
                        </a:rPr>
                        <a:t>Portfolio Volatility</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5.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7.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2.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5"/>
                  </a:ext>
                </a:extLst>
              </a:tr>
              <a:tr h="158994">
                <a:tc>
                  <a:txBody>
                    <a:bodyPr/>
                    <a:lstStyle/>
                    <a:p>
                      <a:pPr algn="l" rtl="0" fontAlgn="ctr"/>
                      <a:r>
                        <a:rPr lang="en-US" sz="800" b="0" i="0" u="none" strike="noStrike" dirty="0">
                          <a:solidFill>
                            <a:schemeClr val="tx1"/>
                          </a:solidFill>
                          <a:effectLst/>
                          <a:latin typeface="Arial"/>
                        </a:rPr>
                        <a:t>Benchmark Volatility</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9.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6.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6"/>
                  </a:ext>
                </a:extLst>
              </a:tr>
              <a:tr h="155849">
                <a:tc>
                  <a:txBody>
                    <a:bodyPr/>
                    <a:lstStyle/>
                    <a:p>
                      <a:pPr algn="l" rtl="0" fontAlgn="ctr"/>
                      <a:r>
                        <a:rPr lang="en-US" sz="800" b="0" i="0" u="none" strike="noStrike" dirty="0">
                          <a:solidFill>
                            <a:schemeClr val="tx1"/>
                          </a:solidFill>
                          <a:effectLst/>
                          <a:latin typeface="Arial"/>
                        </a:rPr>
                        <a:t>Ex-post Tracking Error</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7"/>
                  </a:ext>
                </a:extLst>
              </a:tr>
              <a:tr h="135144">
                <a:tc>
                  <a:txBody>
                    <a:bodyPr/>
                    <a:lstStyle/>
                    <a:p>
                      <a:pPr algn="l" rtl="0" fontAlgn="ctr"/>
                      <a:r>
                        <a:rPr lang="en-US" sz="800" b="0" i="0" u="none" strike="noStrike" dirty="0">
                          <a:solidFill>
                            <a:schemeClr val="tx1"/>
                          </a:solidFill>
                          <a:effectLst/>
                          <a:latin typeface="Arial"/>
                        </a:rPr>
                        <a:t>Portfolio Max drawdown </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2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29.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8"/>
                  </a:ext>
                </a:extLst>
              </a:tr>
              <a:tr h="135144">
                <a:tc>
                  <a:txBody>
                    <a:bodyPr/>
                    <a:lstStyle/>
                    <a:p>
                      <a:pPr algn="l" rtl="0" fontAlgn="ctr"/>
                      <a:r>
                        <a:rPr lang="en-US" sz="800" b="0" i="0" u="none" strike="noStrike">
                          <a:solidFill>
                            <a:schemeClr val="tx1"/>
                          </a:solidFill>
                          <a:effectLst/>
                          <a:latin typeface="Arial"/>
                        </a:rPr>
                        <a:t>Benchmark Max drawdown</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4.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34.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3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9"/>
                  </a:ext>
                </a:extLst>
              </a:tr>
              <a:tr h="133120">
                <a:tc>
                  <a:txBody>
                    <a:bodyPr/>
                    <a:lstStyle/>
                    <a:p>
                      <a:pPr algn="l" rtl="0" fontAlgn="ctr"/>
                      <a:r>
                        <a:rPr lang="en-US" sz="800" b="0" i="0" u="none" strike="noStrike">
                          <a:solidFill>
                            <a:schemeClr val="tx1"/>
                          </a:solidFill>
                          <a:effectLst/>
                          <a:latin typeface="Arial"/>
                        </a:rPr>
                        <a:t>Portfolio Return to Risk</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4.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6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6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10"/>
                  </a:ext>
                </a:extLst>
              </a:tr>
              <a:tr h="146950">
                <a:tc>
                  <a:txBody>
                    <a:bodyPr/>
                    <a:lstStyle/>
                    <a:p>
                      <a:pPr algn="l" rtl="0" fontAlgn="ctr"/>
                      <a:r>
                        <a:rPr lang="en-US" sz="800" b="0" i="0" u="none" strike="noStrike" dirty="0">
                          <a:solidFill>
                            <a:schemeClr val="tx1"/>
                          </a:solidFill>
                          <a:effectLst/>
                          <a:latin typeface="Arial"/>
                        </a:rPr>
                        <a:t>Benchmark Return to Risk</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3.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7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11"/>
                  </a:ext>
                </a:extLst>
              </a:tr>
            </a:tbl>
          </a:graphicData>
        </a:graphic>
      </p:graphicFrame>
      <p:graphicFrame>
        <p:nvGraphicFramePr>
          <p:cNvPr id="12" name="Table 14">
            <a:extLst>
              <a:ext uri="{FF2B5EF4-FFF2-40B4-BE49-F238E27FC236}">
                <a16:creationId xmlns="" xmlns:a16="http://schemas.microsoft.com/office/drawing/2014/main" id="{B0CC12BB-30D1-4B44-9BD9-188741F64347}"/>
              </a:ext>
            </a:extLst>
          </p:cNvPr>
          <p:cNvGraphicFramePr>
            <a:graphicFrameLocks noGrp="1"/>
          </p:cNvGraphicFramePr>
          <p:nvPr>
            <p:extLst>
              <p:ext uri="{D42A27DB-BD31-4B8C-83A1-F6EECF244321}">
                <p14:modId xmlns:p14="http://schemas.microsoft.com/office/powerpoint/2010/main" val="1612126675"/>
              </p:ext>
            </p:extLst>
          </p:nvPr>
        </p:nvGraphicFramePr>
        <p:xfrm>
          <a:off x="5010109" y="3647041"/>
          <a:ext cx="2379736" cy="382071"/>
        </p:xfrm>
        <a:graphic>
          <a:graphicData uri="http://schemas.openxmlformats.org/drawingml/2006/table">
            <a:tbl>
              <a:tblPr/>
              <a:tblGrid>
                <a:gridCol w="1544630">
                  <a:extLst>
                    <a:ext uri="{9D8B030D-6E8A-4147-A177-3AD203B41FA5}">
                      <a16:colId xmlns="" xmlns:a16="http://schemas.microsoft.com/office/drawing/2014/main" val="20001"/>
                    </a:ext>
                  </a:extLst>
                </a:gridCol>
                <a:gridCol w="835106">
                  <a:extLst>
                    <a:ext uri="{9D8B030D-6E8A-4147-A177-3AD203B41FA5}">
                      <a16:colId xmlns="" xmlns:a16="http://schemas.microsoft.com/office/drawing/2014/main" val="20002"/>
                    </a:ext>
                  </a:extLst>
                </a:gridCol>
              </a:tblGrid>
              <a:tr h="382071">
                <a:tc>
                  <a:txBody>
                    <a:bodyPr/>
                    <a:lstStyle/>
                    <a:p>
                      <a:pPr algn="ctr" fontAlgn="ctr"/>
                      <a:r>
                        <a:rPr lang="en-US" sz="800" b="1" i="0" u="none" strike="noStrike" dirty="0" err="1">
                          <a:solidFill>
                            <a:schemeClr val="bg1"/>
                          </a:solidFill>
                          <a:effectLst/>
                          <a:latin typeface="+mn-lt"/>
                        </a:rPr>
                        <a:t>AuM</a:t>
                      </a:r>
                      <a:r>
                        <a:rPr lang="en-US" sz="800" b="1" i="0" u="none" strike="noStrike" dirty="0">
                          <a:solidFill>
                            <a:schemeClr val="bg1"/>
                          </a:solidFill>
                          <a:effectLst/>
                          <a:latin typeface="+mn-lt"/>
                        </a:rPr>
                        <a:t> </a:t>
                      </a:r>
                      <a:r>
                        <a:rPr lang="en-US" sz="800" b="1" i="0" u="none" strike="noStrike" dirty="0" smtClean="0">
                          <a:solidFill>
                            <a:schemeClr val="bg1"/>
                          </a:solidFill>
                          <a:effectLst/>
                          <a:latin typeface="+mn-lt"/>
                        </a:rPr>
                        <a:t>(€M</a:t>
                      </a:r>
                      <a:r>
                        <a:rPr lang="en-US" sz="800" b="1" i="0" u="none" strike="noStrike" dirty="0">
                          <a:solidFill>
                            <a:schemeClr val="bg1"/>
                          </a:solidFill>
                          <a:effectLst/>
                          <a:latin typeface="+mn-lt"/>
                        </a:rPr>
                        <a:t>)</a:t>
                      </a:r>
                      <a:endParaRPr lang="en-US" sz="800" b="1" i="0" u="none" strike="noStrike" dirty="0">
                        <a:solidFill>
                          <a:schemeClr val="bg1"/>
                        </a:solidFill>
                        <a:effectLst/>
                        <a:latin typeface="Arial"/>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fr-FR" sz="800" b="0" i="0" u="none" strike="noStrike" kern="1200" dirty="0" smtClean="0">
                          <a:solidFill>
                            <a:schemeClr val="tx1"/>
                          </a:solidFill>
                          <a:effectLst/>
                          <a:latin typeface="Arial"/>
                          <a:ea typeface="+mn-ea"/>
                          <a:cs typeface="+mn-cs"/>
                        </a:rPr>
                        <a:t>80</a:t>
                      </a:r>
                      <a:endParaRPr lang="en-US" sz="800" b="0" i="0" u="none" strike="noStrike" kern="1200" dirty="0">
                        <a:solidFill>
                          <a:schemeClr val="tx1"/>
                        </a:solidFill>
                        <a:effectLst/>
                        <a:latin typeface="Arial"/>
                        <a:ea typeface="+mn-ea"/>
                        <a:cs typeface="+mn-cs"/>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0"/>
                  </a:ext>
                </a:extLst>
              </a:tr>
            </a:tbl>
          </a:graphicData>
        </a:graphic>
      </p:graphicFrame>
      <p:sp>
        <p:nvSpPr>
          <p:cNvPr id="3" name="Espace réservé du pied de page 2"/>
          <p:cNvSpPr>
            <a:spLocks noGrp="1"/>
          </p:cNvSpPr>
          <p:nvPr>
            <p:ph type="ftr" sz="quarter" idx="11"/>
          </p:nvPr>
        </p:nvSpPr>
        <p:spPr/>
        <p:txBody>
          <a:bodyPr/>
          <a:lstStyle/>
          <a:p>
            <a:r>
              <a:rPr lang="en-US" dirty="0"/>
              <a:t>Smart Beta - Investment Solutions</a:t>
            </a:r>
            <a:endParaRPr lang="fr-FR" dirty="0"/>
          </a:p>
        </p:txBody>
      </p:sp>
      <p:graphicFrame>
        <p:nvGraphicFramePr>
          <p:cNvPr id="14" name="Chart 2"/>
          <p:cNvGraphicFramePr>
            <a:graphicFrameLocks/>
          </p:cNvGraphicFramePr>
          <p:nvPr>
            <p:extLst>
              <p:ext uri="{D42A27DB-BD31-4B8C-83A1-F6EECF244321}">
                <p14:modId xmlns:p14="http://schemas.microsoft.com/office/powerpoint/2010/main" val="330806325"/>
              </p:ext>
            </p:extLst>
          </p:nvPr>
        </p:nvGraphicFramePr>
        <p:xfrm>
          <a:off x="504063" y="1281558"/>
          <a:ext cx="4006850" cy="24659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1"/>
          <p:cNvGraphicFramePr>
            <a:graphicFrameLocks/>
          </p:cNvGraphicFramePr>
          <p:nvPr>
            <p:extLst>
              <p:ext uri="{D42A27DB-BD31-4B8C-83A1-F6EECF244321}">
                <p14:modId xmlns:p14="http://schemas.microsoft.com/office/powerpoint/2010/main" val="645860070"/>
              </p:ext>
            </p:extLst>
          </p:nvPr>
        </p:nvGraphicFramePr>
        <p:xfrm>
          <a:off x="4712462" y="1342771"/>
          <a:ext cx="3891661" cy="2210054"/>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200363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re 21">
            <a:extLst>
              <a:ext uri="{FF2B5EF4-FFF2-40B4-BE49-F238E27FC236}">
                <a16:creationId xmlns:a16="http://schemas.microsoft.com/office/drawing/2014/main" xmlns="" id="{79214F7E-37C8-42AF-A8DE-BFF4631603FB}"/>
              </a:ext>
            </a:extLst>
          </p:cNvPr>
          <p:cNvSpPr>
            <a:spLocks noGrp="1"/>
          </p:cNvSpPr>
          <p:nvPr>
            <p:ph type="title"/>
          </p:nvPr>
        </p:nvSpPr>
        <p:spPr/>
        <p:txBody>
          <a:bodyPr>
            <a:normAutofit/>
          </a:bodyPr>
          <a:lstStyle/>
          <a:p>
            <a:r>
              <a:rPr lang="en-US" dirty="0"/>
              <a:t>Euro Risk Parity: </a:t>
            </a:r>
            <a:r>
              <a:rPr lang="en-US" dirty="0">
                <a:solidFill>
                  <a:srgbClr val="00B0F0"/>
                </a:solidFill>
              </a:rPr>
              <a:t>Performance</a:t>
            </a:r>
            <a:endParaRPr lang="fr-BE" dirty="0"/>
          </a:p>
        </p:txBody>
      </p:sp>
      <p:sp>
        <p:nvSpPr>
          <p:cNvPr id="4" name="Espace réservé du pied de page 3"/>
          <p:cNvSpPr>
            <a:spLocks noGrp="1"/>
          </p:cNvSpPr>
          <p:nvPr>
            <p:ph type="ftr" sz="quarter" idx="11"/>
          </p:nvPr>
        </p:nvSpPr>
        <p:spPr/>
        <p:txBody>
          <a:bodyPr/>
          <a:lstStyle/>
          <a:p>
            <a:r>
              <a:rPr lang="en-US" dirty="0" smtClean="0"/>
              <a:t>Smart Beta - Investment Solutions</a:t>
            </a:r>
            <a:endParaRPr lang="en-US" dirty="0"/>
          </a:p>
        </p:txBody>
      </p:sp>
      <p:sp>
        <p:nvSpPr>
          <p:cNvPr id="7" name="Espace réservé du numéro de diapositive 6"/>
          <p:cNvSpPr>
            <a:spLocks noGrp="1"/>
          </p:cNvSpPr>
          <p:nvPr>
            <p:ph type="sldNum" sz="quarter" idx="12"/>
          </p:nvPr>
        </p:nvSpPr>
        <p:spPr/>
        <p:txBody>
          <a:bodyPr/>
          <a:lstStyle/>
          <a:p>
            <a:fld id="{C12E7156-0CA6-462A-9A46-AEFB5E440988}" type="slidenum">
              <a:rPr lang="fr-BE" smtClean="0"/>
              <a:pPr/>
              <a:t>61</a:t>
            </a:fld>
            <a:endParaRPr lang="fr-BE" dirty="0"/>
          </a:p>
        </p:txBody>
      </p:sp>
      <p:sp>
        <p:nvSpPr>
          <p:cNvPr id="24" name="Espace réservé du texte 23">
            <a:extLst>
              <a:ext uri="{FF2B5EF4-FFF2-40B4-BE49-F238E27FC236}">
                <a16:creationId xmlns:a16="http://schemas.microsoft.com/office/drawing/2014/main" xmlns="" id="{052F244B-7228-4A7F-B3E3-FCF7B28C7FBC}"/>
              </a:ext>
            </a:extLst>
          </p:cNvPr>
          <p:cNvSpPr>
            <a:spLocks noGrp="1"/>
          </p:cNvSpPr>
          <p:nvPr>
            <p:ph type="body" sz="quarter" idx="14"/>
          </p:nvPr>
        </p:nvSpPr>
        <p:spPr/>
        <p:txBody>
          <a:bodyPr/>
          <a:lstStyle/>
          <a:p>
            <a:pPr algn="l"/>
            <a:r>
              <a:rPr lang="en-US" dirty="0"/>
              <a:t>Source: Amundi, Gross in EUR performance as of </a:t>
            </a:r>
            <a:r>
              <a:rPr lang="en-US" dirty="0" smtClean="0"/>
              <a:t>31/01/2018. </a:t>
            </a:r>
            <a:r>
              <a:rPr lang="en-US" dirty="0"/>
              <a:t/>
            </a:r>
            <a:br>
              <a:rPr lang="en-US" dirty="0"/>
            </a:br>
            <a:r>
              <a:rPr lang="en-US" dirty="0"/>
              <a:t>Past performance is not a reliable indicator of future results or a guarantee of future returns. </a:t>
            </a:r>
          </a:p>
        </p:txBody>
      </p:sp>
      <p:graphicFrame>
        <p:nvGraphicFramePr>
          <p:cNvPr id="27" name="Table 12">
            <a:extLst>
              <a:ext uri="{FF2B5EF4-FFF2-40B4-BE49-F238E27FC236}">
                <a16:creationId xmlns:a16="http://schemas.microsoft.com/office/drawing/2014/main" xmlns="" id="{118884CF-0627-4F23-8638-5E202AF59A4C}"/>
              </a:ext>
            </a:extLst>
          </p:cNvPr>
          <p:cNvGraphicFramePr>
            <a:graphicFrameLocks noGrp="1"/>
          </p:cNvGraphicFramePr>
          <p:nvPr>
            <p:extLst>
              <p:ext uri="{D42A27DB-BD31-4B8C-83A1-F6EECF244321}">
                <p14:modId xmlns:p14="http://schemas.microsoft.com/office/powerpoint/2010/main" val="3096128616"/>
              </p:ext>
            </p:extLst>
          </p:nvPr>
        </p:nvGraphicFramePr>
        <p:xfrm>
          <a:off x="543560" y="3646805"/>
          <a:ext cx="4301998" cy="1893567"/>
        </p:xfrm>
        <a:graphic>
          <a:graphicData uri="http://schemas.openxmlformats.org/drawingml/2006/table">
            <a:tbl>
              <a:tblPr/>
              <a:tblGrid>
                <a:gridCol w="1303157">
                  <a:extLst>
                    <a:ext uri="{9D8B030D-6E8A-4147-A177-3AD203B41FA5}">
                      <a16:colId xmlns:a16="http://schemas.microsoft.com/office/drawing/2014/main" xmlns="" val="20000"/>
                    </a:ext>
                  </a:extLst>
                </a:gridCol>
                <a:gridCol w="499968">
                  <a:extLst>
                    <a:ext uri="{9D8B030D-6E8A-4147-A177-3AD203B41FA5}">
                      <a16:colId xmlns:a16="http://schemas.microsoft.com/office/drawing/2014/main" xmlns="" val="20001"/>
                    </a:ext>
                  </a:extLst>
                </a:gridCol>
                <a:gridCol w="615974">
                  <a:extLst>
                    <a:ext uri="{9D8B030D-6E8A-4147-A177-3AD203B41FA5}">
                      <a16:colId xmlns:a16="http://schemas.microsoft.com/office/drawing/2014/main" xmlns="" val="20002"/>
                    </a:ext>
                  </a:extLst>
                </a:gridCol>
                <a:gridCol w="576235">
                  <a:extLst>
                    <a:ext uri="{9D8B030D-6E8A-4147-A177-3AD203B41FA5}">
                      <a16:colId xmlns:a16="http://schemas.microsoft.com/office/drawing/2014/main" xmlns="" val="20003"/>
                    </a:ext>
                  </a:extLst>
                </a:gridCol>
                <a:gridCol w="439627">
                  <a:extLst>
                    <a:ext uri="{9D8B030D-6E8A-4147-A177-3AD203B41FA5}">
                      <a16:colId xmlns:a16="http://schemas.microsoft.com/office/drawing/2014/main" xmlns="" val="20004"/>
                    </a:ext>
                  </a:extLst>
                </a:gridCol>
                <a:gridCol w="867037">
                  <a:extLst>
                    <a:ext uri="{9D8B030D-6E8A-4147-A177-3AD203B41FA5}">
                      <a16:colId xmlns:a16="http://schemas.microsoft.com/office/drawing/2014/main" xmlns="" val="20005"/>
                    </a:ext>
                  </a:extLst>
                </a:gridCol>
              </a:tblGrid>
              <a:tr h="419423">
                <a:tc>
                  <a:txBody>
                    <a:bodyPr/>
                    <a:lstStyle/>
                    <a:p>
                      <a:pPr algn="l" rtl="0" fontAlgn="ctr"/>
                      <a:r>
                        <a:rPr lang="en-US" sz="800" b="1" i="0" u="none" strike="noStrike" dirty="0">
                          <a:solidFill>
                            <a:srgbClr val="FFFFFF"/>
                          </a:solidFill>
                          <a:effectLst/>
                          <a:latin typeface="Arial"/>
                        </a:rPr>
                        <a:t>Gross annualized performance in EUR as of </a:t>
                      </a:r>
                      <a:r>
                        <a:rPr lang="en-US" sz="800" b="1" i="0" u="none" strike="noStrike" dirty="0" smtClean="0">
                          <a:solidFill>
                            <a:srgbClr val="FFFFFF"/>
                          </a:solidFill>
                          <a:effectLst/>
                          <a:latin typeface="Arial"/>
                        </a:rPr>
                        <a:t>31/01/2018</a:t>
                      </a:r>
                      <a:endParaRPr lang="en-US" sz="800" b="1" i="0" u="none" strike="noStrike" dirty="0">
                        <a:solidFill>
                          <a:srgbClr val="FFFFFF"/>
                        </a:solidFill>
                        <a:effectLst/>
                        <a:latin typeface="Arial"/>
                      </a:endParaRPr>
                    </a:p>
                  </a:txBody>
                  <a:tcPr marL="36000"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C64"/>
                    </a:solidFill>
                  </a:tcPr>
                </a:tc>
                <a:tc>
                  <a:txBody>
                    <a:bodyPr/>
                    <a:lstStyle/>
                    <a:p>
                      <a:pPr algn="ctr" fontAlgn="ctr"/>
                      <a:r>
                        <a:rPr lang="en-US" sz="800" b="1" i="0" u="none" strike="noStrike" dirty="0">
                          <a:solidFill>
                            <a:srgbClr val="FFFFFF"/>
                          </a:solidFill>
                          <a:effectLst/>
                          <a:latin typeface="Arial"/>
                        </a:rPr>
                        <a:t>YTD</a:t>
                      </a:r>
                    </a:p>
                  </a:txBody>
                  <a:tcPr marL="7985"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algn="ctr" fontAlgn="ctr"/>
                      <a:r>
                        <a:rPr lang="en-US" sz="800" b="1" i="0" u="none" strike="noStrike" dirty="0">
                          <a:solidFill>
                            <a:srgbClr val="FFFFFF"/>
                          </a:solidFill>
                          <a:effectLst/>
                          <a:latin typeface="Arial"/>
                        </a:rPr>
                        <a:t>1 year</a:t>
                      </a:r>
                    </a:p>
                  </a:txBody>
                  <a:tcPr marL="7985"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algn="ctr" fontAlgn="ctr"/>
                      <a:r>
                        <a:rPr lang="en-US" sz="800" b="1" i="0" u="none" strike="noStrike" dirty="0">
                          <a:solidFill>
                            <a:srgbClr val="FFFFFF"/>
                          </a:solidFill>
                          <a:effectLst/>
                          <a:latin typeface="Arial"/>
                        </a:rPr>
                        <a:t>3 years</a:t>
                      </a:r>
                    </a:p>
                  </a:txBody>
                  <a:tcPr marL="7985"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algn="ctr" fontAlgn="ctr"/>
                      <a:r>
                        <a:rPr lang="en-US" sz="800" b="1" i="0" u="none" strike="noStrike" dirty="0">
                          <a:solidFill>
                            <a:srgbClr val="FFFFFF"/>
                          </a:solidFill>
                          <a:effectLst/>
                          <a:latin typeface="Arial"/>
                        </a:rPr>
                        <a:t>5 years</a:t>
                      </a:r>
                    </a:p>
                  </a:txBody>
                  <a:tcPr marL="7985"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algn="ctr" rtl="0" fontAlgn="ctr"/>
                      <a:r>
                        <a:rPr lang="en-US" sz="800" b="1" i="0" u="none" strike="noStrike" dirty="0">
                          <a:solidFill>
                            <a:srgbClr val="FFFFFF"/>
                          </a:solidFill>
                          <a:effectLst/>
                          <a:latin typeface="Arial"/>
                        </a:rPr>
                        <a:t>Since inception</a:t>
                      </a:r>
                    </a:p>
                    <a:p>
                      <a:pPr algn="ctr" rtl="0" fontAlgn="ctr"/>
                      <a:r>
                        <a:rPr lang="fr-FR" sz="800" b="1" i="0" u="none" strike="noStrike" dirty="0">
                          <a:solidFill>
                            <a:srgbClr val="FFFFFF"/>
                          </a:solidFill>
                          <a:effectLst/>
                          <a:latin typeface="Arial"/>
                        </a:rPr>
                        <a:t>(24/06/2010)</a:t>
                      </a:r>
                      <a:endParaRPr lang="en-US" sz="800" b="1" i="0" u="none" strike="noStrike" dirty="0">
                        <a:solidFill>
                          <a:srgbClr val="FFFFFF"/>
                        </a:solidFill>
                        <a:effectLst/>
                        <a:latin typeface="Arial"/>
                      </a:endParaRPr>
                    </a:p>
                  </a:txBody>
                  <a:tcPr marL="7985"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extLst>
                  <a:ext uri="{0D108BD9-81ED-4DB2-BD59-A6C34878D82A}">
                    <a16:rowId xmlns:a16="http://schemas.microsoft.com/office/drawing/2014/main" xmlns="" val="10000"/>
                  </a:ext>
                </a:extLst>
              </a:tr>
              <a:tr h="145782">
                <a:tc>
                  <a:txBody>
                    <a:bodyPr/>
                    <a:lstStyle/>
                    <a:p>
                      <a:pPr algn="l" fontAlgn="ctr"/>
                      <a:r>
                        <a:rPr lang="en-US" sz="800" b="0" i="0" u="none" strike="noStrike" dirty="0">
                          <a:solidFill>
                            <a:srgbClr val="003C64"/>
                          </a:solidFill>
                          <a:effectLst/>
                          <a:latin typeface="Arial"/>
                        </a:rPr>
                        <a:t>Portfolio</a:t>
                      </a:r>
                    </a:p>
                  </a:txBody>
                  <a:tcPr marL="36000"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2.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1"/>
                  </a:ext>
                </a:extLst>
              </a:tr>
              <a:tr h="145782">
                <a:tc>
                  <a:txBody>
                    <a:bodyPr/>
                    <a:lstStyle/>
                    <a:p>
                      <a:pPr algn="l" fontAlgn="ctr"/>
                      <a:r>
                        <a:rPr lang="en-US" sz="800" b="0" i="0" u="none" strike="noStrike" dirty="0">
                          <a:solidFill>
                            <a:srgbClr val="003C64"/>
                          </a:solidFill>
                          <a:effectLst/>
                          <a:latin typeface="Arial"/>
                        </a:rPr>
                        <a:t>Benchmark</a:t>
                      </a:r>
                    </a:p>
                  </a:txBody>
                  <a:tcPr marL="36000"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3.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7.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7.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2"/>
                  </a:ext>
                </a:extLst>
              </a:tr>
              <a:tr h="145782">
                <a:tc>
                  <a:txBody>
                    <a:bodyPr/>
                    <a:lstStyle/>
                    <a:p>
                      <a:pPr algn="l" fontAlgn="ctr"/>
                      <a:r>
                        <a:rPr lang="en-US" sz="800" b="0" i="0" u="none" strike="noStrike" dirty="0">
                          <a:solidFill>
                            <a:srgbClr val="003C64"/>
                          </a:solidFill>
                          <a:effectLst/>
                          <a:latin typeface="Arial"/>
                        </a:rPr>
                        <a:t>Excess Return </a:t>
                      </a:r>
                    </a:p>
                  </a:txBody>
                  <a:tcPr marL="36000"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3"/>
                  </a:ext>
                </a:extLst>
              </a:tr>
              <a:tr h="145782">
                <a:tc>
                  <a:txBody>
                    <a:bodyPr/>
                    <a:lstStyle/>
                    <a:p>
                      <a:pPr algn="l" rtl="0" fontAlgn="ctr"/>
                      <a:r>
                        <a:rPr lang="en-US" sz="800" b="1" i="0" u="none" strike="noStrike" dirty="0">
                          <a:solidFill>
                            <a:srgbClr val="FFFFFF"/>
                          </a:solidFill>
                          <a:effectLst/>
                          <a:latin typeface="Arial"/>
                        </a:rPr>
                        <a:t>Risk Indicators</a:t>
                      </a:r>
                    </a:p>
                  </a:txBody>
                  <a:tcPr marL="36000"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C6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00" b="1" i="0" u="none" strike="noStrike" dirty="0">
                          <a:solidFill>
                            <a:srgbClr val="FFFFFF"/>
                          </a:solidFill>
                          <a:effectLst/>
                          <a:latin typeface="Arial"/>
                        </a:rPr>
                        <a:t> YTD</a:t>
                      </a:r>
                    </a:p>
                  </a:txBody>
                  <a:tcPr marL="7985"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algn="ctr" fontAlgn="ctr"/>
                      <a:r>
                        <a:rPr lang="en-US" sz="800" b="1" i="0" u="none" strike="noStrike" dirty="0">
                          <a:solidFill>
                            <a:srgbClr val="FFFFFF"/>
                          </a:solidFill>
                          <a:effectLst/>
                          <a:latin typeface="Arial"/>
                        </a:rPr>
                        <a:t>1 year</a:t>
                      </a:r>
                    </a:p>
                  </a:txBody>
                  <a:tcPr marL="7985"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algn="ctr" fontAlgn="ctr"/>
                      <a:r>
                        <a:rPr lang="en-US" sz="800" b="1" i="0" u="none" strike="noStrike" dirty="0">
                          <a:solidFill>
                            <a:srgbClr val="FFFFFF"/>
                          </a:solidFill>
                          <a:effectLst/>
                          <a:latin typeface="Arial"/>
                        </a:rPr>
                        <a:t>3 years</a:t>
                      </a:r>
                    </a:p>
                  </a:txBody>
                  <a:tcPr marL="7985"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algn="ctr" fontAlgn="ctr"/>
                      <a:r>
                        <a:rPr lang="en-US" sz="800" b="1" i="0" u="none" strike="noStrike" dirty="0">
                          <a:solidFill>
                            <a:srgbClr val="FFFFFF"/>
                          </a:solidFill>
                          <a:effectLst/>
                          <a:latin typeface="Arial"/>
                        </a:rPr>
                        <a:t>5 years</a:t>
                      </a:r>
                    </a:p>
                  </a:txBody>
                  <a:tcPr marL="7985"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00" b="1" i="0" u="none" strike="noStrike" dirty="0">
                          <a:solidFill>
                            <a:srgbClr val="FFFFFF"/>
                          </a:solidFill>
                          <a:effectLst/>
                          <a:latin typeface="Arial"/>
                        </a:rPr>
                        <a:t>Since inception </a:t>
                      </a:r>
                    </a:p>
                  </a:txBody>
                  <a:tcPr marL="7985"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0E3"/>
                    </a:solidFill>
                  </a:tcPr>
                </a:tc>
                <a:extLst>
                  <a:ext uri="{0D108BD9-81ED-4DB2-BD59-A6C34878D82A}">
                    <a16:rowId xmlns:a16="http://schemas.microsoft.com/office/drawing/2014/main" xmlns="" val="10004"/>
                  </a:ext>
                </a:extLst>
              </a:tr>
              <a:tr h="145782">
                <a:tc>
                  <a:txBody>
                    <a:bodyPr/>
                    <a:lstStyle/>
                    <a:p>
                      <a:pPr algn="l" rtl="0" fontAlgn="ctr"/>
                      <a:r>
                        <a:rPr lang="en-US" sz="800" b="0" i="0" u="none" strike="noStrike" dirty="0">
                          <a:solidFill>
                            <a:srgbClr val="003C64"/>
                          </a:solidFill>
                          <a:effectLst/>
                          <a:latin typeface="Arial"/>
                        </a:rPr>
                        <a:t>Portfolio Volatility</a:t>
                      </a:r>
                    </a:p>
                  </a:txBody>
                  <a:tcPr marL="36000"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1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9.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14.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1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15.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5"/>
                  </a:ext>
                </a:extLst>
              </a:tr>
              <a:tr h="160004">
                <a:tc>
                  <a:txBody>
                    <a:bodyPr/>
                    <a:lstStyle/>
                    <a:p>
                      <a:pPr algn="l" rtl="0" fontAlgn="ctr"/>
                      <a:r>
                        <a:rPr lang="en-US" sz="800" b="0" i="0" u="none" strike="noStrike" dirty="0">
                          <a:solidFill>
                            <a:srgbClr val="003C64"/>
                          </a:solidFill>
                          <a:effectLst/>
                          <a:latin typeface="Arial"/>
                        </a:rPr>
                        <a:t>Benchmark Volatility</a:t>
                      </a:r>
                    </a:p>
                  </a:txBody>
                  <a:tcPr marL="36000"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1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9.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15.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1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17.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6"/>
                  </a:ext>
                </a:extLst>
              </a:tr>
              <a:tr h="145782">
                <a:tc>
                  <a:txBody>
                    <a:bodyPr/>
                    <a:lstStyle/>
                    <a:p>
                      <a:pPr algn="l" rtl="0" fontAlgn="ctr"/>
                      <a:r>
                        <a:rPr lang="en-US" sz="800" b="0" i="0" u="none" strike="noStrike" dirty="0">
                          <a:solidFill>
                            <a:srgbClr val="003C64"/>
                          </a:solidFill>
                          <a:effectLst/>
                          <a:latin typeface="Arial"/>
                        </a:rPr>
                        <a:t>Portfolio Max drawdown </a:t>
                      </a:r>
                    </a:p>
                  </a:txBody>
                  <a:tcPr marL="36000"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5.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2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2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24.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8"/>
                  </a:ext>
                </a:extLst>
              </a:tr>
              <a:tr h="145782">
                <a:tc>
                  <a:txBody>
                    <a:bodyPr/>
                    <a:lstStyle/>
                    <a:p>
                      <a:pPr algn="l" rtl="0" fontAlgn="ctr"/>
                      <a:r>
                        <a:rPr lang="en-US" sz="800" b="0" i="0" u="none" strike="noStrike" dirty="0">
                          <a:solidFill>
                            <a:srgbClr val="003C64"/>
                          </a:solidFill>
                          <a:effectLst/>
                          <a:latin typeface="Arial"/>
                        </a:rPr>
                        <a:t>Benchmark Max drawdown</a:t>
                      </a:r>
                    </a:p>
                  </a:txBody>
                  <a:tcPr marL="36000"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5.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26.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a:solidFill>
                            <a:srgbClr val="003C64"/>
                          </a:solidFill>
                          <a:effectLst/>
                          <a:latin typeface="Arial"/>
                          <a:ea typeface="+mn-ea"/>
                          <a:cs typeface="+mn-cs"/>
                        </a:rPr>
                        <a:t>-26.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rtl="0" fontAlgn="ctr"/>
                      <a:r>
                        <a:rPr lang="en-US" sz="800" b="0" i="0" u="none" strike="noStrike" kern="1200" dirty="0">
                          <a:solidFill>
                            <a:srgbClr val="003C64"/>
                          </a:solidFill>
                          <a:effectLst/>
                          <a:latin typeface="Arial"/>
                          <a:ea typeface="+mn-ea"/>
                          <a:cs typeface="+mn-cs"/>
                        </a:rPr>
                        <a:t>-30.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9"/>
                  </a:ext>
                </a:extLst>
              </a:tr>
              <a:tr h="145782">
                <a:tc>
                  <a:txBody>
                    <a:bodyPr/>
                    <a:lstStyle/>
                    <a:p>
                      <a:pPr algn="l" rtl="0" fontAlgn="ctr"/>
                      <a:r>
                        <a:rPr lang="en-US" sz="800" b="0" i="0" u="none" strike="noStrike" dirty="0">
                          <a:solidFill>
                            <a:srgbClr val="003C64"/>
                          </a:solidFill>
                          <a:effectLst/>
                          <a:latin typeface="Arial"/>
                        </a:rPr>
                        <a:t>Portfolio Return to Risk</a:t>
                      </a:r>
                    </a:p>
                  </a:txBody>
                  <a:tcPr marL="36000"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2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8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6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9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7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10"/>
                  </a:ext>
                </a:extLst>
              </a:tr>
              <a:tr h="147884">
                <a:tc>
                  <a:txBody>
                    <a:bodyPr/>
                    <a:lstStyle/>
                    <a:p>
                      <a:pPr algn="l" rtl="0" fontAlgn="ctr"/>
                      <a:r>
                        <a:rPr lang="en-US" sz="800" b="0" i="0" u="none" strike="noStrike" dirty="0">
                          <a:solidFill>
                            <a:srgbClr val="003C64"/>
                          </a:solidFill>
                          <a:effectLst/>
                          <a:latin typeface="Arial"/>
                        </a:rPr>
                        <a:t>Benchmark Return to Risk</a:t>
                      </a:r>
                    </a:p>
                  </a:txBody>
                  <a:tcPr marL="36000" marR="7985" marT="798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3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8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5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7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5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11"/>
                  </a:ext>
                </a:extLst>
              </a:tr>
            </a:tbl>
          </a:graphicData>
        </a:graphic>
      </p:graphicFrame>
      <p:graphicFrame>
        <p:nvGraphicFramePr>
          <p:cNvPr id="28" name="Table 13">
            <a:extLst>
              <a:ext uri="{FF2B5EF4-FFF2-40B4-BE49-F238E27FC236}">
                <a16:creationId xmlns:a16="http://schemas.microsoft.com/office/drawing/2014/main" xmlns="" id="{9A7EA653-9870-4DDC-AB4A-EBE1DEC5943D}"/>
              </a:ext>
            </a:extLst>
          </p:cNvPr>
          <p:cNvGraphicFramePr>
            <a:graphicFrameLocks noGrp="1"/>
          </p:cNvGraphicFramePr>
          <p:nvPr>
            <p:extLst>
              <p:ext uri="{D42A27DB-BD31-4B8C-83A1-F6EECF244321}">
                <p14:modId xmlns:p14="http://schemas.microsoft.com/office/powerpoint/2010/main" val="2962921838"/>
              </p:ext>
            </p:extLst>
          </p:nvPr>
        </p:nvGraphicFramePr>
        <p:xfrm>
          <a:off x="5011166" y="3646805"/>
          <a:ext cx="2379599" cy="381635"/>
        </p:xfrm>
        <a:graphic>
          <a:graphicData uri="http://schemas.openxmlformats.org/drawingml/2006/table">
            <a:tbl>
              <a:tblPr/>
              <a:tblGrid>
                <a:gridCol w="1385627">
                  <a:extLst>
                    <a:ext uri="{9D8B030D-6E8A-4147-A177-3AD203B41FA5}">
                      <a16:colId xmlns:a16="http://schemas.microsoft.com/office/drawing/2014/main" xmlns="" val="20000"/>
                    </a:ext>
                  </a:extLst>
                </a:gridCol>
                <a:gridCol w="993972">
                  <a:extLst>
                    <a:ext uri="{9D8B030D-6E8A-4147-A177-3AD203B41FA5}">
                      <a16:colId xmlns:a16="http://schemas.microsoft.com/office/drawing/2014/main" xmlns="" val="20001"/>
                    </a:ext>
                  </a:extLst>
                </a:gridCol>
              </a:tblGrid>
              <a:tr h="38163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1" i="0" u="none" strike="noStrike" dirty="0">
                          <a:solidFill>
                            <a:srgbClr val="FFFFFF"/>
                          </a:solidFill>
                          <a:effectLst/>
                          <a:latin typeface="Arial"/>
                        </a:rPr>
                        <a:t>AuM (€M)</a:t>
                      </a:r>
                    </a:p>
                  </a:txBody>
                  <a:tcPr marL="72000"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A0E3"/>
                    </a:solidFill>
                  </a:tcPr>
                </a:tc>
                <a:tc>
                  <a:txBody>
                    <a:bodyPr/>
                    <a:lstStyle/>
                    <a:p>
                      <a:pPr algn="ctr" fontAlgn="ctr"/>
                      <a:r>
                        <a:rPr lang="fr-FR" sz="800" b="0" i="0" u="none" strike="noStrike" dirty="0" smtClean="0">
                          <a:solidFill>
                            <a:srgbClr val="003C64"/>
                          </a:solidFill>
                          <a:effectLst/>
                          <a:latin typeface="Arial"/>
                        </a:rPr>
                        <a:t>743</a:t>
                      </a:r>
                      <a:endParaRPr lang="en-US" sz="800" b="0" i="0" u="none" strike="noStrike" dirty="0">
                        <a:solidFill>
                          <a:srgbClr val="003C64"/>
                        </a:solidFill>
                        <a:effectLst/>
                        <a:latin typeface="Arial"/>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0"/>
                  </a:ext>
                </a:extLst>
              </a:tr>
            </a:tbl>
          </a:graphicData>
        </a:graphic>
      </p:graphicFrame>
      <p:graphicFrame>
        <p:nvGraphicFramePr>
          <p:cNvPr id="10" name="Chart 12"/>
          <p:cNvGraphicFramePr>
            <a:graphicFrameLocks/>
          </p:cNvGraphicFramePr>
          <p:nvPr>
            <p:extLst>
              <p:ext uri="{D42A27DB-BD31-4B8C-83A1-F6EECF244321}">
                <p14:modId xmlns:p14="http://schemas.microsoft.com/office/powerpoint/2010/main" val="1489128647"/>
              </p:ext>
            </p:extLst>
          </p:nvPr>
        </p:nvGraphicFramePr>
        <p:xfrm>
          <a:off x="482600" y="1206500"/>
          <a:ext cx="4127500" cy="23653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
          <p:cNvGraphicFramePr>
            <a:graphicFrameLocks/>
          </p:cNvGraphicFramePr>
          <p:nvPr>
            <p:extLst>
              <p:ext uri="{D42A27DB-BD31-4B8C-83A1-F6EECF244321}">
                <p14:modId xmlns:p14="http://schemas.microsoft.com/office/powerpoint/2010/main" val="3388004849"/>
              </p:ext>
            </p:extLst>
          </p:nvPr>
        </p:nvGraphicFramePr>
        <p:xfrm>
          <a:off x="4712462" y="1342771"/>
          <a:ext cx="3891661" cy="22367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2460989630"/>
              </p:ext>
            </p:extLst>
          </p:nvPr>
        </p:nvGraphicFramePr>
        <p:xfrm>
          <a:off x="5010109" y="4352754"/>
          <a:ext cx="2595600" cy="445770"/>
        </p:xfrm>
        <a:graphic>
          <a:graphicData uri="http://schemas.openxmlformats.org/drawingml/2006/table">
            <a:tbl>
              <a:tblPr/>
              <a:tblGrid>
                <a:gridCol w="1548000">
                  <a:extLst>
                    <a:ext uri="{9D8B030D-6E8A-4147-A177-3AD203B41FA5}">
                      <a16:colId xmlns="" xmlns:a16="http://schemas.microsoft.com/office/drawing/2014/main" val="20000"/>
                    </a:ext>
                  </a:extLst>
                </a:gridCol>
                <a:gridCol w="1047600">
                  <a:extLst>
                    <a:ext uri="{9D8B030D-6E8A-4147-A177-3AD203B41FA5}">
                      <a16:colId xmlns="" xmlns:a16="http://schemas.microsoft.com/office/drawing/2014/main" val="20001"/>
                    </a:ext>
                  </a:extLst>
                </a:gridCol>
              </a:tblGrid>
              <a:tr h="161925">
                <a:tc>
                  <a:txBody>
                    <a:bodyPr/>
                    <a:lstStyle/>
                    <a:p>
                      <a:pPr algn="l" fontAlgn="ctr"/>
                      <a:r>
                        <a:rPr lang="en-US" sz="900" b="0" i="0" u="none" strike="noStrike" dirty="0">
                          <a:solidFill>
                            <a:schemeClr val="bg1"/>
                          </a:solidFill>
                          <a:effectLst/>
                          <a:latin typeface="Arial"/>
                        </a:rPr>
                        <a:t>Morningstar Rating (Overall)</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900" b="0" i="0" u="none" strike="noStrike" dirty="0">
                          <a:solidFill>
                            <a:schemeClr val="tx1"/>
                          </a:solidFill>
                          <a:effectLst/>
                          <a:latin typeface="Wingdings"/>
                        </a:rPr>
                        <a: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0"/>
                  </a:ext>
                </a:extLst>
              </a:tr>
              <a:tr h="171450">
                <a:tc gridSpan="2">
                  <a:txBody>
                    <a:bodyPr/>
                    <a:lstStyle/>
                    <a:p>
                      <a:pPr algn="l" fontAlgn="t"/>
                      <a:r>
                        <a:rPr lang="it-IT" sz="900" b="0" i="0" u="none" strike="noStrike" dirty="0">
                          <a:solidFill>
                            <a:schemeClr val="tx1"/>
                          </a:solidFill>
                          <a:effectLst/>
                          <a:latin typeface="+mn-lt"/>
                        </a:rPr>
                        <a:t>(Amundi Fds Eq </a:t>
                      </a:r>
                      <a:r>
                        <a:rPr lang="it-IT" sz="900" b="0" i="0" u="none" strike="noStrike" dirty="0" smtClean="0">
                          <a:solidFill>
                            <a:schemeClr val="tx1"/>
                          </a:solidFill>
                          <a:effectLst/>
                          <a:latin typeface="+mn-lt"/>
                        </a:rPr>
                        <a:t>Euro Risk Parity </a:t>
                      </a:r>
                      <a:r>
                        <a:rPr lang="it-IT" sz="900" b="0" i="0" u="none" strike="noStrike" dirty="0">
                          <a:solidFill>
                            <a:schemeClr val="tx1"/>
                          </a:solidFill>
                          <a:effectLst/>
                          <a:latin typeface="+mn-lt"/>
                        </a:rPr>
                        <a:t>- IE (C))</a:t>
                      </a:r>
                    </a:p>
                    <a:p>
                      <a:pPr algn="l" fontAlgn="t"/>
                      <a:endParaRPr lang="it-IT" sz="900" b="0" i="0" u="none" strike="noStrike" dirty="0">
                        <a:solidFill>
                          <a:schemeClr val="tx1"/>
                        </a:solidFill>
                        <a:effectLst/>
                        <a:latin typeface="Arial"/>
                      </a:endParaRPr>
                    </a:p>
                  </a:txBody>
                  <a:tcPr marL="9525" marR="9525" marT="952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4288859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Euro Risk Parity: </a:t>
            </a:r>
            <a:r>
              <a:rPr lang="en-US" dirty="0">
                <a:solidFill>
                  <a:schemeClr val="accent1"/>
                </a:solidFill>
              </a:rPr>
              <a:t>Portfolio views</a:t>
            </a:r>
            <a:endParaRPr lang="en-GB" dirty="0">
              <a:solidFill>
                <a:schemeClr val="accent1"/>
              </a:solidFill>
            </a:endParaRPr>
          </a:p>
        </p:txBody>
      </p:sp>
      <p:sp>
        <p:nvSpPr>
          <p:cNvPr id="24" name="Espace réservé du numéro de diapositive 6"/>
          <p:cNvSpPr>
            <a:spLocks noGrp="1"/>
          </p:cNvSpPr>
          <p:nvPr>
            <p:ph type="sldNum" sz="quarter" idx="12"/>
          </p:nvPr>
        </p:nvSpPr>
        <p:spPr/>
        <p:txBody>
          <a:bodyPr/>
          <a:lstStyle/>
          <a:p>
            <a:fld id="{C12E7156-0CA6-462A-9A46-AEFB5E440988}" type="slidenum">
              <a:rPr lang="fr-BE" smtClean="0"/>
              <a:pPr/>
              <a:t>62</a:t>
            </a:fld>
            <a:endParaRPr lang="fr-BE" dirty="0"/>
          </a:p>
        </p:txBody>
      </p:sp>
      <p:sp>
        <p:nvSpPr>
          <p:cNvPr id="20" name="Espace réservé du texte 19">
            <a:extLst>
              <a:ext uri="{FF2B5EF4-FFF2-40B4-BE49-F238E27FC236}">
                <a16:creationId xmlns:a16="http://schemas.microsoft.com/office/drawing/2014/main" xmlns="" id="{E4B8BB87-2AD9-47E6-861D-756E23D68744}"/>
              </a:ext>
            </a:extLst>
          </p:cNvPr>
          <p:cNvSpPr>
            <a:spLocks noGrp="1"/>
          </p:cNvSpPr>
          <p:nvPr>
            <p:ph type="body" sz="quarter" idx="14"/>
          </p:nvPr>
        </p:nvSpPr>
        <p:spPr>
          <a:xfrm>
            <a:off x="540000" y="5553797"/>
            <a:ext cx="8064248" cy="612000"/>
          </a:xfrm>
        </p:spPr>
        <p:txBody>
          <a:bodyPr/>
          <a:lstStyle/>
          <a:p>
            <a:pPr algn="l">
              <a:spcBef>
                <a:spcPts val="100"/>
              </a:spcBef>
            </a:pPr>
            <a:r>
              <a:rPr lang="en-US" dirty="0"/>
              <a:t>Source: Amundi, </a:t>
            </a:r>
            <a:r>
              <a:rPr lang="en-US" dirty="0" smtClean="0"/>
              <a:t>31/01/2018</a:t>
            </a:r>
          </a:p>
          <a:p>
            <a:pPr algn="l">
              <a:spcBef>
                <a:spcPts val="100"/>
              </a:spcBef>
            </a:pPr>
            <a:r>
              <a:rPr lang="en-US" dirty="0"/>
              <a:t>Morningstar Rating Overall of the IE share class as of January </a:t>
            </a:r>
            <a:r>
              <a:rPr lang="en-US" dirty="0" smtClean="0"/>
              <a:t>2018</a:t>
            </a:r>
            <a:endParaRPr lang="en-US" dirty="0"/>
          </a:p>
        </p:txBody>
      </p:sp>
      <p:graphicFrame>
        <p:nvGraphicFramePr>
          <p:cNvPr id="23" name="Table 22"/>
          <p:cNvGraphicFramePr>
            <a:graphicFrameLocks noGrp="1"/>
          </p:cNvGraphicFramePr>
          <p:nvPr>
            <p:extLst>
              <p:ext uri="{D42A27DB-BD31-4B8C-83A1-F6EECF244321}">
                <p14:modId xmlns:p14="http://schemas.microsoft.com/office/powerpoint/2010/main" val="2725195664"/>
              </p:ext>
            </p:extLst>
          </p:nvPr>
        </p:nvGraphicFramePr>
        <p:xfrm>
          <a:off x="796719" y="3901858"/>
          <a:ext cx="3460956" cy="1752980"/>
        </p:xfrm>
        <a:graphic>
          <a:graphicData uri="http://schemas.openxmlformats.org/drawingml/2006/table">
            <a:tbl>
              <a:tblPr/>
              <a:tblGrid>
                <a:gridCol w="1651798">
                  <a:extLst>
                    <a:ext uri="{9D8B030D-6E8A-4147-A177-3AD203B41FA5}">
                      <a16:colId xmlns:a16="http://schemas.microsoft.com/office/drawing/2014/main" xmlns="" val="20000"/>
                    </a:ext>
                  </a:extLst>
                </a:gridCol>
                <a:gridCol w="716721">
                  <a:extLst>
                    <a:ext uri="{9D8B030D-6E8A-4147-A177-3AD203B41FA5}">
                      <a16:colId xmlns:a16="http://schemas.microsoft.com/office/drawing/2014/main" xmlns="" val="20001"/>
                    </a:ext>
                  </a:extLst>
                </a:gridCol>
                <a:gridCol w="516348">
                  <a:extLst>
                    <a:ext uri="{9D8B030D-6E8A-4147-A177-3AD203B41FA5}">
                      <a16:colId xmlns:a16="http://schemas.microsoft.com/office/drawing/2014/main" xmlns="" val="20002"/>
                    </a:ext>
                  </a:extLst>
                </a:gridCol>
                <a:gridCol w="576089">
                  <a:extLst>
                    <a:ext uri="{9D8B030D-6E8A-4147-A177-3AD203B41FA5}">
                      <a16:colId xmlns:a16="http://schemas.microsoft.com/office/drawing/2014/main" xmlns="" val="20003"/>
                    </a:ext>
                  </a:extLst>
                </a:gridCol>
              </a:tblGrid>
              <a:tr h="340635">
                <a:tc>
                  <a:txBody>
                    <a:bodyPr/>
                    <a:lstStyle/>
                    <a:p>
                      <a:pPr algn="ctr" rtl="0" fontAlgn="ctr"/>
                      <a:r>
                        <a:rPr lang="en-US" sz="800" b="1" i="0" u="none" strike="noStrike" dirty="0">
                          <a:solidFill>
                            <a:schemeClr val="bg1"/>
                          </a:solidFill>
                          <a:effectLst/>
                          <a:latin typeface="+mn-lt"/>
                        </a:rPr>
                        <a:t>As of </a:t>
                      </a:r>
                      <a:r>
                        <a:rPr lang="en-US" sz="800" b="1" i="0" u="none" strike="noStrike" dirty="0" smtClean="0">
                          <a:solidFill>
                            <a:schemeClr val="bg1"/>
                          </a:solidFill>
                          <a:effectLst/>
                          <a:latin typeface="+mn-lt"/>
                        </a:rPr>
                        <a:t>31/01/2018</a:t>
                      </a:r>
                      <a:endParaRPr lang="en-US" sz="800" b="1" i="0" u="none" strike="noStrike" dirty="0">
                        <a:solidFill>
                          <a:schemeClr val="bg1"/>
                        </a:solidFill>
                        <a:effectLst/>
                        <a:latin typeface="+mn-lt"/>
                      </a:endParaRPr>
                    </a:p>
                  </a:txBody>
                  <a:tcPr marL="7706" marR="7706" marT="770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800" b="1" i="0" u="none" strike="noStrike" dirty="0">
                          <a:solidFill>
                            <a:schemeClr val="bg1"/>
                          </a:solidFill>
                          <a:effectLst/>
                          <a:latin typeface="+mn-lt"/>
                        </a:rPr>
                        <a:t>Euro</a:t>
                      </a:r>
                    </a:p>
                    <a:p>
                      <a:pPr algn="ctr" fontAlgn="ctr"/>
                      <a:r>
                        <a:rPr lang="en-US" sz="800" b="1" i="0" u="none" strike="noStrike" dirty="0">
                          <a:solidFill>
                            <a:schemeClr val="bg1"/>
                          </a:solidFill>
                          <a:effectLst/>
                          <a:latin typeface="+mn-lt"/>
                        </a:rPr>
                        <a:t>Risk Parity</a:t>
                      </a:r>
                    </a:p>
                  </a:txBody>
                  <a:tcPr marL="7706" marR="7706" marT="770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800" b="1" i="0" u="none" strike="noStrike" dirty="0">
                          <a:solidFill>
                            <a:schemeClr val="bg1"/>
                          </a:solidFill>
                          <a:effectLst/>
                          <a:latin typeface="+mn-lt"/>
                        </a:rPr>
                        <a:t>MSCI </a:t>
                      </a:r>
                      <a:br>
                        <a:rPr lang="en-US" sz="800" b="1" i="0" u="none" strike="noStrike" dirty="0">
                          <a:solidFill>
                            <a:schemeClr val="bg1"/>
                          </a:solidFill>
                          <a:effectLst/>
                          <a:latin typeface="+mn-lt"/>
                        </a:rPr>
                      </a:br>
                      <a:r>
                        <a:rPr lang="en-US" sz="800" b="1" i="0" u="none" strike="noStrike" dirty="0" smtClean="0">
                          <a:solidFill>
                            <a:schemeClr val="bg1"/>
                          </a:solidFill>
                          <a:effectLst/>
                          <a:latin typeface="+mn-lt"/>
                        </a:rPr>
                        <a:t>EMU</a:t>
                      </a:r>
                      <a:endParaRPr lang="en-US" sz="800" b="1" i="0" u="none" strike="noStrike" dirty="0">
                        <a:solidFill>
                          <a:schemeClr val="bg1"/>
                        </a:solidFill>
                        <a:effectLst/>
                        <a:latin typeface="+mn-lt"/>
                      </a:endParaRPr>
                    </a:p>
                  </a:txBody>
                  <a:tcPr marL="7706" marR="7706" marT="770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800" b="1" i="0" u="none" strike="noStrike" dirty="0">
                          <a:solidFill>
                            <a:schemeClr val="bg1"/>
                          </a:solidFill>
                          <a:effectLst/>
                          <a:latin typeface="+mn-lt"/>
                        </a:rPr>
                        <a:t>Spread</a:t>
                      </a:r>
                    </a:p>
                  </a:txBody>
                  <a:tcPr marL="7706" marR="7706" marT="770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xmlns="" val="10000"/>
                  </a:ext>
                </a:extLst>
              </a:tr>
              <a:tr h="129482">
                <a:tc>
                  <a:txBody>
                    <a:bodyPr/>
                    <a:lstStyle/>
                    <a:p>
                      <a:pPr marL="0" algn="l" defTabSz="914400" rtl="0" eaLnBrk="1" fontAlgn="b" latinLnBrk="0" hangingPunct="1"/>
                      <a:r>
                        <a:rPr lang="en-US" sz="800" b="0" i="0" u="none" strike="noStrike" kern="1200">
                          <a:solidFill>
                            <a:srgbClr val="001C4B"/>
                          </a:solidFill>
                          <a:effectLst/>
                          <a:latin typeface="Arial"/>
                          <a:ea typeface="+mn-ea"/>
                          <a:cs typeface="+mn-cs"/>
                        </a:rPr>
                        <a:t>TELECOM ITALIA SPA/MILANO</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0.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1.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1"/>
                  </a:ext>
                </a:extLst>
              </a:tr>
              <a:tr h="110976">
                <a:tc>
                  <a:txBody>
                    <a:bodyPr/>
                    <a:lstStyle/>
                    <a:p>
                      <a:pPr marL="0" algn="l" defTabSz="914400" rtl="0" eaLnBrk="1" fontAlgn="b" latinLnBrk="0" hangingPunct="1"/>
                      <a:r>
                        <a:rPr lang="en-US" sz="800" b="0" i="0" u="none" strike="noStrike" kern="1200">
                          <a:solidFill>
                            <a:srgbClr val="001C4B"/>
                          </a:solidFill>
                          <a:effectLst/>
                          <a:latin typeface="Arial"/>
                          <a:ea typeface="+mn-ea"/>
                          <a:cs typeface="+mn-cs"/>
                        </a:rPr>
                        <a:t>TOTAL SA</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2.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1.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02"/>
                  </a:ext>
                </a:extLst>
              </a:tr>
              <a:tr h="110976">
                <a:tc>
                  <a:txBody>
                    <a:bodyPr/>
                    <a:lstStyle/>
                    <a:p>
                      <a:pPr marL="0" algn="l" defTabSz="914400" rtl="0" eaLnBrk="1" fontAlgn="b" latinLnBrk="0" hangingPunct="1"/>
                      <a:r>
                        <a:rPr lang="en-US" sz="800" b="0" i="0" u="none" strike="noStrike" kern="1200">
                          <a:solidFill>
                            <a:srgbClr val="001C4B"/>
                          </a:solidFill>
                          <a:effectLst/>
                          <a:latin typeface="Arial"/>
                          <a:ea typeface="+mn-ea"/>
                          <a:cs typeface="+mn-cs"/>
                        </a:rPr>
                        <a:t>ENI SPA</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1.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0.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0.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3"/>
                  </a:ext>
                </a:extLst>
              </a:tr>
              <a:tr h="153333">
                <a:tc>
                  <a:txBody>
                    <a:bodyPr/>
                    <a:lstStyle/>
                    <a:p>
                      <a:pPr marL="0" algn="l" defTabSz="914400" rtl="0" eaLnBrk="1" fontAlgn="b" latinLnBrk="0" hangingPunct="1"/>
                      <a:r>
                        <a:rPr lang="en-US" sz="800" b="0" i="0" u="none" strike="noStrike" kern="1200">
                          <a:solidFill>
                            <a:srgbClr val="001C4B"/>
                          </a:solidFill>
                          <a:effectLst/>
                          <a:latin typeface="Arial"/>
                          <a:ea typeface="+mn-ea"/>
                          <a:cs typeface="+mn-cs"/>
                        </a:rPr>
                        <a:t>HENKEL AG AND CO KGAA</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1.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0.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0.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04"/>
                  </a:ext>
                </a:extLst>
              </a:tr>
              <a:tr h="115601">
                <a:tc>
                  <a:txBody>
                    <a:bodyPr/>
                    <a:lstStyle/>
                    <a:p>
                      <a:pPr marL="0" algn="l" defTabSz="914400" rtl="0" eaLnBrk="1" fontAlgn="b" latinLnBrk="0" hangingPunct="1"/>
                      <a:r>
                        <a:rPr lang="en-US" sz="800" b="0" i="0" u="none" strike="noStrike" kern="1200">
                          <a:solidFill>
                            <a:srgbClr val="001C4B"/>
                          </a:solidFill>
                          <a:effectLst/>
                          <a:latin typeface="Arial"/>
                          <a:ea typeface="+mn-ea"/>
                          <a:cs typeface="+mn-cs"/>
                        </a:rPr>
                        <a:t>ELISA OYJ</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dirty="0">
                          <a:solidFill>
                            <a:srgbClr val="001C4B"/>
                          </a:solidFill>
                          <a:effectLst/>
                          <a:latin typeface="Arial"/>
                          <a:ea typeface="+mn-ea"/>
                          <a:cs typeface="+mn-cs"/>
                        </a:rPr>
                        <a:t>1.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0.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dirty="0">
                          <a:solidFill>
                            <a:srgbClr val="001C4B"/>
                          </a:solidFill>
                          <a:effectLst/>
                          <a:latin typeface="Arial"/>
                          <a:ea typeface="+mn-ea"/>
                          <a:cs typeface="+mn-cs"/>
                        </a:rPr>
                        <a:t>1.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5"/>
                  </a:ext>
                </a:extLst>
              </a:tr>
              <a:tr h="110976">
                <a:tc>
                  <a:txBody>
                    <a:bodyPr/>
                    <a:lstStyle/>
                    <a:p>
                      <a:pPr marL="0" algn="l" defTabSz="914400" rtl="0" eaLnBrk="1" fontAlgn="b" latinLnBrk="0" hangingPunct="1"/>
                      <a:r>
                        <a:rPr lang="en-US" sz="800" b="0" i="0" u="none" strike="noStrike" kern="1200">
                          <a:solidFill>
                            <a:srgbClr val="001C4B"/>
                          </a:solidFill>
                          <a:effectLst/>
                          <a:latin typeface="Arial"/>
                          <a:ea typeface="+mn-ea"/>
                          <a:cs typeface="+mn-cs"/>
                        </a:rPr>
                        <a:t>ORANGE SA</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1.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0.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0.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06"/>
                  </a:ext>
                </a:extLst>
              </a:tr>
              <a:tr h="110976">
                <a:tc>
                  <a:txBody>
                    <a:bodyPr/>
                    <a:lstStyle/>
                    <a:p>
                      <a:pPr marL="0" algn="l" defTabSz="914400" rtl="0" eaLnBrk="1" fontAlgn="b" latinLnBrk="0" hangingPunct="1"/>
                      <a:r>
                        <a:rPr lang="en-US" sz="800" b="0" i="0" u="none" strike="noStrike" kern="1200">
                          <a:solidFill>
                            <a:srgbClr val="001C4B"/>
                          </a:solidFill>
                          <a:effectLst/>
                          <a:latin typeface="Arial"/>
                          <a:ea typeface="+mn-ea"/>
                          <a:cs typeface="+mn-cs"/>
                        </a:rPr>
                        <a:t>GALP ENERGIA SGPS SA</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1.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0.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0.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7"/>
                  </a:ext>
                </a:extLst>
              </a:tr>
              <a:tr h="110976">
                <a:tc>
                  <a:txBody>
                    <a:bodyPr/>
                    <a:lstStyle/>
                    <a:p>
                      <a:pPr marL="0" algn="l" defTabSz="914400" rtl="0" eaLnBrk="1" fontAlgn="b" latinLnBrk="0" hangingPunct="1"/>
                      <a:r>
                        <a:rPr lang="en-US" sz="800" b="0" i="0" u="none" strike="noStrike" kern="1200">
                          <a:solidFill>
                            <a:srgbClr val="001C4B"/>
                          </a:solidFill>
                          <a:effectLst/>
                          <a:latin typeface="Arial"/>
                          <a:ea typeface="+mn-ea"/>
                          <a:cs typeface="+mn-cs"/>
                        </a:rPr>
                        <a:t>SNAM SPA</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1.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0.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0.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08"/>
                  </a:ext>
                </a:extLst>
              </a:tr>
              <a:tr h="152783">
                <a:tc>
                  <a:txBody>
                    <a:bodyPr/>
                    <a:lstStyle/>
                    <a:p>
                      <a:pPr marL="0" algn="l" defTabSz="914400" rtl="0" eaLnBrk="1" fontAlgn="b" latinLnBrk="0" hangingPunct="1"/>
                      <a:r>
                        <a:rPr lang="en-US" sz="800" b="0" i="0" u="none" strike="noStrike" kern="1200">
                          <a:solidFill>
                            <a:srgbClr val="001C4B"/>
                          </a:solidFill>
                          <a:effectLst/>
                          <a:latin typeface="Arial"/>
                          <a:ea typeface="+mn-ea"/>
                          <a:cs typeface="+mn-cs"/>
                        </a:rPr>
                        <a:t>REPSOL SA</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dirty="0">
                          <a:solidFill>
                            <a:srgbClr val="001C4B"/>
                          </a:solidFill>
                          <a:effectLst/>
                          <a:latin typeface="Arial"/>
                          <a:ea typeface="+mn-ea"/>
                          <a:cs typeface="+mn-cs"/>
                        </a:rPr>
                        <a:t>1.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a:solidFill>
                            <a:srgbClr val="001C4B"/>
                          </a:solidFill>
                          <a:effectLst/>
                          <a:latin typeface="Arial"/>
                          <a:ea typeface="+mn-ea"/>
                          <a:cs typeface="+mn-cs"/>
                        </a:rPr>
                        <a:t>0.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b" latinLnBrk="0" hangingPunct="1"/>
                      <a:r>
                        <a:rPr lang="en-US" sz="800" b="0" i="0" u="none" strike="noStrike" kern="1200" dirty="0">
                          <a:solidFill>
                            <a:srgbClr val="001C4B"/>
                          </a:solidFill>
                          <a:effectLst/>
                          <a:latin typeface="Arial"/>
                          <a:ea typeface="+mn-ea"/>
                          <a:cs typeface="+mn-cs"/>
                        </a:rPr>
                        <a:t>0.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9"/>
                  </a:ext>
                </a:extLst>
              </a:tr>
              <a:tr h="110976">
                <a:tc>
                  <a:txBody>
                    <a:bodyPr/>
                    <a:lstStyle/>
                    <a:p>
                      <a:pPr marL="0" algn="l" defTabSz="914400" rtl="0" eaLnBrk="1" fontAlgn="b" latinLnBrk="0" hangingPunct="1"/>
                      <a:r>
                        <a:rPr lang="fr-FR" sz="800" b="0" i="0" u="none" strike="noStrike" kern="1200" dirty="0">
                          <a:solidFill>
                            <a:srgbClr val="001C4B"/>
                          </a:solidFill>
                          <a:effectLst/>
                          <a:latin typeface="Arial"/>
                          <a:ea typeface="+mn-ea"/>
                          <a:cs typeface="+mn-cs"/>
                        </a:rPr>
                        <a:t>GALP ENERGIA SGPS SA</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fr-FR" sz="800" b="0" i="0" u="none" strike="noStrike" kern="1200" dirty="0" smtClean="0">
                          <a:solidFill>
                            <a:srgbClr val="001C4B"/>
                          </a:solidFill>
                          <a:effectLst/>
                          <a:latin typeface="Arial"/>
                          <a:ea typeface="+mn-ea"/>
                          <a:cs typeface="+mn-cs"/>
                        </a:rPr>
                        <a:t>1.1</a:t>
                      </a:r>
                      <a:r>
                        <a:rPr lang="fr-FR" sz="800" b="0" i="0" u="none" strike="noStrike" kern="1200" dirty="0">
                          <a:solidFill>
                            <a:srgbClr val="001C4B"/>
                          </a:solidFill>
                          <a:effectLst/>
                          <a:latin typeface="Arial"/>
                          <a:ea typeface="+mn-ea"/>
                          <a:cs typeface="+mn-cs"/>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fr-FR" sz="800" b="0" i="0" u="none" strike="noStrike" kern="1200" dirty="0" smtClean="0">
                          <a:solidFill>
                            <a:srgbClr val="001C4B"/>
                          </a:solidFill>
                          <a:effectLst/>
                          <a:latin typeface="Arial"/>
                          <a:ea typeface="+mn-ea"/>
                          <a:cs typeface="+mn-cs"/>
                        </a:rPr>
                        <a:t>0.1%</a:t>
                      </a:r>
                      <a:endParaRPr lang="fr-FR" sz="800" b="0" i="0" u="none" strike="noStrike" kern="1200" dirty="0">
                        <a:solidFill>
                          <a:srgbClr val="001C4B"/>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fr-FR" sz="800" b="0" i="0" u="none" strike="noStrike" kern="1200" dirty="0" smtClean="0">
                          <a:solidFill>
                            <a:srgbClr val="001C4B"/>
                          </a:solidFill>
                          <a:effectLst/>
                          <a:latin typeface="Arial"/>
                          <a:ea typeface="+mn-ea"/>
                          <a:cs typeface="+mn-cs"/>
                        </a:rPr>
                        <a:t>1.0%</a:t>
                      </a:r>
                      <a:endParaRPr lang="fr-FR" sz="800" b="0" i="0" u="none" strike="noStrike" kern="1200" dirty="0">
                        <a:solidFill>
                          <a:srgbClr val="001C4B"/>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10"/>
                  </a:ext>
                </a:extLst>
              </a:tr>
              <a:tr h="123307">
                <a:tc>
                  <a:txBody>
                    <a:bodyPr/>
                    <a:lstStyle/>
                    <a:p>
                      <a:pPr algn="l" fontAlgn="b"/>
                      <a:r>
                        <a:rPr lang="fr-FR" sz="800" b="1" i="0" u="none" strike="noStrike" dirty="0">
                          <a:solidFill>
                            <a:schemeClr val="bg1"/>
                          </a:solidFill>
                          <a:effectLst/>
                          <a:latin typeface="Arial"/>
                        </a:rPr>
                        <a:t>TOTAL</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fr-FR" sz="800" b="1" i="0" u="none" strike="noStrike" dirty="0" smtClean="0">
                          <a:solidFill>
                            <a:schemeClr val="bg1"/>
                          </a:solidFill>
                          <a:effectLst/>
                          <a:latin typeface="Arial"/>
                        </a:rPr>
                        <a:t>11.6%</a:t>
                      </a:r>
                      <a:endParaRPr lang="fr-FR" sz="800" b="1" i="0" u="none" strike="noStrike" dirty="0">
                        <a:solidFill>
                          <a:schemeClr val="bg1"/>
                        </a:solidFill>
                        <a:effectLst/>
                        <a:latin typeface="Aria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fr-FR" sz="800" b="1" i="0" u="none" strike="noStrike" dirty="0" smtClean="0">
                          <a:solidFill>
                            <a:schemeClr val="bg1"/>
                          </a:solidFill>
                          <a:effectLst/>
                          <a:latin typeface="Arial"/>
                        </a:rPr>
                        <a:t>6.3%</a:t>
                      </a:r>
                      <a:endParaRPr lang="fr-FR" sz="800" b="1" i="0" u="none" strike="noStrike" dirty="0">
                        <a:solidFill>
                          <a:schemeClr val="bg1"/>
                        </a:solidFill>
                        <a:effectLst/>
                        <a:latin typeface="Aria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fr-FR" sz="800" b="1" i="0" u="none" strike="noStrike" dirty="0" smtClean="0">
                          <a:solidFill>
                            <a:schemeClr val="bg1"/>
                          </a:solidFill>
                          <a:effectLst/>
                          <a:latin typeface="Arial"/>
                        </a:rPr>
                        <a:t>5.4%</a:t>
                      </a:r>
                      <a:endParaRPr lang="fr-FR" sz="800" b="1" i="0" u="none" strike="noStrike" dirty="0">
                        <a:solidFill>
                          <a:schemeClr val="bg1"/>
                        </a:solidFill>
                        <a:effectLst/>
                        <a:latin typeface="Aria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xmlns="" val="10011"/>
                  </a:ext>
                </a:extLst>
              </a:tr>
            </a:tbl>
          </a:graphicData>
        </a:graphic>
      </p:graphicFrame>
      <p:sp>
        <p:nvSpPr>
          <p:cNvPr id="26" name="TextBox 4">
            <a:extLst>
              <a:ext uri="{FF2B5EF4-FFF2-40B4-BE49-F238E27FC236}">
                <a16:creationId xmlns:a16="http://schemas.microsoft.com/office/drawing/2014/main" xmlns="" id="{D76E7019-4AEE-4756-95C0-F0E0990364B2}"/>
              </a:ext>
            </a:extLst>
          </p:cNvPr>
          <p:cNvSpPr txBox="1"/>
          <p:nvPr/>
        </p:nvSpPr>
        <p:spPr>
          <a:xfrm>
            <a:off x="1824667" y="1163959"/>
            <a:ext cx="1407758"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Country breakdown</a:t>
            </a:r>
            <a:endParaRPr lang="en-US" dirty="0"/>
          </a:p>
        </p:txBody>
      </p:sp>
      <p:sp>
        <p:nvSpPr>
          <p:cNvPr id="27" name="TextBox 4">
            <a:extLst>
              <a:ext uri="{FF2B5EF4-FFF2-40B4-BE49-F238E27FC236}">
                <a16:creationId xmlns:a16="http://schemas.microsoft.com/office/drawing/2014/main" xmlns="" id="{C7390D25-7093-464F-ADF3-E51BC61AFF80}"/>
              </a:ext>
            </a:extLst>
          </p:cNvPr>
          <p:cNvSpPr txBox="1"/>
          <p:nvPr/>
        </p:nvSpPr>
        <p:spPr>
          <a:xfrm>
            <a:off x="6124818" y="1163959"/>
            <a:ext cx="1321196"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Sector breakdown</a:t>
            </a:r>
            <a:endParaRPr lang="en-US" dirty="0"/>
          </a:p>
        </p:txBody>
      </p:sp>
      <p:sp>
        <p:nvSpPr>
          <p:cNvPr id="28" name="TextBox 4">
            <a:extLst>
              <a:ext uri="{FF2B5EF4-FFF2-40B4-BE49-F238E27FC236}">
                <a16:creationId xmlns:a16="http://schemas.microsoft.com/office/drawing/2014/main" xmlns="" id="{DAD1ED73-BC13-4839-8B81-5013AD1B5B83}"/>
              </a:ext>
            </a:extLst>
          </p:cNvPr>
          <p:cNvSpPr txBox="1"/>
          <p:nvPr/>
        </p:nvSpPr>
        <p:spPr>
          <a:xfrm>
            <a:off x="1933670" y="3585387"/>
            <a:ext cx="1189749" cy="2616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defPPr>
              <a:defRPr lang="fr-FR"/>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Top 10 holdings</a:t>
            </a:r>
          </a:p>
        </p:txBody>
      </p:sp>
      <p:graphicFrame>
        <p:nvGraphicFramePr>
          <p:cNvPr id="30" name="Table 13">
            <a:extLst>
              <a:ext uri="{FF2B5EF4-FFF2-40B4-BE49-F238E27FC236}">
                <a16:creationId xmlns:a16="http://schemas.microsoft.com/office/drawing/2014/main" xmlns="" id="{00623BB9-3227-4DB9-AA29-450CD96E6FA8}"/>
              </a:ext>
            </a:extLst>
          </p:cNvPr>
          <p:cNvGraphicFramePr>
            <a:graphicFrameLocks noGrp="1"/>
          </p:cNvGraphicFramePr>
          <p:nvPr>
            <p:extLst>
              <p:ext uri="{D42A27DB-BD31-4B8C-83A1-F6EECF244321}">
                <p14:modId xmlns:p14="http://schemas.microsoft.com/office/powerpoint/2010/main" val="1652241155"/>
              </p:ext>
            </p:extLst>
          </p:nvPr>
        </p:nvGraphicFramePr>
        <p:xfrm>
          <a:off x="5998094" y="5432807"/>
          <a:ext cx="2145322" cy="241166"/>
        </p:xfrm>
        <a:graphic>
          <a:graphicData uri="http://schemas.openxmlformats.org/drawingml/2006/table">
            <a:tbl>
              <a:tblPr/>
              <a:tblGrid>
                <a:gridCol w="1249209">
                  <a:extLst>
                    <a:ext uri="{9D8B030D-6E8A-4147-A177-3AD203B41FA5}">
                      <a16:colId xmlns:a16="http://schemas.microsoft.com/office/drawing/2014/main" xmlns="" val="20000"/>
                    </a:ext>
                  </a:extLst>
                </a:gridCol>
                <a:gridCol w="896113">
                  <a:extLst>
                    <a:ext uri="{9D8B030D-6E8A-4147-A177-3AD203B41FA5}">
                      <a16:colId xmlns:a16="http://schemas.microsoft.com/office/drawing/2014/main" xmlns="" val="20001"/>
                    </a:ext>
                  </a:extLst>
                </a:gridCol>
              </a:tblGrid>
              <a:tr h="24116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900" b="0" i="0" u="none" strike="noStrike" dirty="0">
                          <a:solidFill>
                            <a:schemeClr val="bg1"/>
                          </a:solidFill>
                          <a:effectLst/>
                          <a:latin typeface="+mn-lt"/>
                        </a:rPr>
                        <a:t> Number</a:t>
                      </a:r>
                      <a:r>
                        <a:rPr lang="en-US" sz="900" b="0" i="0" u="none" strike="noStrike" baseline="0" dirty="0">
                          <a:solidFill>
                            <a:schemeClr val="bg1"/>
                          </a:solidFill>
                          <a:effectLst/>
                          <a:latin typeface="+mn-lt"/>
                        </a:rPr>
                        <a:t> of holdings</a:t>
                      </a:r>
                      <a:endParaRPr lang="en-US" sz="900" b="0" i="0" u="none" strike="noStrike" dirty="0">
                        <a:solidFill>
                          <a:schemeClr val="bg1"/>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fr-FR" sz="900" b="0" i="0" u="none" strike="noStrike" dirty="0" smtClean="0">
                          <a:solidFill>
                            <a:schemeClr val="tx1"/>
                          </a:solidFill>
                          <a:effectLst/>
                          <a:latin typeface="Arial"/>
                        </a:rPr>
                        <a:t>250</a:t>
                      </a:r>
                      <a:endParaRPr lang="en-US" sz="900" b="0" i="0" u="none" strike="noStrike" dirty="0">
                        <a:solidFill>
                          <a:schemeClr val="tx1"/>
                        </a:solidFill>
                        <a:effectLst/>
                        <a:latin typeface="Arial"/>
                      </a:endParaRPr>
                    </a:p>
                  </a:txBody>
                  <a:tcPr marL="9525" marR="9525" marT="9525"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0000"/>
                  </a:ext>
                </a:extLst>
              </a:tr>
            </a:tbl>
          </a:graphicData>
        </a:graphic>
      </p:graphicFrame>
      <p:sp>
        <p:nvSpPr>
          <p:cNvPr id="3" name="Espace réservé du pied de page 2">
            <a:extLst>
              <a:ext uri="{FF2B5EF4-FFF2-40B4-BE49-F238E27FC236}">
                <a16:creationId xmlns:a16="http://schemas.microsoft.com/office/drawing/2014/main" xmlns="" id="{00735CB3-9586-4FAB-A10E-B2A8A311C28C}"/>
              </a:ext>
            </a:extLst>
          </p:cNvPr>
          <p:cNvSpPr>
            <a:spLocks noGrp="1"/>
          </p:cNvSpPr>
          <p:nvPr>
            <p:ph type="ftr" sz="quarter" idx="11"/>
          </p:nvPr>
        </p:nvSpPr>
        <p:spPr/>
        <p:txBody>
          <a:bodyPr/>
          <a:lstStyle/>
          <a:p>
            <a:r>
              <a:rPr lang="en-US" dirty="0" smtClean="0"/>
              <a:t>Smart Beta - Investment Solutions</a:t>
            </a:r>
            <a:endParaRPr lang="en-US" dirty="0"/>
          </a:p>
        </p:txBody>
      </p:sp>
      <p:graphicFrame>
        <p:nvGraphicFramePr>
          <p:cNvPr id="15" name="Graphique 14"/>
          <p:cNvGraphicFramePr>
            <a:graphicFrameLocks/>
          </p:cNvGraphicFramePr>
          <p:nvPr>
            <p:extLst>
              <p:ext uri="{D42A27DB-BD31-4B8C-83A1-F6EECF244321}">
                <p14:modId xmlns:p14="http://schemas.microsoft.com/office/powerpoint/2010/main" val="1657992029"/>
              </p:ext>
            </p:extLst>
          </p:nvPr>
        </p:nvGraphicFramePr>
        <p:xfrm>
          <a:off x="0" y="1425569"/>
          <a:ext cx="4648199" cy="21598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Graphique 15"/>
          <p:cNvGraphicFramePr>
            <a:graphicFrameLocks/>
          </p:cNvGraphicFramePr>
          <p:nvPr>
            <p:extLst>
              <p:ext uri="{D42A27DB-BD31-4B8C-83A1-F6EECF244321}">
                <p14:modId xmlns:p14="http://schemas.microsoft.com/office/powerpoint/2010/main" val="3163382123"/>
              </p:ext>
            </p:extLst>
          </p:nvPr>
        </p:nvGraphicFramePr>
        <p:xfrm>
          <a:off x="5019167" y="1425568"/>
          <a:ext cx="3715258" cy="3937007"/>
        </p:xfrm>
        <a:graphic>
          <a:graphicData uri="http://schemas.openxmlformats.org/drawingml/2006/chart">
            <c:chart xmlns:c="http://schemas.openxmlformats.org/drawingml/2006/chart" xmlns:r="http://schemas.openxmlformats.org/officeDocument/2006/relationships" r:id="rId3"/>
          </a:graphicData>
        </a:graphic>
      </p:graphicFrame>
      <p:pic>
        <p:nvPicPr>
          <p:cNvPr id="13" name="Picture 2" descr="C:\Users\radegond\Desktop\Morningstar_4s.jpg">
            <a:extLst>
              <a:ext uri="{FF2B5EF4-FFF2-40B4-BE49-F238E27FC236}">
                <a16:creationId xmlns="" xmlns:a16="http://schemas.microsoft.com/office/drawing/2014/main" id="{30322CAA-650E-404A-8156-9D940A3D7D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88400" y="0"/>
            <a:ext cx="1155600" cy="1222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239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6"/>
          <p:cNvGraphicFramePr>
            <a:graphicFrameLocks noGrp="1"/>
          </p:cNvGraphicFramePr>
          <p:nvPr>
            <p:extLst>
              <p:ext uri="{D42A27DB-BD31-4B8C-83A1-F6EECF244321}">
                <p14:modId xmlns:p14="http://schemas.microsoft.com/office/powerpoint/2010/main" val="3412992969"/>
              </p:ext>
            </p:extLst>
          </p:nvPr>
        </p:nvGraphicFramePr>
        <p:xfrm>
          <a:off x="503238" y="1329408"/>
          <a:ext cx="8100761" cy="4053342"/>
        </p:xfrm>
        <a:graphic>
          <a:graphicData uri="http://schemas.openxmlformats.org/drawingml/2006/table">
            <a:tbl>
              <a:tblPr/>
              <a:tblGrid>
                <a:gridCol w="4347427">
                  <a:extLst>
                    <a:ext uri="{9D8B030D-6E8A-4147-A177-3AD203B41FA5}">
                      <a16:colId xmlns="" xmlns:a16="http://schemas.microsoft.com/office/drawing/2014/main" val="20000"/>
                    </a:ext>
                  </a:extLst>
                </a:gridCol>
                <a:gridCol w="1004372">
                  <a:extLst>
                    <a:ext uri="{9D8B030D-6E8A-4147-A177-3AD203B41FA5}">
                      <a16:colId xmlns="" xmlns:a16="http://schemas.microsoft.com/office/drawing/2014/main" val="20001"/>
                    </a:ext>
                  </a:extLst>
                </a:gridCol>
                <a:gridCol w="742352">
                  <a:extLst>
                    <a:ext uri="{9D8B030D-6E8A-4147-A177-3AD203B41FA5}">
                      <a16:colId xmlns="" xmlns:a16="http://schemas.microsoft.com/office/drawing/2014/main" val="20002"/>
                    </a:ext>
                  </a:extLst>
                </a:gridCol>
                <a:gridCol w="1093550">
                  <a:extLst>
                    <a:ext uri="{9D8B030D-6E8A-4147-A177-3AD203B41FA5}">
                      <a16:colId xmlns="" xmlns:a16="http://schemas.microsoft.com/office/drawing/2014/main" val="20003"/>
                    </a:ext>
                  </a:extLst>
                </a:gridCol>
                <a:gridCol w="913060">
                  <a:extLst>
                    <a:ext uri="{9D8B030D-6E8A-4147-A177-3AD203B41FA5}">
                      <a16:colId xmlns="" xmlns:a16="http://schemas.microsoft.com/office/drawing/2014/main" val="20004"/>
                    </a:ext>
                  </a:extLst>
                </a:gridCol>
              </a:tblGrid>
              <a:tr h="846136">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US" altLang="fr-FR" sz="900" b="1" i="0" u="none" strike="noStrike" cap="none" normalizeH="0" baseline="0" dirty="0">
                        <a:ln>
                          <a:noFill/>
                        </a:ln>
                        <a:solidFill>
                          <a:schemeClr val="tx2"/>
                        </a:solidFill>
                        <a:effectLst/>
                        <a:latin typeface="Arial" pitchFamily="34" charset="0"/>
                        <a:cs typeface="Arial" pitchFamily="34" charset="0"/>
                      </a:endParaRPr>
                    </a:p>
                  </a:txBody>
                  <a:tcPr marL="9527" marR="9527"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FFFFFF"/>
                          </a:solidFill>
                          <a:effectLst/>
                          <a:latin typeface="Arial" pitchFamily="34" charset="0"/>
                          <a:cs typeface="Arial" pitchFamily="34" charset="0"/>
                        </a:rPr>
                        <a:t>ISIN Code</a:t>
                      </a:r>
                    </a:p>
                  </a:txBody>
                  <a:tcPr marL="9527" marR="9527"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FFFFFF"/>
                          </a:solidFill>
                          <a:effectLst/>
                          <a:latin typeface="Arial" pitchFamily="34" charset="0"/>
                          <a:cs typeface="Arial" pitchFamily="34" charset="0"/>
                        </a:rPr>
                        <a:t>Ticker</a:t>
                      </a:r>
                    </a:p>
                  </a:txBody>
                  <a:tcPr marL="9527" marR="9527"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FFFFFF"/>
                          </a:solidFill>
                          <a:effectLst/>
                          <a:latin typeface="Arial" pitchFamily="34" charset="0"/>
                          <a:cs typeface="Arial" pitchFamily="34" charset="0"/>
                        </a:rPr>
                        <a:t>Currency</a:t>
                      </a:r>
                    </a:p>
                  </a:txBody>
                  <a:tcPr marL="9527" marR="9527"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FFFFFF"/>
                          </a:solidFill>
                          <a:effectLst/>
                          <a:latin typeface="Arial" pitchFamily="34" charset="0"/>
                          <a:cs typeface="Arial" pitchFamily="34" charset="0"/>
                        </a:rPr>
                        <a:t>Ongoing Charges</a:t>
                      </a:r>
                      <a:r>
                        <a:rPr kumimoji="0" lang="en-US" altLang="fr-FR" sz="900" b="1" i="0" u="none" strike="noStrike" cap="none" normalizeH="0" baseline="30000" dirty="0">
                          <a:ln>
                            <a:noFill/>
                          </a:ln>
                          <a:solidFill>
                            <a:srgbClr val="FFFFFF"/>
                          </a:solidFill>
                          <a:effectLst/>
                          <a:latin typeface="Arial" pitchFamily="34" charset="0"/>
                          <a:cs typeface="Arial" pitchFamily="34" charset="0"/>
                        </a:rPr>
                        <a:t>1</a:t>
                      </a:r>
                    </a:p>
                  </a:txBody>
                  <a:tcPr marL="9527" marR="9527"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 xmlns:a16="http://schemas.microsoft.com/office/drawing/2014/main" val="10000"/>
                  </a:ext>
                </a:extLst>
              </a:tr>
              <a:tr h="465138">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FFFFFF"/>
                          </a:solidFill>
                          <a:effectLst/>
                          <a:latin typeface="Arial" pitchFamily="34" charset="0"/>
                          <a:cs typeface="Arial" pitchFamily="34" charset="0"/>
                        </a:rPr>
                        <a:t>AMUNDI ETF MSCI EUROPE </a:t>
                      </a:r>
                      <a:r>
                        <a:rPr kumimoji="0" lang="en-US" altLang="fr-FR" sz="900" b="1" i="0" u="none" strike="noStrike" cap="none" normalizeH="0" baseline="0" dirty="0">
                          <a:ln>
                            <a:noFill/>
                          </a:ln>
                          <a:solidFill>
                            <a:schemeClr val="bg1"/>
                          </a:solidFill>
                          <a:effectLst/>
                          <a:latin typeface="Arial" pitchFamily="34" charset="0"/>
                          <a:cs typeface="Arial" pitchFamily="34" charset="0"/>
                        </a:rPr>
                        <a:t>QUALITY FACTOR </a:t>
                      </a:r>
                      <a:r>
                        <a:rPr kumimoji="0" lang="en-US" altLang="fr-FR" sz="900" b="1" i="0" u="none" strike="noStrike" cap="none" normalizeH="0" baseline="0" dirty="0">
                          <a:ln>
                            <a:noFill/>
                          </a:ln>
                          <a:solidFill>
                            <a:srgbClr val="FFFFFF"/>
                          </a:solidFill>
                          <a:effectLst/>
                          <a:latin typeface="Arial" pitchFamily="34" charset="0"/>
                          <a:cs typeface="Arial" pitchFamily="34" charset="0"/>
                        </a:rPr>
                        <a:t>UCITS ETF  </a:t>
                      </a:r>
                      <a:endParaRPr kumimoji="0" lang="en-US" altLang="fr-FR" sz="900" b="1" i="1" u="none" strike="noStrike" cap="none" normalizeH="0" baseline="0" dirty="0">
                        <a:ln>
                          <a:noFill/>
                        </a:ln>
                        <a:solidFill>
                          <a:srgbClr val="FF6600"/>
                        </a:solidFill>
                        <a:effectLst/>
                        <a:latin typeface="Arial" pitchFamily="34" charset="0"/>
                        <a:cs typeface="Arial" pitchFamily="34" charset="0"/>
                      </a:endParaRPr>
                    </a:p>
                  </a:txBody>
                  <a:tcPr marR="9527"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algn="ctr" fontAlgn="ctr"/>
                      <a:r>
                        <a:rPr kumimoji="0" lang="fr-FR" sz="900" b="1" i="0" u="none" strike="noStrike" kern="1200" cap="none" normalizeH="0" baseline="0" dirty="0">
                          <a:ln>
                            <a:noFill/>
                          </a:ln>
                          <a:solidFill>
                            <a:srgbClr val="001C4B"/>
                          </a:solidFill>
                          <a:effectLst/>
                          <a:latin typeface="Arial" pitchFamily="34" charset="0"/>
                          <a:ea typeface="+mn-ea"/>
                          <a:cs typeface="Arial" pitchFamily="34" charset="0"/>
                        </a:rPr>
                        <a:t>FR001314052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altLang="fr-FR" sz="900" b="1" i="0" u="none" strike="noStrike" cap="none" normalizeH="0" baseline="0" dirty="0">
                          <a:ln>
                            <a:noFill/>
                          </a:ln>
                          <a:solidFill>
                            <a:srgbClr val="001C4B"/>
                          </a:solidFill>
                          <a:effectLst/>
                          <a:latin typeface="Arial" pitchFamily="34" charset="0"/>
                          <a:cs typeface="Arial" pitchFamily="34" charset="0"/>
                        </a:rPr>
                        <a:t>QCEU</a:t>
                      </a:r>
                      <a:endParaRPr kumimoji="0" lang="en-US" altLang="fr-FR" sz="900" b="1" i="0" u="none" strike="noStrike" cap="none" normalizeH="0" baseline="0" dirty="0">
                        <a:ln>
                          <a:noFill/>
                        </a:ln>
                        <a:solidFill>
                          <a:srgbClr val="001C4B"/>
                        </a:solidFill>
                        <a:effectLst/>
                        <a:latin typeface="Arial" pitchFamily="34" charset="0"/>
                        <a:cs typeface="Arial" pitchFamily="34" charset="0"/>
                      </a:endParaRPr>
                    </a:p>
                  </a:txBody>
                  <a:tcPr marL="9527" marR="9527"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001C4B"/>
                          </a:solidFill>
                          <a:effectLst/>
                          <a:latin typeface="Arial" pitchFamily="34" charset="0"/>
                          <a:cs typeface="Arial" pitchFamily="34" charset="0"/>
                        </a:rPr>
                        <a:t>Reinvested</a:t>
                      </a:r>
                    </a:p>
                  </a:txBody>
                  <a:tcPr marL="9527" marR="9527"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1000" b="1" i="0" u="none" strike="noStrike" cap="none" normalizeH="0" baseline="0" dirty="0">
                          <a:ln>
                            <a:noFill/>
                          </a:ln>
                          <a:solidFill>
                            <a:schemeClr val="tx2"/>
                          </a:solidFill>
                          <a:effectLst/>
                          <a:latin typeface="Arial" pitchFamily="34" charset="0"/>
                          <a:cs typeface="Arial" pitchFamily="34" charset="0"/>
                        </a:rPr>
                        <a:t>0.23%</a:t>
                      </a:r>
                    </a:p>
                  </a:txBody>
                  <a:tcPr marL="9527" marR="9527"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extLst>
                  <a:ext uri="{0D108BD9-81ED-4DB2-BD59-A6C34878D82A}">
                    <a16:rowId xmlns="" xmlns:a16="http://schemas.microsoft.com/office/drawing/2014/main" val="10001"/>
                  </a:ext>
                </a:extLst>
              </a:tr>
              <a:tr h="465138">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FFFFFF"/>
                          </a:solidFill>
                          <a:effectLst/>
                          <a:latin typeface="Arial" pitchFamily="34" charset="0"/>
                          <a:cs typeface="Arial" pitchFamily="34" charset="0"/>
                        </a:rPr>
                        <a:t>AMUNDI ETF MSCI EUROPE </a:t>
                      </a:r>
                      <a:r>
                        <a:rPr kumimoji="0" lang="en-US" altLang="fr-FR" sz="900" b="1" i="0" u="none" strike="noStrike" cap="none" normalizeH="0" baseline="0" dirty="0">
                          <a:ln>
                            <a:noFill/>
                          </a:ln>
                          <a:solidFill>
                            <a:schemeClr val="bg1"/>
                          </a:solidFill>
                          <a:effectLst/>
                          <a:latin typeface="Arial" pitchFamily="34" charset="0"/>
                          <a:cs typeface="Arial" pitchFamily="34" charset="0"/>
                        </a:rPr>
                        <a:t>MOMENTUM FACTOR </a:t>
                      </a:r>
                      <a:r>
                        <a:rPr kumimoji="0" lang="en-US" altLang="fr-FR" sz="900" b="1" i="0" u="none" strike="noStrike" cap="none" normalizeH="0" baseline="0" dirty="0">
                          <a:ln>
                            <a:noFill/>
                          </a:ln>
                          <a:solidFill>
                            <a:srgbClr val="FFFFFF"/>
                          </a:solidFill>
                          <a:effectLst/>
                          <a:latin typeface="Arial" pitchFamily="34" charset="0"/>
                          <a:cs typeface="Arial" pitchFamily="34" charset="0"/>
                        </a:rPr>
                        <a:t>UCITS ETF  </a:t>
                      </a:r>
                      <a:endParaRPr kumimoji="0" lang="en-US" altLang="fr-FR" sz="900" b="1" i="0" u="none" strike="noStrike" cap="none" normalizeH="0" baseline="0" dirty="0">
                        <a:ln>
                          <a:noFill/>
                        </a:ln>
                        <a:solidFill>
                          <a:srgbClr val="FF6600"/>
                        </a:solidFill>
                        <a:effectLst/>
                        <a:latin typeface="Arial" pitchFamily="34" charset="0"/>
                        <a:cs typeface="Arial" pitchFamily="34" charset="0"/>
                      </a:endParaRPr>
                    </a:p>
                  </a:txBody>
                  <a:tcPr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algn="ctr" fontAlgn="ctr"/>
                      <a:r>
                        <a:rPr kumimoji="0" lang="fr-FR" sz="900" b="1" i="0" u="none" strike="noStrike" kern="1200" cap="none" normalizeH="0" baseline="0" dirty="0">
                          <a:ln>
                            <a:noFill/>
                          </a:ln>
                          <a:solidFill>
                            <a:srgbClr val="001C4B"/>
                          </a:solidFill>
                          <a:effectLst/>
                          <a:latin typeface="Arial" pitchFamily="34" charset="0"/>
                          <a:ea typeface="+mn-ea"/>
                          <a:cs typeface="Arial" pitchFamily="34" charset="0"/>
                        </a:rPr>
                        <a:t>FR001314051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altLang="fr-FR" sz="900" b="1" i="0" u="none" strike="noStrike" cap="none" normalizeH="0" baseline="0" dirty="0">
                          <a:ln>
                            <a:noFill/>
                          </a:ln>
                          <a:solidFill>
                            <a:srgbClr val="001C4B"/>
                          </a:solidFill>
                          <a:effectLst/>
                          <a:latin typeface="Arial" pitchFamily="34" charset="0"/>
                          <a:cs typeface="Arial" pitchFamily="34" charset="0"/>
                        </a:rPr>
                        <a:t>MCEU</a:t>
                      </a:r>
                      <a:endParaRPr kumimoji="0" lang="en-US" altLang="fr-FR" sz="900" b="1" i="0" u="none" strike="noStrike" cap="none" normalizeH="0" baseline="0" dirty="0">
                        <a:ln>
                          <a:noFill/>
                        </a:ln>
                        <a:solidFill>
                          <a:srgbClr val="001C4B"/>
                        </a:solidFill>
                        <a:effectLst/>
                        <a:latin typeface="Arial" pitchFamily="34" charset="0"/>
                        <a:cs typeface="Arial" pitchFamily="34" charset="0"/>
                      </a:endParaRP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001C4B"/>
                          </a:solidFill>
                          <a:effectLst/>
                          <a:latin typeface="Arial" pitchFamily="34" charset="0"/>
                          <a:cs typeface="Arial" pitchFamily="34" charset="0"/>
                        </a:rPr>
                        <a:t>Reinvested</a:t>
                      </a: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1000" b="1" i="0" u="none" strike="noStrike" cap="none" normalizeH="0" baseline="0" dirty="0">
                          <a:ln>
                            <a:noFill/>
                          </a:ln>
                          <a:solidFill>
                            <a:schemeClr val="tx2"/>
                          </a:solidFill>
                          <a:effectLst/>
                          <a:latin typeface="Arial" pitchFamily="34" charset="0"/>
                          <a:cs typeface="Arial" pitchFamily="34" charset="0"/>
                        </a:rPr>
                        <a:t>0.23%</a:t>
                      </a: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extLst>
                  <a:ext uri="{0D108BD9-81ED-4DB2-BD59-A6C34878D82A}">
                    <a16:rowId xmlns="" xmlns:a16="http://schemas.microsoft.com/office/drawing/2014/main" val="10002"/>
                  </a:ext>
                </a:extLst>
              </a:tr>
              <a:tr h="465138">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chemeClr val="bg1"/>
                          </a:solidFill>
                          <a:effectLst/>
                          <a:latin typeface="Arial" pitchFamily="34" charset="0"/>
                          <a:cs typeface="Arial" pitchFamily="34" charset="0"/>
                        </a:rPr>
                        <a:t>AMUNDI ETF MSCI EUROPE MINIMUM VOLATILITY FACTOR UCITS ETF</a:t>
                      </a:r>
                    </a:p>
                  </a:txBody>
                  <a:tcPr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algn="ctr" fontAlgn="b"/>
                      <a:r>
                        <a:rPr kumimoji="0" lang="fr-FR" sz="900" b="1" i="0" u="none" strike="noStrike" kern="1200" cap="none" normalizeH="0" baseline="0" dirty="0">
                          <a:ln>
                            <a:noFill/>
                          </a:ln>
                          <a:solidFill>
                            <a:srgbClr val="001C4B"/>
                          </a:solidFill>
                          <a:effectLst/>
                          <a:latin typeface="Arial" pitchFamily="34" charset="0"/>
                          <a:ea typeface="+mn-ea"/>
                          <a:cs typeface="Arial" pitchFamily="34" charset="0"/>
                        </a:rPr>
                        <a:t>FR001071376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altLang="fr-FR" sz="900" b="1" i="0" u="none" strike="noStrike" cap="none" normalizeH="0" baseline="0" dirty="0">
                          <a:ln>
                            <a:noFill/>
                          </a:ln>
                          <a:solidFill>
                            <a:srgbClr val="001C4B"/>
                          </a:solidFill>
                          <a:effectLst/>
                          <a:latin typeface="Arial" pitchFamily="34" charset="0"/>
                          <a:cs typeface="Arial" pitchFamily="34" charset="0"/>
                        </a:rPr>
                        <a:t>MIVO</a:t>
                      </a:r>
                      <a:endParaRPr kumimoji="0" lang="en-US" altLang="fr-FR" sz="900" b="1" i="0" u="none" strike="noStrike" cap="none" normalizeH="0" baseline="0" dirty="0">
                        <a:ln>
                          <a:noFill/>
                        </a:ln>
                        <a:solidFill>
                          <a:srgbClr val="001C4B"/>
                        </a:solidFill>
                        <a:effectLst/>
                        <a:latin typeface="Arial" pitchFamily="34" charset="0"/>
                        <a:cs typeface="Arial" pitchFamily="34" charset="0"/>
                      </a:endParaRP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001C4B"/>
                          </a:solidFill>
                          <a:effectLst/>
                          <a:latin typeface="Arial" pitchFamily="34" charset="0"/>
                          <a:cs typeface="Arial" pitchFamily="34" charset="0"/>
                        </a:rPr>
                        <a:t>Reinvested</a:t>
                      </a: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1000" b="1" i="0" u="none" strike="noStrike" cap="none" normalizeH="0" baseline="0" dirty="0">
                          <a:ln>
                            <a:noFill/>
                          </a:ln>
                          <a:solidFill>
                            <a:schemeClr val="tx2"/>
                          </a:solidFill>
                          <a:effectLst/>
                          <a:latin typeface="Arial" pitchFamily="34" charset="0"/>
                          <a:cs typeface="Arial" pitchFamily="34" charset="0"/>
                        </a:rPr>
                        <a:t>0.23%</a:t>
                      </a:r>
                      <a:r>
                        <a:rPr lang="fr-FR" sz="1000" baseline="30000" dirty="0">
                          <a:solidFill>
                            <a:schemeClr val="tx2"/>
                          </a:solidFill>
                        </a:rPr>
                        <a:t>2</a:t>
                      </a:r>
                      <a:endParaRPr kumimoji="0" lang="en-US" altLang="fr-FR" sz="1000" b="1" i="0" u="none" strike="noStrike" cap="none" normalizeH="0" baseline="30000" dirty="0">
                        <a:ln>
                          <a:noFill/>
                        </a:ln>
                        <a:solidFill>
                          <a:schemeClr val="tx2"/>
                        </a:solidFill>
                        <a:effectLst/>
                        <a:latin typeface="Arial" pitchFamily="34" charset="0"/>
                        <a:cs typeface="Arial" pitchFamily="34" charset="0"/>
                      </a:endParaRP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extLst>
                  <a:ext uri="{0D108BD9-81ED-4DB2-BD59-A6C34878D82A}">
                    <a16:rowId xmlns="" xmlns:a16="http://schemas.microsoft.com/office/drawing/2014/main" val="10003"/>
                  </a:ext>
                </a:extLst>
              </a:tr>
              <a:tr h="465138">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chemeClr val="bg1"/>
                          </a:solidFill>
                          <a:effectLst/>
                          <a:latin typeface="Arial" pitchFamily="34" charset="0"/>
                          <a:cs typeface="Arial" pitchFamily="34" charset="0"/>
                        </a:rPr>
                        <a:t>AMUNDI ETF MSCI EUROPE LOW SIZE FACTOR UCITS ETF</a:t>
                      </a:r>
                    </a:p>
                  </a:txBody>
                  <a:tcPr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algn="ctr" fontAlgn="b"/>
                      <a:r>
                        <a:rPr kumimoji="0" lang="fr-FR" sz="900" b="1" i="0" u="none" strike="noStrike" kern="1200" cap="none" normalizeH="0" baseline="0" dirty="0">
                          <a:ln>
                            <a:noFill/>
                          </a:ln>
                          <a:solidFill>
                            <a:srgbClr val="001C4B"/>
                          </a:solidFill>
                          <a:effectLst/>
                          <a:latin typeface="Arial" pitchFamily="34" charset="0"/>
                          <a:ea typeface="+mn-ea"/>
                          <a:cs typeface="Arial" pitchFamily="34" charset="0"/>
                        </a:rPr>
                        <a:t>FR00106122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altLang="fr-FR" sz="900" b="1" i="0" u="none" strike="noStrike" cap="none" normalizeH="0" baseline="0" dirty="0">
                          <a:ln>
                            <a:noFill/>
                          </a:ln>
                          <a:solidFill>
                            <a:srgbClr val="001C4B"/>
                          </a:solidFill>
                          <a:effectLst/>
                          <a:latin typeface="Arial" pitchFamily="34" charset="0"/>
                          <a:cs typeface="Arial" pitchFamily="34" charset="0"/>
                        </a:rPr>
                        <a:t>CEM</a:t>
                      </a:r>
                      <a:endParaRPr kumimoji="0" lang="en-US" altLang="fr-FR" sz="900" b="1" i="0" u="none" strike="noStrike" cap="none" normalizeH="0" baseline="0" dirty="0">
                        <a:ln>
                          <a:noFill/>
                        </a:ln>
                        <a:solidFill>
                          <a:srgbClr val="001C4B"/>
                        </a:solidFill>
                        <a:effectLst/>
                        <a:latin typeface="Arial" pitchFamily="34" charset="0"/>
                        <a:cs typeface="Arial" pitchFamily="34" charset="0"/>
                      </a:endParaRP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001C4B"/>
                          </a:solidFill>
                          <a:effectLst/>
                          <a:latin typeface="Arial" pitchFamily="34" charset="0"/>
                          <a:cs typeface="Arial" pitchFamily="34" charset="0"/>
                        </a:rPr>
                        <a:t>Reinvested</a:t>
                      </a: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1000" b="1" i="0" u="none" strike="noStrike" cap="none" normalizeH="0" baseline="0" dirty="0">
                          <a:ln>
                            <a:noFill/>
                          </a:ln>
                          <a:solidFill>
                            <a:schemeClr val="tx2"/>
                          </a:solidFill>
                          <a:effectLst/>
                          <a:latin typeface="Arial" pitchFamily="34" charset="0"/>
                          <a:cs typeface="Arial" pitchFamily="34" charset="0"/>
                        </a:rPr>
                        <a:t>0.23%</a:t>
                      </a:r>
                      <a:r>
                        <a:rPr lang="fr-FR" sz="1000" baseline="30000" dirty="0">
                          <a:solidFill>
                            <a:schemeClr val="tx2"/>
                          </a:solidFill>
                        </a:rPr>
                        <a:t>2</a:t>
                      </a:r>
                      <a:endParaRPr kumimoji="0" lang="en-US" altLang="fr-FR" sz="1000" b="1" i="0" u="none" strike="noStrike" cap="none" normalizeH="0" baseline="0" dirty="0">
                        <a:ln>
                          <a:noFill/>
                        </a:ln>
                        <a:solidFill>
                          <a:schemeClr val="tx2"/>
                        </a:solidFill>
                        <a:effectLst/>
                        <a:latin typeface="Arial" pitchFamily="34" charset="0"/>
                        <a:cs typeface="Arial" pitchFamily="34" charset="0"/>
                      </a:endParaRP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extLst>
                  <a:ext uri="{0D108BD9-81ED-4DB2-BD59-A6C34878D82A}">
                    <a16:rowId xmlns="" xmlns:a16="http://schemas.microsoft.com/office/drawing/2014/main" val="10004"/>
                  </a:ext>
                </a:extLst>
              </a:tr>
              <a:tr h="465138">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chemeClr val="bg1"/>
                          </a:solidFill>
                          <a:effectLst/>
                          <a:latin typeface="Arial" pitchFamily="34" charset="0"/>
                          <a:cs typeface="Arial" pitchFamily="34" charset="0"/>
                        </a:rPr>
                        <a:t>AMUNDI ETF MSCI EUROPE HIGH DIVIDEND FACTOR UCITS ETF</a:t>
                      </a:r>
                    </a:p>
                  </a:txBody>
                  <a:tcPr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algn="ctr" fontAlgn="b"/>
                      <a:r>
                        <a:rPr kumimoji="0" lang="fr-FR" sz="900" b="1" i="0" u="none" strike="noStrike" kern="1200" cap="none" normalizeH="0" baseline="0" dirty="0">
                          <a:ln>
                            <a:noFill/>
                          </a:ln>
                          <a:solidFill>
                            <a:srgbClr val="001C4B"/>
                          </a:solidFill>
                          <a:effectLst/>
                          <a:latin typeface="Arial" pitchFamily="34" charset="0"/>
                          <a:ea typeface="+mn-ea"/>
                          <a:cs typeface="Arial" pitchFamily="34" charset="0"/>
                        </a:rPr>
                        <a:t>FR001071887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altLang="fr-FR" sz="900" b="1" i="0" u="none" strike="noStrike" cap="none" normalizeH="0" baseline="0" dirty="0">
                          <a:ln>
                            <a:noFill/>
                          </a:ln>
                          <a:solidFill>
                            <a:srgbClr val="001C4B"/>
                          </a:solidFill>
                          <a:effectLst/>
                          <a:latin typeface="Arial" pitchFamily="34" charset="0"/>
                          <a:cs typeface="Arial" pitchFamily="34" charset="0"/>
                        </a:rPr>
                        <a:t>CD9</a:t>
                      </a:r>
                      <a:endParaRPr kumimoji="0" lang="en-US" altLang="fr-FR" sz="900" b="1" i="0" u="none" strike="noStrike" cap="none" normalizeH="0" baseline="0" dirty="0">
                        <a:ln>
                          <a:noFill/>
                        </a:ln>
                        <a:solidFill>
                          <a:srgbClr val="001C4B"/>
                        </a:solidFill>
                        <a:effectLst/>
                        <a:latin typeface="Arial" pitchFamily="34" charset="0"/>
                        <a:cs typeface="Arial" pitchFamily="34" charset="0"/>
                      </a:endParaRP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001C4B"/>
                          </a:solidFill>
                          <a:effectLst/>
                          <a:latin typeface="Arial" pitchFamily="34" charset="0"/>
                          <a:cs typeface="Arial" pitchFamily="34" charset="0"/>
                        </a:rPr>
                        <a:t>Reinvested</a:t>
                      </a: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en-US" altLang="fr-FR" sz="1000" b="1" i="0" u="none" strike="noStrike" cap="none" normalizeH="0" baseline="0" dirty="0">
                          <a:ln>
                            <a:noFill/>
                          </a:ln>
                          <a:solidFill>
                            <a:schemeClr val="tx2"/>
                          </a:solidFill>
                          <a:effectLst/>
                          <a:latin typeface="Arial" pitchFamily="34" charset="0"/>
                          <a:cs typeface="Arial" pitchFamily="34" charset="0"/>
                        </a:rPr>
                        <a:t>0.23%</a:t>
                      </a:r>
                      <a:r>
                        <a:rPr lang="fr-FR" sz="1000" baseline="30000" dirty="0">
                          <a:solidFill>
                            <a:schemeClr val="tx2"/>
                          </a:solidFill>
                        </a:rPr>
                        <a:t>2</a:t>
                      </a:r>
                      <a:endParaRPr kumimoji="0" lang="en-US" altLang="fr-FR" sz="1000" b="1" i="0" u="none" strike="noStrike" cap="none" normalizeH="0" baseline="0" dirty="0">
                        <a:ln>
                          <a:noFill/>
                        </a:ln>
                        <a:solidFill>
                          <a:schemeClr val="tx2"/>
                        </a:solidFill>
                        <a:effectLst/>
                        <a:latin typeface="Arial" pitchFamily="34" charset="0"/>
                        <a:cs typeface="Arial" pitchFamily="34" charset="0"/>
                      </a:endParaRP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extLst>
                  <a:ext uri="{0D108BD9-81ED-4DB2-BD59-A6C34878D82A}">
                    <a16:rowId xmlns="" xmlns:a16="http://schemas.microsoft.com/office/drawing/2014/main" val="10005"/>
                  </a:ext>
                </a:extLst>
              </a:tr>
              <a:tr h="41637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chemeClr val="bg1"/>
                          </a:solidFill>
                          <a:effectLst/>
                          <a:latin typeface="Arial" pitchFamily="34" charset="0"/>
                          <a:cs typeface="Arial" pitchFamily="34" charset="0"/>
                        </a:rPr>
                        <a:t>AMUNDI ETF MSCI EUROPE VALUE FACTOR UCITS ETF</a:t>
                      </a:r>
                    </a:p>
                  </a:txBody>
                  <a:tcPr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algn="ctr" fontAlgn="b"/>
                      <a:r>
                        <a:rPr kumimoji="0" lang="fr-FR" sz="900" b="1" i="0" u="none" strike="noStrike" kern="1200" cap="none" normalizeH="0" baseline="0" dirty="0">
                          <a:ln>
                            <a:noFill/>
                          </a:ln>
                          <a:solidFill>
                            <a:srgbClr val="001C4B"/>
                          </a:solidFill>
                          <a:effectLst/>
                          <a:latin typeface="Arial" pitchFamily="34" charset="0"/>
                          <a:ea typeface="+mn-ea"/>
                          <a:cs typeface="Arial" pitchFamily="34" charset="0"/>
                        </a:rPr>
                        <a:t>FR001071711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001C4B"/>
                          </a:solidFill>
                          <a:effectLst/>
                          <a:latin typeface="Arial" pitchFamily="34" charset="0"/>
                          <a:cs typeface="Arial" pitchFamily="34" charset="0"/>
                        </a:rPr>
                        <a:t>CV9</a:t>
                      </a: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001C4B"/>
                          </a:solidFill>
                          <a:effectLst/>
                          <a:latin typeface="Arial" pitchFamily="34" charset="0"/>
                          <a:cs typeface="Arial" pitchFamily="34" charset="0"/>
                        </a:rPr>
                        <a:t>Reinvested</a:t>
                      </a: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1000" b="1" i="0" u="none" strike="noStrike" cap="none" normalizeH="0" baseline="0" dirty="0">
                          <a:ln>
                            <a:noFill/>
                          </a:ln>
                          <a:solidFill>
                            <a:schemeClr val="tx2"/>
                          </a:solidFill>
                          <a:effectLst/>
                          <a:latin typeface="Arial" pitchFamily="34" charset="0"/>
                          <a:cs typeface="Arial" pitchFamily="34" charset="0"/>
                        </a:rPr>
                        <a:t>0.23%</a:t>
                      </a:r>
                      <a:r>
                        <a:rPr lang="fr-FR" sz="1000" baseline="30000" dirty="0">
                          <a:solidFill>
                            <a:schemeClr val="tx2"/>
                          </a:solidFill>
                        </a:rPr>
                        <a:t>2</a:t>
                      </a:r>
                      <a:endParaRPr kumimoji="0" lang="en-US" altLang="fr-FR" sz="1000" b="1" i="0" u="none" strike="noStrike" cap="none" normalizeH="0" baseline="0" dirty="0">
                        <a:ln>
                          <a:noFill/>
                        </a:ln>
                        <a:solidFill>
                          <a:schemeClr val="tx2"/>
                        </a:solidFill>
                        <a:effectLst/>
                        <a:latin typeface="Arial" pitchFamily="34" charset="0"/>
                        <a:cs typeface="Arial" pitchFamily="34" charset="0"/>
                      </a:endParaRP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6E6E6"/>
                    </a:solidFill>
                  </a:tcPr>
                </a:tc>
                <a:extLst>
                  <a:ext uri="{0D108BD9-81ED-4DB2-BD59-A6C34878D82A}">
                    <a16:rowId xmlns="" xmlns:a16="http://schemas.microsoft.com/office/drawing/2014/main" val="10006"/>
                  </a:ext>
                </a:extLst>
              </a:tr>
              <a:tr h="465138">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fr-FR" sz="900" b="1" i="0" u="none" strike="noStrike" cap="none" normalizeH="0" baseline="0" dirty="0">
                          <a:ln>
                            <a:noFill/>
                          </a:ln>
                          <a:solidFill>
                            <a:schemeClr val="bg1"/>
                          </a:solidFill>
                          <a:effectLst/>
                          <a:latin typeface="Arial" pitchFamily="34" charset="0"/>
                          <a:cs typeface="Arial" pitchFamily="34" charset="0"/>
                        </a:rPr>
                        <a:t>AMUNDI ETF MSCI EUROPE GROWTH UCITS ETF</a:t>
                      </a:r>
                      <a:endParaRPr kumimoji="0" lang="en-US" altLang="fr-FR" sz="900" b="1" i="0" u="none" strike="noStrike" cap="none" normalizeH="0" baseline="0" dirty="0">
                        <a:ln>
                          <a:noFill/>
                        </a:ln>
                        <a:solidFill>
                          <a:schemeClr val="bg1"/>
                        </a:solidFill>
                        <a:effectLst/>
                        <a:latin typeface="Arial" pitchFamily="34" charset="0"/>
                        <a:cs typeface="Arial" pitchFamily="34" charset="0"/>
                      </a:endParaRPr>
                    </a:p>
                  </a:txBody>
                  <a:tcPr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algn="ctr" fontAlgn="b"/>
                      <a:r>
                        <a:rPr kumimoji="0" lang="fr-FR" sz="900" b="1" i="0" u="none" strike="noStrike" kern="1200" cap="none" normalizeH="0" baseline="0" dirty="0">
                          <a:ln>
                            <a:noFill/>
                          </a:ln>
                          <a:solidFill>
                            <a:srgbClr val="001C4B"/>
                          </a:solidFill>
                          <a:effectLst/>
                          <a:latin typeface="Arial" pitchFamily="34" charset="0"/>
                          <a:ea typeface="+mn-ea"/>
                          <a:cs typeface="Arial" pitchFamily="34" charset="0"/>
                        </a:rPr>
                        <a:t>FR001071710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altLang="fr-FR" sz="900" b="1" i="0" u="none" strike="noStrike" cap="none" normalizeH="0" baseline="0" dirty="0">
                          <a:ln>
                            <a:noFill/>
                          </a:ln>
                          <a:solidFill>
                            <a:srgbClr val="001C4B"/>
                          </a:solidFill>
                          <a:effectLst/>
                          <a:latin typeface="Arial" pitchFamily="34" charset="0"/>
                          <a:cs typeface="Arial" pitchFamily="34" charset="0"/>
                        </a:rPr>
                        <a:t>CG9</a:t>
                      </a:r>
                      <a:endParaRPr kumimoji="0" lang="en-US" altLang="fr-FR" sz="900" b="1" i="0" u="none" strike="noStrike" cap="none" normalizeH="0" baseline="0" dirty="0">
                        <a:ln>
                          <a:noFill/>
                        </a:ln>
                        <a:solidFill>
                          <a:srgbClr val="001C4B"/>
                        </a:solidFill>
                        <a:effectLst/>
                        <a:latin typeface="Arial" pitchFamily="34" charset="0"/>
                        <a:cs typeface="Arial" pitchFamily="34" charset="0"/>
                      </a:endParaRP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001C4B"/>
                          </a:solidFill>
                          <a:effectLst/>
                          <a:latin typeface="Arial" pitchFamily="34" charset="0"/>
                          <a:cs typeface="Arial" pitchFamily="34" charset="0"/>
                        </a:rPr>
                        <a:t>Reinvested</a:t>
                      </a: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fr-FR" sz="1000" b="1" i="0" u="none" strike="noStrike" cap="none" normalizeH="0" baseline="0" dirty="0">
                          <a:ln>
                            <a:noFill/>
                          </a:ln>
                          <a:solidFill>
                            <a:schemeClr val="tx2"/>
                          </a:solidFill>
                          <a:effectLst/>
                          <a:latin typeface="Arial" pitchFamily="34" charset="0"/>
                          <a:cs typeface="Arial" pitchFamily="34" charset="0"/>
                        </a:rPr>
                        <a:t>0.35%</a:t>
                      </a:r>
                    </a:p>
                  </a:txBody>
                  <a:tcPr marL="9529" marR="9529" marT="9531"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5F5F5"/>
                    </a:solidFill>
                  </a:tcPr>
                </a:tc>
                <a:extLst>
                  <a:ext uri="{0D108BD9-81ED-4DB2-BD59-A6C34878D82A}">
                    <a16:rowId xmlns="" xmlns:a16="http://schemas.microsoft.com/office/drawing/2014/main" val="10007"/>
                  </a:ext>
                </a:extLst>
              </a:tr>
            </a:tbl>
          </a:graphicData>
        </a:graphic>
      </p:graphicFrame>
      <p:sp>
        <p:nvSpPr>
          <p:cNvPr id="21509" name="Titre 12"/>
          <p:cNvSpPr>
            <a:spLocks noGrp="1"/>
          </p:cNvSpPr>
          <p:nvPr>
            <p:ph type="title"/>
          </p:nvPr>
        </p:nvSpPr>
        <p:spPr/>
        <p:txBody>
          <a:bodyPr/>
          <a:lstStyle/>
          <a:p>
            <a:r>
              <a:rPr lang="fr-FR" altLang="fr-FR" dirty="0"/>
              <a:t>Mono factor: Amundi ETF suite</a:t>
            </a:r>
            <a:endParaRPr lang="en-US" altLang="fr-FR" dirty="0"/>
          </a:p>
        </p:txBody>
      </p:sp>
      <p:sp>
        <p:nvSpPr>
          <p:cNvPr id="5" name="Espace réservé du numéro de diapositive 4">
            <a:extLst>
              <a:ext uri="{FF2B5EF4-FFF2-40B4-BE49-F238E27FC236}">
                <a16:creationId xmlns="" xmlns:a16="http://schemas.microsoft.com/office/drawing/2014/main" id="{27318F62-1842-4B82-9915-EDE26255C98F}"/>
              </a:ext>
            </a:extLst>
          </p:cNvPr>
          <p:cNvSpPr>
            <a:spLocks noGrp="1"/>
          </p:cNvSpPr>
          <p:nvPr>
            <p:ph type="sldNum" sz="quarter" idx="12"/>
          </p:nvPr>
        </p:nvSpPr>
        <p:spPr/>
        <p:txBody>
          <a:bodyPr/>
          <a:lstStyle/>
          <a:p>
            <a:fld id="{2B1C6FFC-D040-034F-8B69-20295064E64D}" type="slidenum">
              <a:rPr lang="fr-FR" smtClean="0"/>
              <a:pPr/>
              <a:t>63</a:t>
            </a:fld>
            <a:endParaRPr lang="fr-FR" dirty="0"/>
          </a:p>
        </p:txBody>
      </p:sp>
      <p:sp>
        <p:nvSpPr>
          <p:cNvPr id="14" name="Espace réservé du texte 13">
            <a:extLst>
              <a:ext uri="{FF2B5EF4-FFF2-40B4-BE49-F238E27FC236}">
                <a16:creationId xmlns="" xmlns:a16="http://schemas.microsoft.com/office/drawing/2014/main" id="{D4F40076-DB46-443F-80E5-C243CE576F90}"/>
              </a:ext>
            </a:extLst>
          </p:cNvPr>
          <p:cNvSpPr>
            <a:spLocks noGrp="1"/>
          </p:cNvSpPr>
          <p:nvPr>
            <p:ph type="body" sz="quarter" idx="14"/>
          </p:nvPr>
        </p:nvSpPr>
        <p:spPr/>
        <p:txBody>
          <a:bodyPr/>
          <a:lstStyle/>
          <a:p>
            <a:r>
              <a:rPr lang="en-US" dirty="0"/>
              <a:t>1-The ongoing charges represent the charges taken from the fund over a year as disclosed in the KID. When the fund has not closed its accounts for the first time, the ongoing charges are estimated.  It is a measure that compares the annual total management and operating costs (all taxes included) charged to a fund against the value of that fund's assets. Transaction cost and commissions may occur when trading ETFs 2- 24/05/2016. The ongoing charges referred to in the KIID will be updated with this new </a:t>
            </a:r>
            <a:endParaRPr lang="fr-BE" dirty="0"/>
          </a:p>
        </p:txBody>
      </p:sp>
      <p:sp>
        <p:nvSpPr>
          <p:cNvPr id="7" name="Espace réservé du numéro de diapositive 6"/>
          <p:cNvSpPr txBox="1">
            <a:spLocks/>
          </p:cNvSpPr>
          <p:nvPr/>
        </p:nvSpPr>
        <p:spPr>
          <a:xfrm>
            <a:off x="8136000" y="6230100"/>
            <a:ext cx="502920" cy="216000"/>
          </a:xfrm>
          <a:prstGeom prst="rect">
            <a:avLst/>
          </a:prstGeom>
        </p:spPr>
        <p:txBody>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C12E7156-0CA6-462A-9A46-AEFB5E440988}" type="slidenum">
              <a:rPr lang="en-US" sz="1200" b="1" smtClean="0">
                <a:solidFill>
                  <a:schemeClr val="tx2"/>
                </a:solidFill>
              </a:rPr>
              <a:pPr algn="r"/>
              <a:t>63</a:t>
            </a:fld>
            <a:endParaRPr lang="en-US" sz="1200" b="1" dirty="0">
              <a:solidFill>
                <a:schemeClr val="tx2"/>
              </a:solidFill>
            </a:endParaRPr>
          </a:p>
        </p:txBody>
      </p:sp>
      <p:sp>
        <p:nvSpPr>
          <p:cNvPr id="9"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Tree>
    <p:extLst>
      <p:ext uri="{BB962C8B-B14F-4D97-AF65-F5344CB8AC3E}">
        <p14:creationId xmlns:p14="http://schemas.microsoft.com/office/powerpoint/2010/main" val="699476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Titre 12"/>
          <p:cNvSpPr>
            <a:spLocks noGrp="1"/>
          </p:cNvSpPr>
          <p:nvPr>
            <p:ph type="title"/>
          </p:nvPr>
        </p:nvSpPr>
        <p:spPr/>
        <p:txBody>
          <a:bodyPr/>
          <a:lstStyle/>
          <a:p>
            <a:r>
              <a:rPr lang="en-US" altLang="fr-FR" dirty="0"/>
              <a:t>Multi Factor range: </a:t>
            </a:r>
            <a:r>
              <a:rPr lang="fr-FR" altLang="fr-FR" dirty="0"/>
              <a:t>Amundi ETF &amp; Index </a:t>
            </a:r>
            <a:r>
              <a:rPr lang="fr-FR" altLang="fr-FR" dirty="0" err="1"/>
              <a:t>funds</a:t>
            </a:r>
            <a:endParaRPr lang="en-US" altLang="fr-FR" dirty="0"/>
          </a:p>
        </p:txBody>
      </p:sp>
      <p:sp>
        <p:nvSpPr>
          <p:cNvPr id="23" name="Espace réservé du contenu 22">
            <a:extLst>
              <a:ext uri="{FF2B5EF4-FFF2-40B4-BE49-F238E27FC236}">
                <a16:creationId xmlns="" xmlns:a16="http://schemas.microsoft.com/office/drawing/2014/main" id="{C8687CFD-612D-46FD-8F37-C6F1BC3F9F5C}"/>
              </a:ext>
            </a:extLst>
          </p:cNvPr>
          <p:cNvSpPr>
            <a:spLocks noGrp="1"/>
          </p:cNvSpPr>
          <p:nvPr>
            <p:ph idx="1"/>
          </p:nvPr>
        </p:nvSpPr>
        <p:spPr>
          <a:xfrm>
            <a:off x="503237" y="3038706"/>
            <a:ext cx="2792338" cy="206575"/>
          </a:xfrm>
        </p:spPr>
        <p:txBody>
          <a:bodyPr/>
          <a:lstStyle/>
          <a:p>
            <a:r>
              <a:rPr lang="en-US" dirty="0"/>
              <a:t>Also available as index fund</a:t>
            </a:r>
          </a:p>
        </p:txBody>
      </p:sp>
      <p:sp>
        <p:nvSpPr>
          <p:cNvPr id="11" name="Espace réservé du numéro de diapositive 10">
            <a:extLst>
              <a:ext uri="{FF2B5EF4-FFF2-40B4-BE49-F238E27FC236}">
                <a16:creationId xmlns="" xmlns:a16="http://schemas.microsoft.com/office/drawing/2014/main" id="{52E06488-DB82-4F83-8FFE-581F07160289}"/>
              </a:ext>
            </a:extLst>
          </p:cNvPr>
          <p:cNvSpPr>
            <a:spLocks noGrp="1"/>
          </p:cNvSpPr>
          <p:nvPr>
            <p:ph type="sldNum" sz="quarter" idx="12"/>
          </p:nvPr>
        </p:nvSpPr>
        <p:spPr/>
        <p:txBody>
          <a:bodyPr/>
          <a:lstStyle/>
          <a:p>
            <a:fld id="{2B1C6FFC-D040-034F-8B69-20295064E64D}" type="slidenum">
              <a:rPr lang="fr-FR" smtClean="0"/>
              <a:pPr/>
              <a:t>64</a:t>
            </a:fld>
            <a:endParaRPr lang="fr-FR" dirty="0"/>
          </a:p>
        </p:txBody>
      </p:sp>
      <p:sp>
        <p:nvSpPr>
          <p:cNvPr id="17" name="Espace réservé du texte 16">
            <a:extLst>
              <a:ext uri="{FF2B5EF4-FFF2-40B4-BE49-F238E27FC236}">
                <a16:creationId xmlns="" xmlns:a16="http://schemas.microsoft.com/office/drawing/2014/main" id="{F65ACDF4-4BB0-4375-8155-CA8E9EA68991}"/>
              </a:ext>
            </a:extLst>
          </p:cNvPr>
          <p:cNvSpPr>
            <a:spLocks noGrp="1"/>
          </p:cNvSpPr>
          <p:nvPr>
            <p:ph type="body" sz="quarter" idx="14"/>
          </p:nvPr>
        </p:nvSpPr>
        <p:spPr/>
        <p:txBody>
          <a:bodyPr/>
          <a:lstStyle/>
          <a:p>
            <a:pPr algn="l"/>
            <a:r>
              <a:rPr lang="en-US" dirty="0"/>
              <a:t>(1)The ongoing charges represent the charges taken from the fund over a year as disclosed in the KID. When the fund has not closed its accounts for the first time, the ongoing charges are estimated.  It is a measure that compares the annual total management and operating costs (all taxes included) charged to a fund against the value of that fund's assets. Transaction cost and commissions may occur when trading ETFs (2)All subscribers, more specifically legal entities / (3) All subscribers, more specifically major institutional investors / (4) All subscribers, more specifically individuals / (5) All subscribers, more specifically the clients of distribution platforms located in the United Kingdom or the Netherlands</a:t>
            </a:r>
          </a:p>
        </p:txBody>
      </p:sp>
      <p:graphicFrame>
        <p:nvGraphicFramePr>
          <p:cNvPr id="9" name="Table 6"/>
          <p:cNvGraphicFramePr>
            <a:graphicFrameLocks noGrp="1"/>
          </p:cNvGraphicFramePr>
          <p:nvPr>
            <p:extLst>
              <p:ext uri="{D42A27DB-BD31-4B8C-83A1-F6EECF244321}">
                <p14:modId xmlns:p14="http://schemas.microsoft.com/office/powerpoint/2010/main" val="2112835377"/>
              </p:ext>
            </p:extLst>
          </p:nvPr>
        </p:nvGraphicFramePr>
        <p:xfrm>
          <a:off x="518160" y="1341908"/>
          <a:ext cx="8072519" cy="1301751"/>
        </p:xfrm>
        <a:graphic>
          <a:graphicData uri="http://schemas.openxmlformats.org/drawingml/2006/table">
            <a:tbl>
              <a:tblPr/>
              <a:tblGrid>
                <a:gridCol w="4008429">
                  <a:extLst>
                    <a:ext uri="{9D8B030D-6E8A-4147-A177-3AD203B41FA5}">
                      <a16:colId xmlns="" xmlns:a16="http://schemas.microsoft.com/office/drawing/2014/main" val="20000"/>
                    </a:ext>
                  </a:extLst>
                </a:gridCol>
                <a:gridCol w="827731">
                  <a:extLst>
                    <a:ext uri="{9D8B030D-6E8A-4147-A177-3AD203B41FA5}">
                      <a16:colId xmlns="" xmlns:a16="http://schemas.microsoft.com/office/drawing/2014/main" val="20001"/>
                    </a:ext>
                  </a:extLst>
                </a:gridCol>
                <a:gridCol w="827731">
                  <a:extLst>
                    <a:ext uri="{9D8B030D-6E8A-4147-A177-3AD203B41FA5}">
                      <a16:colId xmlns="" xmlns:a16="http://schemas.microsoft.com/office/drawing/2014/main" val="20002"/>
                    </a:ext>
                  </a:extLst>
                </a:gridCol>
                <a:gridCol w="827731">
                  <a:extLst>
                    <a:ext uri="{9D8B030D-6E8A-4147-A177-3AD203B41FA5}">
                      <a16:colId xmlns="" xmlns:a16="http://schemas.microsoft.com/office/drawing/2014/main" val="20003"/>
                    </a:ext>
                  </a:extLst>
                </a:gridCol>
                <a:gridCol w="837746">
                  <a:extLst>
                    <a:ext uri="{9D8B030D-6E8A-4147-A177-3AD203B41FA5}">
                      <a16:colId xmlns="" xmlns:a16="http://schemas.microsoft.com/office/drawing/2014/main" val="20004"/>
                    </a:ext>
                  </a:extLst>
                </a:gridCol>
                <a:gridCol w="743151">
                  <a:extLst>
                    <a:ext uri="{9D8B030D-6E8A-4147-A177-3AD203B41FA5}">
                      <a16:colId xmlns="" xmlns:a16="http://schemas.microsoft.com/office/drawing/2014/main" val="20005"/>
                    </a:ext>
                  </a:extLst>
                </a:gridCol>
              </a:tblGrid>
              <a:tr h="371475">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US" altLang="fr-FR" sz="900" b="1" i="0" u="none" strike="noStrike" cap="none" normalizeH="0" baseline="0" dirty="0">
                        <a:ln>
                          <a:noFill/>
                        </a:ln>
                        <a:solidFill>
                          <a:schemeClr val="tx2"/>
                        </a:solidFill>
                        <a:effectLst/>
                        <a:latin typeface="Arial" pitchFamily="34" charset="0"/>
                        <a:cs typeface="Arial" pitchFamily="34" charset="0"/>
                      </a:endParaRPr>
                    </a:p>
                  </a:txBody>
                  <a:tcPr marL="9527" marR="9527" marT="9531"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algn="ctr">
                        <a:lnSpc>
                          <a:spcPct val="115000"/>
                        </a:lnSpc>
                        <a:spcAft>
                          <a:spcPts val="0"/>
                        </a:spcAft>
                      </a:pPr>
                      <a:r>
                        <a:rPr kumimoji="0" lang="fr-FR" sz="900" b="1" i="0" u="none" strike="noStrike" kern="1200" cap="none" normalizeH="0" baseline="0" dirty="0">
                          <a:ln>
                            <a:noFill/>
                          </a:ln>
                          <a:solidFill>
                            <a:srgbClr val="FFFFFF"/>
                          </a:solidFill>
                          <a:effectLst/>
                          <a:latin typeface="Arial" pitchFamily="34" charset="0"/>
                          <a:ea typeface="+mn-ea"/>
                          <a:cs typeface="Arial" pitchFamily="34" charset="0"/>
                        </a:rPr>
                        <a:t>ISIN</a:t>
                      </a: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c>
                  <a:txBody>
                    <a:bodyPr/>
                    <a:lstStyle/>
                    <a:p>
                      <a:pPr algn="ctr">
                        <a:lnSpc>
                          <a:spcPct val="115000"/>
                        </a:lnSpc>
                        <a:spcAft>
                          <a:spcPts val="0"/>
                        </a:spcAft>
                      </a:pPr>
                      <a:r>
                        <a:rPr kumimoji="0" lang="fr-FR" sz="900" b="1" i="0" u="none" strike="noStrike" kern="1200" cap="none" normalizeH="0" baseline="0" dirty="0">
                          <a:ln>
                            <a:noFill/>
                          </a:ln>
                          <a:solidFill>
                            <a:srgbClr val="FFFFFF"/>
                          </a:solidFill>
                          <a:effectLst/>
                          <a:latin typeface="Arial" pitchFamily="34" charset="0"/>
                          <a:ea typeface="+mn-ea"/>
                          <a:cs typeface="Arial" pitchFamily="34" charset="0"/>
                        </a:rPr>
                        <a:t>ETF </a:t>
                      </a:r>
                      <a:r>
                        <a:rPr kumimoji="0" lang="fr-FR" sz="900" b="1" i="0" u="none" strike="noStrike" kern="1200" cap="none" normalizeH="0" baseline="0" dirty="0" err="1">
                          <a:ln>
                            <a:noFill/>
                          </a:ln>
                          <a:solidFill>
                            <a:srgbClr val="FFFFFF"/>
                          </a:solidFill>
                          <a:effectLst/>
                          <a:latin typeface="Arial" pitchFamily="34" charset="0"/>
                          <a:ea typeface="+mn-ea"/>
                          <a:cs typeface="Arial" pitchFamily="34" charset="0"/>
                        </a:rPr>
                        <a:t>Ticker</a:t>
                      </a:r>
                      <a:endParaRPr kumimoji="0" lang="fr-FR" sz="900" b="1" i="0" u="none" strike="noStrike" kern="1200" cap="none" normalizeH="0" baseline="0" dirty="0">
                        <a:ln>
                          <a:noFill/>
                        </a:ln>
                        <a:solidFill>
                          <a:srgbClr val="FFFFFF"/>
                        </a:solidFill>
                        <a:effectLst/>
                        <a:latin typeface="Arial" pitchFamily="34" charset="0"/>
                        <a:ea typeface="+mn-ea"/>
                        <a:cs typeface="Arial" pitchFamily="34" charset="0"/>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c>
                  <a:txBody>
                    <a:bodyPr/>
                    <a:lstStyle/>
                    <a:p>
                      <a:pPr algn="ctr">
                        <a:lnSpc>
                          <a:spcPct val="115000"/>
                        </a:lnSpc>
                        <a:spcAft>
                          <a:spcPts val="0"/>
                        </a:spcAft>
                      </a:pPr>
                      <a:r>
                        <a:rPr kumimoji="0" lang="fr-FR" sz="900" b="1" i="0" u="none" strike="noStrike" kern="1200" cap="none" normalizeH="0" baseline="0" dirty="0" err="1">
                          <a:ln>
                            <a:noFill/>
                          </a:ln>
                          <a:solidFill>
                            <a:srgbClr val="FFFFFF"/>
                          </a:solidFill>
                          <a:effectLst/>
                          <a:latin typeface="Arial" pitchFamily="34" charset="0"/>
                          <a:ea typeface="+mn-ea"/>
                          <a:cs typeface="Arial" pitchFamily="34" charset="0"/>
                        </a:rPr>
                        <a:t>Currency</a:t>
                      </a:r>
                      <a:endParaRPr kumimoji="0" lang="fr-FR" sz="900" b="1" i="0" u="none" strike="noStrike" kern="1200" cap="none" normalizeH="0" baseline="0" dirty="0">
                        <a:ln>
                          <a:noFill/>
                        </a:ln>
                        <a:solidFill>
                          <a:srgbClr val="FFFFFF"/>
                        </a:solidFill>
                        <a:effectLst/>
                        <a:latin typeface="Arial" pitchFamily="34" charset="0"/>
                        <a:ea typeface="+mn-ea"/>
                        <a:cs typeface="Arial" pitchFamily="34" charset="0"/>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c>
                  <a:txBody>
                    <a:bodyPr/>
                    <a:lstStyle/>
                    <a:p>
                      <a:pPr algn="ctr">
                        <a:lnSpc>
                          <a:spcPct val="115000"/>
                        </a:lnSpc>
                        <a:spcAft>
                          <a:spcPts val="0"/>
                        </a:spcAft>
                      </a:pPr>
                      <a:r>
                        <a:rPr kumimoji="0" lang="fr-FR" sz="900" b="1" i="0" u="none" strike="noStrike" kern="1200" cap="none" normalizeH="0" baseline="0" dirty="0">
                          <a:ln>
                            <a:noFill/>
                          </a:ln>
                          <a:solidFill>
                            <a:srgbClr val="FFFFFF"/>
                          </a:solidFill>
                          <a:effectLst/>
                          <a:latin typeface="Arial" pitchFamily="34" charset="0"/>
                          <a:ea typeface="+mn-ea"/>
                          <a:cs typeface="Arial" pitchFamily="34" charset="0"/>
                        </a:rPr>
                        <a:t>Listing </a:t>
                      </a:r>
                      <a:r>
                        <a:rPr kumimoji="0" lang="fr-FR" sz="900" b="1" i="0" u="none" strike="noStrike" kern="1200" cap="none" normalizeH="0" baseline="0" dirty="0" err="1">
                          <a:ln>
                            <a:noFill/>
                          </a:ln>
                          <a:solidFill>
                            <a:srgbClr val="FFFFFF"/>
                          </a:solidFill>
                          <a:effectLst/>
                          <a:latin typeface="Arial" pitchFamily="34" charset="0"/>
                          <a:ea typeface="+mn-ea"/>
                          <a:cs typeface="Arial" pitchFamily="34" charset="0"/>
                        </a:rPr>
                        <a:t>currency</a:t>
                      </a:r>
                      <a:endParaRPr kumimoji="0" lang="fr-FR" sz="900" b="1" i="0" u="none" strike="noStrike" kern="1200" cap="none" normalizeH="0" baseline="0" dirty="0">
                        <a:ln>
                          <a:noFill/>
                        </a:ln>
                        <a:solidFill>
                          <a:srgbClr val="FFFFFF"/>
                        </a:solidFill>
                        <a:effectLst/>
                        <a:latin typeface="Arial" pitchFamily="34" charset="0"/>
                        <a:ea typeface="+mn-ea"/>
                        <a:cs typeface="Arial" pitchFamily="34" charset="0"/>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c>
                  <a:txBody>
                    <a:bodyPr/>
                    <a:lstStyle/>
                    <a:p>
                      <a:pPr algn="ctr">
                        <a:lnSpc>
                          <a:spcPct val="115000"/>
                        </a:lnSpc>
                        <a:spcAft>
                          <a:spcPts val="0"/>
                        </a:spcAft>
                      </a:pPr>
                      <a:r>
                        <a:rPr kumimoji="0" lang="fr-FR" sz="900" b="1" i="0" u="none" strike="noStrike" kern="1200" cap="none" normalizeH="0" baseline="0" dirty="0" err="1">
                          <a:ln>
                            <a:noFill/>
                          </a:ln>
                          <a:solidFill>
                            <a:schemeClr val="bg1"/>
                          </a:solidFill>
                          <a:effectLst/>
                          <a:latin typeface="Arial" pitchFamily="34" charset="0"/>
                          <a:ea typeface="+mn-ea"/>
                          <a:cs typeface="Arial" pitchFamily="34" charset="0"/>
                        </a:rPr>
                        <a:t>O</a:t>
                      </a:r>
                      <a:r>
                        <a:rPr kumimoji="0" lang="fr-FR" sz="900" b="1" i="0" u="none" strike="noStrike" kern="1200" cap="none" normalizeH="0" baseline="0" dirty="0" err="1">
                          <a:ln>
                            <a:noFill/>
                          </a:ln>
                          <a:solidFill>
                            <a:srgbClr val="FFFFFF"/>
                          </a:solidFill>
                          <a:effectLst/>
                          <a:latin typeface="Arial" pitchFamily="34" charset="0"/>
                          <a:ea typeface="+mn-ea"/>
                          <a:cs typeface="Arial" pitchFamily="34" charset="0"/>
                        </a:rPr>
                        <a:t>ngoing</a:t>
                      </a:r>
                      <a:r>
                        <a:rPr kumimoji="0" lang="fr-FR" sz="900" b="1" i="0" u="none" strike="noStrike" kern="1200" cap="none" normalizeH="0" baseline="0" dirty="0">
                          <a:ln>
                            <a:noFill/>
                          </a:ln>
                          <a:solidFill>
                            <a:srgbClr val="FFFFFF"/>
                          </a:solidFill>
                          <a:effectLst/>
                          <a:latin typeface="Arial" pitchFamily="34" charset="0"/>
                          <a:ea typeface="+mn-ea"/>
                          <a:cs typeface="Arial" pitchFamily="34" charset="0"/>
                        </a:rPr>
                        <a:t> charges</a:t>
                      </a:r>
                      <a:r>
                        <a:rPr kumimoji="0" lang="en-US" sz="900" b="1" i="0" u="none" strike="noStrike" kern="1200" cap="none" normalizeH="0" baseline="30000" dirty="0">
                          <a:ln>
                            <a:noFill/>
                          </a:ln>
                          <a:solidFill>
                            <a:srgbClr val="FFFFFF"/>
                          </a:solidFill>
                          <a:effectLst/>
                          <a:latin typeface="Arial" pitchFamily="34" charset="0"/>
                          <a:ea typeface="+mn-ea"/>
                          <a:cs typeface="Arial" pitchFamily="34" charset="0"/>
                        </a:rPr>
                        <a:t>1</a:t>
                      </a:r>
                      <a:endParaRPr kumimoji="0" lang="fr-FR" sz="900" b="1" i="0" u="none" strike="noStrike" kern="1200" cap="none" normalizeH="0" baseline="0" dirty="0">
                        <a:ln>
                          <a:noFill/>
                        </a:ln>
                        <a:solidFill>
                          <a:srgbClr val="FFFFFF"/>
                        </a:solidFill>
                        <a:effectLst/>
                        <a:latin typeface="Arial" pitchFamily="34" charset="0"/>
                        <a:ea typeface="+mn-ea"/>
                        <a:cs typeface="Arial" pitchFamily="34" charset="0"/>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extLst>
                  <a:ext uri="{0D108BD9-81ED-4DB2-BD59-A6C34878D82A}">
                    <a16:rowId xmlns="" xmlns:a16="http://schemas.microsoft.com/office/drawing/2014/main" val="10000"/>
                  </a:ext>
                </a:extLst>
              </a:tr>
              <a:tr h="465138">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FFFFFF"/>
                          </a:solidFill>
                          <a:effectLst/>
                          <a:latin typeface="Arial" pitchFamily="34" charset="0"/>
                          <a:cs typeface="Arial" pitchFamily="34" charset="0"/>
                        </a:rPr>
                        <a:t>AMUNDI ETF GLOBAL EQUITY MULTI SMART ALLOCATION SCIENTIFIC BETA UCITS ETF </a:t>
                      </a:r>
                      <a:endParaRPr kumimoji="0" lang="en-US" altLang="fr-FR" sz="900" b="1" i="1" u="none" strike="noStrike" cap="none" normalizeH="0" baseline="0" dirty="0">
                        <a:ln>
                          <a:noFill/>
                        </a:ln>
                        <a:solidFill>
                          <a:srgbClr val="FF6600"/>
                        </a:solidFill>
                        <a:effectLst/>
                        <a:latin typeface="Arial" pitchFamily="34" charset="0"/>
                        <a:cs typeface="Arial" pitchFamily="34" charset="0"/>
                      </a:endParaRPr>
                    </a:p>
                  </a:txBody>
                  <a:tcPr marR="9527" marT="9531"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16365C"/>
                    </a:solidFill>
                  </a:tcPr>
                </a:tc>
                <a:tc>
                  <a:txBody>
                    <a:bodyPr/>
                    <a:lstStyle/>
                    <a:p>
                      <a:pPr algn="ctr">
                        <a:lnSpc>
                          <a:spcPct val="115000"/>
                        </a:lnSpc>
                        <a:spcAft>
                          <a:spcPts val="0"/>
                        </a:spcAft>
                      </a:pPr>
                      <a:r>
                        <a:rPr lang="fr-FR" sz="800" b="1" dirty="0">
                          <a:solidFill>
                            <a:srgbClr val="001C4B"/>
                          </a:solidFill>
                          <a:effectLst/>
                          <a:latin typeface="Arial"/>
                          <a:ea typeface="Times New Roman"/>
                          <a:cs typeface="Times New Roman"/>
                        </a:rPr>
                        <a:t>FR0011829084</a:t>
                      </a:r>
                      <a:br>
                        <a:rPr lang="fr-FR" sz="800" b="1" dirty="0">
                          <a:solidFill>
                            <a:srgbClr val="001C4B"/>
                          </a:solidFill>
                          <a:effectLst/>
                          <a:latin typeface="Arial"/>
                          <a:ea typeface="Times New Roman"/>
                          <a:cs typeface="Times New Roman"/>
                        </a:rPr>
                      </a:br>
                      <a:r>
                        <a:rPr lang="fr-FR" sz="800" b="1" dirty="0">
                          <a:solidFill>
                            <a:srgbClr val="001C4B"/>
                          </a:solidFill>
                          <a:effectLst/>
                          <a:latin typeface="Arial"/>
                          <a:ea typeface="Times New Roman"/>
                          <a:cs typeface="Times New Roman"/>
                        </a:rPr>
                        <a:t>FR0011839943</a:t>
                      </a:r>
                      <a:endParaRPr lang="fr-FR" sz="1200" b="1" dirty="0">
                        <a:effectLst/>
                        <a:latin typeface="Calibri"/>
                        <a:ea typeface="PMingLiU"/>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tc>
                  <a:txBody>
                    <a:bodyPr/>
                    <a:lstStyle/>
                    <a:p>
                      <a:pPr algn="ctr">
                        <a:lnSpc>
                          <a:spcPct val="115000"/>
                        </a:lnSpc>
                        <a:spcAft>
                          <a:spcPts val="0"/>
                        </a:spcAft>
                      </a:pPr>
                      <a:r>
                        <a:rPr lang="fr-FR" sz="800" b="1" dirty="0">
                          <a:solidFill>
                            <a:srgbClr val="001C4B"/>
                          </a:solidFill>
                          <a:effectLst/>
                          <a:latin typeface="Arial"/>
                          <a:ea typeface="Times New Roman"/>
                          <a:cs typeface="Times New Roman"/>
                        </a:rPr>
                        <a:t>SMRT FP</a:t>
                      </a:r>
                      <a:br>
                        <a:rPr lang="fr-FR" sz="800" b="1" dirty="0">
                          <a:solidFill>
                            <a:srgbClr val="001C4B"/>
                          </a:solidFill>
                          <a:effectLst/>
                          <a:latin typeface="Arial"/>
                          <a:ea typeface="Times New Roman"/>
                          <a:cs typeface="Times New Roman"/>
                        </a:rPr>
                      </a:br>
                      <a:r>
                        <a:rPr lang="fr-FR" sz="800" b="1" dirty="0">
                          <a:solidFill>
                            <a:srgbClr val="001C4B"/>
                          </a:solidFill>
                          <a:effectLst/>
                          <a:latin typeface="Arial"/>
                          <a:ea typeface="Times New Roman"/>
                          <a:cs typeface="Times New Roman"/>
                        </a:rPr>
                        <a:t>SMRU FP</a:t>
                      </a:r>
                      <a:endParaRPr lang="fr-FR" sz="1200" b="1" dirty="0">
                        <a:effectLst/>
                        <a:latin typeface="Calibri"/>
                        <a:ea typeface="PMingLiU"/>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tc>
                  <a:txBody>
                    <a:bodyPr/>
                    <a:lstStyle/>
                    <a:p>
                      <a:pPr algn="ctr">
                        <a:lnSpc>
                          <a:spcPct val="115000"/>
                        </a:lnSpc>
                        <a:spcAft>
                          <a:spcPts val="0"/>
                        </a:spcAft>
                      </a:pPr>
                      <a:r>
                        <a:rPr lang="fr-FR" sz="800" b="1" dirty="0">
                          <a:solidFill>
                            <a:srgbClr val="001C4B"/>
                          </a:solidFill>
                          <a:effectLst/>
                          <a:latin typeface="Arial"/>
                          <a:ea typeface="Times New Roman"/>
                          <a:cs typeface="Times New Roman"/>
                        </a:rPr>
                        <a:t>EUR</a:t>
                      </a:r>
                      <a:br>
                        <a:rPr lang="fr-FR" sz="800" b="1" dirty="0">
                          <a:solidFill>
                            <a:srgbClr val="001C4B"/>
                          </a:solidFill>
                          <a:effectLst/>
                          <a:latin typeface="Arial"/>
                          <a:ea typeface="Times New Roman"/>
                          <a:cs typeface="Times New Roman"/>
                        </a:rPr>
                      </a:br>
                      <a:r>
                        <a:rPr lang="fr-FR" sz="800" b="1" dirty="0">
                          <a:solidFill>
                            <a:srgbClr val="001C4B"/>
                          </a:solidFill>
                          <a:effectLst/>
                          <a:latin typeface="Arial"/>
                          <a:ea typeface="Times New Roman"/>
                          <a:cs typeface="Times New Roman"/>
                        </a:rPr>
                        <a:t>USD</a:t>
                      </a:r>
                      <a:endParaRPr lang="fr-FR" sz="1200" b="1" dirty="0">
                        <a:effectLst/>
                        <a:latin typeface="Calibri"/>
                        <a:ea typeface="PMingLiU"/>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tc>
                  <a:txBody>
                    <a:bodyPr/>
                    <a:lstStyle/>
                    <a:p>
                      <a:pPr algn="ctr">
                        <a:lnSpc>
                          <a:spcPct val="115000"/>
                        </a:lnSpc>
                        <a:spcAft>
                          <a:spcPts val="0"/>
                        </a:spcAft>
                      </a:pPr>
                      <a:r>
                        <a:rPr lang="fr-FR" sz="800" b="1" dirty="0">
                          <a:solidFill>
                            <a:srgbClr val="001C4B"/>
                          </a:solidFill>
                          <a:effectLst/>
                          <a:latin typeface="Arial"/>
                          <a:ea typeface="Times New Roman"/>
                          <a:cs typeface="Times New Roman"/>
                        </a:rPr>
                        <a:t>EUR</a:t>
                      </a:r>
                      <a:br>
                        <a:rPr lang="fr-FR" sz="800" b="1" dirty="0">
                          <a:solidFill>
                            <a:srgbClr val="001C4B"/>
                          </a:solidFill>
                          <a:effectLst/>
                          <a:latin typeface="Arial"/>
                          <a:ea typeface="Times New Roman"/>
                          <a:cs typeface="Times New Roman"/>
                        </a:rPr>
                      </a:br>
                      <a:r>
                        <a:rPr lang="fr-FR" sz="800" b="1" dirty="0">
                          <a:solidFill>
                            <a:srgbClr val="001C4B"/>
                          </a:solidFill>
                          <a:effectLst/>
                          <a:latin typeface="Arial"/>
                          <a:ea typeface="Times New Roman"/>
                          <a:cs typeface="Times New Roman"/>
                        </a:rPr>
                        <a:t>USD</a:t>
                      </a:r>
                      <a:br>
                        <a:rPr lang="fr-FR" sz="800" b="1" dirty="0">
                          <a:solidFill>
                            <a:srgbClr val="001C4B"/>
                          </a:solidFill>
                          <a:effectLst/>
                          <a:latin typeface="Arial"/>
                          <a:ea typeface="Times New Roman"/>
                          <a:cs typeface="Times New Roman"/>
                        </a:rPr>
                      </a:br>
                      <a:r>
                        <a:rPr lang="fr-FR" sz="800" b="1" dirty="0">
                          <a:solidFill>
                            <a:srgbClr val="001C4B"/>
                          </a:solidFill>
                          <a:effectLst/>
                          <a:latin typeface="Arial"/>
                          <a:ea typeface="Times New Roman"/>
                          <a:cs typeface="Times New Roman"/>
                        </a:rPr>
                        <a:t>GBP</a:t>
                      </a:r>
                      <a:endParaRPr lang="fr-FR" sz="1200" b="1" dirty="0">
                        <a:effectLst/>
                        <a:latin typeface="Calibri"/>
                        <a:ea typeface="PMingLiU"/>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tc>
                  <a:txBody>
                    <a:bodyPr/>
                    <a:lstStyle/>
                    <a:p>
                      <a:pPr algn="ctr">
                        <a:lnSpc>
                          <a:spcPct val="115000"/>
                        </a:lnSpc>
                        <a:spcAft>
                          <a:spcPts val="0"/>
                        </a:spcAft>
                      </a:pPr>
                      <a:r>
                        <a:rPr lang="fr-FR" sz="800" b="1" dirty="0">
                          <a:solidFill>
                            <a:srgbClr val="001C4B"/>
                          </a:solidFill>
                          <a:effectLst/>
                          <a:latin typeface="Arial"/>
                          <a:ea typeface="Times New Roman"/>
                          <a:cs typeface="Times New Roman"/>
                        </a:rPr>
                        <a:t>0.40%</a:t>
                      </a:r>
                      <a:endParaRPr lang="fr-FR" sz="1200" b="1" dirty="0">
                        <a:effectLst/>
                        <a:latin typeface="Calibri"/>
                        <a:ea typeface="PMingLiU"/>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extLst>
                  <a:ext uri="{0D108BD9-81ED-4DB2-BD59-A6C34878D82A}">
                    <a16:rowId xmlns="" xmlns:a16="http://schemas.microsoft.com/office/drawing/2014/main" val="10001"/>
                  </a:ext>
                </a:extLst>
              </a:tr>
              <a:tr h="465138">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fr-FR" sz="900" b="1" i="0" u="none" strike="noStrike" cap="none" normalizeH="0" baseline="0" dirty="0">
                          <a:ln>
                            <a:noFill/>
                          </a:ln>
                          <a:solidFill>
                            <a:srgbClr val="FFFFFF"/>
                          </a:solidFill>
                          <a:effectLst/>
                          <a:latin typeface="Arial" pitchFamily="34" charset="0"/>
                          <a:cs typeface="Arial" pitchFamily="34" charset="0"/>
                        </a:rPr>
                        <a:t>AMUNDI ETF EUROPE  EQUITY MULTI SMART ALLOCATION SCIENTIFIC BETA UCITS ETF </a:t>
                      </a:r>
                      <a:endParaRPr kumimoji="0" lang="en-US" altLang="fr-FR" sz="900" b="1" i="0" u="none" strike="noStrike" cap="none" normalizeH="0" baseline="0" dirty="0">
                        <a:ln>
                          <a:noFill/>
                        </a:ln>
                        <a:solidFill>
                          <a:srgbClr val="FF6600"/>
                        </a:solidFill>
                        <a:effectLst/>
                        <a:latin typeface="Arial" pitchFamily="34" charset="0"/>
                        <a:cs typeface="Arial" pitchFamily="34" charset="0"/>
                      </a:endParaRPr>
                    </a:p>
                  </a:txBody>
                  <a:tcPr marR="9529" marT="9531"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16365C"/>
                    </a:solidFill>
                  </a:tcPr>
                </a:tc>
                <a:tc>
                  <a:txBody>
                    <a:bodyPr/>
                    <a:lstStyle/>
                    <a:p>
                      <a:pPr algn="ctr">
                        <a:lnSpc>
                          <a:spcPct val="115000"/>
                        </a:lnSpc>
                        <a:spcAft>
                          <a:spcPts val="0"/>
                        </a:spcAft>
                      </a:pPr>
                      <a:r>
                        <a:rPr lang="fr-FR" sz="800" b="1" dirty="0">
                          <a:solidFill>
                            <a:srgbClr val="001C4B"/>
                          </a:solidFill>
                          <a:effectLst/>
                          <a:latin typeface="Arial"/>
                          <a:ea typeface="Times New Roman"/>
                          <a:cs typeface="Times New Roman"/>
                        </a:rPr>
                        <a:t>FR0013040292</a:t>
                      </a:r>
                      <a:endParaRPr lang="fr-FR" sz="1200" b="1" dirty="0">
                        <a:effectLst/>
                        <a:latin typeface="Calibri"/>
                        <a:ea typeface="PMingLiU"/>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6E6E6"/>
                    </a:solidFill>
                  </a:tcPr>
                </a:tc>
                <a:tc>
                  <a:txBody>
                    <a:bodyPr/>
                    <a:lstStyle/>
                    <a:p>
                      <a:pPr algn="ctr">
                        <a:lnSpc>
                          <a:spcPct val="115000"/>
                        </a:lnSpc>
                        <a:spcAft>
                          <a:spcPts val="0"/>
                        </a:spcAft>
                      </a:pPr>
                      <a:r>
                        <a:rPr lang="fr-FR" sz="800" b="1" dirty="0">
                          <a:solidFill>
                            <a:srgbClr val="001C4B"/>
                          </a:solidFill>
                          <a:effectLst/>
                          <a:latin typeface="Arial"/>
                          <a:ea typeface="Times New Roman"/>
                          <a:cs typeface="Times New Roman"/>
                        </a:rPr>
                        <a:t>SMRE FP</a:t>
                      </a:r>
                      <a:endParaRPr lang="fr-FR" sz="1200" b="1" dirty="0">
                        <a:effectLst/>
                        <a:latin typeface="Calibri"/>
                        <a:ea typeface="PMingLiU"/>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6E6E6"/>
                    </a:solidFill>
                  </a:tcPr>
                </a:tc>
                <a:tc>
                  <a:txBody>
                    <a:bodyPr/>
                    <a:lstStyle/>
                    <a:p>
                      <a:pPr algn="ctr">
                        <a:lnSpc>
                          <a:spcPct val="115000"/>
                        </a:lnSpc>
                        <a:spcAft>
                          <a:spcPts val="0"/>
                        </a:spcAft>
                      </a:pPr>
                      <a:r>
                        <a:rPr lang="fr-FR" sz="800" b="1" dirty="0">
                          <a:solidFill>
                            <a:srgbClr val="001C4B"/>
                          </a:solidFill>
                          <a:effectLst/>
                          <a:latin typeface="Arial"/>
                          <a:ea typeface="Times New Roman"/>
                          <a:cs typeface="Times New Roman"/>
                        </a:rPr>
                        <a:t>EUR</a:t>
                      </a:r>
                      <a:endParaRPr lang="fr-FR" sz="1200" b="1" dirty="0">
                        <a:effectLst/>
                        <a:latin typeface="Calibri"/>
                        <a:ea typeface="PMingLiU"/>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6E6E6"/>
                    </a:solidFill>
                  </a:tcPr>
                </a:tc>
                <a:tc>
                  <a:txBody>
                    <a:bodyPr/>
                    <a:lstStyle/>
                    <a:p>
                      <a:pPr algn="ctr">
                        <a:lnSpc>
                          <a:spcPct val="115000"/>
                        </a:lnSpc>
                        <a:spcAft>
                          <a:spcPts val="0"/>
                        </a:spcAft>
                      </a:pPr>
                      <a:r>
                        <a:rPr lang="fr-FR" sz="800" b="1" dirty="0">
                          <a:solidFill>
                            <a:srgbClr val="001C4B"/>
                          </a:solidFill>
                          <a:effectLst/>
                          <a:latin typeface="Arial"/>
                          <a:ea typeface="Times New Roman"/>
                          <a:cs typeface="Times New Roman"/>
                        </a:rPr>
                        <a:t>EUR</a:t>
                      </a:r>
                      <a:endParaRPr lang="fr-FR" sz="1200" b="1" dirty="0">
                        <a:effectLst/>
                        <a:latin typeface="Calibri"/>
                        <a:ea typeface="PMingLiU"/>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6E6E6"/>
                    </a:solidFill>
                  </a:tcPr>
                </a:tc>
                <a:tc>
                  <a:txBody>
                    <a:bodyPr/>
                    <a:lstStyle/>
                    <a:p>
                      <a:pPr algn="ctr">
                        <a:lnSpc>
                          <a:spcPct val="115000"/>
                        </a:lnSpc>
                        <a:spcAft>
                          <a:spcPts val="0"/>
                        </a:spcAft>
                      </a:pPr>
                      <a:r>
                        <a:rPr lang="fr-FR" sz="800" b="1" dirty="0">
                          <a:solidFill>
                            <a:srgbClr val="001C4B"/>
                          </a:solidFill>
                          <a:effectLst/>
                          <a:latin typeface="Arial"/>
                          <a:ea typeface="Times New Roman"/>
                          <a:cs typeface="Times New Roman"/>
                        </a:rPr>
                        <a:t>0.40%</a:t>
                      </a:r>
                      <a:endParaRPr lang="fr-FR" sz="1200" b="1" dirty="0">
                        <a:effectLst/>
                        <a:latin typeface="Calibri"/>
                        <a:ea typeface="PMingLiU"/>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6E6E6"/>
                    </a:solidFill>
                  </a:tcPr>
                </a:tc>
                <a:extLst>
                  <a:ext uri="{0D108BD9-81ED-4DB2-BD59-A6C34878D82A}">
                    <a16:rowId xmlns="" xmlns:a16="http://schemas.microsoft.com/office/drawing/2014/main" val="10002"/>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230691689"/>
              </p:ext>
            </p:extLst>
          </p:nvPr>
        </p:nvGraphicFramePr>
        <p:xfrm>
          <a:off x="503237" y="3003096"/>
          <a:ext cx="8087441" cy="2359888"/>
        </p:xfrm>
        <a:graphic>
          <a:graphicData uri="http://schemas.openxmlformats.org/drawingml/2006/table">
            <a:tbl>
              <a:tblPr/>
              <a:tblGrid>
                <a:gridCol w="4014338">
                  <a:extLst>
                    <a:ext uri="{9D8B030D-6E8A-4147-A177-3AD203B41FA5}">
                      <a16:colId xmlns="" xmlns:a16="http://schemas.microsoft.com/office/drawing/2014/main" val="20000"/>
                    </a:ext>
                  </a:extLst>
                </a:gridCol>
                <a:gridCol w="2078955">
                  <a:extLst>
                    <a:ext uri="{9D8B030D-6E8A-4147-A177-3AD203B41FA5}">
                      <a16:colId xmlns="" xmlns:a16="http://schemas.microsoft.com/office/drawing/2014/main" val="20001"/>
                    </a:ext>
                  </a:extLst>
                </a:gridCol>
                <a:gridCol w="991078">
                  <a:extLst>
                    <a:ext uri="{9D8B030D-6E8A-4147-A177-3AD203B41FA5}">
                      <a16:colId xmlns="" xmlns:a16="http://schemas.microsoft.com/office/drawing/2014/main" val="20002"/>
                    </a:ext>
                  </a:extLst>
                </a:gridCol>
                <a:gridCol w="1003070">
                  <a:extLst>
                    <a:ext uri="{9D8B030D-6E8A-4147-A177-3AD203B41FA5}">
                      <a16:colId xmlns="" xmlns:a16="http://schemas.microsoft.com/office/drawing/2014/main" val="20003"/>
                    </a:ext>
                  </a:extLst>
                </a:gridCol>
              </a:tblGrid>
              <a:tr h="325023">
                <a:tc>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US" altLang="fr-FR" sz="800" b="1" i="0" u="none" strike="noStrike" cap="none" normalizeH="0" baseline="0" dirty="0">
                        <a:ln>
                          <a:noFill/>
                        </a:ln>
                        <a:solidFill>
                          <a:schemeClr val="tx2"/>
                        </a:solidFill>
                        <a:effectLst/>
                        <a:latin typeface="Arial" pitchFamily="34" charset="0"/>
                        <a:cs typeface="Arial" pitchFamily="34" charset="0"/>
                      </a:endParaRPr>
                    </a:p>
                  </a:txBody>
                  <a:tcPr marL="8336" marR="8336" marT="8339"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lnSpc>
                          <a:spcPct val="115000"/>
                        </a:lnSpc>
                        <a:spcAft>
                          <a:spcPts val="0"/>
                        </a:spcAft>
                      </a:pPr>
                      <a:r>
                        <a:rPr kumimoji="0" lang="fr-FR" sz="800" b="1" i="0" u="none" strike="noStrike" kern="1200" cap="none" normalizeH="0" baseline="0" dirty="0">
                          <a:ln>
                            <a:noFill/>
                          </a:ln>
                          <a:solidFill>
                            <a:srgbClr val="FFFFFF"/>
                          </a:solidFill>
                          <a:effectLst/>
                          <a:latin typeface="Arial" pitchFamily="34" charset="0"/>
                          <a:ea typeface="+mn-ea"/>
                          <a:cs typeface="Arial" pitchFamily="34" charset="0"/>
                        </a:rPr>
                        <a:t>ISIN </a:t>
                      </a: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c>
                  <a:txBody>
                    <a:bodyPr/>
                    <a:lstStyle/>
                    <a:p>
                      <a:pPr marL="0" algn="ctr" defTabSz="914400" rtl="0" eaLnBrk="1" fontAlgn="ctr" latinLnBrk="0" hangingPunct="1">
                        <a:lnSpc>
                          <a:spcPct val="115000"/>
                        </a:lnSpc>
                        <a:spcAft>
                          <a:spcPts val="0"/>
                        </a:spcAft>
                      </a:pPr>
                      <a:r>
                        <a:rPr kumimoji="0" lang="fr-FR" sz="800" b="1" i="0" u="none" strike="noStrike" kern="1200" cap="none" normalizeH="0" baseline="0" dirty="0">
                          <a:ln>
                            <a:noFill/>
                          </a:ln>
                          <a:solidFill>
                            <a:srgbClr val="FFFFFF"/>
                          </a:solidFill>
                          <a:effectLst/>
                          <a:latin typeface="Arial" pitchFamily="34" charset="0"/>
                          <a:ea typeface="+mn-ea"/>
                          <a:cs typeface="Arial" pitchFamily="34" charset="0"/>
                        </a:rPr>
                        <a:t>Share class</a:t>
                      </a: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c>
                  <a:txBody>
                    <a:bodyPr/>
                    <a:lstStyle/>
                    <a:p>
                      <a:pPr marL="0" algn="ctr" defTabSz="914400" rtl="0" eaLnBrk="1" fontAlgn="ctr" latinLnBrk="0" hangingPunct="1">
                        <a:lnSpc>
                          <a:spcPct val="115000"/>
                        </a:lnSpc>
                        <a:spcAft>
                          <a:spcPts val="0"/>
                        </a:spcAft>
                      </a:pPr>
                      <a:r>
                        <a:rPr kumimoji="0" lang="fr-FR" sz="800" b="1" i="0" u="none" strike="noStrike" kern="1200" cap="none" normalizeH="0" baseline="0" dirty="0" err="1">
                          <a:ln>
                            <a:noFill/>
                          </a:ln>
                          <a:solidFill>
                            <a:srgbClr val="FFFFFF"/>
                          </a:solidFill>
                          <a:effectLst/>
                          <a:latin typeface="Arial" pitchFamily="34" charset="0"/>
                          <a:ea typeface="+mn-ea"/>
                          <a:cs typeface="Arial" pitchFamily="34" charset="0"/>
                        </a:rPr>
                        <a:t>Currency</a:t>
                      </a:r>
                      <a:endParaRPr kumimoji="0" lang="fr-FR" sz="800" b="1" i="0" u="none" strike="noStrike" kern="1200" cap="none" normalizeH="0" baseline="0" dirty="0">
                        <a:ln>
                          <a:noFill/>
                        </a:ln>
                        <a:solidFill>
                          <a:srgbClr val="FFFFFF"/>
                        </a:solidFill>
                        <a:effectLst/>
                        <a:latin typeface="Arial" pitchFamily="34" charset="0"/>
                        <a:ea typeface="+mn-ea"/>
                        <a:cs typeface="Arial" pitchFamily="34" charset="0"/>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extLst>
                  <a:ext uri="{0D108BD9-81ED-4DB2-BD59-A6C34878D82A}">
                    <a16:rowId xmlns="" xmlns:a16="http://schemas.microsoft.com/office/drawing/2014/main" val="10000"/>
                  </a:ext>
                </a:extLst>
              </a:tr>
              <a:tr h="406973">
                <a:tc rowSpan="5">
                  <a:txBody>
                    <a:bodyPr/>
                    <a:lstStyle>
                      <a:lvl1pPr eaLnBrk="0" hangingPunct="0">
                        <a:lnSpc>
                          <a:spcPct val="90000"/>
                        </a:lnSpc>
                        <a:spcAft>
                          <a:spcPct val="60000"/>
                        </a:spcAft>
                        <a:defRPr sz="1600" b="1">
                          <a:solidFill>
                            <a:srgbClr val="001C4B"/>
                          </a:solidFill>
                          <a:latin typeface="Arial" pitchFamily="34" charset="0"/>
                        </a:defRPr>
                      </a:lvl1pPr>
                      <a:lvl2pPr marL="742950" indent="-285750" eaLnBrk="0" hangingPunct="0">
                        <a:buClr>
                          <a:srgbClr val="00B0F0"/>
                        </a:buClr>
                        <a:buFont typeface="Wingdings" pitchFamily="2" charset="2"/>
                        <a:defRPr sz="1400">
                          <a:solidFill>
                            <a:schemeClr val="tx2"/>
                          </a:solidFill>
                          <a:latin typeface="Arial" pitchFamily="34" charset="0"/>
                        </a:defRPr>
                      </a:lvl2pPr>
                      <a:lvl3pPr marL="1143000" indent="-228600" eaLnBrk="0" hangingPunct="0">
                        <a:buClr>
                          <a:schemeClr val="tx2"/>
                        </a:buClr>
                        <a:buFont typeface="Arial" pitchFamily="34" charset="0"/>
                        <a:defRPr sz="1200">
                          <a:solidFill>
                            <a:srgbClr val="001C4B"/>
                          </a:solidFill>
                          <a:latin typeface="Arial" pitchFamily="34" charset="0"/>
                        </a:defRPr>
                      </a:lvl3pPr>
                      <a:lvl4pPr marL="1600200" indent="-228600" eaLnBrk="0" hangingPunct="0">
                        <a:spcBef>
                          <a:spcPct val="25000"/>
                        </a:spcBef>
                        <a:buClr>
                          <a:schemeClr val="hlink"/>
                        </a:buClr>
                        <a:defRPr sz="1000">
                          <a:solidFill>
                            <a:srgbClr val="767A7E"/>
                          </a:solidFill>
                          <a:latin typeface="Arial" pitchFamily="34" charset="0"/>
                        </a:defRPr>
                      </a:lvl4pPr>
                      <a:lvl5pPr marL="2057400" indent="-228600" eaLnBrk="0" hangingPunct="0">
                        <a:spcBef>
                          <a:spcPct val="25000"/>
                        </a:spcBef>
                        <a:buClr>
                          <a:srgbClr val="7F7F7F"/>
                        </a:buClr>
                        <a:buFont typeface="Wingdings" pitchFamily="2" charset="2"/>
                        <a:defRPr sz="900">
                          <a:solidFill>
                            <a:schemeClr val="tx1"/>
                          </a:solidFill>
                          <a:latin typeface="Arial" pitchFamily="34" charset="0"/>
                        </a:defRPr>
                      </a:lvl5pPr>
                      <a:lvl6pPr marL="25146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6pPr>
                      <a:lvl7pPr marL="29718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7pPr>
                      <a:lvl8pPr marL="34290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8pPr>
                      <a:lvl9pPr marL="3886200" indent="-228600" eaLnBrk="0" fontAlgn="base" hangingPunct="0">
                        <a:spcBef>
                          <a:spcPct val="25000"/>
                        </a:spcBef>
                        <a:spcAft>
                          <a:spcPct val="0"/>
                        </a:spcAft>
                        <a:buClr>
                          <a:srgbClr val="7F7F7F"/>
                        </a:buClr>
                        <a:buFont typeface="Wingdings" pitchFamily="2" charset="2"/>
                        <a:defRPr sz="900">
                          <a:solidFill>
                            <a:schemeClr val="tx1"/>
                          </a:solidFill>
                          <a:latin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fr-FR" sz="800" b="1" i="0" u="none" strike="noStrike" cap="none" normalizeH="0" baseline="0" dirty="0">
                          <a:ln>
                            <a:noFill/>
                          </a:ln>
                          <a:solidFill>
                            <a:srgbClr val="FFFFFF"/>
                          </a:solidFill>
                          <a:effectLst/>
                          <a:latin typeface="Arial" pitchFamily="34" charset="0"/>
                          <a:cs typeface="Arial" pitchFamily="34" charset="0"/>
                        </a:rPr>
                        <a:t>AMUNDI INDEX EQUITY GLOBAL MULTI SMART ALLOCATION SCIENTIFIC BETA</a:t>
                      </a:r>
                      <a:endParaRPr kumimoji="0" lang="en-US" altLang="fr-FR" sz="800" b="1" i="1" u="none" strike="noStrike" cap="none" normalizeH="0" baseline="0" dirty="0">
                        <a:ln>
                          <a:noFill/>
                        </a:ln>
                        <a:solidFill>
                          <a:srgbClr val="FF6600"/>
                        </a:solidFill>
                        <a:effectLst/>
                        <a:latin typeface="Arial" pitchFamily="34" charset="0"/>
                        <a:cs typeface="Arial" pitchFamily="34" charset="0"/>
                      </a:endParaRPr>
                    </a:p>
                  </a:txBody>
                  <a:tcPr marL="8336" marR="8336" marT="8339"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16365C"/>
                    </a:solidFill>
                  </a:tcPr>
                </a:tc>
                <a:tc>
                  <a:txBody>
                    <a:bodyPr/>
                    <a:lstStyle/>
                    <a:p>
                      <a:pPr algn="ctr" rtl="0" fontAlgn="ctr"/>
                      <a:r>
                        <a:rPr lang="fr-FR" sz="700" b="1" u="none" strike="noStrike" dirty="0">
                          <a:solidFill>
                            <a:schemeClr val="tx2"/>
                          </a:solidFill>
                          <a:effectLst/>
                        </a:rPr>
                        <a:t>FR0012355188</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tc>
                  <a:txBody>
                    <a:bodyPr/>
                    <a:lstStyle/>
                    <a:p>
                      <a:pPr algn="ctr" rtl="0" fontAlgn="ctr"/>
                      <a:r>
                        <a:rPr lang="fr-FR" sz="700" b="1" u="none" strike="noStrike" dirty="0">
                          <a:solidFill>
                            <a:schemeClr val="tx2"/>
                          </a:solidFill>
                          <a:effectLst/>
                        </a:rPr>
                        <a:t>I EUR (C)</a:t>
                      </a:r>
                      <a:r>
                        <a:rPr lang="fr-FR" sz="700" b="1" u="none" strike="noStrike" baseline="30000" dirty="0">
                          <a:solidFill>
                            <a:schemeClr val="tx2"/>
                          </a:solidFill>
                          <a:effectLst/>
                        </a:rPr>
                        <a:t>2</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tc>
                  <a:txBody>
                    <a:bodyPr/>
                    <a:lstStyle/>
                    <a:p>
                      <a:pPr algn="ctr" rtl="0" fontAlgn="ctr"/>
                      <a:r>
                        <a:rPr lang="fr-FR" sz="700" b="1" u="none" strike="noStrike" dirty="0">
                          <a:solidFill>
                            <a:schemeClr val="tx2"/>
                          </a:solidFill>
                          <a:effectLst/>
                        </a:rPr>
                        <a:t>EUR</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extLst>
                  <a:ext uri="{0D108BD9-81ED-4DB2-BD59-A6C34878D82A}">
                    <a16:rowId xmlns="" xmlns:a16="http://schemas.microsoft.com/office/drawing/2014/main" val="10001"/>
                  </a:ext>
                </a:extLst>
              </a:tr>
              <a:tr h="406973">
                <a:tc vMerge="1">
                  <a:txBody>
                    <a:body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US" altLang="fr-FR" sz="900" b="1" i="1" u="none" strike="noStrike" cap="none" normalizeH="0" baseline="0" dirty="0">
                        <a:ln>
                          <a:noFill/>
                        </a:ln>
                        <a:solidFill>
                          <a:srgbClr val="FF6600"/>
                        </a:solidFill>
                        <a:effectLst/>
                        <a:latin typeface="Arial" pitchFamily="34" charset="0"/>
                        <a:cs typeface="Arial" pitchFamily="34" charset="0"/>
                      </a:endParaRPr>
                    </a:p>
                  </a:txBody>
                  <a:tcPr marL="9527" marR="9527" marT="9531"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16365C"/>
                    </a:solidFill>
                  </a:tcPr>
                </a:tc>
                <a:tc>
                  <a:txBody>
                    <a:bodyPr/>
                    <a:lstStyle/>
                    <a:p>
                      <a:pPr algn="ctr" rtl="0" fontAlgn="ctr"/>
                      <a:r>
                        <a:rPr lang="fr-FR" sz="700" b="1" u="none" strike="noStrike" dirty="0">
                          <a:solidFill>
                            <a:schemeClr val="tx2"/>
                          </a:solidFill>
                          <a:effectLst/>
                        </a:rPr>
                        <a:t>FR0012355253</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6E6E6"/>
                    </a:solidFill>
                  </a:tcPr>
                </a:tc>
                <a:tc>
                  <a:txBody>
                    <a:bodyPr/>
                    <a:lstStyle/>
                    <a:p>
                      <a:pPr algn="ctr" rtl="0" fontAlgn="ctr"/>
                      <a:r>
                        <a:rPr lang="fr-FR" sz="700" b="1" u="none" strike="noStrike" dirty="0">
                          <a:solidFill>
                            <a:schemeClr val="tx2"/>
                          </a:solidFill>
                          <a:effectLst/>
                        </a:rPr>
                        <a:t>I2 EUR (C)</a:t>
                      </a:r>
                      <a:r>
                        <a:rPr lang="fr-FR" sz="700" b="1" u="none" strike="noStrike" baseline="30000" dirty="0">
                          <a:solidFill>
                            <a:schemeClr val="tx2"/>
                          </a:solidFill>
                          <a:effectLst/>
                        </a:rPr>
                        <a:t>3</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6E6E6"/>
                    </a:solidFill>
                  </a:tcPr>
                </a:tc>
                <a:tc>
                  <a:txBody>
                    <a:bodyPr/>
                    <a:lstStyle/>
                    <a:p>
                      <a:pPr algn="ctr" rtl="0" fontAlgn="ctr"/>
                      <a:r>
                        <a:rPr lang="fr-FR" sz="700" b="1" u="none" strike="noStrike" dirty="0">
                          <a:solidFill>
                            <a:schemeClr val="tx2"/>
                          </a:solidFill>
                          <a:effectLst/>
                        </a:rPr>
                        <a:t>EUR</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6E6E6"/>
                    </a:solidFill>
                  </a:tcPr>
                </a:tc>
                <a:extLst>
                  <a:ext uri="{0D108BD9-81ED-4DB2-BD59-A6C34878D82A}">
                    <a16:rowId xmlns="" xmlns:a16="http://schemas.microsoft.com/office/drawing/2014/main" val="10002"/>
                  </a:ext>
                </a:extLst>
              </a:tr>
              <a:tr h="406973">
                <a:tc vMerge="1">
                  <a:txBody>
                    <a:body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US" altLang="fr-FR" sz="900" b="1" i="1" u="none" strike="noStrike" cap="none" normalizeH="0" baseline="0" dirty="0">
                        <a:ln>
                          <a:noFill/>
                        </a:ln>
                        <a:solidFill>
                          <a:srgbClr val="FF6600"/>
                        </a:solidFill>
                        <a:effectLst/>
                        <a:latin typeface="Arial" pitchFamily="34" charset="0"/>
                        <a:cs typeface="Arial" pitchFamily="34" charset="0"/>
                      </a:endParaRPr>
                    </a:p>
                  </a:txBody>
                  <a:tcPr marL="9527" marR="9527" marT="9531"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16365C"/>
                    </a:solidFill>
                  </a:tcPr>
                </a:tc>
                <a:tc>
                  <a:txBody>
                    <a:bodyPr/>
                    <a:lstStyle/>
                    <a:p>
                      <a:pPr algn="ctr" rtl="0" fontAlgn="ctr"/>
                      <a:r>
                        <a:rPr lang="fr-FR" sz="700" b="1" u="none" strike="noStrike" dirty="0">
                          <a:solidFill>
                            <a:schemeClr val="tx2"/>
                          </a:solidFill>
                          <a:effectLst/>
                        </a:rPr>
                        <a:t>FR0012355287</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tc>
                  <a:txBody>
                    <a:bodyPr/>
                    <a:lstStyle/>
                    <a:p>
                      <a:pPr algn="ctr" rtl="0" fontAlgn="ctr"/>
                      <a:r>
                        <a:rPr lang="fr-FR" sz="700" b="1" u="none" strike="noStrike" dirty="0">
                          <a:solidFill>
                            <a:schemeClr val="tx2"/>
                          </a:solidFill>
                          <a:effectLst/>
                        </a:rPr>
                        <a:t>I2 GBP (C)</a:t>
                      </a:r>
                      <a:r>
                        <a:rPr lang="fr-FR" sz="700" b="1" u="none" strike="noStrike" baseline="30000" dirty="0">
                          <a:solidFill>
                            <a:schemeClr val="tx2"/>
                          </a:solidFill>
                          <a:effectLst/>
                        </a:rPr>
                        <a:t>3</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tc>
                  <a:txBody>
                    <a:bodyPr/>
                    <a:lstStyle/>
                    <a:p>
                      <a:pPr algn="ctr" rtl="0" fontAlgn="ctr"/>
                      <a:r>
                        <a:rPr lang="fr-FR" sz="700" b="1" u="none" strike="noStrike" dirty="0">
                          <a:solidFill>
                            <a:schemeClr val="tx2"/>
                          </a:solidFill>
                          <a:effectLst/>
                        </a:rPr>
                        <a:t>GBP</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extLst>
                  <a:ext uri="{0D108BD9-81ED-4DB2-BD59-A6C34878D82A}">
                    <a16:rowId xmlns="" xmlns:a16="http://schemas.microsoft.com/office/drawing/2014/main" val="10003"/>
                  </a:ext>
                </a:extLst>
              </a:tr>
              <a:tr h="406973">
                <a:tc vMerge="1">
                  <a:txBody>
                    <a:body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US" altLang="fr-FR" sz="900" b="1" i="1" u="none" strike="noStrike" cap="none" normalizeH="0" baseline="0" dirty="0">
                        <a:ln>
                          <a:noFill/>
                        </a:ln>
                        <a:solidFill>
                          <a:srgbClr val="FF6600"/>
                        </a:solidFill>
                        <a:effectLst/>
                        <a:latin typeface="Arial" pitchFamily="34" charset="0"/>
                        <a:cs typeface="Arial" pitchFamily="34" charset="0"/>
                      </a:endParaRPr>
                    </a:p>
                  </a:txBody>
                  <a:tcPr marL="9527" marR="9527" marT="9531"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16365C"/>
                    </a:solidFill>
                  </a:tcPr>
                </a:tc>
                <a:tc>
                  <a:txBody>
                    <a:bodyPr/>
                    <a:lstStyle/>
                    <a:p>
                      <a:pPr algn="ctr" rtl="0" fontAlgn="ctr"/>
                      <a:r>
                        <a:rPr lang="fr-FR" sz="700" b="1" u="none" strike="noStrike" dirty="0">
                          <a:solidFill>
                            <a:schemeClr val="tx2"/>
                          </a:solidFill>
                          <a:effectLst/>
                        </a:rPr>
                        <a:t>FR0012355303</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6E6E6"/>
                    </a:solidFill>
                  </a:tcPr>
                </a:tc>
                <a:tc>
                  <a:txBody>
                    <a:bodyPr/>
                    <a:lstStyle/>
                    <a:p>
                      <a:pPr algn="ctr" rtl="0" fontAlgn="ctr"/>
                      <a:r>
                        <a:rPr lang="fr-FR" sz="700" b="1" u="none" strike="noStrike" dirty="0">
                          <a:solidFill>
                            <a:schemeClr val="tx2"/>
                          </a:solidFill>
                          <a:effectLst/>
                        </a:rPr>
                        <a:t>P EUR (C)</a:t>
                      </a:r>
                      <a:r>
                        <a:rPr lang="fr-FR" sz="700" b="1" u="none" strike="noStrike" baseline="30000" dirty="0">
                          <a:solidFill>
                            <a:schemeClr val="tx2"/>
                          </a:solidFill>
                          <a:effectLst/>
                        </a:rPr>
                        <a:t>4</a:t>
                      </a:r>
                      <a:endParaRPr lang="fr-FR" sz="700" b="1" i="0" u="none" strike="noStrike" baseline="30000"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6E6E6"/>
                    </a:solidFill>
                  </a:tcPr>
                </a:tc>
                <a:tc>
                  <a:txBody>
                    <a:bodyPr/>
                    <a:lstStyle/>
                    <a:p>
                      <a:pPr algn="ctr" rtl="0" fontAlgn="ctr"/>
                      <a:r>
                        <a:rPr lang="fr-FR" sz="700" b="1" u="none" strike="noStrike" dirty="0">
                          <a:solidFill>
                            <a:schemeClr val="tx2"/>
                          </a:solidFill>
                          <a:effectLst/>
                        </a:rPr>
                        <a:t>EUR</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6E6E6"/>
                    </a:solidFill>
                  </a:tcPr>
                </a:tc>
                <a:extLst>
                  <a:ext uri="{0D108BD9-81ED-4DB2-BD59-A6C34878D82A}">
                    <a16:rowId xmlns="" xmlns:a16="http://schemas.microsoft.com/office/drawing/2014/main" val="10004"/>
                  </a:ext>
                </a:extLst>
              </a:tr>
              <a:tr h="406973">
                <a:tc vMerge="1">
                  <a:txBody>
                    <a:body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US" altLang="fr-FR" sz="900" b="1" i="1" u="none" strike="noStrike" cap="none" normalizeH="0" baseline="0" dirty="0">
                        <a:ln>
                          <a:noFill/>
                        </a:ln>
                        <a:solidFill>
                          <a:srgbClr val="FF6600"/>
                        </a:solidFill>
                        <a:effectLst/>
                        <a:latin typeface="Arial" pitchFamily="34" charset="0"/>
                        <a:cs typeface="Arial" pitchFamily="34" charset="0"/>
                      </a:endParaRPr>
                    </a:p>
                  </a:txBody>
                  <a:tcPr marL="9527" marR="9527" marT="9531"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16365C"/>
                    </a:solidFill>
                  </a:tcPr>
                </a:tc>
                <a:tc>
                  <a:txBody>
                    <a:bodyPr/>
                    <a:lstStyle/>
                    <a:p>
                      <a:pPr algn="ctr" rtl="0" fontAlgn="ctr"/>
                      <a:r>
                        <a:rPr lang="fr-FR" sz="700" b="1" u="none" strike="noStrike" dirty="0">
                          <a:solidFill>
                            <a:schemeClr val="tx2"/>
                          </a:solidFill>
                          <a:effectLst/>
                        </a:rPr>
                        <a:t>FR0012355311</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tc>
                  <a:txBody>
                    <a:bodyPr/>
                    <a:lstStyle/>
                    <a:p>
                      <a:pPr algn="ctr" rtl="0" fontAlgn="ctr"/>
                      <a:r>
                        <a:rPr lang="fr-FR" sz="700" b="1" u="none" strike="noStrike" dirty="0">
                          <a:solidFill>
                            <a:schemeClr val="tx2"/>
                          </a:solidFill>
                          <a:effectLst/>
                        </a:rPr>
                        <a:t>R EUR (C)</a:t>
                      </a:r>
                      <a:r>
                        <a:rPr lang="fr-FR" sz="700" b="1" u="none" strike="noStrike" baseline="30000" dirty="0">
                          <a:solidFill>
                            <a:schemeClr val="tx2"/>
                          </a:solidFill>
                          <a:effectLst/>
                        </a:rPr>
                        <a:t>5</a:t>
                      </a:r>
                      <a:r>
                        <a:rPr lang="fr-FR" sz="700" b="1" u="none" strike="noStrike" dirty="0">
                          <a:solidFill>
                            <a:schemeClr val="tx2"/>
                          </a:solidFill>
                          <a:effectLst/>
                        </a:rPr>
                        <a:t> </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tc>
                  <a:txBody>
                    <a:bodyPr/>
                    <a:lstStyle/>
                    <a:p>
                      <a:pPr algn="ctr" rtl="0" fontAlgn="ctr"/>
                      <a:r>
                        <a:rPr lang="fr-FR" sz="700" b="1" u="none" strike="noStrike" dirty="0">
                          <a:solidFill>
                            <a:schemeClr val="tx2"/>
                          </a:solidFill>
                          <a:effectLst/>
                        </a:rPr>
                        <a:t>EUR</a:t>
                      </a:r>
                      <a:endParaRPr lang="fr-FR" sz="700" b="1" i="0" u="none" strike="noStrike" dirty="0">
                        <a:solidFill>
                          <a:schemeClr val="tx2"/>
                        </a:solidFill>
                        <a:effectLst/>
                        <a:latin typeface="Arial"/>
                      </a:endParaRPr>
                    </a:p>
                  </a:txBody>
                  <a:tcPr marL="8334" marR="8334" marT="8334"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F5F5"/>
                    </a:solidFill>
                  </a:tcPr>
                </a:tc>
                <a:extLst>
                  <a:ext uri="{0D108BD9-81ED-4DB2-BD59-A6C34878D82A}">
                    <a16:rowId xmlns="" xmlns:a16="http://schemas.microsoft.com/office/drawing/2014/main" val="10005"/>
                  </a:ext>
                </a:extLst>
              </a:tr>
            </a:tbl>
          </a:graphicData>
        </a:graphic>
      </p:graphicFrame>
      <p:sp>
        <p:nvSpPr>
          <p:cNvPr id="8" name="Espace réservé du numéro de diapositive 6"/>
          <p:cNvSpPr txBox="1">
            <a:spLocks/>
          </p:cNvSpPr>
          <p:nvPr/>
        </p:nvSpPr>
        <p:spPr>
          <a:xfrm>
            <a:off x="8136000" y="6230100"/>
            <a:ext cx="502920" cy="216000"/>
          </a:xfrm>
          <a:prstGeom prst="rect">
            <a:avLst/>
          </a:prstGeom>
        </p:spPr>
        <p:txBody>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C12E7156-0CA6-462A-9A46-AEFB5E440988}" type="slidenum">
              <a:rPr lang="en-US" sz="1200" b="1" smtClean="0">
                <a:solidFill>
                  <a:schemeClr val="tx2"/>
                </a:solidFill>
              </a:rPr>
              <a:pPr algn="r"/>
              <a:t>64</a:t>
            </a:fld>
            <a:endParaRPr lang="en-US" sz="1200" b="1" dirty="0">
              <a:solidFill>
                <a:schemeClr val="tx2"/>
              </a:solidFill>
            </a:endParaRPr>
          </a:p>
        </p:txBody>
      </p:sp>
      <p:sp>
        <p:nvSpPr>
          <p:cNvPr id="2" name="Espace réservé du pied de page 1"/>
          <p:cNvSpPr>
            <a:spLocks noGrp="1"/>
          </p:cNvSpPr>
          <p:nvPr>
            <p:ph type="ftr" sz="quarter" idx="11"/>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2817166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39999" y="698265"/>
            <a:ext cx="8604001" cy="387493"/>
          </a:xfrm>
        </p:spPr>
        <p:txBody>
          <a:bodyPr>
            <a:noAutofit/>
          </a:bodyPr>
          <a:lstStyle/>
          <a:p>
            <a:r>
              <a:rPr lang="en-US" dirty="0"/>
              <a:t>Multi factor investing generates steady outperformance</a:t>
            </a:r>
            <a:endParaRPr lang="fr-FR" dirty="0"/>
          </a:p>
        </p:txBody>
      </p:sp>
      <p:sp>
        <p:nvSpPr>
          <p:cNvPr id="4" name="Espace réservé du numéro de diapositive 3"/>
          <p:cNvSpPr>
            <a:spLocks noGrp="1"/>
          </p:cNvSpPr>
          <p:nvPr>
            <p:ph type="sldNum" sz="quarter" idx="12"/>
          </p:nvPr>
        </p:nvSpPr>
        <p:spPr/>
        <p:txBody>
          <a:bodyPr/>
          <a:lstStyle/>
          <a:p>
            <a:fld id="{2B1C6FFC-D040-034F-8B69-20295064E64D}" type="slidenum">
              <a:rPr lang="fr-FR" smtClean="0"/>
              <a:t>65</a:t>
            </a:fld>
            <a:endParaRPr lang="fr-FR" dirty="0"/>
          </a:p>
        </p:txBody>
      </p:sp>
      <p:graphicFrame>
        <p:nvGraphicFramePr>
          <p:cNvPr id="6" name="Chart 2"/>
          <p:cNvGraphicFramePr>
            <a:graphicFrameLocks/>
          </p:cNvGraphicFramePr>
          <p:nvPr>
            <p:extLst>
              <p:ext uri="{D42A27DB-BD31-4B8C-83A1-F6EECF244321}">
                <p14:modId xmlns:p14="http://schemas.microsoft.com/office/powerpoint/2010/main" val="2264071026"/>
              </p:ext>
            </p:extLst>
          </p:nvPr>
        </p:nvGraphicFramePr>
        <p:xfrm>
          <a:off x="504063" y="1281558"/>
          <a:ext cx="4006850" cy="246595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Table 14"/>
          <p:cNvGraphicFramePr>
            <a:graphicFrameLocks noGrp="1"/>
          </p:cNvGraphicFramePr>
          <p:nvPr>
            <p:extLst>
              <p:ext uri="{D42A27DB-BD31-4B8C-83A1-F6EECF244321}">
                <p14:modId xmlns:p14="http://schemas.microsoft.com/office/powerpoint/2010/main" val="1983799730"/>
              </p:ext>
            </p:extLst>
          </p:nvPr>
        </p:nvGraphicFramePr>
        <p:xfrm>
          <a:off x="543559" y="3646805"/>
          <a:ext cx="4301998" cy="2002877"/>
        </p:xfrm>
        <a:graphic>
          <a:graphicData uri="http://schemas.openxmlformats.org/drawingml/2006/table">
            <a:tbl>
              <a:tblPr/>
              <a:tblGrid>
                <a:gridCol w="1451488">
                  <a:extLst>
                    <a:ext uri="{9D8B030D-6E8A-4147-A177-3AD203B41FA5}">
                      <a16:colId xmlns="" xmlns:a16="http://schemas.microsoft.com/office/drawing/2014/main" val="20000"/>
                    </a:ext>
                  </a:extLst>
                </a:gridCol>
                <a:gridCol w="556874">
                  <a:extLst>
                    <a:ext uri="{9D8B030D-6E8A-4147-A177-3AD203B41FA5}">
                      <a16:colId xmlns="" xmlns:a16="http://schemas.microsoft.com/office/drawing/2014/main" val="20001"/>
                    </a:ext>
                  </a:extLst>
                </a:gridCol>
                <a:gridCol w="686086">
                  <a:extLst>
                    <a:ext uri="{9D8B030D-6E8A-4147-A177-3AD203B41FA5}">
                      <a16:colId xmlns="" xmlns:a16="http://schemas.microsoft.com/office/drawing/2014/main" val="20002"/>
                    </a:ext>
                  </a:extLst>
                </a:gridCol>
                <a:gridCol w="641824">
                  <a:extLst>
                    <a:ext uri="{9D8B030D-6E8A-4147-A177-3AD203B41FA5}">
                      <a16:colId xmlns="" xmlns:a16="http://schemas.microsoft.com/office/drawing/2014/main" val="20003"/>
                    </a:ext>
                  </a:extLst>
                </a:gridCol>
                <a:gridCol w="965726">
                  <a:extLst>
                    <a:ext uri="{9D8B030D-6E8A-4147-A177-3AD203B41FA5}">
                      <a16:colId xmlns="" xmlns:a16="http://schemas.microsoft.com/office/drawing/2014/main" val="20005"/>
                    </a:ext>
                  </a:extLst>
                </a:gridCol>
              </a:tblGrid>
              <a:tr h="433039">
                <a:tc>
                  <a:txBody>
                    <a:bodyPr/>
                    <a:lstStyle/>
                    <a:p>
                      <a:pPr algn="l" rtl="0" fontAlgn="ctr"/>
                      <a:r>
                        <a:rPr lang="en-US" sz="800" b="1" i="0" u="none" strike="noStrike" dirty="0" smtClean="0">
                          <a:solidFill>
                            <a:srgbClr val="FFFFFF"/>
                          </a:solidFill>
                          <a:effectLst/>
                          <a:latin typeface="+mn-lt"/>
                        </a:rPr>
                        <a:t>Gross annualized </a:t>
                      </a:r>
                      <a:r>
                        <a:rPr lang="en-US" sz="800" b="1" i="0" u="none" strike="noStrike" dirty="0" smtClean="0">
                          <a:solidFill>
                            <a:schemeClr val="bg1"/>
                          </a:solidFill>
                          <a:effectLst/>
                          <a:latin typeface="Arial"/>
                        </a:rPr>
                        <a:t>in</a:t>
                      </a:r>
                      <a:r>
                        <a:rPr lang="en-US" sz="800" b="1" i="0" u="none" strike="noStrike" dirty="0">
                          <a:solidFill>
                            <a:schemeClr val="bg1"/>
                          </a:solidFill>
                          <a:effectLst/>
                          <a:latin typeface="Arial"/>
                        </a:rPr>
                        <a:t/>
                      </a:r>
                      <a:br>
                        <a:rPr lang="en-US" sz="800" b="1" i="0" u="none" strike="noStrike" dirty="0">
                          <a:solidFill>
                            <a:schemeClr val="bg1"/>
                          </a:solidFill>
                          <a:effectLst/>
                          <a:latin typeface="Arial"/>
                        </a:rPr>
                      </a:br>
                      <a:r>
                        <a:rPr lang="en-US" sz="800" b="1" i="0" u="none" strike="noStrike" dirty="0">
                          <a:solidFill>
                            <a:schemeClr val="bg1"/>
                          </a:solidFill>
                          <a:effectLst/>
                          <a:latin typeface="Arial"/>
                        </a:rPr>
                        <a:t>USD as of</a:t>
                      </a:r>
                      <a:r>
                        <a:rPr lang="en-US" sz="800" b="1" i="0" u="none" strike="noStrike" baseline="0" dirty="0">
                          <a:solidFill>
                            <a:schemeClr val="bg1"/>
                          </a:solidFill>
                          <a:effectLst/>
                          <a:latin typeface="Arial"/>
                        </a:rPr>
                        <a:t> </a:t>
                      </a:r>
                      <a:r>
                        <a:rPr lang="en-US" sz="800" b="1" i="0" u="none" strike="noStrike" baseline="0" dirty="0" smtClean="0">
                          <a:solidFill>
                            <a:schemeClr val="bg1"/>
                          </a:solidFill>
                          <a:effectLst/>
                          <a:latin typeface="Arial"/>
                        </a:rPr>
                        <a:t>31</a:t>
                      </a:r>
                      <a:r>
                        <a:rPr lang="en-US" sz="800" b="1" i="0" u="none" strike="noStrike" dirty="0" smtClean="0">
                          <a:solidFill>
                            <a:schemeClr val="bg1"/>
                          </a:solidFill>
                          <a:effectLst/>
                          <a:latin typeface="Arial"/>
                        </a:rPr>
                        <a:t>/01/2018</a:t>
                      </a:r>
                      <a:endParaRPr lang="en-US" sz="800" b="1" i="0" u="none" strike="noStrike" dirty="0">
                        <a:solidFill>
                          <a:schemeClr val="bg1"/>
                        </a:solidFill>
                        <a:effectLst/>
                        <a:latin typeface="Arial"/>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800" b="1" i="0" u="none" strike="noStrike" dirty="0" smtClean="0">
                          <a:solidFill>
                            <a:schemeClr val="bg1"/>
                          </a:solidFill>
                          <a:effectLst/>
                          <a:latin typeface="Arial"/>
                        </a:rPr>
                        <a:t>YTD</a:t>
                      </a:r>
                      <a:endParaRPr lang="en-US" sz="800" b="1" i="0" u="none" strike="noStrike" dirty="0">
                        <a:solidFill>
                          <a:schemeClr val="bg1"/>
                        </a:solidFill>
                        <a:effectLst/>
                        <a:latin typeface="Arial"/>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chemeClr val="bg1"/>
                          </a:solidFill>
                          <a:effectLst/>
                          <a:latin typeface="Arial"/>
                        </a:rPr>
                        <a:t>1 year</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chemeClr val="bg1"/>
                          </a:solidFill>
                          <a:effectLst/>
                          <a:latin typeface="Arial"/>
                        </a:rPr>
                        <a:t>3 yea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US" sz="800" b="1" i="0" u="none" strike="noStrike" dirty="0" smtClean="0">
                          <a:solidFill>
                            <a:schemeClr val="bg1"/>
                          </a:solidFill>
                          <a:effectLst/>
                          <a:latin typeface="Arial"/>
                        </a:rPr>
                        <a:t>Since </a:t>
                      </a:r>
                      <a:r>
                        <a:rPr lang="en-US" sz="800" b="1" i="0" u="none" strike="noStrike" dirty="0">
                          <a:solidFill>
                            <a:schemeClr val="bg1"/>
                          </a:solidFill>
                          <a:effectLst/>
                          <a:latin typeface="Arial"/>
                        </a:rPr>
                        <a:t>inception </a:t>
                      </a:r>
                      <a:r>
                        <a:rPr lang="en-US" sz="800" b="1" i="0" u="none" strike="noStrike" dirty="0" smtClean="0">
                          <a:solidFill>
                            <a:schemeClr val="bg1"/>
                          </a:solidFill>
                          <a:effectLst/>
                          <a:latin typeface="Arial"/>
                        </a:rPr>
                        <a:t>(27/05/2014)</a:t>
                      </a:r>
                      <a:endParaRPr lang="en-US" sz="800" b="1" i="0" u="none" strike="noStrike" dirty="0">
                        <a:solidFill>
                          <a:schemeClr val="bg1"/>
                        </a:solidFill>
                        <a:effectLst/>
                        <a:latin typeface="Arial"/>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0"/>
                  </a:ext>
                </a:extLst>
              </a:tr>
              <a:tr h="153172">
                <a:tc>
                  <a:txBody>
                    <a:bodyPr/>
                    <a:lstStyle/>
                    <a:p>
                      <a:pPr algn="l" fontAlgn="ctr"/>
                      <a:r>
                        <a:rPr lang="en-US" sz="800" b="0" i="0" u="none" strike="noStrike" dirty="0">
                          <a:solidFill>
                            <a:schemeClr val="tx1"/>
                          </a:solidFill>
                          <a:effectLst/>
                          <a:latin typeface="Arial"/>
                        </a:rPr>
                        <a:t>Portfolio</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ctr"/>
                      <a:r>
                        <a:rPr lang="en-US" sz="800" b="0" i="0" u="none" strike="noStrike" kern="1200" dirty="0">
                          <a:solidFill>
                            <a:srgbClr val="003C64"/>
                          </a:solidFill>
                          <a:effectLst/>
                          <a:latin typeface="Arial"/>
                          <a:ea typeface="+mn-ea"/>
                          <a:cs typeface="+mn-cs"/>
                        </a:rPr>
                        <a:t>4.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ctr"/>
                      <a:r>
                        <a:rPr lang="en-US" sz="800" b="0" i="0" u="none" strike="noStrike" kern="1200" dirty="0">
                          <a:solidFill>
                            <a:srgbClr val="003C64"/>
                          </a:solidFill>
                          <a:effectLst/>
                          <a:latin typeface="Arial"/>
                          <a:ea typeface="+mn-ea"/>
                          <a:cs typeface="+mn-cs"/>
                        </a:rPr>
                        <a:t>23.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ctr"/>
                      <a:r>
                        <a:rPr lang="en-US" sz="800" b="0" i="0" u="none" strike="noStrike" kern="1200" dirty="0">
                          <a:solidFill>
                            <a:srgbClr val="003C64"/>
                          </a:solidFill>
                          <a:effectLst/>
                          <a:latin typeface="Arial"/>
                          <a:ea typeface="+mn-ea"/>
                          <a:cs typeface="+mn-cs"/>
                        </a:rPr>
                        <a:t>1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9.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1"/>
                  </a:ext>
                </a:extLst>
              </a:tr>
              <a:tr h="153172">
                <a:tc>
                  <a:txBody>
                    <a:bodyPr/>
                    <a:lstStyle/>
                    <a:p>
                      <a:pPr algn="l" fontAlgn="ctr"/>
                      <a:r>
                        <a:rPr lang="en-US" sz="800" b="0" i="0" u="none" strike="noStrike" dirty="0" smtClean="0">
                          <a:solidFill>
                            <a:schemeClr val="tx1"/>
                          </a:solidFill>
                          <a:effectLst/>
                          <a:latin typeface="Arial"/>
                        </a:rPr>
                        <a:t>MSCI World</a:t>
                      </a:r>
                      <a:endParaRPr lang="en-US" sz="800" b="0" i="0" u="none" strike="noStrike" dirty="0">
                        <a:solidFill>
                          <a:schemeClr val="tx1"/>
                        </a:solidFill>
                        <a:effectLst/>
                        <a:latin typeface="Arial"/>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ctr"/>
                      <a:r>
                        <a:rPr lang="en-US" sz="800" b="0" i="0" u="none" strike="noStrike" kern="1200">
                          <a:solidFill>
                            <a:srgbClr val="003C64"/>
                          </a:solidFill>
                          <a:effectLst/>
                          <a:latin typeface="Arial"/>
                          <a:ea typeface="+mn-ea"/>
                          <a:cs typeface="+mn-cs"/>
                        </a:rPr>
                        <a:t>5.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ctr"/>
                      <a:r>
                        <a:rPr lang="en-US" sz="800" b="0" i="0" u="none" strike="noStrike" kern="1200" dirty="0">
                          <a:solidFill>
                            <a:srgbClr val="003C64"/>
                          </a:solidFill>
                          <a:effectLst/>
                          <a:latin typeface="Arial"/>
                          <a:ea typeface="+mn-ea"/>
                          <a:cs typeface="+mn-cs"/>
                        </a:rPr>
                        <a:t>25.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ctr"/>
                      <a:r>
                        <a:rPr lang="en-US" sz="800" b="0" i="0" u="none" strike="noStrike" kern="1200" dirty="0">
                          <a:solidFill>
                            <a:srgbClr val="003C64"/>
                          </a:solidFill>
                          <a:effectLst/>
                          <a:latin typeface="Arial"/>
                          <a:ea typeface="+mn-ea"/>
                          <a:cs typeface="+mn-cs"/>
                        </a:rPr>
                        <a:t>1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9.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2"/>
                  </a:ext>
                </a:extLst>
              </a:tr>
              <a:tr h="153172">
                <a:tc>
                  <a:txBody>
                    <a:bodyPr/>
                    <a:lstStyle/>
                    <a:p>
                      <a:pPr algn="l" fontAlgn="ctr"/>
                      <a:r>
                        <a:rPr lang="en-US" sz="800" b="0" i="0" u="none" strike="noStrike" dirty="0">
                          <a:solidFill>
                            <a:schemeClr val="tx1"/>
                          </a:solidFill>
                          <a:effectLst/>
                          <a:latin typeface="Arial"/>
                        </a:rPr>
                        <a:t>Excess Return </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ctr"/>
                      <a:r>
                        <a:rPr lang="en-US" sz="800" b="0" i="0" u="none" strike="noStrike" kern="1200">
                          <a:solidFill>
                            <a:srgbClr val="003C64"/>
                          </a:solidFill>
                          <a:effectLst/>
                          <a:latin typeface="Arial"/>
                          <a:ea typeface="+mn-ea"/>
                          <a:cs typeface="+mn-cs"/>
                        </a:rPr>
                        <a:t>-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ctr"/>
                      <a:r>
                        <a:rPr lang="en-US" sz="800" b="0" i="0" u="none" strike="noStrike" kern="1200">
                          <a:solidFill>
                            <a:srgbClr val="003C64"/>
                          </a:solidFill>
                          <a:effectLst/>
                          <a:latin typeface="Arial"/>
                          <a:ea typeface="+mn-ea"/>
                          <a:cs typeface="+mn-cs"/>
                        </a:rPr>
                        <a:t>-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algn="ctr" fontAlgn="ctr"/>
                      <a:r>
                        <a:rPr lang="en-US" sz="800" b="0" i="0" u="none" strike="noStrike" kern="1200" dirty="0">
                          <a:solidFill>
                            <a:srgbClr val="003C64"/>
                          </a:solidFill>
                          <a:effectLst/>
                          <a:latin typeface="Arial"/>
                          <a:ea typeface="+mn-ea"/>
                          <a:cs typeface="+mn-cs"/>
                        </a:rPr>
                        <a:t>-0.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3"/>
                  </a:ext>
                </a:extLst>
              </a:tr>
              <a:tr h="153172">
                <a:tc>
                  <a:txBody>
                    <a:bodyPr/>
                    <a:lstStyle/>
                    <a:p>
                      <a:pPr algn="l" rtl="0" fontAlgn="ctr"/>
                      <a:r>
                        <a:rPr lang="en-US" sz="800" b="1" i="0" u="none" strike="noStrike" dirty="0">
                          <a:solidFill>
                            <a:schemeClr val="bg1"/>
                          </a:solidFill>
                          <a:effectLst/>
                          <a:latin typeface="Arial"/>
                        </a:rPr>
                        <a:t>Risk Indicato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US" sz="800" b="1" i="0" u="none" strike="noStrike" dirty="0" smtClean="0">
                          <a:solidFill>
                            <a:schemeClr val="bg1"/>
                          </a:solidFill>
                          <a:effectLst/>
                          <a:latin typeface="Arial"/>
                        </a:rPr>
                        <a:t>YTD</a:t>
                      </a:r>
                      <a:endParaRPr lang="en-US" sz="800" b="1" i="0" u="none" strike="noStrike" dirty="0">
                        <a:solidFill>
                          <a:schemeClr val="bg1"/>
                        </a:solidFill>
                        <a:effectLst/>
                        <a:latin typeface="Arial"/>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chemeClr val="bg1"/>
                          </a:solidFill>
                          <a:effectLst/>
                          <a:latin typeface="Arial"/>
                        </a:rPr>
                        <a:t>1 year</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800" b="1" i="0" u="none" strike="noStrike" dirty="0">
                          <a:solidFill>
                            <a:schemeClr val="bg1"/>
                          </a:solidFill>
                          <a:effectLst/>
                          <a:latin typeface="Arial"/>
                        </a:rPr>
                        <a:t>3 years</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US" sz="800" b="1" i="0" u="none" strike="noStrike" dirty="0" smtClean="0">
                          <a:solidFill>
                            <a:schemeClr val="bg1"/>
                          </a:solidFill>
                          <a:effectLst/>
                          <a:latin typeface="+mn-lt"/>
                        </a:rPr>
                        <a:t>Since inception </a:t>
                      </a:r>
                      <a:r>
                        <a:rPr lang="en-US" sz="800" b="1" i="0" u="none" strike="noStrike" dirty="0">
                          <a:solidFill>
                            <a:schemeClr val="bg1"/>
                          </a:solidFill>
                          <a:effectLst/>
                          <a:latin typeface="Arial"/>
                        </a:rPr>
                        <a:t> </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4"/>
                  </a:ext>
                </a:extLst>
              </a:tr>
              <a:tr h="153172">
                <a:tc>
                  <a:txBody>
                    <a:bodyPr/>
                    <a:lstStyle/>
                    <a:p>
                      <a:pPr algn="l" rtl="0" fontAlgn="ctr"/>
                      <a:r>
                        <a:rPr lang="en-US" sz="800" b="0" i="0" u="none" strike="noStrike" dirty="0">
                          <a:solidFill>
                            <a:schemeClr val="tx1"/>
                          </a:solidFill>
                          <a:effectLst/>
                          <a:latin typeface="Arial"/>
                        </a:rPr>
                        <a:t>Portfolio Volatility</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4.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4.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9.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9.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5"/>
                  </a:ext>
                </a:extLst>
              </a:tr>
              <a:tr h="180203">
                <a:tc>
                  <a:txBody>
                    <a:bodyPr/>
                    <a:lstStyle/>
                    <a:p>
                      <a:pPr algn="l" rtl="0" fontAlgn="ctr"/>
                      <a:r>
                        <a:rPr lang="en-US" sz="800" b="0" i="0" u="none" strike="noStrike" dirty="0" smtClean="0">
                          <a:solidFill>
                            <a:schemeClr val="tx1"/>
                          </a:solidFill>
                          <a:effectLst/>
                          <a:latin typeface="Arial"/>
                        </a:rPr>
                        <a:t>MSCI World </a:t>
                      </a:r>
                      <a:r>
                        <a:rPr lang="en-US" sz="800" b="0" i="0" u="none" strike="noStrike" dirty="0">
                          <a:solidFill>
                            <a:schemeClr val="tx1"/>
                          </a:solidFill>
                          <a:effectLst/>
                          <a:latin typeface="Arial"/>
                        </a:rPr>
                        <a:t>Volatility</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6.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5.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6"/>
                  </a:ext>
                </a:extLst>
              </a:tr>
              <a:tr h="153172">
                <a:tc>
                  <a:txBody>
                    <a:bodyPr/>
                    <a:lstStyle/>
                    <a:p>
                      <a:pPr algn="l" rtl="0" fontAlgn="ctr"/>
                      <a:r>
                        <a:rPr lang="en-US" sz="800" b="0" i="0" u="none" strike="noStrike" dirty="0">
                          <a:solidFill>
                            <a:schemeClr val="tx1"/>
                          </a:solidFill>
                          <a:effectLst/>
                          <a:latin typeface="Arial"/>
                        </a:rPr>
                        <a:t>Portfolio Max drawdown </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5.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5.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8"/>
                  </a:ext>
                </a:extLst>
              </a:tr>
              <a:tr h="153172">
                <a:tc>
                  <a:txBody>
                    <a:bodyPr/>
                    <a:lstStyle/>
                    <a:p>
                      <a:pPr algn="l" rtl="0" fontAlgn="ctr"/>
                      <a:r>
                        <a:rPr lang="en-US" sz="800" b="0" i="0" u="none" strike="noStrike" dirty="0" smtClean="0">
                          <a:solidFill>
                            <a:schemeClr val="tx1"/>
                          </a:solidFill>
                          <a:effectLst/>
                          <a:latin typeface="Arial"/>
                        </a:rPr>
                        <a:t>MSCI World </a:t>
                      </a:r>
                      <a:r>
                        <a:rPr lang="en-US" sz="800" b="0" i="0" u="none" strike="noStrike" dirty="0">
                          <a:solidFill>
                            <a:schemeClr val="tx1"/>
                          </a:solidFill>
                          <a:effectLst/>
                          <a:latin typeface="Arial"/>
                        </a:rPr>
                        <a:t>Max drawdown</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9"/>
                  </a:ext>
                </a:extLst>
              </a:tr>
              <a:tr h="150878">
                <a:tc>
                  <a:txBody>
                    <a:bodyPr/>
                    <a:lstStyle/>
                    <a:p>
                      <a:pPr algn="l" rtl="0" fontAlgn="ctr"/>
                      <a:r>
                        <a:rPr lang="en-US" sz="800" b="0" i="0" u="none" strike="noStrike" dirty="0">
                          <a:solidFill>
                            <a:schemeClr val="tx1"/>
                          </a:solidFill>
                          <a:effectLst/>
                          <a:latin typeface="Arial"/>
                        </a:rPr>
                        <a:t>Portfolio Return to Risk</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5.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10"/>
                  </a:ext>
                </a:extLst>
              </a:tr>
              <a:tr h="166553">
                <a:tc>
                  <a:txBody>
                    <a:bodyPr/>
                    <a:lstStyle/>
                    <a:p>
                      <a:pPr algn="l" rtl="0" fontAlgn="ctr"/>
                      <a:r>
                        <a:rPr lang="en-US" sz="800" b="0" i="0" u="none" strike="noStrike" dirty="0" smtClean="0">
                          <a:solidFill>
                            <a:schemeClr val="tx1"/>
                          </a:solidFill>
                          <a:effectLst/>
                          <a:latin typeface="Arial"/>
                        </a:rPr>
                        <a:t>MSCI World </a:t>
                      </a:r>
                      <a:r>
                        <a:rPr lang="en-US" sz="800" b="0" i="0" u="none" strike="noStrike" dirty="0">
                          <a:solidFill>
                            <a:schemeClr val="tx1"/>
                          </a:solidFill>
                          <a:effectLst/>
                          <a:latin typeface="Arial"/>
                        </a:rPr>
                        <a:t>Return to Risk</a:t>
                      </a: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0.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a:solidFill>
                            <a:srgbClr val="003C64"/>
                          </a:solidFill>
                          <a:effectLst/>
                          <a:latin typeface="Arial"/>
                          <a:ea typeface="+mn-ea"/>
                          <a:cs typeface="+mn-cs"/>
                        </a:rPr>
                        <a:t>4.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algn="ctr" defTabSz="914400" rtl="0" eaLnBrk="1" fontAlgn="ctr" latinLnBrk="0" hangingPunct="1"/>
                      <a:r>
                        <a:rPr lang="en-US" sz="800" b="0" i="0" u="none" strike="noStrike" kern="1200" dirty="0">
                          <a:solidFill>
                            <a:srgbClr val="003C64"/>
                          </a:solidFill>
                          <a:effectLst/>
                          <a:latin typeface="Arial"/>
                          <a:ea typeface="+mn-ea"/>
                          <a:cs typeface="+mn-cs"/>
                        </a:rPr>
                        <a:t>0.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11"/>
                  </a:ext>
                </a:extLst>
              </a:tr>
            </a:tbl>
          </a:graphicData>
        </a:graphic>
      </p:graphicFrame>
      <p:graphicFrame>
        <p:nvGraphicFramePr>
          <p:cNvPr id="12" name="Tableau 11"/>
          <p:cNvGraphicFramePr>
            <a:graphicFrameLocks noGrp="1"/>
          </p:cNvGraphicFramePr>
          <p:nvPr>
            <p:extLst>
              <p:ext uri="{D42A27DB-BD31-4B8C-83A1-F6EECF244321}">
                <p14:modId xmlns:p14="http://schemas.microsoft.com/office/powerpoint/2010/main" val="4272726169"/>
              </p:ext>
            </p:extLst>
          </p:nvPr>
        </p:nvGraphicFramePr>
        <p:xfrm>
          <a:off x="5011167" y="3646805"/>
          <a:ext cx="2379599" cy="381635"/>
        </p:xfrm>
        <a:graphic>
          <a:graphicData uri="http://schemas.openxmlformats.org/drawingml/2006/table">
            <a:tbl>
              <a:tblPr/>
              <a:tblGrid>
                <a:gridCol w="1544541">
                  <a:extLst>
                    <a:ext uri="{9D8B030D-6E8A-4147-A177-3AD203B41FA5}">
                      <a16:colId xmlns="" xmlns:a16="http://schemas.microsoft.com/office/drawing/2014/main" val="20000"/>
                    </a:ext>
                  </a:extLst>
                </a:gridCol>
                <a:gridCol w="835058">
                  <a:extLst>
                    <a:ext uri="{9D8B030D-6E8A-4147-A177-3AD203B41FA5}">
                      <a16:colId xmlns="" xmlns:a16="http://schemas.microsoft.com/office/drawing/2014/main" val="20001"/>
                    </a:ext>
                  </a:extLst>
                </a:gridCol>
              </a:tblGrid>
              <a:tr h="381635">
                <a:tc>
                  <a:txBody>
                    <a:bodyPr/>
                    <a:lstStyle/>
                    <a:p>
                      <a:pPr algn="ctr" fontAlgn="ctr"/>
                      <a:r>
                        <a:rPr lang="en-US" sz="800" b="1" i="0" u="none" strike="noStrike" dirty="0" err="1">
                          <a:solidFill>
                            <a:schemeClr val="bg1"/>
                          </a:solidFill>
                          <a:effectLst/>
                          <a:latin typeface="+mn-lt"/>
                        </a:rPr>
                        <a:t>AuM</a:t>
                      </a:r>
                      <a:r>
                        <a:rPr lang="en-US" sz="800" b="1" i="0" u="none" strike="noStrike" dirty="0">
                          <a:solidFill>
                            <a:schemeClr val="bg1"/>
                          </a:solidFill>
                          <a:effectLst/>
                          <a:latin typeface="+mn-lt"/>
                        </a:rPr>
                        <a:t> (€M)</a:t>
                      </a:r>
                      <a:endParaRPr lang="en-US" sz="800" b="1" i="0" u="none" strike="noStrike" dirty="0">
                        <a:solidFill>
                          <a:schemeClr val="bg1"/>
                        </a:solidFill>
                        <a:effectLst/>
                        <a:latin typeface="Arial"/>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800" b="0" i="0" u="none" strike="noStrike" kern="1200" dirty="0" smtClean="0">
                          <a:solidFill>
                            <a:schemeClr val="tx1"/>
                          </a:solidFill>
                          <a:effectLst/>
                          <a:latin typeface="Arial"/>
                          <a:ea typeface="+mn-ea"/>
                          <a:cs typeface="+mn-cs"/>
                        </a:rPr>
                        <a:t>527</a:t>
                      </a:r>
                      <a:endParaRPr lang="en-US" sz="800" b="0" i="0" u="none" strike="noStrike" kern="1200" dirty="0">
                        <a:solidFill>
                          <a:schemeClr val="tx1"/>
                        </a:solidFill>
                        <a:effectLst/>
                        <a:latin typeface="Arial"/>
                        <a:ea typeface="+mn-ea"/>
                        <a:cs typeface="+mn-cs"/>
                      </a:endParaRPr>
                    </a:p>
                  </a:txBody>
                  <a:tcPr marL="8531" marR="8531" marT="853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 xmlns:a16="http://schemas.microsoft.com/office/drawing/2014/main" val="10000"/>
                  </a:ext>
                </a:extLst>
              </a:tr>
            </a:tbl>
          </a:graphicData>
        </a:graphic>
      </p:graphicFrame>
      <p:sp>
        <p:nvSpPr>
          <p:cNvPr id="14" name="Rectangle 13"/>
          <p:cNvSpPr/>
          <p:nvPr/>
        </p:nvSpPr>
        <p:spPr>
          <a:xfrm>
            <a:off x="543559" y="5770497"/>
            <a:ext cx="7860212" cy="387798"/>
          </a:xfrm>
          <a:prstGeom prst="rect">
            <a:avLst/>
          </a:prstGeom>
        </p:spPr>
        <p:txBody>
          <a:bodyPr wrap="square">
            <a:spAutoFit/>
          </a:bodyPr>
          <a:lstStyle/>
          <a:p>
            <a:pPr marL="3175" marR="0" lvl="0" indent="-3175" defTabSz="914400" eaLnBrk="0" fontAlgn="base" latinLnBrk="0" hangingPunct="0">
              <a:lnSpc>
                <a:spcPct val="90000"/>
              </a:lnSpc>
              <a:spcBef>
                <a:spcPct val="0"/>
              </a:spcBef>
              <a:spcAft>
                <a:spcPct val="60000"/>
              </a:spcAft>
              <a:buClrTx/>
              <a:buSzTx/>
              <a:buFontTx/>
              <a:buNone/>
              <a:tabLst/>
              <a:defRPr/>
            </a:pPr>
            <a:r>
              <a:rPr kumimoji="0" lang="en-US" sz="800" b="1" i="0" u="none" strike="noStrike" kern="0" cap="none" spc="0" normalizeH="0" baseline="0" noProof="0" dirty="0" smtClean="0">
                <a:ln>
                  <a:noFill/>
                </a:ln>
                <a:solidFill>
                  <a:srgbClr val="FFFFFF">
                    <a:lumMod val="50000"/>
                  </a:srgbClr>
                </a:solidFill>
                <a:effectLst/>
                <a:uLnTx/>
                <a:uFillTx/>
              </a:rPr>
              <a:t>Source: Scientific Beta, Amundi, Data from May 2014 to </a:t>
            </a:r>
            <a:r>
              <a:rPr lang="en-US" sz="800" b="1" kern="0" dirty="0" smtClean="0">
                <a:solidFill>
                  <a:srgbClr val="FFFFFF">
                    <a:lumMod val="50000"/>
                  </a:srgbClr>
                </a:solidFill>
              </a:rPr>
              <a:t>January </a:t>
            </a:r>
            <a:r>
              <a:rPr kumimoji="0" lang="en-US" sz="800" b="1" i="0" u="none" strike="noStrike" kern="0" cap="none" spc="0" normalizeH="0" baseline="0" noProof="0" dirty="0" smtClean="0">
                <a:ln>
                  <a:noFill/>
                </a:ln>
                <a:solidFill>
                  <a:srgbClr val="FFFFFF">
                    <a:lumMod val="50000"/>
                  </a:srgbClr>
                </a:solidFill>
                <a:effectLst/>
                <a:uLnTx/>
                <a:uFillTx/>
              </a:rPr>
              <a:t>2018 – in USD</a:t>
            </a:r>
          </a:p>
          <a:p>
            <a:pPr marL="3175" marR="0" lvl="0" indent="-3175" defTabSz="914400" eaLnBrk="0" fontAlgn="base" latinLnBrk="0" hangingPunct="0">
              <a:lnSpc>
                <a:spcPct val="90000"/>
              </a:lnSpc>
              <a:spcBef>
                <a:spcPct val="0"/>
              </a:spcBef>
              <a:spcAft>
                <a:spcPct val="60000"/>
              </a:spcAft>
              <a:buClrTx/>
              <a:buSzTx/>
              <a:buFontTx/>
              <a:buNone/>
              <a:tabLst/>
              <a:defRPr/>
            </a:pPr>
            <a:r>
              <a:rPr kumimoji="0" lang="en-US" sz="800" b="1" i="0" u="none" strike="noStrike" kern="0" cap="none" spc="0" normalizeH="0" baseline="0" noProof="0" dirty="0" smtClean="0">
                <a:ln>
                  <a:noFill/>
                </a:ln>
                <a:solidFill>
                  <a:srgbClr val="FFFFFF">
                    <a:lumMod val="50000"/>
                  </a:srgbClr>
                </a:solidFill>
                <a:effectLst/>
                <a:uLnTx/>
                <a:uFillTx/>
              </a:rPr>
              <a:t>Investors are reminded that the past performance cannot be regarded as a reliable indicator of future results, nor can they guarantee expected return</a:t>
            </a:r>
            <a:endParaRPr kumimoji="0" lang="en-US" sz="800" b="1" i="0" u="none" strike="noStrike" kern="0" cap="none" spc="0" normalizeH="0" baseline="0" noProof="0" dirty="0">
              <a:ln>
                <a:noFill/>
              </a:ln>
              <a:solidFill>
                <a:srgbClr val="767A7E"/>
              </a:solidFill>
              <a:effectLst/>
              <a:uLnTx/>
              <a:uFillTx/>
            </a:endParaRPr>
          </a:p>
        </p:txBody>
      </p:sp>
      <p:sp>
        <p:nvSpPr>
          <p:cNvPr id="10"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graphicFrame>
        <p:nvGraphicFramePr>
          <p:cNvPr id="13" name="Chart 8"/>
          <p:cNvGraphicFramePr>
            <a:graphicFrameLocks/>
          </p:cNvGraphicFramePr>
          <p:nvPr>
            <p:extLst>
              <p:ext uri="{D42A27DB-BD31-4B8C-83A1-F6EECF244321}">
                <p14:modId xmlns:p14="http://schemas.microsoft.com/office/powerpoint/2010/main" val="2430017572"/>
              </p:ext>
            </p:extLst>
          </p:nvPr>
        </p:nvGraphicFramePr>
        <p:xfrm>
          <a:off x="4712463" y="1342771"/>
          <a:ext cx="3891661" cy="212394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6499774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835B2E13-B69D-49E3-A65C-CB70CCFBC17D}"/>
              </a:ext>
            </a:extLst>
          </p:cNvPr>
          <p:cNvSpPr/>
          <p:nvPr/>
        </p:nvSpPr>
        <p:spPr>
          <a:xfrm>
            <a:off x="503238" y="1341438"/>
            <a:ext cx="8100760" cy="258238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2" name="Titre 1"/>
          <p:cNvSpPr>
            <a:spLocks noGrp="1"/>
          </p:cNvSpPr>
          <p:nvPr>
            <p:ph type="title"/>
          </p:nvPr>
        </p:nvSpPr>
        <p:spPr/>
        <p:txBody>
          <a:bodyPr/>
          <a:lstStyle/>
          <a:p>
            <a:r>
              <a:rPr lang="fr-FR"/>
              <a:t>AMUNDI ETF  &amp; INDEXING FUNDS MAIN RISKS</a:t>
            </a:r>
            <a:endParaRPr lang="fr-FR" dirty="0"/>
          </a:p>
        </p:txBody>
      </p:sp>
      <p:sp>
        <p:nvSpPr>
          <p:cNvPr id="16" name="Espace réservé du contenu 15">
            <a:extLst>
              <a:ext uri="{FF2B5EF4-FFF2-40B4-BE49-F238E27FC236}">
                <a16:creationId xmlns="" xmlns:a16="http://schemas.microsoft.com/office/drawing/2014/main" id="{3B3A762F-B5BF-40FA-805D-262FB90A2325}"/>
              </a:ext>
            </a:extLst>
          </p:cNvPr>
          <p:cNvSpPr>
            <a:spLocks noGrp="1"/>
          </p:cNvSpPr>
          <p:nvPr>
            <p:ph idx="1"/>
          </p:nvPr>
        </p:nvSpPr>
        <p:spPr>
          <a:xfrm>
            <a:off x="540000" y="1444718"/>
            <a:ext cx="8063998" cy="2457263"/>
          </a:xfrm>
        </p:spPr>
        <p:txBody>
          <a:bodyPr/>
          <a:lstStyle/>
          <a:p>
            <a:pPr marL="6350" indent="0" algn="ctr">
              <a:buNone/>
            </a:pPr>
            <a:r>
              <a:rPr lang="en-US" sz="1400" dirty="0">
                <a:solidFill>
                  <a:schemeClr val="tx1"/>
                </a:solidFill>
              </a:rPr>
              <a:t>Risk associated with the markets to which the ETF is exposed. The price and value of investments </a:t>
            </a:r>
            <a:br>
              <a:rPr lang="en-US" sz="1400" dirty="0">
                <a:solidFill>
                  <a:schemeClr val="tx1"/>
                </a:solidFill>
              </a:rPr>
            </a:br>
            <a:r>
              <a:rPr lang="en-US" sz="1400" dirty="0">
                <a:solidFill>
                  <a:schemeClr val="tx1"/>
                </a:solidFill>
              </a:rPr>
              <a:t>are linked to the liquidity risk of the components. Investments can go up as well as down.</a:t>
            </a:r>
            <a:br>
              <a:rPr lang="en-US" sz="1400" dirty="0">
                <a:solidFill>
                  <a:schemeClr val="tx1"/>
                </a:solidFill>
              </a:rPr>
            </a:br>
            <a:r>
              <a:rPr lang="en-US" sz="1400" dirty="0">
                <a:solidFill>
                  <a:schemeClr val="tx1"/>
                </a:solidFill>
              </a:rPr>
              <a:t>Risk associated with the markets to which the ETF is exposed. The price and value of investments </a:t>
            </a:r>
            <a:br>
              <a:rPr lang="en-US" sz="1400" dirty="0">
                <a:solidFill>
                  <a:schemeClr val="tx1"/>
                </a:solidFill>
              </a:rPr>
            </a:br>
            <a:r>
              <a:rPr lang="en-US" sz="1400" dirty="0">
                <a:solidFill>
                  <a:schemeClr val="tx1"/>
                </a:solidFill>
              </a:rPr>
              <a:t>are linked to the liquidity risk of the components. Investments can go up as well as down.</a:t>
            </a:r>
            <a:br>
              <a:rPr lang="en-US" sz="1400" dirty="0">
                <a:solidFill>
                  <a:schemeClr val="tx1"/>
                </a:solidFill>
              </a:rPr>
            </a:br>
            <a:r>
              <a:rPr lang="en-US" sz="1400" dirty="0">
                <a:solidFill>
                  <a:schemeClr val="tx1"/>
                </a:solidFill>
              </a:rPr>
              <a:t>Risk associated with the volatility of the securities/currencies composing the underlying index.</a:t>
            </a:r>
            <a:br>
              <a:rPr lang="en-US" sz="1400" dirty="0">
                <a:solidFill>
                  <a:schemeClr val="tx1"/>
                </a:solidFill>
              </a:rPr>
            </a:br>
            <a:r>
              <a:rPr lang="en-US" sz="1400" dirty="0">
                <a:solidFill>
                  <a:schemeClr val="tx1"/>
                </a:solidFill>
              </a:rPr>
              <a:t>The fund investment objective may only be partially reached.</a:t>
            </a:r>
          </a:p>
          <a:p>
            <a:pPr marL="6350" indent="0" algn="ctr">
              <a:buNone/>
            </a:pPr>
            <a:r>
              <a:rPr lang="en-US" sz="1400" dirty="0">
                <a:solidFill>
                  <a:schemeClr val="tx1"/>
                </a:solidFill>
              </a:rPr>
              <a:t>Risk of the loss of invested capital. Investors may not get back the original</a:t>
            </a:r>
            <a:br>
              <a:rPr lang="en-US" sz="1400" dirty="0">
                <a:solidFill>
                  <a:schemeClr val="tx1"/>
                </a:solidFill>
              </a:rPr>
            </a:br>
            <a:r>
              <a:rPr lang="en-US" sz="1400" dirty="0">
                <a:solidFill>
                  <a:schemeClr val="tx1"/>
                </a:solidFill>
              </a:rPr>
              <a:t>amount invested and may lose all of their investment.</a:t>
            </a:r>
          </a:p>
          <a:p>
            <a:pPr marL="6350" indent="0" algn="ctr">
              <a:buNone/>
            </a:pPr>
            <a:r>
              <a:rPr lang="en-US" sz="1400" dirty="0">
                <a:solidFill>
                  <a:schemeClr val="tx1"/>
                </a:solidFill>
              </a:rPr>
              <a:t>Investment in emerging markets carries an above average degree of risk due to the less developed nature of securities  markets in those countries.</a:t>
            </a:r>
          </a:p>
          <a:p>
            <a:pPr marL="6350" indent="0" algn="ctr">
              <a:buNone/>
            </a:pPr>
            <a:endParaRPr lang="fr-BE" sz="1400" dirty="0">
              <a:solidFill>
                <a:schemeClr val="tx1"/>
              </a:solidFill>
            </a:endParaRPr>
          </a:p>
        </p:txBody>
      </p:sp>
      <p:sp>
        <p:nvSpPr>
          <p:cNvPr id="13" name="Espace réservé du numéro de diapositive 6"/>
          <p:cNvSpPr txBox="1">
            <a:spLocks/>
          </p:cNvSpPr>
          <p:nvPr/>
        </p:nvSpPr>
        <p:spPr>
          <a:xfrm>
            <a:off x="8136000" y="6230100"/>
            <a:ext cx="502920" cy="216000"/>
          </a:xfrm>
          <a:prstGeom prst="rect">
            <a:avLst/>
          </a:prstGeom>
        </p:spPr>
        <p:txBody>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C12E7156-0CA6-462A-9A46-AEFB5E440988}" type="slidenum">
              <a:rPr lang="en-US" sz="1200" b="1" smtClean="0">
                <a:solidFill>
                  <a:schemeClr val="tx2"/>
                </a:solidFill>
              </a:rPr>
              <a:pPr algn="r"/>
              <a:t>66</a:t>
            </a:fld>
            <a:endParaRPr lang="en-US" sz="1200" b="1" dirty="0">
              <a:solidFill>
                <a:schemeClr val="tx2"/>
              </a:solidFill>
            </a:endParaRPr>
          </a:p>
        </p:txBody>
      </p:sp>
      <p:sp>
        <p:nvSpPr>
          <p:cNvPr id="20" name="Rectangle 19">
            <a:extLst>
              <a:ext uri="{FF2B5EF4-FFF2-40B4-BE49-F238E27FC236}">
                <a16:creationId xmlns="" xmlns:a16="http://schemas.microsoft.com/office/drawing/2014/main" id="{B8741D8B-2949-4D22-A14A-165FB9AD3BBF}"/>
              </a:ext>
            </a:extLst>
          </p:cNvPr>
          <p:cNvSpPr/>
          <p:nvPr/>
        </p:nvSpPr>
        <p:spPr>
          <a:xfrm>
            <a:off x="503238" y="4015523"/>
            <a:ext cx="8100760" cy="1200329"/>
          </a:xfrm>
          <a:prstGeom prst="rect">
            <a:avLst/>
          </a:prstGeom>
        </p:spPr>
        <p:txBody>
          <a:bodyPr wrap="square">
            <a:spAutoFit/>
          </a:bodyPr>
          <a:lstStyle/>
          <a:p>
            <a:pPr>
              <a:spcBef>
                <a:spcPts val="1800"/>
              </a:spcBef>
              <a:defRPr/>
            </a:pPr>
            <a:r>
              <a:rPr lang="en-US" sz="1200" dirty="0">
                <a:solidFill>
                  <a:schemeClr val="tx2"/>
                </a:solidFill>
              </a:rPr>
              <a:t>The policy regarding portfolio transparency and information on the funds’ assets are available on amundietf.com. Indicative net asset value is published by stock exchanges. The Funds’ units purchased on the secondary market cannot usually be sold directly back to the Funds. Investors must buy and sell units on a secondary market with the assistance of an intermediary (e.g. a stockbroker) and may incur fees for doing so. In addition, investors may pay more than the current net asset value when buying units and may receive less than the current net asset value when selling them.</a:t>
            </a:r>
          </a:p>
        </p:txBody>
      </p:sp>
      <p:sp>
        <p:nvSpPr>
          <p:cNvPr id="21" name="Rectangle 20">
            <a:extLst>
              <a:ext uri="{FF2B5EF4-FFF2-40B4-BE49-F238E27FC236}">
                <a16:creationId xmlns="" xmlns:a16="http://schemas.microsoft.com/office/drawing/2014/main" id="{C2798492-BC69-4E28-9C27-FEC2ABE092C0}"/>
              </a:ext>
            </a:extLst>
          </p:cNvPr>
          <p:cNvSpPr/>
          <p:nvPr/>
        </p:nvSpPr>
        <p:spPr>
          <a:xfrm>
            <a:off x="497450" y="5215852"/>
            <a:ext cx="8106799" cy="954107"/>
          </a:xfrm>
          <a:prstGeom prst="rect">
            <a:avLst/>
          </a:prstGeom>
        </p:spPr>
        <p:txBody>
          <a:bodyPr wrap="square">
            <a:spAutoFit/>
          </a:bodyPr>
          <a:lstStyle/>
          <a:p>
            <a:pPr>
              <a:spcBef>
                <a:spcPts val="1200"/>
              </a:spcBef>
              <a:defRPr/>
            </a:pPr>
            <a:r>
              <a:rPr lang="en-GB" altLang="fr-FR" sz="1400" dirty="0">
                <a:solidFill>
                  <a:schemeClr val="tx2"/>
                </a:solidFill>
              </a:rPr>
              <a:t>For further details regarding risks of </a:t>
            </a:r>
            <a:r>
              <a:rPr lang="en-GB" altLang="fr-FR" sz="1400" dirty="0" err="1">
                <a:solidFill>
                  <a:schemeClr val="tx2"/>
                </a:solidFill>
              </a:rPr>
              <a:t>Amundi</a:t>
            </a:r>
            <a:r>
              <a:rPr lang="en-GB" altLang="fr-FR" sz="1400" dirty="0">
                <a:solidFill>
                  <a:schemeClr val="tx2"/>
                </a:solidFill>
              </a:rPr>
              <a:t> ETF &amp; Indexing Funds, please refer to Key Investor Information Document (KIID) and prospectus for the relevant fund, which are available in [insert language according to the country] upon request to </a:t>
            </a:r>
            <a:r>
              <a:rPr lang="en-GB" altLang="fr-FR" sz="1400" dirty="0" err="1">
                <a:solidFill>
                  <a:schemeClr val="tx2"/>
                </a:solidFill>
              </a:rPr>
              <a:t>Amundi</a:t>
            </a:r>
            <a:r>
              <a:rPr lang="en-GB" altLang="fr-FR" sz="1400" dirty="0">
                <a:solidFill>
                  <a:schemeClr val="tx2"/>
                </a:solidFill>
              </a:rPr>
              <a:t> Asset Management or online on www.amundi.com</a:t>
            </a:r>
            <a:endParaRPr lang="fr-FR" altLang="fr-FR" sz="1400" dirty="0">
              <a:solidFill>
                <a:schemeClr val="tx2"/>
              </a:solidFill>
            </a:endParaRPr>
          </a:p>
        </p:txBody>
      </p:sp>
      <p:sp>
        <p:nvSpPr>
          <p:cNvPr id="22" name="Espace réservé du numéro de diapositive 21">
            <a:extLst>
              <a:ext uri="{FF2B5EF4-FFF2-40B4-BE49-F238E27FC236}">
                <a16:creationId xmlns="" xmlns:a16="http://schemas.microsoft.com/office/drawing/2014/main" id="{77C5364B-0431-41E6-B010-AD013261D742}"/>
              </a:ext>
            </a:extLst>
          </p:cNvPr>
          <p:cNvSpPr>
            <a:spLocks noGrp="1"/>
          </p:cNvSpPr>
          <p:nvPr>
            <p:ph type="sldNum" sz="quarter" idx="12"/>
          </p:nvPr>
        </p:nvSpPr>
        <p:spPr/>
        <p:txBody>
          <a:bodyPr/>
          <a:lstStyle/>
          <a:p>
            <a:fld id="{2B1C6FFC-D040-034F-8B69-20295064E64D}" type="slidenum">
              <a:rPr lang="fr-FR" smtClean="0"/>
              <a:t>66</a:t>
            </a:fld>
            <a:endParaRPr lang="fr-FR" dirty="0"/>
          </a:p>
        </p:txBody>
      </p:sp>
      <p:sp>
        <p:nvSpPr>
          <p:cNvPr id="10"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Tree>
    <p:extLst>
      <p:ext uri="{BB962C8B-B14F-4D97-AF65-F5344CB8AC3E}">
        <p14:creationId xmlns:p14="http://schemas.microsoft.com/office/powerpoint/2010/main" val="36039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Content Placeholder 1"/>
          <p:cNvSpPr>
            <a:spLocks noGrp="1"/>
          </p:cNvSpPr>
          <p:nvPr>
            <p:ph type="body" sz="quarter" idx="12"/>
          </p:nvPr>
        </p:nvSpPr>
        <p:spPr>
          <a:xfrm>
            <a:off x="555625" y="728663"/>
            <a:ext cx="8063999" cy="5213797"/>
          </a:xfrm>
        </p:spPr>
        <p:txBody>
          <a:bodyPr/>
          <a:lstStyle/>
          <a:p>
            <a:pPr>
              <a:lnSpc>
                <a:spcPct val="90000"/>
              </a:lnSpc>
            </a:pPr>
            <a:r>
              <a:rPr lang="fr-FR" dirty="0"/>
              <a:t>DISCLAIMER 1/3</a:t>
            </a:r>
            <a:endParaRPr lang="en-US" dirty="0"/>
          </a:p>
          <a:p>
            <a:pPr lvl="1">
              <a:lnSpc>
                <a:spcPct val="90000"/>
              </a:lnSpc>
            </a:pPr>
            <a:r>
              <a:rPr lang="en-US" dirty="0"/>
              <a:t>This document is directed only at professional clients and eligible counterparties within the meaning of the European directive n°2004/39 on markets in financial instruments (the “MiFID Directive”) and/or at qualified or sophisticated clients within the meaning of the local jurisdiction, all acting solely and exclusively on their own account. In Switzerland, it is solely for the attention of qualified investors within the meaning of Article 10 paragraph 3 a), b), c) and d) of the Federal Act on Collective Investment Scheme of June 23, 2006. </a:t>
            </a:r>
            <a:r>
              <a:rPr lang="en-US" dirty="0" err="1"/>
              <a:t>Amundi</a:t>
            </a:r>
            <a:r>
              <a:rPr lang="en-US" dirty="0"/>
              <a:t> Suisse SA is distributing in Switzerland and from Switzerland the collective investment schemes managed by </a:t>
            </a:r>
            <a:r>
              <a:rPr lang="en-US" dirty="0" err="1"/>
              <a:t>Amundi</a:t>
            </a:r>
            <a:r>
              <a:rPr lang="en-US" dirty="0"/>
              <a:t> AM and /or </a:t>
            </a:r>
            <a:r>
              <a:rPr lang="en-US" dirty="0" err="1"/>
              <a:t>Amundi</a:t>
            </a:r>
            <a:r>
              <a:rPr lang="en-US" dirty="0"/>
              <a:t> Luxembourg. In this respect, </a:t>
            </a:r>
            <a:r>
              <a:rPr lang="en-US" dirty="0" err="1"/>
              <a:t>Amundi</a:t>
            </a:r>
            <a:r>
              <a:rPr lang="en-US" dirty="0"/>
              <a:t> Suisse SA informs investors that it collects, from </a:t>
            </a:r>
            <a:r>
              <a:rPr lang="en-US" dirty="0" err="1"/>
              <a:t>Amundi</a:t>
            </a:r>
            <a:r>
              <a:rPr lang="en-US" dirty="0"/>
              <a:t> AM and/ or </a:t>
            </a:r>
            <a:r>
              <a:rPr lang="en-US" dirty="0" err="1"/>
              <a:t>Amundi</a:t>
            </a:r>
            <a:r>
              <a:rPr lang="en-US" dirty="0"/>
              <a:t> Luxembourg, a compensation under article 34 al. 2bis in the Ordinance on collective investment schemes (Ordonnance sur les placements </a:t>
            </a:r>
            <a:r>
              <a:rPr lang="en-US" dirty="0" err="1"/>
              <a:t>collectifs</a:t>
            </a:r>
            <a:r>
              <a:rPr lang="en-US" dirty="0"/>
              <a:t> de </a:t>
            </a:r>
            <a:r>
              <a:rPr lang="en-US" dirty="0" err="1"/>
              <a:t>capitaux</a:t>
            </a:r>
            <a:r>
              <a:rPr lang="en-US" dirty="0"/>
              <a:t>, OPCC). This compensation can constitute a part of the management fees stated in the prospectus. Additional information regarding the existence, nature and calculation method for the compensation received by </a:t>
            </a:r>
            <a:r>
              <a:rPr lang="en-US" dirty="0" err="1"/>
              <a:t>Amundi</a:t>
            </a:r>
            <a:r>
              <a:rPr lang="en-US" dirty="0"/>
              <a:t> Suisse SA within the frame of its distribution activity in Switzerland or from Switzerland may be provided upon written request to </a:t>
            </a:r>
            <a:r>
              <a:rPr lang="en-US" dirty="0" err="1"/>
              <a:t>Amundi</a:t>
            </a:r>
            <a:r>
              <a:rPr lang="en-US" dirty="0"/>
              <a:t> Suisse SA 6-8 rue de Candolle 1205 Genève Suisse</a:t>
            </a:r>
          </a:p>
          <a:p>
            <a:pPr lvl="1">
              <a:lnSpc>
                <a:spcPct val="90000"/>
              </a:lnSpc>
            </a:pPr>
            <a:r>
              <a:rPr lang="en-US" dirty="0"/>
              <a:t>This document is not intended for citizens or residents of the United States of America or to any «U.S. Person» , as this term is defined in SEC Regulation S under the U.S. Securities Act of 1933. The US person definition is indicated in the legal mentions section on www.amundi.com and in the prospectus of the funds mentioned in this document.</a:t>
            </a:r>
          </a:p>
          <a:p>
            <a:pPr lvl="1">
              <a:lnSpc>
                <a:spcPct val="90000"/>
              </a:lnSpc>
            </a:pPr>
            <a:r>
              <a:rPr lang="en-US" dirty="0"/>
              <a:t>Promotional &amp; non-contractual Information which should not in any way be regarded as investment advice, a personalized investment recommendation, solicitation of an investment offer, or a purchase.</a:t>
            </a:r>
          </a:p>
          <a:p>
            <a:pPr lvl="1">
              <a:lnSpc>
                <a:spcPct val="90000"/>
              </a:lnSpc>
            </a:pPr>
            <a:r>
              <a:rPr lang="en-US" dirty="0"/>
              <a:t>Some of  the sub-funds of the </a:t>
            </a:r>
            <a:r>
              <a:rPr lang="en-US" dirty="0" err="1"/>
              <a:t>Amundi</a:t>
            </a:r>
            <a:r>
              <a:rPr lang="en-US" dirty="0"/>
              <a:t> Index Solutions SICAV (the ≪Sub-Funds≫) and funds (all together "Funds") described in this document may not be authorized for distribution in your country. The Sub-Funds mentioned in this document, are from </a:t>
            </a:r>
            <a:r>
              <a:rPr lang="en-US" dirty="0" err="1"/>
              <a:t>Amundi</a:t>
            </a:r>
            <a:r>
              <a:rPr lang="en-US" dirty="0"/>
              <a:t> Index Solutions, a Luxembourg UCITS, RCS B206810, located 5, </a:t>
            </a:r>
            <a:r>
              <a:rPr lang="en-US" dirty="0" err="1"/>
              <a:t>allee</a:t>
            </a:r>
            <a:r>
              <a:rPr lang="en-US" dirty="0"/>
              <a:t> </a:t>
            </a:r>
            <a:r>
              <a:rPr lang="en-US" dirty="0" err="1"/>
              <a:t>Scheffer</a:t>
            </a:r>
            <a:r>
              <a:rPr lang="en-US" dirty="0"/>
              <a:t>, L-2520 Luxembourg.</a:t>
            </a:r>
          </a:p>
          <a:p>
            <a:pPr lvl="1">
              <a:lnSpc>
                <a:spcPct val="90000"/>
              </a:lnSpc>
            </a:pPr>
            <a:r>
              <a:rPr lang="en-US" dirty="0"/>
              <a:t>Before any subscriptions, the potential investor must read the offering documents of the Funds approved by the Commission de Surveillance du </a:t>
            </a:r>
            <a:r>
              <a:rPr lang="en-US" dirty="0" err="1"/>
              <a:t>Secteur</a:t>
            </a:r>
            <a:r>
              <a:rPr lang="en-US" dirty="0"/>
              <a:t> Financier of Luxembourg or </a:t>
            </a:r>
            <a:r>
              <a:rPr lang="en-US" dirty="0" err="1"/>
              <a:t>Autorité</a:t>
            </a:r>
            <a:r>
              <a:rPr lang="en-US" dirty="0"/>
              <a:t> des </a:t>
            </a:r>
            <a:r>
              <a:rPr lang="en-US" dirty="0" err="1"/>
              <a:t>Marchés</a:t>
            </a:r>
            <a:r>
              <a:rPr lang="en-US" dirty="0"/>
              <a:t> Financiers, including the KIID, available on www.amundi.com or upon request from the headquarters of the investment manager company.</a:t>
            </a:r>
          </a:p>
          <a:p>
            <a:pPr lvl="1">
              <a:lnSpc>
                <a:spcPct val="90000"/>
              </a:lnSpc>
            </a:pPr>
            <a:r>
              <a:rPr lang="en-US" dirty="0"/>
              <a:t>Investment in a Fund carries a substantial degree of risk (i.e. risks are detailed in the DICI and prospectus).</a:t>
            </a:r>
          </a:p>
          <a:p>
            <a:pPr lvl="1">
              <a:lnSpc>
                <a:spcPct val="90000"/>
              </a:lnSpc>
            </a:pPr>
            <a:r>
              <a:rPr lang="en-US" dirty="0"/>
              <a:t>The Funds presents a risk associated with the volatility of the securities/currencies composing the underlying index.</a:t>
            </a:r>
          </a:p>
          <a:p>
            <a:pPr lvl="1">
              <a:lnSpc>
                <a:spcPct val="90000"/>
              </a:lnSpc>
            </a:pPr>
            <a:r>
              <a:rPr lang="en-US" dirty="0"/>
              <a:t>Past performance cannot be regarded as a reliable indicator for future results. The Funds do not offer any performance guarantee.</a:t>
            </a:r>
          </a:p>
          <a:p>
            <a:pPr lvl="1">
              <a:lnSpc>
                <a:spcPct val="90000"/>
              </a:lnSpc>
            </a:pPr>
            <a:r>
              <a:rPr lang="en-US" dirty="0"/>
              <a:t>Transaction cost and commissions may occur  when trading ETFs. </a:t>
            </a:r>
          </a:p>
          <a:p>
            <a:pPr lvl="1">
              <a:lnSpc>
                <a:spcPct val="90000"/>
              </a:lnSpc>
            </a:pPr>
            <a:r>
              <a:rPr lang="en-US" dirty="0"/>
              <a:t>The policy regarding portfolio transparency and information on the funds' assets are available on amundietf.com. Indicative net asset value is published by stock exchanges. The </a:t>
            </a:r>
            <a:r>
              <a:rPr lang="en-US" dirty="0" err="1"/>
              <a:t>Amundi</a:t>
            </a:r>
            <a:r>
              <a:rPr lang="en-US" dirty="0"/>
              <a:t> ETF Funds' units purchased on the secondary market cannot usually be sold directly back to the Funds. Investors must buy and sell units on a secondary market with the assistance of an intermediary (e.g. a stockbroker) and may incur fees for doing so. In addition, investors may pay more than the current net asset value when buying units and may receive less than the current net asset value when selling them.</a:t>
            </a:r>
          </a:p>
          <a:p>
            <a:pPr lvl="1">
              <a:lnSpc>
                <a:spcPct val="90000"/>
              </a:lnSpc>
            </a:pPr>
            <a:r>
              <a:rPr lang="en-US" dirty="0"/>
              <a:t>For France only : Some information may constitute a general investment recommendation as defined in the article 313-208 of the </a:t>
            </a:r>
            <a:r>
              <a:rPr lang="en-US" dirty="0" err="1"/>
              <a:t>Réglement</a:t>
            </a:r>
            <a:r>
              <a:rPr lang="en-US" dirty="0"/>
              <a:t> </a:t>
            </a:r>
            <a:r>
              <a:rPr lang="en-US" dirty="0" err="1"/>
              <a:t>Général</a:t>
            </a:r>
            <a:r>
              <a:rPr lang="en-US" dirty="0"/>
              <a:t> de </a:t>
            </a:r>
            <a:r>
              <a:rPr lang="en-US" dirty="0" err="1"/>
              <a:t>l’AMF</a:t>
            </a:r>
            <a:r>
              <a:rPr lang="en-US" dirty="0"/>
              <a:t>. This material has not been produced in conformity with regulatory provisions aiming to promote the independency of financial analysis, and </a:t>
            </a:r>
            <a:r>
              <a:rPr lang="en-US" dirty="0" err="1"/>
              <a:t>Amundi</a:t>
            </a:r>
            <a:r>
              <a:rPr lang="en-US" dirty="0"/>
              <a:t> Asset Management, as an investment services provider, has no restriction in negotiating any financial instruments described in this material before its issue.</a:t>
            </a:r>
          </a:p>
          <a:p>
            <a:pPr lvl="1">
              <a:lnSpc>
                <a:spcPct val="90000"/>
              </a:lnSpc>
            </a:pPr>
            <a:r>
              <a:rPr lang="en-US" dirty="0"/>
              <a:t>The exactness, exhaustiveness or relevance of the information, the prevision and analysis provided is not guaranteed. It is based on sources considered as reliable and may change without prior notice. It is inevitably partial, provided based on market data stated at a particular moment and is subject to change. It is the investor’s responsibility to make sure his/her investment is in compliance with the applicable laws she/he depends on, and to check if this investment is matching his/her investment objective with his/her patrimonial situation (including tax aspects). </a:t>
            </a:r>
          </a:p>
          <a:p>
            <a:pPr lvl="1">
              <a:lnSpc>
                <a:spcPct val="90000"/>
              </a:lnSpc>
            </a:pPr>
            <a:r>
              <a:rPr lang="en-US" dirty="0"/>
              <a:t>It is not permitted to copy, modify, translate or distribute the Document without the prior approval of </a:t>
            </a:r>
            <a:r>
              <a:rPr lang="en-US" dirty="0" err="1"/>
              <a:t>Amundi</a:t>
            </a:r>
            <a:r>
              <a:rPr lang="en-US" dirty="0"/>
              <a:t> Asset Management. </a:t>
            </a:r>
          </a:p>
          <a:p>
            <a:pPr lvl="1">
              <a:lnSpc>
                <a:spcPct val="90000"/>
              </a:lnSpc>
            </a:pPr>
            <a:r>
              <a:rPr lang="en-US" dirty="0"/>
              <a:t>Information reputed exact as of April 2017. Reproduction prohibited without the written consent of the Management Company. </a:t>
            </a:r>
            <a:r>
              <a:rPr lang="en-US" dirty="0" err="1"/>
              <a:t>Amundi</a:t>
            </a:r>
            <a:r>
              <a:rPr lang="en-US" dirty="0"/>
              <a:t> ETF designates the ETF business of </a:t>
            </a:r>
            <a:r>
              <a:rPr lang="en-US" dirty="0" err="1"/>
              <a:t>Amundi</a:t>
            </a:r>
            <a:r>
              <a:rPr lang="en-US" dirty="0"/>
              <a:t> Asset Management. </a:t>
            </a:r>
            <a:r>
              <a:rPr lang="en-US" dirty="0" err="1"/>
              <a:t>Amundi</a:t>
            </a:r>
            <a:r>
              <a:rPr lang="en-US" dirty="0"/>
              <a:t> Asset Management, with a share capital of EUR 1 086 262 605, an investment manager regulated by the French </a:t>
            </a:r>
            <a:r>
              <a:rPr lang="en-US" dirty="0" err="1"/>
              <a:t>Autorité</a:t>
            </a:r>
            <a:r>
              <a:rPr lang="en-US" dirty="0"/>
              <a:t> des </a:t>
            </a:r>
            <a:r>
              <a:rPr lang="en-US" dirty="0" err="1"/>
              <a:t>Marchés</a:t>
            </a:r>
            <a:r>
              <a:rPr lang="en-US" dirty="0"/>
              <a:t> Financiers under n° GP 04000036 - Registered office : 90 boulevard Pasteur 75015 Paris France - 437 574 452 RCS Paris.</a:t>
            </a:r>
          </a:p>
        </p:txBody>
      </p:sp>
      <p:sp>
        <p:nvSpPr>
          <p:cNvPr id="2" name="Espace réservé du numéro de diapositive 1">
            <a:extLst>
              <a:ext uri="{FF2B5EF4-FFF2-40B4-BE49-F238E27FC236}">
                <a16:creationId xmlns="" xmlns:a16="http://schemas.microsoft.com/office/drawing/2014/main" id="{9F05E1A9-3F0A-497D-8467-68A282EA8790}"/>
              </a:ext>
            </a:extLst>
          </p:cNvPr>
          <p:cNvSpPr>
            <a:spLocks noGrp="1"/>
          </p:cNvSpPr>
          <p:nvPr>
            <p:ph type="sldNum" sz="quarter" idx="11"/>
          </p:nvPr>
        </p:nvSpPr>
        <p:spPr/>
        <p:txBody>
          <a:bodyPr/>
          <a:lstStyle/>
          <a:p>
            <a:fld id="{2B1C6FFC-D040-034F-8B69-20295064E64D}" type="slidenum">
              <a:rPr lang="fr-FR" smtClean="0"/>
              <a:pPr/>
              <a:t>67</a:t>
            </a:fld>
            <a:endParaRPr lang="fr-FR" dirty="0"/>
          </a:p>
        </p:txBody>
      </p:sp>
      <p:sp>
        <p:nvSpPr>
          <p:cNvPr id="5"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Tree>
    <p:extLst>
      <p:ext uri="{BB962C8B-B14F-4D97-AF65-F5344CB8AC3E}">
        <p14:creationId xmlns:p14="http://schemas.microsoft.com/office/powerpoint/2010/main" val="1786233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Content Placeholder 1"/>
          <p:cNvSpPr>
            <a:spLocks noGrp="1"/>
          </p:cNvSpPr>
          <p:nvPr>
            <p:ph type="body" sz="quarter" idx="12"/>
          </p:nvPr>
        </p:nvSpPr>
        <p:spPr>
          <a:xfrm>
            <a:off x="555625" y="751813"/>
            <a:ext cx="8063999" cy="5213797"/>
          </a:xfrm>
        </p:spPr>
        <p:txBody>
          <a:bodyPr anchor="t" anchorCtr="0"/>
          <a:lstStyle/>
          <a:p>
            <a:pPr>
              <a:lnSpc>
                <a:spcPct val="90000"/>
              </a:lnSpc>
            </a:pPr>
            <a:r>
              <a:rPr lang="fr-FR" dirty="0"/>
              <a:t>DISCLAIMER 2/3</a:t>
            </a:r>
            <a:endParaRPr lang="en-US" dirty="0"/>
          </a:p>
          <a:p>
            <a:pPr lvl="1">
              <a:lnSpc>
                <a:spcPct val="90000"/>
              </a:lnSpc>
            </a:pPr>
            <a:r>
              <a:rPr lang="en-US" dirty="0"/>
              <a:t>Switzerland disclaimer :</a:t>
            </a:r>
          </a:p>
          <a:p>
            <a:pPr lvl="1">
              <a:lnSpc>
                <a:spcPct val="90000"/>
              </a:lnSpc>
            </a:pPr>
            <a:r>
              <a:rPr lang="en-US" dirty="0"/>
              <a:t>For FINMA registered Funds : </a:t>
            </a:r>
          </a:p>
          <a:p>
            <a:pPr lvl="1">
              <a:lnSpc>
                <a:spcPct val="90000"/>
              </a:lnSpc>
            </a:pPr>
            <a:r>
              <a:rPr lang="en-US" dirty="0"/>
              <a:t>These Funds have been authorized for distribution to non-qualified investors by </a:t>
            </a:r>
            <a:r>
              <a:rPr lang="en-US" dirty="0" err="1"/>
              <a:t>FINMA.The</a:t>
            </a:r>
            <a:r>
              <a:rPr lang="en-US" dirty="0"/>
              <a:t> Key Investor Information Document (“KIID”) and the prospectus, or the funds regulation as well as the annual and semi-annual financial reports are available free of charge from the Swiss Representative:  CACEIS (Switzerland) SA - Route de Signy 35 - CH1260 </a:t>
            </a:r>
            <a:r>
              <a:rPr lang="en-US" dirty="0" err="1"/>
              <a:t>Nyon.Paying</a:t>
            </a:r>
            <a:r>
              <a:rPr lang="en-US" dirty="0"/>
              <a:t> Agent in Switzerland: CACEIS Bank Paris, </a:t>
            </a:r>
            <a:r>
              <a:rPr lang="en-US" dirty="0" err="1"/>
              <a:t>Nyon</a:t>
            </a:r>
            <a:r>
              <a:rPr lang="en-US" dirty="0"/>
              <a:t> Branch/Switzerland, Route de Signy 35, CH- 1260 </a:t>
            </a:r>
            <a:r>
              <a:rPr lang="en-US" dirty="0" err="1"/>
              <a:t>Nyon</a:t>
            </a:r>
            <a:r>
              <a:rPr lang="en-US" dirty="0"/>
              <a:t>.</a:t>
            </a:r>
          </a:p>
          <a:p>
            <a:pPr lvl="1">
              <a:lnSpc>
                <a:spcPct val="90000"/>
              </a:lnSpc>
            </a:pPr>
            <a:r>
              <a:rPr lang="en-US" dirty="0"/>
              <a:t> For unregistered funds :</a:t>
            </a:r>
          </a:p>
          <a:p>
            <a:pPr lvl="1">
              <a:lnSpc>
                <a:spcPct val="90000"/>
              </a:lnSpc>
            </a:pPr>
            <a:r>
              <a:rPr lang="en-US" dirty="0"/>
              <a:t>These Funds, (collective investment schemes) authorized by the AMF, have not been approved by the Swiss Financial Market Supervisory Authority (≪FINMA≫).These Funds are available in Switzerland for distribution exclusively to Qualified Investors, as defined in the Collective Investment Schemes Act of 23 June 2006, as amended (≪CISA≫) and its implementing </a:t>
            </a:r>
            <a:r>
              <a:rPr lang="en-US" dirty="0" err="1"/>
              <a:t>ordinance.The</a:t>
            </a:r>
            <a:r>
              <a:rPr lang="en-US" dirty="0"/>
              <a:t> KIID, Prospectus, funds regulations,  annual and/or semi-annual reports relating to these Funds are available free of charge from the Swiss representative and/or </a:t>
            </a:r>
            <a:r>
              <a:rPr lang="en-US" dirty="0" err="1"/>
              <a:t>authorised</a:t>
            </a:r>
            <a:r>
              <a:rPr lang="en-US" dirty="0"/>
              <a:t> distributors to Qualified Investors. Swiss Representative: CACEIS (Switzerland) SA - Route de Signy 35, CH- 1260 </a:t>
            </a:r>
            <a:r>
              <a:rPr lang="en-US" dirty="0" err="1"/>
              <a:t>Nyon</a:t>
            </a:r>
            <a:r>
              <a:rPr lang="en-US" dirty="0"/>
              <a:t>. Paying Agent in Switzerland: CACEIS Bank Paris, </a:t>
            </a:r>
            <a:r>
              <a:rPr lang="en-US" dirty="0" err="1"/>
              <a:t>Nyon</a:t>
            </a:r>
            <a:r>
              <a:rPr lang="en-US" dirty="0"/>
              <a:t> Branch/Switzerland, Route de Signy 35, CH- 1260 </a:t>
            </a:r>
            <a:r>
              <a:rPr lang="en-US" dirty="0" err="1"/>
              <a:t>Nyon</a:t>
            </a:r>
            <a:r>
              <a:rPr lang="en-US" dirty="0"/>
              <a:t>.</a:t>
            </a:r>
          </a:p>
          <a:p>
            <a:pPr lvl="1">
              <a:lnSpc>
                <a:spcPct val="90000"/>
              </a:lnSpc>
            </a:pPr>
            <a:r>
              <a:rPr lang="en-US" dirty="0"/>
              <a:t>UK disclaimer </a:t>
            </a:r>
          </a:p>
          <a:p>
            <a:pPr lvl="1">
              <a:lnSpc>
                <a:spcPct val="90000"/>
              </a:lnSpc>
            </a:pPr>
            <a:r>
              <a:rPr lang="en-US" dirty="0"/>
              <a:t>The Funds mentioned in this document are  recognized collective investment schemes for the purposes of the Financial Services and Markets Act 2000 of the United Kingdom (the “Act”). This document is being issued inside the United Kingdom by </a:t>
            </a:r>
            <a:r>
              <a:rPr lang="en-US" dirty="0" err="1"/>
              <a:t>Amundi</a:t>
            </a:r>
            <a:r>
              <a:rPr lang="en-US" dirty="0"/>
              <a:t> which is </a:t>
            </a:r>
            <a:r>
              <a:rPr lang="en-US" dirty="0" err="1"/>
              <a:t>authorised</a:t>
            </a:r>
            <a:r>
              <a:rPr lang="en-US" dirty="0"/>
              <a:t> by the </a:t>
            </a:r>
            <a:r>
              <a:rPr lang="en-US" dirty="0" err="1"/>
              <a:t>Autorité</a:t>
            </a:r>
            <a:r>
              <a:rPr lang="en-US" dirty="0"/>
              <a:t> des </a:t>
            </a:r>
            <a:r>
              <a:rPr lang="en-US" dirty="0" err="1"/>
              <a:t>marchés</a:t>
            </a:r>
            <a:r>
              <a:rPr lang="en-US" dirty="0"/>
              <a:t> financiers and subject to limited regulation by the Financial Conduct Authority (“FCA”). Details about the extent of regulation by the FCA are available on request. This document is only directed at persons who are professional clients or eligible counterparties for the purposes of the FCA’s Conduct of Business Sourcebook. The investments described herein are only available to such persons and this document must not be relied or acted upon by any other persons. This document may not be distributed to any person other than the person to whom it is addressed without the express prior consent of </a:t>
            </a:r>
            <a:r>
              <a:rPr lang="en-US" dirty="0" err="1"/>
              <a:t>Amundi</a:t>
            </a:r>
            <a:r>
              <a:rPr lang="en-US" dirty="0"/>
              <a:t>.</a:t>
            </a:r>
          </a:p>
          <a:p>
            <a:pPr lvl="1">
              <a:lnSpc>
                <a:spcPct val="90000"/>
              </a:lnSpc>
            </a:pPr>
            <a:r>
              <a:rPr lang="en-US" dirty="0"/>
              <a:t>France </a:t>
            </a:r>
          </a:p>
          <a:p>
            <a:pPr lvl="1">
              <a:lnSpc>
                <a:spcPct val="90000"/>
              </a:lnSpc>
            </a:pPr>
            <a:r>
              <a:rPr lang="en-US" dirty="0"/>
              <a:t>La documentation </a:t>
            </a:r>
            <a:r>
              <a:rPr lang="en-US" dirty="0" err="1"/>
              <a:t>règlementaire</a:t>
            </a:r>
            <a:r>
              <a:rPr lang="en-US" dirty="0"/>
              <a:t> </a:t>
            </a:r>
            <a:r>
              <a:rPr lang="en-US" dirty="0" err="1"/>
              <a:t>peut</a:t>
            </a:r>
            <a:r>
              <a:rPr lang="en-US" dirty="0"/>
              <a:t> </a:t>
            </a:r>
            <a:r>
              <a:rPr lang="en-US" dirty="0" err="1"/>
              <a:t>être</a:t>
            </a:r>
            <a:r>
              <a:rPr lang="en-US" dirty="0"/>
              <a:t> </a:t>
            </a:r>
            <a:r>
              <a:rPr lang="en-US" dirty="0" err="1"/>
              <a:t>obtenue</a:t>
            </a:r>
            <a:r>
              <a:rPr lang="en-US" dirty="0"/>
              <a:t>  </a:t>
            </a:r>
            <a:r>
              <a:rPr lang="en-US" dirty="0" err="1"/>
              <a:t>gratuitement</a:t>
            </a:r>
            <a:r>
              <a:rPr lang="en-US" dirty="0"/>
              <a:t> au </a:t>
            </a:r>
            <a:r>
              <a:rPr lang="en-US" dirty="0" err="1"/>
              <a:t>siège</a:t>
            </a:r>
            <a:r>
              <a:rPr lang="en-US" dirty="0"/>
              <a:t> social de la SICAV </a:t>
            </a:r>
            <a:r>
              <a:rPr lang="en-US" dirty="0" err="1"/>
              <a:t>ou</a:t>
            </a:r>
            <a:r>
              <a:rPr lang="en-US" dirty="0"/>
              <a:t> </a:t>
            </a:r>
            <a:r>
              <a:rPr lang="en-US" dirty="0" err="1"/>
              <a:t>auprès</a:t>
            </a:r>
            <a:r>
              <a:rPr lang="en-US" dirty="0"/>
              <a:t> de CACEIS Bank au 1-3, place </a:t>
            </a:r>
            <a:r>
              <a:rPr lang="en-US" dirty="0" err="1"/>
              <a:t>Valhubert</a:t>
            </a:r>
            <a:r>
              <a:rPr lang="en-US" dirty="0"/>
              <a:t> - 75013 PARIS, </a:t>
            </a:r>
            <a:r>
              <a:rPr lang="en-US" dirty="0" err="1"/>
              <a:t>correspondant</a:t>
            </a:r>
            <a:r>
              <a:rPr lang="en-US" dirty="0"/>
              <a:t> </a:t>
            </a:r>
            <a:r>
              <a:rPr lang="en-US" dirty="0" err="1"/>
              <a:t>centralisateur</a:t>
            </a:r>
            <a:r>
              <a:rPr lang="en-US" dirty="0"/>
              <a:t> de la SICAV </a:t>
            </a:r>
            <a:r>
              <a:rPr lang="en-US" dirty="0" err="1"/>
              <a:t>en</a:t>
            </a:r>
            <a:r>
              <a:rPr lang="en-US" dirty="0"/>
              <a:t> France.  Des </a:t>
            </a:r>
            <a:r>
              <a:rPr lang="en-US" dirty="0" err="1"/>
              <a:t>seuils</a:t>
            </a:r>
            <a:r>
              <a:rPr lang="en-US" dirty="0"/>
              <a:t> de </a:t>
            </a:r>
            <a:r>
              <a:rPr lang="en-US" dirty="0" err="1"/>
              <a:t>réservation</a:t>
            </a:r>
            <a:r>
              <a:rPr lang="en-US" dirty="0"/>
              <a:t> </a:t>
            </a:r>
            <a:r>
              <a:rPr lang="en-US" dirty="0" err="1"/>
              <a:t>sont</a:t>
            </a:r>
            <a:r>
              <a:rPr lang="en-US" dirty="0"/>
              <a:t> </a:t>
            </a:r>
            <a:r>
              <a:rPr lang="en-US" dirty="0" err="1"/>
              <a:t>fixés</a:t>
            </a:r>
            <a:r>
              <a:rPr lang="en-US" dirty="0"/>
              <a:t> </a:t>
            </a:r>
            <a:r>
              <a:rPr lang="en-US" dirty="0" err="1"/>
              <a:t>en</a:t>
            </a:r>
            <a:r>
              <a:rPr lang="en-US" dirty="0"/>
              <a:t> </a:t>
            </a:r>
            <a:r>
              <a:rPr lang="en-US" dirty="0" err="1"/>
              <a:t>appliquant</a:t>
            </a:r>
            <a:r>
              <a:rPr lang="en-US" dirty="0"/>
              <a:t> un </a:t>
            </a:r>
            <a:r>
              <a:rPr lang="en-US" dirty="0" err="1"/>
              <a:t>pourcentage</a:t>
            </a:r>
            <a:r>
              <a:rPr lang="en-US" dirty="0"/>
              <a:t> de variation  de la part, </a:t>
            </a:r>
            <a:r>
              <a:rPr lang="en-US" dirty="0" err="1"/>
              <a:t>indiqué</a:t>
            </a:r>
            <a:r>
              <a:rPr lang="en-US" dirty="0"/>
              <a:t> </a:t>
            </a:r>
            <a:r>
              <a:rPr lang="en-US" dirty="0" err="1"/>
              <a:t>dans</a:t>
            </a:r>
            <a:r>
              <a:rPr lang="en-US" dirty="0"/>
              <a:t> le prospectus des  </a:t>
            </a:r>
            <a:r>
              <a:rPr lang="en-US" dirty="0" err="1"/>
              <a:t>Fonds</a:t>
            </a:r>
            <a:r>
              <a:rPr lang="en-US" dirty="0"/>
              <a:t> </a:t>
            </a:r>
            <a:r>
              <a:rPr lang="en-US" dirty="0" err="1"/>
              <a:t>mentionnés</a:t>
            </a:r>
            <a:r>
              <a:rPr lang="en-US" dirty="0"/>
              <a:t>  </a:t>
            </a:r>
            <a:r>
              <a:rPr lang="en-US" dirty="0" err="1"/>
              <a:t>dans</a:t>
            </a:r>
            <a:r>
              <a:rPr lang="en-US" dirty="0"/>
              <a:t> </a:t>
            </a:r>
            <a:r>
              <a:rPr lang="en-US" dirty="0" err="1"/>
              <a:t>ce</a:t>
            </a:r>
            <a:r>
              <a:rPr lang="en-US" dirty="0"/>
              <a:t> Document et </a:t>
            </a:r>
            <a:r>
              <a:rPr lang="en-US" dirty="0" err="1"/>
              <a:t>d’autre</a:t>
            </a:r>
            <a:r>
              <a:rPr lang="en-US" dirty="0"/>
              <a:t> de le </a:t>
            </a:r>
            <a:r>
              <a:rPr lang="en-US" dirty="0" err="1"/>
              <a:t>Valeur</a:t>
            </a:r>
            <a:r>
              <a:rPr lang="en-US" dirty="0"/>
              <a:t> </a:t>
            </a:r>
            <a:r>
              <a:rPr lang="en-US" dirty="0" err="1"/>
              <a:t>Liquidative</a:t>
            </a:r>
            <a:r>
              <a:rPr lang="en-US" dirty="0"/>
              <a:t> Indicative </a:t>
            </a:r>
            <a:r>
              <a:rPr lang="en-US" dirty="0" err="1"/>
              <a:t>ou</a:t>
            </a:r>
            <a:r>
              <a:rPr lang="en-US" dirty="0"/>
              <a:t> « VLI » de </a:t>
            </a:r>
            <a:r>
              <a:rPr lang="en-US" dirty="0" err="1"/>
              <a:t>ces</a:t>
            </a:r>
            <a:r>
              <a:rPr lang="en-US" dirty="0"/>
              <a:t> </a:t>
            </a:r>
            <a:r>
              <a:rPr lang="en-US" dirty="0" err="1"/>
              <a:t>Fonds</a:t>
            </a:r>
            <a:r>
              <a:rPr lang="en-US" dirty="0"/>
              <a:t>, </a:t>
            </a:r>
            <a:r>
              <a:rPr lang="en-US" dirty="0" err="1"/>
              <a:t>publié</a:t>
            </a:r>
            <a:r>
              <a:rPr lang="en-US" dirty="0"/>
              <a:t> par Euronext Paris SA et </a:t>
            </a:r>
            <a:r>
              <a:rPr lang="en-US" dirty="0" err="1"/>
              <a:t>actualisée</a:t>
            </a:r>
            <a:r>
              <a:rPr lang="en-US" dirty="0"/>
              <a:t> de </a:t>
            </a:r>
            <a:r>
              <a:rPr lang="en-US" dirty="0" err="1"/>
              <a:t>manière</a:t>
            </a:r>
            <a:r>
              <a:rPr lang="en-US" dirty="0"/>
              <a:t> estimative </a:t>
            </a:r>
            <a:r>
              <a:rPr lang="en-US" dirty="0" err="1"/>
              <a:t>en</a:t>
            </a:r>
            <a:r>
              <a:rPr lang="en-US" dirty="0"/>
              <a:t> </a:t>
            </a:r>
            <a:r>
              <a:rPr lang="en-US" dirty="0" err="1"/>
              <a:t>cours</a:t>
            </a:r>
            <a:r>
              <a:rPr lang="en-US" dirty="0"/>
              <a:t> de séance </a:t>
            </a:r>
            <a:r>
              <a:rPr lang="en-US" dirty="0" err="1"/>
              <a:t>en</a:t>
            </a:r>
            <a:r>
              <a:rPr lang="en-US" dirty="0"/>
              <a:t> </a:t>
            </a:r>
            <a:r>
              <a:rPr lang="en-US" dirty="0" err="1"/>
              <a:t>fonction</a:t>
            </a:r>
            <a:r>
              <a:rPr lang="en-US" dirty="0"/>
              <a:t> de la variation de </a:t>
            </a:r>
            <a:r>
              <a:rPr lang="en-US" dirty="0" err="1"/>
              <a:t>l’indice</a:t>
            </a:r>
            <a:r>
              <a:rPr lang="en-US" dirty="0"/>
              <a:t> de </a:t>
            </a:r>
            <a:r>
              <a:rPr lang="en-US" dirty="0" err="1"/>
              <a:t>chacun</a:t>
            </a:r>
            <a:r>
              <a:rPr lang="en-US" dirty="0"/>
              <a:t> des </a:t>
            </a:r>
            <a:r>
              <a:rPr lang="en-US" dirty="0" err="1"/>
              <a:t>Fonds</a:t>
            </a:r>
            <a:r>
              <a:rPr lang="en-US" dirty="0"/>
              <a:t> </a:t>
            </a:r>
            <a:r>
              <a:rPr lang="en-US" dirty="0" err="1"/>
              <a:t>indiqué</a:t>
            </a:r>
            <a:r>
              <a:rPr lang="en-US" dirty="0"/>
              <a:t> </a:t>
            </a:r>
            <a:r>
              <a:rPr lang="en-US" dirty="0" err="1"/>
              <a:t>dans</a:t>
            </a:r>
            <a:r>
              <a:rPr lang="en-US" dirty="0"/>
              <a:t> </a:t>
            </a:r>
            <a:r>
              <a:rPr lang="en-US" dirty="0" err="1"/>
              <a:t>ce</a:t>
            </a:r>
            <a:r>
              <a:rPr lang="en-US" dirty="0"/>
              <a:t> Document;   Le </a:t>
            </a:r>
            <a:r>
              <a:rPr lang="en-US" dirty="0" err="1"/>
              <a:t>Teneur</a:t>
            </a:r>
            <a:r>
              <a:rPr lang="en-US" dirty="0"/>
              <a:t> de Marché </a:t>
            </a:r>
            <a:r>
              <a:rPr lang="en-US" dirty="0" err="1"/>
              <a:t>s’assure</a:t>
            </a:r>
            <a:r>
              <a:rPr lang="en-US" dirty="0"/>
              <a:t> que le </a:t>
            </a:r>
            <a:r>
              <a:rPr lang="en-US" dirty="0" err="1"/>
              <a:t>cours</a:t>
            </a:r>
            <a:r>
              <a:rPr lang="en-US" dirty="0"/>
              <a:t> de bourse des parts des </a:t>
            </a:r>
            <a:r>
              <a:rPr lang="en-US" dirty="0" err="1"/>
              <a:t>Fonds</a:t>
            </a:r>
            <a:r>
              <a:rPr lang="en-US" dirty="0"/>
              <a:t> ne </a:t>
            </a:r>
            <a:r>
              <a:rPr lang="en-US" dirty="0" err="1"/>
              <a:t>s’écarte</a:t>
            </a:r>
            <a:r>
              <a:rPr lang="en-US" dirty="0"/>
              <a:t> pas plus du </a:t>
            </a:r>
            <a:r>
              <a:rPr lang="en-US" dirty="0" err="1"/>
              <a:t>pourcentage</a:t>
            </a:r>
            <a:r>
              <a:rPr lang="en-US" dirty="0"/>
              <a:t> </a:t>
            </a:r>
            <a:r>
              <a:rPr lang="en-US" dirty="0" err="1"/>
              <a:t>indiqué</a:t>
            </a:r>
            <a:r>
              <a:rPr lang="en-US" dirty="0"/>
              <a:t> </a:t>
            </a:r>
            <a:r>
              <a:rPr lang="en-US" dirty="0" err="1"/>
              <a:t>dans</a:t>
            </a:r>
            <a:r>
              <a:rPr lang="en-US" dirty="0"/>
              <a:t> le prospectus des </a:t>
            </a:r>
            <a:r>
              <a:rPr lang="en-US" dirty="0" err="1"/>
              <a:t>Fonds</a:t>
            </a:r>
            <a:r>
              <a:rPr lang="en-US" dirty="0"/>
              <a:t> </a:t>
            </a:r>
            <a:r>
              <a:rPr lang="en-US" dirty="0" err="1"/>
              <a:t>mentionnés</a:t>
            </a:r>
            <a:r>
              <a:rPr lang="en-US" dirty="0"/>
              <a:t> </a:t>
            </a:r>
            <a:r>
              <a:rPr lang="en-US" dirty="0" err="1"/>
              <a:t>dans</a:t>
            </a:r>
            <a:r>
              <a:rPr lang="en-US" dirty="0"/>
              <a:t> </a:t>
            </a:r>
            <a:r>
              <a:rPr lang="en-US" dirty="0" err="1"/>
              <a:t>ce</a:t>
            </a:r>
            <a:r>
              <a:rPr lang="en-US" dirty="0"/>
              <a:t> Document et </a:t>
            </a:r>
            <a:r>
              <a:rPr lang="en-US" dirty="0" err="1"/>
              <a:t>d’autre</a:t>
            </a:r>
            <a:r>
              <a:rPr lang="en-US" dirty="0"/>
              <a:t> de la </a:t>
            </a:r>
            <a:r>
              <a:rPr lang="en-US" dirty="0" err="1"/>
              <a:t>valeur</a:t>
            </a:r>
            <a:r>
              <a:rPr lang="en-US" dirty="0"/>
              <a:t> </a:t>
            </a:r>
            <a:r>
              <a:rPr lang="en-US" dirty="0" err="1"/>
              <a:t>liquidative</a:t>
            </a:r>
            <a:r>
              <a:rPr lang="en-US" dirty="0"/>
              <a:t> des OPCVM, </a:t>
            </a:r>
            <a:r>
              <a:rPr lang="en-US" dirty="0" err="1"/>
              <a:t>afin</a:t>
            </a:r>
            <a:r>
              <a:rPr lang="en-US" dirty="0"/>
              <a:t> de respecter  les </a:t>
            </a:r>
            <a:r>
              <a:rPr lang="en-US" dirty="0" err="1"/>
              <a:t>seuils</a:t>
            </a:r>
            <a:r>
              <a:rPr lang="en-US" dirty="0"/>
              <a:t> de </a:t>
            </a:r>
            <a:r>
              <a:rPr lang="en-US" dirty="0" err="1"/>
              <a:t>réservation</a:t>
            </a:r>
            <a:r>
              <a:rPr lang="en-US" dirty="0"/>
              <a:t> </a:t>
            </a:r>
            <a:r>
              <a:rPr lang="en-US" dirty="0" err="1"/>
              <a:t>fixés</a:t>
            </a:r>
            <a:r>
              <a:rPr lang="en-US" dirty="0"/>
              <a:t> par Euronext Paris SA. </a:t>
            </a:r>
          </a:p>
          <a:p>
            <a:pPr lvl="1">
              <a:lnSpc>
                <a:spcPct val="90000"/>
              </a:lnSpc>
            </a:pPr>
            <a:r>
              <a:rPr lang="en-US" dirty="0"/>
              <a:t> Germany </a:t>
            </a:r>
          </a:p>
          <a:p>
            <a:pPr lvl="1">
              <a:lnSpc>
                <a:spcPct val="90000"/>
              </a:lnSpc>
            </a:pPr>
            <a:r>
              <a:rPr lang="en-US" dirty="0"/>
              <a:t> Die </a:t>
            </a:r>
            <a:r>
              <a:rPr lang="en-US" dirty="0" err="1"/>
              <a:t>Verkaufsunterlagen</a:t>
            </a:r>
            <a:r>
              <a:rPr lang="en-US" dirty="0"/>
              <a:t> der in Deutschland  </a:t>
            </a:r>
            <a:r>
              <a:rPr lang="en-US" dirty="0" err="1"/>
              <a:t>zum</a:t>
            </a:r>
            <a:r>
              <a:rPr lang="en-US" dirty="0"/>
              <a:t> </a:t>
            </a:r>
            <a:r>
              <a:rPr lang="en-US" dirty="0" err="1"/>
              <a:t>öffentlichen</a:t>
            </a:r>
            <a:r>
              <a:rPr lang="en-US" dirty="0"/>
              <a:t> </a:t>
            </a:r>
            <a:r>
              <a:rPr lang="en-US" dirty="0" err="1"/>
              <a:t>Vertrieb</a:t>
            </a:r>
            <a:r>
              <a:rPr lang="en-US" dirty="0"/>
              <a:t> </a:t>
            </a:r>
            <a:r>
              <a:rPr lang="en-US" dirty="0" err="1"/>
              <a:t>registrierten</a:t>
            </a:r>
            <a:r>
              <a:rPr lang="en-US" dirty="0"/>
              <a:t> </a:t>
            </a:r>
            <a:r>
              <a:rPr lang="en-US" dirty="0" err="1"/>
              <a:t>Amundi</a:t>
            </a:r>
            <a:r>
              <a:rPr lang="en-US" dirty="0"/>
              <a:t> ETFs </a:t>
            </a:r>
            <a:r>
              <a:rPr lang="en-US" dirty="0" err="1"/>
              <a:t>sind</a:t>
            </a:r>
            <a:r>
              <a:rPr lang="en-US" dirty="0"/>
              <a:t> auf </a:t>
            </a:r>
            <a:r>
              <a:rPr lang="en-US" dirty="0" err="1"/>
              <a:t>Anfrage</a:t>
            </a:r>
            <a:r>
              <a:rPr lang="en-US" dirty="0"/>
              <a:t> </a:t>
            </a:r>
            <a:r>
              <a:rPr lang="en-US" dirty="0" err="1"/>
              <a:t>kostenlos</a:t>
            </a:r>
            <a:r>
              <a:rPr lang="en-US" dirty="0"/>
              <a:t> und </a:t>
            </a:r>
            <a:r>
              <a:rPr lang="en-US" dirty="0" err="1"/>
              <a:t>als</a:t>
            </a:r>
            <a:r>
              <a:rPr lang="en-US" dirty="0"/>
              <a:t> </a:t>
            </a:r>
            <a:r>
              <a:rPr lang="en-US" dirty="0" err="1"/>
              <a:t>Druckstücke</a:t>
            </a:r>
            <a:r>
              <a:rPr lang="en-US" dirty="0"/>
              <a:t> </a:t>
            </a:r>
            <a:r>
              <a:rPr lang="en-US" dirty="0" err="1"/>
              <a:t>bei</a:t>
            </a:r>
            <a:r>
              <a:rPr lang="en-US" dirty="0"/>
              <a:t> </a:t>
            </a:r>
            <a:r>
              <a:rPr lang="en-US" dirty="0" err="1"/>
              <a:t>Marcard</a:t>
            </a:r>
            <a:r>
              <a:rPr lang="en-US" dirty="0"/>
              <a:t>, Stein &amp; Co. AG, </a:t>
            </a:r>
            <a:r>
              <a:rPr lang="en-US" dirty="0" err="1"/>
              <a:t>Ballindamm</a:t>
            </a:r>
            <a:r>
              <a:rPr lang="en-US" dirty="0"/>
              <a:t> 36, 20095 Hamburg, Deutschland, </a:t>
            </a:r>
            <a:r>
              <a:rPr lang="en-US" dirty="0" err="1"/>
              <a:t>erhältlich</a:t>
            </a:r>
            <a:r>
              <a:rPr lang="en-US" dirty="0"/>
              <a:t>. Bei den </a:t>
            </a:r>
            <a:r>
              <a:rPr lang="en-US" dirty="0" err="1"/>
              <a:t>Fonds</a:t>
            </a:r>
            <a:r>
              <a:rPr lang="en-US" dirty="0"/>
              <a:t> </a:t>
            </a:r>
            <a:r>
              <a:rPr lang="en-US" dirty="0" err="1"/>
              <a:t>handelt</a:t>
            </a:r>
            <a:r>
              <a:rPr lang="en-US" dirty="0"/>
              <a:t> </a:t>
            </a:r>
            <a:r>
              <a:rPr lang="en-US" dirty="0" err="1"/>
              <a:t>es</a:t>
            </a:r>
            <a:r>
              <a:rPr lang="en-US" dirty="0"/>
              <a:t> </a:t>
            </a:r>
            <a:r>
              <a:rPr lang="en-US" dirty="0" err="1"/>
              <a:t>sich</a:t>
            </a:r>
            <a:r>
              <a:rPr lang="en-US" dirty="0"/>
              <a:t> um </a:t>
            </a:r>
            <a:r>
              <a:rPr lang="en-US" dirty="0" err="1"/>
              <a:t>Organismen</a:t>
            </a:r>
            <a:r>
              <a:rPr lang="en-US" dirty="0"/>
              <a:t> </a:t>
            </a:r>
            <a:r>
              <a:rPr lang="en-US" dirty="0" err="1"/>
              <a:t>für</a:t>
            </a:r>
            <a:r>
              <a:rPr lang="en-US" dirty="0"/>
              <a:t> </a:t>
            </a:r>
            <a:r>
              <a:rPr lang="en-US" dirty="0" err="1"/>
              <a:t>gemeinsame</a:t>
            </a:r>
            <a:r>
              <a:rPr lang="en-US" dirty="0"/>
              <a:t> Anlagen, die von der AMF </a:t>
            </a:r>
            <a:r>
              <a:rPr lang="en-US" dirty="0" err="1"/>
              <a:t>zugelassen</a:t>
            </a:r>
            <a:r>
              <a:rPr lang="en-US" dirty="0"/>
              <a:t> </a:t>
            </a:r>
            <a:r>
              <a:rPr lang="en-US" dirty="0" err="1"/>
              <a:t>sind</a:t>
            </a:r>
            <a:r>
              <a:rPr lang="en-US" dirty="0"/>
              <a:t>.“</a:t>
            </a:r>
          </a:p>
          <a:p>
            <a:pPr lvl="1">
              <a:lnSpc>
                <a:spcPct val="90000"/>
              </a:lnSpc>
            </a:pPr>
            <a:r>
              <a:rPr lang="en-US" dirty="0"/>
              <a:t>Austria</a:t>
            </a:r>
          </a:p>
          <a:p>
            <a:pPr lvl="1">
              <a:lnSpc>
                <a:spcPct val="90000"/>
              </a:lnSpc>
            </a:pPr>
            <a:r>
              <a:rPr lang="en-US" dirty="0"/>
              <a:t>The sales documentation of the Sub-Funds registered for public marketing in Germany are available free of charge and as printed copies at MEINL BANK AG an Austrian Bank with its registered office at </a:t>
            </a:r>
            <a:r>
              <a:rPr lang="en-US" dirty="0" err="1"/>
              <a:t>Bauernmarkt</a:t>
            </a:r>
            <a:r>
              <a:rPr lang="en-US" dirty="0"/>
              <a:t> 2, 1014 Wien, Austria, represented by </a:t>
            </a:r>
            <a:r>
              <a:rPr lang="en-US" dirty="0" err="1"/>
              <a:t>Mr</a:t>
            </a:r>
            <a:r>
              <a:rPr lang="en-US" dirty="0"/>
              <a:t> Robert </a:t>
            </a:r>
            <a:r>
              <a:rPr lang="en-US" dirty="0" err="1"/>
              <a:t>Kelfer</a:t>
            </a:r>
            <a:r>
              <a:rPr lang="en-US" dirty="0"/>
              <a:t> and </a:t>
            </a:r>
            <a:r>
              <a:rPr lang="en-US" dirty="0" err="1"/>
              <a:t>Mr</a:t>
            </a:r>
            <a:r>
              <a:rPr lang="en-US" dirty="0"/>
              <a:t> Peter </a:t>
            </a:r>
            <a:r>
              <a:rPr lang="en-US" dirty="0" err="1"/>
              <a:t>Grandl</a:t>
            </a:r>
            <a:r>
              <a:rPr lang="en-US" dirty="0"/>
              <a:t> as Director of </a:t>
            </a:r>
            <a:r>
              <a:rPr lang="en-US" dirty="0" err="1"/>
              <a:t>Meinl</a:t>
            </a:r>
            <a:r>
              <a:rPr lang="en-US" dirty="0"/>
              <a:t> Bank A.G. and Director of </a:t>
            </a:r>
            <a:r>
              <a:rPr lang="en-US" dirty="0" err="1"/>
              <a:t>Meinl</a:t>
            </a:r>
            <a:r>
              <a:rPr lang="en-US" dirty="0"/>
              <a:t> Bank A.G </a:t>
            </a:r>
          </a:p>
        </p:txBody>
      </p:sp>
      <p:sp>
        <p:nvSpPr>
          <p:cNvPr id="2" name="Espace réservé du numéro de diapositive 1">
            <a:extLst>
              <a:ext uri="{FF2B5EF4-FFF2-40B4-BE49-F238E27FC236}">
                <a16:creationId xmlns="" xmlns:a16="http://schemas.microsoft.com/office/drawing/2014/main" id="{810F2401-A8C6-4AE6-AB98-F60B422A0718}"/>
              </a:ext>
            </a:extLst>
          </p:cNvPr>
          <p:cNvSpPr>
            <a:spLocks noGrp="1"/>
          </p:cNvSpPr>
          <p:nvPr>
            <p:ph type="sldNum" sz="quarter" idx="11"/>
          </p:nvPr>
        </p:nvSpPr>
        <p:spPr/>
        <p:txBody>
          <a:bodyPr/>
          <a:lstStyle/>
          <a:p>
            <a:fld id="{2B1C6FFC-D040-034F-8B69-20295064E64D}" type="slidenum">
              <a:rPr lang="fr-FR" smtClean="0"/>
              <a:pPr/>
              <a:t>68</a:t>
            </a:fld>
            <a:endParaRPr lang="fr-FR" dirty="0"/>
          </a:p>
        </p:txBody>
      </p:sp>
      <p:sp>
        <p:nvSpPr>
          <p:cNvPr id="5"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Tree>
    <p:extLst>
      <p:ext uri="{BB962C8B-B14F-4D97-AF65-F5344CB8AC3E}">
        <p14:creationId xmlns:p14="http://schemas.microsoft.com/office/powerpoint/2010/main" val="395933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Content Placeholder 1"/>
          <p:cNvSpPr>
            <a:spLocks noGrp="1"/>
          </p:cNvSpPr>
          <p:nvPr>
            <p:ph type="body" sz="quarter" idx="12"/>
          </p:nvPr>
        </p:nvSpPr>
        <p:spPr>
          <a:xfrm>
            <a:off x="555625" y="751813"/>
            <a:ext cx="8063999" cy="5213797"/>
          </a:xfrm>
        </p:spPr>
        <p:txBody>
          <a:bodyPr anchor="t" anchorCtr="0"/>
          <a:lstStyle/>
          <a:p>
            <a:pPr>
              <a:lnSpc>
                <a:spcPct val="90000"/>
              </a:lnSpc>
            </a:pPr>
            <a:r>
              <a:rPr lang="fr-FR" dirty="0"/>
              <a:t>DISCLAIMER 3/3</a:t>
            </a:r>
            <a:endParaRPr lang="en-US" dirty="0"/>
          </a:p>
          <a:p>
            <a:pPr lvl="1">
              <a:lnSpc>
                <a:spcPct val="90000"/>
              </a:lnSpc>
            </a:pPr>
            <a:r>
              <a:rPr lang="en-US" dirty="0"/>
              <a:t>The Funds have been passported into Sweden pursuant to the Swedish Securities Funds Act (as amended) (Sw. lag (2004:46) om </a:t>
            </a:r>
            <a:r>
              <a:rPr lang="en-US" dirty="0" err="1"/>
              <a:t>värdepappersfonder</a:t>
            </a:r>
            <a:r>
              <a:rPr lang="en-US" dirty="0"/>
              <a:t>), implementing the UCITS IV Directive and may accordingly be distributed to Swedish investors. The Key Investor Information Document (“KIID”) (in Swedish) and the prospectuses for the funds, as well as the annual and semi-annual reports are also available from the Swedish paying agent free of charge. The name and details of the Swedish paying agent are: SKANDINAVISKA ENSKILDA BANKEN AB (</a:t>
            </a:r>
            <a:r>
              <a:rPr lang="en-US" dirty="0" err="1"/>
              <a:t>publ</a:t>
            </a:r>
            <a:r>
              <a:rPr lang="en-US" dirty="0"/>
              <a:t>) through its entity Transaction Banking, SEB Merchant Banking, with its principal offices </a:t>
            </a:r>
          </a:p>
          <a:p>
            <a:pPr lvl="1">
              <a:lnSpc>
                <a:spcPct val="90000"/>
              </a:lnSpc>
            </a:pPr>
            <a:r>
              <a:rPr lang="en-US" dirty="0"/>
              <a:t>Disclaimer MSCI</a:t>
            </a:r>
          </a:p>
          <a:p>
            <a:pPr lvl="1">
              <a:lnSpc>
                <a:spcPct val="90000"/>
              </a:lnSpc>
            </a:pPr>
            <a:r>
              <a:rPr lang="en-US" dirty="0"/>
              <a:t>The funds are not sponsored, endorsed, sold or promoted by Morgan Stanley Capital International Inc. (“MSCI”), any of its affiliates, any of its information providers or any other third party involved in, or related to, compiling, computing or creating any MSCI index (collectively, the “MSCI parties”). The MSCI indexes are the exclusive property of MSCI. MSCI and the MSCI index names are service mark(s) of MSCI or its affiliates and have been licensed for use for certain purposes by </a:t>
            </a:r>
            <a:r>
              <a:rPr lang="en-US" dirty="0" err="1"/>
              <a:t>Amundi</a:t>
            </a:r>
            <a:r>
              <a:rPr lang="en-US" dirty="0"/>
              <a:t> None of the MSCI parties makes any representation or warranty, express or implied, to the issuer or owners of this fund or any other person or entity regarding the advisability of investing in funds generally or in this fund particularly or the ability of any MSCI index to track corresponding stock market performance. A complete description of the MSCI indexes is available on request from MSCI. MSCI indexes are registered trademark of MSCI which are used to identify indexes it calculates and publishes. MSCI guarantees neither the value of the index at any given time nor the results or performance of products indexed against this index.</a:t>
            </a:r>
          </a:p>
          <a:p>
            <a:pPr lvl="1">
              <a:lnSpc>
                <a:spcPct val="90000"/>
              </a:lnSpc>
            </a:pPr>
            <a:r>
              <a:rPr lang="en-US" dirty="0"/>
              <a:t>Disclaimer Scientific Beta Developed Multi-Beta Multi-Strategy ERC</a:t>
            </a:r>
          </a:p>
          <a:p>
            <a:pPr lvl="1">
              <a:lnSpc>
                <a:spcPct val="90000"/>
              </a:lnSpc>
            </a:pPr>
            <a:r>
              <a:rPr lang="en-US" dirty="0"/>
              <a:t>The Scientific Beta Developed Multi-Beta Multi-Strategy ERC (the Index) referenced herein is the property of EDHEC Risk Institute Asia Ltd (ERIA) and has been licensed for use in connection with AMUNDI ETF GLOBAL EQUITY MULTI SMART ALLOCATION SCIENTIFIC BETA UCITS ETF within the framework of ERI Scientific Beta activity. The Index is calculated by ERI Scientific Beta on the basis of the EDHEC-Risk Institute methodology. </a:t>
            </a:r>
          </a:p>
          <a:p>
            <a:pPr lvl="1">
              <a:lnSpc>
                <a:spcPct val="90000"/>
              </a:lnSpc>
            </a:pPr>
            <a:r>
              <a:rPr lang="en-US" dirty="0"/>
              <a:t>Each party acknowledges and agrees that AMUNDI ETF GLOBAL EQUITY MULTI SMART ALLOCATION SCIENTIFIC BETA UCITS ETF is not sponsored or endorsed by ERIA. ERIA makes no representation whatsoever, whether express or implied, and hereby expressly disclaim all warranties (including without limitation, those of merchantability or fitness for a particular purpose or use), with respect to the Index or any data included therein or relating thereto, and in particular disclaim any warranty either as to the quality, accuracy and/or completeness of the Index or any data included therein, the results obtained from the use of the Index and/or the composition of the Index at any particular time on any particular date or otherwise and/or the creditworthiness of any entity, or the likelihood of the occurrence of a credit event or similar event (however defined) with respect to an obligation, in the Index at any particular time on any particular data or otherwise. ERIA shall not be liable (whether in negligence or otherwise) to the parties or any other person for any error in the Index and ERIA is under no obligation to advise the parties or any person of any error therein.</a:t>
            </a:r>
          </a:p>
          <a:p>
            <a:pPr lvl="1">
              <a:lnSpc>
                <a:spcPct val="90000"/>
              </a:lnSpc>
            </a:pPr>
            <a:r>
              <a:rPr lang="en-US" dirty="0"/>
              <a:t>ERIA makes no representation whatsoever, whether express or implied, as to the advisability of purchasing or selling AMUNDI ETF GLOBAL EQUITY MULTI SMART ALLOCATION SCIENTIFIC BETA UCITS ETF the ability of the Index to track relevant markets’ performances, or otherwise relating to the Index or any transaction or product with respect thereto, or of assuming any risks in connection therewith. ERIA has no obligation to take the needs of any party into consideration in determining, composing or calculating the Index. No party purchasing or selling AMUNDI ETF GLOBAL EQUITY MULTI SMART ALLOCATION SCIENTIFIC BETA UCITS ETF, nor ERIA, shall have any liability to any party for any act or failure to act by ERIA in connection with the determination, adjustment, calculation or maintenance of the Index.</a:t>
            </a:r>
          </a:p>
        </p:txBody>
      </p:sp>
      <p:sp>
        <p:nvSpPr>
          <p:cNvPr id="2" name="Espace réservé du numéro de diapositive 1">
            <a:extLst>
              <a:ext uri="{FF2B5EF4-FFF2-40B4-BE49-F238E27FC236}">
                <a16:creationId xmlns="" xmlns:a16="http://schemas.microsoft.com/office/drawing/2014/main" id="{5B3358A6-8EBF-45B5-A9DC-A5D2B25C113C}"/>
              </a:ext>
            </a:extLst>
          </p:cNvPr>
          <p:cNvSpPr>
            <a:spLocks noGrp="1"/>
          </p:cNvSpPr>
          <p:nvPr>
            <p:ph type="sldNum" sz="quarter" idx="11"/>
          </p:nvPr>
        </p:nvSpPr>
        <p:spPr/>
        <p:txBody>
          <a:bodyPr/>
          <a:lstStyle/>
          <a:p>
            <a:fld id="{2B1C6FFC-D040-034F-8B69-20295064E64D}" type="slidenum">
              <a:rPr lang="fr-FR" smtClean="0"/>
              <a:pPr/>
              <a:t>69</a:t>
            </a:fld>
            <a:endParaRPr lang="fr-FR" dirty="0"/>
          </a:p>
        </p:txBody>
      </p:sp>
      <p:sp>
        <p:nvSpPr>
          <p:cNvPr id="5"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3" name="Espace réservé du pied de page 2"/>
          <p:cNvSpPr>
            <a:spLocks noGrp="1"/>
          </p:cNvSpPr>
          <p:nvPr>
            <p:ph type="ftr" sz="quarter" idx="10"/>
          </p:nvPr>
        </p:nvSpPr>
        <p:spPr/>
        <p:txBody>
          <a:bodyPr/>
          <a:lstStyle/>
          <a:p>
            <a:r>
              <a:rPr lang="en-US" smtClean="0"/>
              <a:t>Smart Beta - Investment Solutions</a:t>
            </a:r>
            <a:endParaRPr lang="fr-FR" dirty="0"/>
          </a:p>
        </p:txBody>
      </p:sp>
    </p:spTree>
    <p:extLst>
      <p:ext uri="{BB962C8B-B14F-4D97-AF65-F5344CB8AC3E}">
        <p14:creationId xmlns:p14="http://schemas.microsoft.com/office/powerpoint/2010/main" val="123509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 xmlns:a16="http://schemas.microsoft.com/office/drawing/2014/main" id="{4395057F-18CF-41C8-AD7C-896D3312EF7D}"/>
              </a:ext>
            </a:extLst>
          </p:cNvPr>
          <p:cNvSpPr/>
          <p:nvPr/>
        </p:nvSpPr>
        <p:spPr>
          <a:xfrm>
            <a:off x="0" y="2130357"/>
            <a:ext cx="9144000" cy="3396686"/>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lIns="90000" rtlCol="0" anchor="ctr"/>
          <a:lstStyle/>
          <a:p>
            <a:pPr algn="ctr"/>
            <a:endParaRPr lang="fr-FR"/>
          </a:p>
        </p:txBody>
      </p:sp>
      <p:sp>
        <p:nvSpPr>
          <p:cNvPr id="2" name="Titre 1"/>
          <p:cNvSpPr>
            <a:spLocks noGrp="1"/>
          </p:cNvSpPr>
          <p:nvPr>
            <p:ph type="title"/>
          </p:nvPr>
        </p:nvSpPr>
        <p:spPr>
          <a:xfrm>
            <a:off x="540000" y="698265"/>
            <a:ext cx="8263341" cy="388800"/>
          </a:xfrm>
        </p:spPr>
        <p:txBody>
          <a:bodyPr>
            <a:normAutofit fontScale="90000"/>
          </a:bodyPr>
          <a:lstStyle/>
          <a:p>
            <a:r>
              <a:rPr lang="en-US" dirty="0"/>
              <a:t>Smart </a:t>
            </a:r>
            <a:r>
              <a:rPr lang="en-US" dirty="0" smtClean="0"/>
              <a:t>Beta &amp; Factor Investing </a:t>
            </a:r>
            <a:r>
              <a:rPr lang="en-US" dirty="0"/>
              <a:t>at Amundi - </a:t>
            </a:r>
            <a:r>
              <a:rPr lang="en-US" dirty="0">
                <a:solidFill>
                  <a:schemeClr val="accent1"/>
                </a:solidFill>
              </a:rPr>
              <a:t>Our philosophy</a:t>
            </a:r>
            <a:endParaRPr lang="fr-FR" dirty="0">
              <a:solidFill>
                <a:schemeClr val="accent1"/>
              </a:solidFill>
            </a:endParaRPr>
          </a:p>
        </p:txBody>
      </p:sp>
      <p:sp>
        <p:nvSpPr>
          <p:cNvPr id="4" name="Espace réservé du contenu 3"/>
          <p:cNvSpPr>
            <a:spLocks noGrp="1"/>
          </p:cNvSpPr>
          <p:nvPr>
            <p:ph sz="half" idx="2"/>
          </p:nvPr>
        </p:nvSpPr>
        <p:spPr>
          <a:xfrm>
            <a:off x="2715748" y="2523474"/>
            <a:ext cx="5761791" cy="2385268"/>
          </a:xfrm>
        </p:spPr>
        <p:txBody>
          <a:bodyPr wrap="square">
            <a:spAutoFit/>
          </a:bodyPr>
          <a:lstStyle/>
          <a:p>
            <a:pPr marL="6350" indent="0" algn="ctr">
              <a:spcAft>
                <a:spcPts val="1200"/>
              </a:spcAft>
              <a:buNone/>
            </a:pPr>
            <a:r>
              <a:rPr lang="en-US" sz="2000" dirty="0">
                <a:solidFill>
                  <a:schemeClr val="accent1"/>
                </a:solidFill>
              </a:rPr>
              <a:t>We strongly believe that:</a:t>
            </a:r>
          </a:p>
          <a:p>
            <a:pPr marL="6350" indent="0" algn="ctr">
              <a:spcAft>
                <a:spcPts val="1200"/>
              </a:spcAft>
              <a:buNone/>
            </a:pPr>
            <a:r>
              <a:rPr lang="en-US" dirty="0">
                <a:solidFill>
                  <a:schemeClr val="tx1"/>
                </a:solidFill>
              </a:rPr>
              <a:t>The best way to deliver consistent performance </a:t>
            </a:r>
            <a:br>
              <a:rPr lang="en-US" dirty="0">
                <a:solidFill>
                  <a:schemeClr val="tx1"/>
                </a:solidFill>
              </a:rPr>
            </a:br>
            <a:r>
              <a:rPr lang="en-US" dirty="0">
                <a:solidFill>
                  <a:schemeClr val="tx1"/>
                </a:solidFill>
              </a:rPr>
              <a:t>over the long term is by managing risks</a:t>
            </a:r>
          </a:p>
          <a:p>
            <a:pPr marL="6350" indent="0" algn="ctr">
              <a:spcAft>
                <a:spcPts val="1200"/>
              </a:spcAft>
              <a:buNone/>
            </a:pPr>
            <a:r>
              <a:rPr lang="en-US" dirty="0">
                <a:solidFill>
                  <a:schemeClr val="tx1"/>
                </a:solidFill>
              </a:rPr>
              <a:t>Risk is multifaceted, encompassing many aspects…</a:t>
            </a:r>
          </a:p>
          <a:p>
            <a:pPr marL="6350" indent="0" algn="ctr">
              <a:spcAft>
                <a:spcPts val="1200"/>
              </a:spcAft>
              <a:buNone/>
            </a:pPr>
            <a:r>
              <a:rPr lang="en-US" dirty="0">
                <a:solidFill>
                  <a:schemeClr val="tx1"/>
                </a:solidFill>
              </a:rPr>
              <a:t>… and can only be addressed properly through a scientific </a:t>
            </a:r>
            <a:br>
              <a:rPr lang="en-US" dirty="0">
                <a:solidFill>
                  <a:schemeClr val="tx1"/>
                </a:solidFill>
              </a:rPr>
            </a:br>
            <a:r>
              <a:rPr lang="en-US" dirty="0">
                <a:solidFill>
                  <a:schemeClr val="tx1"/>
                </a:solidFill>
              </a:rPr>
              <a:t>&amp; disciplined portfolio construction process</a:t>
            </a:r>
          </a:p>
        </p:txBody>
      </p:sp>
      <p:sp>
        <p:nvSpPr>
          <p:cNvPr id="6" name="Espace réservé du numéro de diapositive 5"/>
          <p:cNvSpPr>
            <a:spLocks noGrp="1"/>
          </p:cNvSpPr>
          <p:nvPr>
            <p:ph type="sldNum" sz="quarter" idx="12"/>
          </p:nvPr>
        </p:nvSpPr>
        <p:spPr/>
        <p:txBody>
          <a:bodyPr/>
          <a:lstStyle/>
          <a:p>
            <a:fld id="{2B1C6FFC-D040-034F-8B69-20295064E64D}" type="slidenum">
              <a:rPr lang="fr-FR" smtClean="0"/>
              <a:t>7</a:t>
            </a:fld>
            <a:endParaRPr lang="fr-FR" dirty="0"/>
          </a:p>
        </p:txBody>
      </p:sp>
      <p:pic>
        <p:nvPicPr>
          <p:cNvPr id="14" name="Picture 2" descr="P:\GESTION_RPSE\Core\RFP, Etudes et Présentations\Organigramme\photos\Smart Beta\Taillardat Bruno_01_pp.jpg">
            <a:extLst>
              <a:ext uri="{FF2B5EF4-FFF2-40B4-BE49-F238E27FC236}">
                <a16:creationId xmlns="" xmlns:a16="http://schemas.microsoft.com/office/drawing/2014/main" id="{CE2706CB-EE91-4D48-971E-9B1C8258D377}"/>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tretch/>
        </p:blipFill>
        <p:spPr bwMode="auto">
          <a:xfrm>
            <a:off x="514893" y="1831373"/>
            <a:ext cx="1775820" cy="2536887"/>
          </a:xfrm>
          <a:prstGeom prst="rect">
            <a:avLst/>
          </a:prstGeom>
          <a:extLst>
            <a:ext uri="{909E8E84-426E-40DD-AFC4-6F175D3DCCD1}">
              <a14:hiddenFill xmlns:a14="http://schemas.microsoft.com/office/drawing/2010/main">
                <a:solidFill>
                  <a:srgbClr val="FFFFFF"/>
                </a:solidFill>
              </a14:hiddenFill>
            </a:ext>
          </a:extLst>
        </p:spPr>
      </p:pic>
      <p:sp>
        <p:nvSpPr>
          <p:cNvPr id="17" name="Espace réservé du contenu 1">
            <a:extLst>
              <a:ext uri="{FF2B5EF4-FFF2-40B4-BE49-F238E27FC236}">
                <a16:creationId xmlns="" xmlns:a16="http://schemas.microsoft.com/office/drawing/2014/main" id="{5F6901E8-C0E6-49A0-B6F8-58349E674E5F}"/>
              </a:ext>
            </a:extLst>
          </p:cNvPr>
          <p:cNvSpPr txBox="1">
            <a:spLocks/>
          </p:cNvSpPr>
          <p:nvPr/>
        </p:nvSpPr>
        <p:spPr>
          <a:xfrm>
            <a:off x="540000" y="4459499"/>
            <a:ext cx="2551114" cy="658711"/>
          </a:xfrm>
          <a:prstGeom prst="rect">
            <a:avLst/>
          </a:prstGeom>
        </p:spPr>
        <p:txBody>
          <a:bodyPr vert="horz" lIns="0" tIns="0" rIns="0" bIns="0" rtlCol="0">
            <a:noAutofit/>
          </a:bodyPr>
          <a:lstStyle>
            <a:lvl1pPr marL="0" indent="0" algn="l" defTabSz="914400" rtl="0" eaLnBrk="1" latinLnBrk="0" hangingPunct="1">
              <a:spcBef>
                <a:spcPct val="20000"/>
              </a:spcBef>
              <a:buClr>
                <a:schemeClr val="accent3"/>
              </a:buClr>
              <a:buSzPct val="25000"/>
              <a:buFont typeface="Arial" pitchFamily="34" charset="0"/>
              <a:buChar char=" "/>
              <a:defRPr sz="1600" kern="1200">
                <a:solidFill>
                  <a:schemeClr val="tx1"/>
                </a:solidFill>
                <a:latin typeface="+mn-lt"/>
                <a:ea typeface="+mn-ea"/>
                <a:cs typeface="+mn-cs"/>
              </a:defRPr>
            </a:lvl1pPr>
            <a:lvl2pPr marL="265113" indent="-265113" algn="l" defTabSz="914400" rtl="0" eaLnBrk="1" latinLnBrk="0" hangingPunct="1">
              <a:spcBef>
                <a:spcPct val="20000"/>
              </a:spcBef>
              <a:buClr>
                <a:schemeClr val="accent3"/>
              </a:buClr>
              <a:buFont typeface="Wingdings" pitchFamily="2" charset="2"/>
              <a:buChar char="n"/>
              <a:defRPr sz="1600" kern="1200">
                <a:solidFill>
                  <a:schemeClr val="tx1"/>
                </a:solidFill>
                <a:latin typeface="+mn-lt"/>
                <a:ea typeface="+mn-ea"/>
                <a:cs typeface="+mn-cs"/>
              </a:defRPr>
            </a:lvl2pPr>
            <a:lvl3pPr marL="539750" indent="-274638"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3pPr>
            <a:lvl4pPr marL="539750" indent="-92075" algn="l" defTabSz="914400" rtl="0" eaLnBrk="1" latinLnBrk="0" hangingPunct="1">
              <a:spcBef>
                <a:spcPct val="20000"/>
              </a:spcBef>
              <a:buSzPct val="25000"/>
              <a:buFont typeface="Arial" pitchFamily="34" charset="0"/>
              <a:buChar char=" "/>
              <a:defRPr sz="1200" kern="1200">
                <a:solidFill>
                  <a:schemeClr val="tx1"/>
                </a:solidFill>
                <a:latin typeface="+mn-lt"/>
                <a:ea typeface="+mn-ea"/>
                <a:cs typeface="+mn-cs"/>
              </a:defRPr>
            </a:lvl4pPr>
            <a:lvl5pPr marL="804863" indent="0" algn="l" defTabSz="914400" rtl="0" eaLnBrk="1" latinLnBrk="0" hangingPunct="1">
              <a:spcBef>
                <a:spcPct val="20000"/>
              </a:spcBef>
              <a:buSzPct val="25000"/>
              <a:buFont typeface="Arial" pitchFamily="34" charset="0"/>
              <a:buChar char=" "/>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fr-FR" sz="1200" b="1" dirty="0">
                <a:solidFill>
                  <a:srgbClr val="002060"/>
                </a:solidFill>
                <a:cs typeface="Arial" panose="020B0604020202020204" pitchFamily="34" charset="0"/>
              </a:rPr>
              <a:t>Bruno Taillardat </a:t>
            </a:r>
          </a:p>
          <a:p>
            <a:r>
              <a:rPr lang="fr-FR" sz="1000" dirty="0">
                <a:solidFill>
                  <a:srgbClr val="002060"/>
                </a:solidFill>
                <a:cs typeface="Arial" panose="020B0604020202020204" pitchFamily="34" charset="0"/>
              </a:rPr>
              <a:t>Global Head of Smart Beta </a:t>
            </a:r>
            <a:br>
              <a:rPr lang="fr-FR" sz="1000" dirty="0">
                <a:solidFill>
                  <a:srgbClr val="002060"/>
                </a:solidFill>
                <a:cs typeface="Arial" panose="020B0604020202020204" pitchFamily="34" charset="0"/>
              </a:rPr>
            </a:br>
            <a:r>
              <a:rPr lang="fr-FR" sz="1000" dirty="0">
                <a:solidFill>
                  <a:srgbClr val="002060"/>
                </a:solidFill>
                <a:cs typeface="Arial" panose="020B0604020202020204" pitchFamily="34" charset="0"/>
              </a:rPr>
              <a:t>&amp; Factor Investing at Amundi</a:t>
            </a:r>
            <a:endParaRPr lang="en-US" sz="1000" b="1" dirty="0">
              <a:solidFill>
                <a:srgbClr val="002060"/>
              </a:solidFill>
            </a:endParaRPr>
          </a:p>
        </p:txBody>
      </p:sp>
      <p:grpSp>
        <p:nvGrpSpPr>
          <p:cNvPr id="25" name="Groupe 24">
            <a:extLst>
              <a:ext uri="{FF2B5EF4-FFF2-40B4-BE49-F238E27FC236}">
                <a16:creationId xmlns="" xmlns:a16="http://schemas.microsoft.com/office/drawing/2014/main" id="{13003064-D05B-47C4-8E1A-2F68B40176EB}"/>
              </a:ext>
            </a:extLst>
          </p:cNvPr>
          <p:cNvGrpSpPr/>
          <p:nvPr/>
        </p:nvGrpSpPr>
        <p:grpSpPr>
          <a:xfrm>
            <a:off x="3521412" y="2467756"/>
            <a:ext cx="564205" cy="410900"/>
            <a:chOff x="3360738" y="2522538"/>
            <a:chExt cx="2430463" cy="1770062"/>
          </a:xfrm>
        </p:grpSpPr>
        <p:sp>
          <p:nvSpPr>
            <p:cNvPr id="23" name="Freeform 5">
              <a:extLst>
                <a:ext uri="{FF2B5EF4-FFF2-40B4-BE49-F238E27FC236}">
                  <a16:creationId xmlns="" xmlns:a16="http://schemas.microsoft.com/office/drawing/2014/main" id="{D6F9219F-9445-4965-B6E8-2564BD73438A}"/>
                </a:ext>
              </a:extLst>
            </p:cNvPr>
            <p:cNvSpPr>
              <a:spLocks/>
            </p:cNvSpPr>
            <p:nvPr/>
          </p:nvSpPr>
          <p:spPr bwMode="auto">
            <a:xfrm>
              <a:off x="4672013" y="2522538"/>
              <a:ext cx="1119188" cy="1744663"/>
            </a:xfrm>
            <a:custGeom>
              <a:avLst/>
              <a:gdLst>
                <a:gd name="T0" fmla="*/ 139 w 263"/>
                <a:gd name="T1" fmla="*/ 409 h 409"/>
                <a:gd name="T2" fmla="*/ 116 w 263"/>
                <a:gd name="T3" fmla="*/ 389 h 409"/>
                <a:gd name="T4" fmla="*/ 7 w 263"/>
                <a:gd name="T5" fmla="*/ 154 h 409"/>
                <a:gd name="T6" fmla="*/ 55 w 263"/>
                <a:gd name="T7" fmla="*/ 33 h 409"/>
                <a:gd name="T8" fmla="*/ 201 w 263"/>
                <a:gd name="T9" fmla="*/ 29 h 409"/>
                <a:gd name="T10" fmla="*/ 249 w 263"/>
                <a:gd name="T11" fmla="*/ 167 h 409"/>
                <a:gd name="T12" fmla="*/ 141 w 263"/>
                <a:gd name="T13" fmla="*/ 253 h 409"/>
                <a:gd name="T14" fmla="*/ 112 w 263"/>
                <a:gd name="T15" fmla="*/ 256 h 409"/>
                <a:gd name="T16" fmla="*/ 88 w 263"/>
                <a:gd name="T17" fmla="*/ 293 h 409"/>
                <a:gd name="T18" fmla="*/ 116 w 263"/>
                <a:gd name="T19" fmla="*/ 357 h 409"/>
                <a:gd name="T20" fmla="*/ 138 w 263"/>
                <a:gd name="T21" fmla="*/ 392 h 409"/>
                <a:gd name="T22" fmla="*/ 144 w 263"/>
                <a:gd name="T23" fmla="*/ 406 h 409"/>
                <a:gd name="T24" fmla="*/ 139 w 263"/>
                <a:gd name="T25" fmla="*/ 409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409">
                  <a:moveTo>
                    <a:pt x="139" y="409"/>
                  </a:moveTo>
                  <a:cubicBezTo>
                    <a:pt x="132" y="403"/>
                    <a:pt x="123" y="397"/>
                    <a:pt x="116" y="389"/>
                  </a:cubicBezTo>
                  <a:cubicBezTo>
                    <a:pt x="59" y="320"/>
                    <a:pt x="18" y="243"/>
                    <a:pt x="7" y="154"/>
                  </a:cubicBezTo>
                  <a:cubicBezTo>
                    <a:pt x="0" y="105"/>
                    <a:pt x="10" y="61"/>
                    <a:pt x="55" y="33"/>
                  </a:cubicBezTo>
                  <a:cubicBezTo>
                    <a:pt x="102" y="3"/>
                    <a:pt x="152" y="0"/>
                    <a:pt x="201" y="29"/>
                  </a:cubicBezTo>
                  <a:cubicBezTo>
                    <a:pt x="245" y="54"/>
                    <a:pt x="263" y="110"/>
                    <a:pt x="249" y="167"/>
                  </a:cubicBezTo>
                  <a:cubicBezTo>
                    <a:pt x="237" y="217"/>
                    <a:pt x="195" y="250"/>
                    <a:pt x="141" y="253"/>
                  </a:cubicBezTo>
                  <a:cubicBezTo>
                    <a:pt x="131" y="254"/>
                    <a:pt x="122" y="254"/>
                    <a:pt x="112" y="256"/>
                  </a:cubicBezTo>
                  <a:cubicBezTo>
                    <a:pt x="92" y="260"/>
                    <a:pt x="82" y="274"/>
                    <a:pt x="88" y="293"/>
                  </a:cubicBezTo>
                  <a:cubicBezTo>
                    <a:pt x="95" y="315"/>
                    <a:pt x="106" y="336"/>
                    <a:pt x="116" y="357"/>
                  </a:cubicBezTo>
                  <a:cubicBezTo>
                    <a:pt x="122" y="369"/>
                    <a:pt x="131" y="380"/>
                    <a:pt x="138" y="392"/>
                  </a:cubicBezTo>
                  <a:cubicBezTo>
                    <a:pt x="140" y="396"/>
                    <a:pt x="142" y="401"/>
                    <a:pt x="144" y="406"/>
                  </a:cubicBezTo>
                  <a:cubicBezTo>
                    <a:pt x="142" y="407"/>
                    <a:pt x="141" y="408"/>
                    <a:pt x="139" y="409"/>
                  </a:cubicBezTo>
                  <a:close/>
                </a:path>
              </a:pathLst>
            </a:custGeom>
            <a:noFill/>
            <a:ln w="19050">
              <a:solidFill>
                <a:schemeClr val="accent1"/>
              </a:solidFill>
            </a:ln>
          </p:spPr>
          <p:txBody>
            <a:bodyPr vert="horz" wrap="square" lIns="91440" tIns="45720" rIns="91440" bIns="45720" numCol="1" anchor="t" anchorCtr="0" compatLnSpc="1">
              <a:prstTxWarp prst="textNoShape">
                <a:avLst/>
              </a:prstTxWarp>
            </a:bodyPr>
            <a:lstStyle/>
            <a:p>
              <a:endParaRPr lang="fr-FR"/>
            </a:p>
          </p:txBody>
        </p:sp>
        <p:sp>
          <p:nvSpPr>
            <p:cNvPr id="24" name="Freeform 6">
              <a:extLst>
                <a:ext uri="{FF2B5EF4-FFF2-40B4-BE49-F238E27FC236}">
                  <a16:creationId xmlns="" xmlns:a16="http://schemas.microsoft.com/office/drawing/2014/main" id="{67C32908-282B-4670-B25A-251051CFD412}"/>
                </a:ext>
              </a:extLst>
            </p:cNvPr>
            <p:cNvSpPr>
              <a:spLocks/>
            </p:cNvSpPr>
            <p:nvPr/>
          </p:nvSpPr>
          <p:spPr bwMode="auto">
            <a:xfrm>
              <a:off x="3360738" y="2565400"/>
              <a:ext cx="1119188" cy="1727200"/>
            </a:xfrm>
            <a:custGeom>
              <a:avLst/>
              <a:gdLst>
                <a:gd name="T0" fmla="*/ 140 w 263"/>
                <a:gd name="T1" fmla="*/ 405 h 405"/>
                <a:gd name="T2" fmla="*/ 115 w 263"/>
                <a:gd name="T3" fmla="*/ 383 h 405"/>
                <a:gd name="T4" fmla="*/ 31 w 263"/>
                <a:gd name="T5" fmla="*/ 241 h 405"/>
                <a:gd name="T6" fmla="*/ 7 w 263"/>
                <a:gd name="T7" fmla="*/ 141 h 405"/>
                <a:gd name="T8" fmla="*/ 121 w 263"/>
                <a:gd name="T9" fmla="*/ 5 h 405"/>
                <a:gd name="T10" fmla="*/ 240 w 263"/>
                <a:gd name="T11" fmla="*/ 65 h 405"/>
                <a:gd name="T12" fmla="*/ 227 w 263"/>
                <a:gd name="T13" fmla="*/ 208 h 405"/>
                <a:gd name="T14" fmla="*/ 135 w 263"/>
                <a:gd name="T15" fmla="*/ 249 h 405"/>
                <a:gd name="T16" fmla="*/ 95 w 263"/>
                <a:gd name="T17" fmla="*/ 312 h 405"/>
                <a:gd name="T18" fmla="*/ 132 w 263"/>
                <a:gd name="T19" fmla="*/ 378 h 405"/>
                <a:gd name="T20" fmla="*/ 144 w 263"/>
                <a:gd name="T21" fmla="*/ 400 h 405"/>
                <a:gd name="T22" fmla="*/ 140 w 263"/>
                <a:gd name="T23" fmla="*/ 40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405">
                  <a:moveTo>
                    <a:pt x="140" y="405"/>
                  </a:moveTo>
                  <a:cubicBezTo>
                    <a:pt x="131" y="398"/>
                    <a:pt x="122" y="391"/>
                    <a:pt x="115" y="383"/>
                  </a:cubicBezTo>
                  <a:cubicBezTo>
                    <a:pt x="78" y="341"/>
                    <a:pt x="50" y="293"/>
                    <a:pt x="31" y="241"/>
                  </a:cubicBezTo>
                  <a:cubicBezTo>
                    <a:pt x="20" y="209"/>
                    <a:pt x="10" y="175"/>
                    <a:pt x="7" y="141"/>
                  </a:cubicBezTo>
                  <a:cubicBezTo>
                    <a:pt x="0" y="63"/>
                    <a:pt x="43" y="14"/>
                    <a:pt x="121" y="5"/>
                  </a:cubicBezTo>
                  <a:cubicBezTo>
                    <a:pt x="169" y="0"/>
                    <a:pt x="219" y="25"/>
                    <a:pt x="240" y="65"/>
                  </a:cubicBezTo>
                  <a:cubicBezTo>
                    <a:pt x="263" y="108"/>
                    <a:pt x="257" y="173"/>
                    <a:pt x="227" y="208"/>
                  </a:cubicBezTo>
                  <a:cubicBezTo>
                    <a:pt x="202" y="235"/>
                    <a:pt x="171" y="247"/>
                    <a:pt x="135" y="249"/>
                  </a:cubicBezTo>
                  <a:cubicBezTo>
                    <a:pt x="89" y="251"/>
                    <a:pt x="76" y="269"/>
                    <a:pt x="95" y="312"/>
                  </a:cubicBezTo>
                  <a:cubicBezTo>
                    <a:pt x="105" y="335"/>
                    <a:pt x="120" y="356"/>
                    <a:pt x="132" y="378"/>
                  </a:cubicBezTo>
                  <a:cubicBezTo>
                    <a:pt x="137" y="385"/>
                    <a:pt x="140" y="393"/>
                    <a:pt x="144" y="400"/>
                  </a:cubicBezTo>
                  <a:cubicBezTo>
                    <a:pt x="143" y="402"/>
                    <a:pt x="141" y="403"/>
                    <a:pt x="140" y="405"/>
                  </a:cubicBezTo>
                  <a:close/>
                </a:path>
              </a:pathLst>
            </a:custGeom>
            <a:noFill/>
            <a:ln w="19050">
              <a:solidFill>
                <a:schemeClr val="accent1"/>
              </a:solidFill>
            </a:ln>
          </p:spPr>
          <p:txBody>
            <a:bodyPr vert="horz" wrap="square" lIns="91440" tIns="45720" rIns="91440" bIns="45720" numCol="1" anchor="t" anchorCtr="0" compatLnSpc="1">
              <a:prstTxWarp prst="textNoShape">
                <a:avLst/>
              </a:prstTxWarp>
            </a:bodyPr>
            <a:lstStyle/>
            <a:p>
              <a:endParaRPr lang="fr-FR"/>
            </a:p>
          </p:txBody>
        </p:sp>
      </p:grpSp>
      <p:grpSp>
        <p:nvGrpSpPr>
          <p:cNvPr id="26" name="Groupe 25">
            <a:extLst>
              <a:ext uri="{FF2B5EF4-FFF2-40B4-BE49-F238E27FC236}">
                <a16:creationId xmlns="" xmlns:a16="http://schemas.microsoft.com/office/drawing/2014/main" id="{D3C5D6DE-B414-41D0-87E1-96BE188B43FF}"/>
              </a:ext>
            </a:extLst>
          </p:cNvPr>
          <p:cNvGrpSpPr/>
          <p:nvPr/>
        </p:nvGrpSpPr>
        <p:grpSpPr>
          <a:xfrm rot="10800000">
            <a:off x="7577844" y="4728271"/>
            <a:ext cx="564205" cy="410900"/>
            <a:chOff x="3360738" y="2522538"/>
            <a:chExt cx="2430463" cy="1770062"/>
          </a:xfrm>
        </p:grpSpPr>
        <p:sp>
          <p:nvSpPr>
            <p:cNvPr id="27" name="Freeform 5">
              <a:extLst>
                <a:ext uri="{FF2B5EF4-FFF2-40B4-BE49-F238E27FC236}">
                  <a16:creationId xmlns="" xmlns:a16="http://schemas.microsoft.com/office/drawing/2014/main" id="{1EAD2CF6-A410-4402-908A-FCEDA8E19C0D}"/>
                </a:ext>
              </a:extLst>
            </p:cNvPr>
            <p:cNvSpPr>
              <a:spLocks/>
            </p:cNvSpPr>
            <p:nvPr/>
          </p:nvSpPr>
          <p:spPr bwMode="auto">
            <a:xfrm>
              <a:off x="4672013" y="2522538"/>
              <a:ext cx="1119188" cy="1744663"/>
            </a:xfrm>
            <a:custGeom>
              <a:avLst/>
              <a:gdLst>
                <a:gd name="T0" fmla="*/ 139 w 263"/>
                <a:gd name="T1" fmla="*/ 409 h 409"/>
                <a:gd name="T2" fmla="*/ 116 w 263"/>
                <a:gd name="T3" fmla="*/ 389 h 409"/>
                <a:gd name="T4" fmla="*/ 7 w 263"/>
                <a:gd name="T5" fmla="*/ 154 h 409"/>
                <a:gd name="T6" fmla="*/ 55 w 263"/>
                <a:gd name="T7" fmla="*/ 33 h 409"/>
                <a:gd name="T8" fmla="*/ 201 w 263"/>
                <a:gd name="T9" fmla="*/ 29 h 409"/>
                <a:gd name="T10" fmla="*/ 249 w 263"/>
                <a:gd name="T11" fmla="*/ 167 h 409"/>
                <a:gd name="T12" fmla="*/ 141 w 263"/>
                <a:gd name="T13" fmla="*/ 253 h 409"/>
                <a:gd name="T14" fmla="*/ 112 w 263"/>
                <a:gd name="T15" fmla="*/ 256 h 409"/>
                <a:gd name="T16" fmla="*/ 88 w 263"/>
                <a:gd name="T17" fmla="*/ 293 h 409"/>
                <a:gd name="T18" fmla="*/ 116 w 263"/>
                <a:gd name="T19" fmla="*/ 357 h 409"/>
                <a:gd name="T20" fmla="*/ 138 w 263"/>
                <a:gd name="T21" fmla="*/ 392 h 409"/>
                <a:gd name="T22" fmla="*/ 144 w 263"/>
                <a:gd name="T23" fmla="*/ 406 h 409"/>
                <a:gd name="T24" fmla="*/ 139 w 263"/>
                <a:gd name="T25" fmla="*/ 409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409">
                  <a:moveTo>
                    <a:pt x="139" y="409"/>
                  </a:moveTo>
                  <a:cubicBezTo>
                    <a:pt x="132" y="403"/>
                    <a:pt x="123" y="397"/>
                    <a:pt x="116" y="389"/>
                  </a:cubicBezTo>
                  <a:cubicBezTo>
                    <a:pt x="59" y="320"/>
                    <a:pt x="18" y="243"/>
                    <a:pt x="7" y="154"/>
                  </a:cubicBezTo>
                  <a:cubicBezTo>
                    <a:pt x="0" y="105"/>
                    <a:pt x="10" y="61"/>
                    <a:pt x="55" y="33"/>
                  </a:cubicBezTo>
                  <a:cubicBezTo>
                    <a:pt x="102" y="3"/>
                    <a:pt x="152" y="0"/>
                    <a:pt x="201" y="29"/>
                  </a:cubicBezTo>
                  <a:cubicBezTo>
                    <a:pt x="245" y="54"/>
                    <a:pt x="263" y="110"/>
                    <a:pt x="249" y="167"/>
                  </a:cubicBezTo>
                  <a:cubicBezTo>
                    <a:pt x="237" y="217"/>
                    <a:pt x="195" y="250"/>
                    <a:pt x="141" y="253"/>
                  </a:cubicBezTo>
                  <a:cubicBezTo>
                    <a:pt x="131" y="254"/>
                    <a:pt x="122" y="254"/>
                    <a:pt x="112" y="256"/>
                  </a:cubicBezTo>
                  <a:cubicBezTo>
                    <a:pt x="92" y="260"/>
                    <a:pt x="82" y="274"/>
                    <a:pt x="88" y="293"/>
                  </a:cubicBezTo>
                  <a:cubicBezTo>
                    <a:pt x="95" y="315"/>
                    <a:pt x="106" y="336"/>
                    <a:pt x="116" y="357"/>
                  </a:cubicBezTo>
                  <a:cubicBezTo>
                    <a:pt x="122" y="369"/>
                    <a:pt x="131" y="380"/>
                    <a:pt x="138" y="392"/>
                  </a:cubicBezTo>
                  <a:cubicBezTo>
                    <a:pt x="140" y="396"/>
                    <a:pt x="142" y="401"/>
                    <a:pt x="144" y="406"/>
                  </a:cubicBezTo>
                  <a:cubicBezTo>
                    <a:pt x="142" y="407"/>
                    <a:pt x="141" y="408"/>
                    <a:pt x="139" y="409"/>
                  </a:cubicBezTo>
                  <a:close/>
                </a:path>
              </a:pathLst>
            </a:custGeom>
            <a:noFill/>
            <a:ln w="19050">
              <a:solidFill>
                <a:schemeClr val="accent1"/>
              </a:solidFill>
            </a:ln>
          </p:spPr>
          <p:txBody>
            <a:bodyPr vert="horz" wrap="square" lIns="91440" tIns="45720" rIns="91440" bIns="45720" numCol="1" anchor="t" anchorCtr="0" compatLnSpc="1">
              <a:prstTxWarp prst="textNoShape">
                <a:avLst/>
              </a:prstTxWarp>
            </a:bodyPr>
            <a:lstStyle/>
            <a:p>
              <a:endParaRPr lang="fr-FR"/>
            </a:p>
          </p:txBody>
        </p:sp>
        <p:sp>
          <p:nvSpPr>
            <p:cNvPr id="28" name="Freeform 6">
              <a:extLst>
                <a:ext uri="{FF2B5EF4-FFF2-40B4-BE49-F238E27FC236}">
                  <a16:creationId xmlns="" xmlns:a16="http://schemas.microsoft.com/office/drawing/2014/main" id="{F93179B2-F068-45D4-8F9E-F9E083806C6C}"/>
                </a:ext>
              </a:extLst>
            </p:cNvPr>
            <p:cNvSpPr>
              <a:spLocks/>
            </p:cNvSpPr>
            <p:nvPr/>
          </p:nvSpPr>
          <p:spPr bwMode="auto">
            <a:xfrm>
              <a:off x="3360738" y="2565400"/>
              <a:ext cx="1119188" cy="1727200"/>
            </a:xfrm>
            <a:custGeom>
              <a:avLst/>
              <a:gdLst>
                <a:gd name="T0" fmla="*/ 140 w 263"/>
                <a:gd name="T1" fmla="*/ 405 h 405"/>
                <a:gd name="T2" fmla="*/ 115 w 263"/>
                <a:gd name="T3" fmla="*/ 383 h 405"/>
                <a:gd name="T4" fmla="*/ 31 w 263"/>
                <a:gd name="T5" fmla="*/ 241 h 405"/>
                <a:gd name="T6" fmla="*/ 7 w 263"/>
                <a:gd name="T7" fmla="*/ 141 h 405"/>
                <a:gd name="T8" fmla="*/ 121 w 263"/>
                <a:gd name="T9" fmla="*/ 5 h 405"/>
                <a:gd name="T10" fmla="*/ 240 w 263"/>
                <a:gd name="T11" fmla="*/ 65 h 405"/>
                <a:gd name="T12" fmla="*/ 227 w 263"/>
                <a:gd name="T13" fmla="*/ 208 h 405"/>
                <a:gd name="T14" fmla="*/ 135 w 263"/>
                <a:gd name="T15" fmla="*/ 249 h 405"/>
                <a:gd name="T16" fmla="*/ 95 w 263"/>
                <a:gd name="T17" fmla="*/ 312 h 405"/>
                <a:gd name="T18" fmla="*/ 132 w 263"/>
                <a:gd name="T19" fmla="*/ 378 h 405"/>
                <a:gd name="T20" fmla="*/ 144 w 263"/>
                <a:gd name="T21" fmla="*/ 400 h 405"/>
                <a:gd name="T22" fmla="*/ 140 w 263"/>
                <a:gd name="T23" fmla="*/ 40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405">
                  <a:moveTo>
                    <a:pt x="140" y="405"/>
                  </a:moveTo>
                  <a:cubicBezTo>
                    <a:pt x="131" y="398"/>
                    <a:pt x="122" y="391"/>
                    <a:pt x="115" y="383"/>
                  </a:cubicBezTo>
                  <a:cubicBezTo>
                    <a:pt x="78" y="341"/>
                    <a:pt x="50" y="293"/>
                    <a:pt x="31" y="241"/>
                  </a:cubicBezTo>
                  <a:cubicBezTo>
                    <a:pt x="20" y="209"/>
                    <a:pt x="10" y="175"/>
                    <a:pt x="7" y="141"/>
                  </a:cubicBezTo>
                  <a:cubicBezTo>
                    <a:pt x="0" y="63"/>
                    <a:pt x="43" y="14"/>
                    <a:pt x="121" y="5"/>
                  </a:cubicBezTo>
                  <a:cubicBezTo>
                    <a:pt x="169" y="0"/>
                    <a:pt x="219" y="25"/>
                    <a:pt x="240" y="65"/>
                  </a:cubicBezTo>
                  <a:cubicBezTo>
                    <a:pt x="263" y="108"/>
                    <a:pt x="257" y="173"/>
                    <a:pt x="227" y="208"/>
                  </a:cubicBezTo>
                  <a:cubicBezTo>
                    <a:pt x="202" y="235"/>
                    <a:pt x="171" y="247"/>
                    <a:pt x="135" y="249"/>
                  </a:cubicBezTo>
                  <a:cubicBezTo>
                    <a:pt x="89" y="251"/>
                    <a:pt x="76" y="269"/>
                    <a:pt x="95" y="312"/>
                  </a:cubicBezTo>
                  <a:cubicBezTo>
                    <a:pt x="105" y="335"/>
                    <a:pt x="120" y="356"/>
                    <a:pt x="132" y="378"/>
                  </a:cubicBezTo>
                  <a:cubicBezTo>
                    <a:pt x="137" y="385"/>
                    <a:pt x="140" y="393"/>
                    <a:pt x="144" y="400"/>
                  </a:cubicBezTo>
                  <a:cubicBezTo>
                    <a:pt x="143" y="402"/>
                    <a:pt x="141" y="403"/>
                    <a:pt x="140" y="405"/>
                  </a:cubicBezTo>
                  <a:close/>
                </a:path>
              </a:pathLst>
            </a:custGeom>
            <a:noFill/>
            <a:ln w="19050">
              <a:solidFill>
                <a:schemeClr val="accent1"/>
              </a:solidFill>
            </a:ln>
          </p:spPr>
          <p:txBody>
            <a:bodyPr vert="horz" wrap="square" lIns="91440" tIns="45720" rIns="91440" bIns="45720" numCol="1" anchor="t" anchorCtr="0" compatLnSpc="1">
              <a:prstTxWarp prst="textNoShape">
                <a:avLst/>
              </a:prstTxWarp>
            </a:bodyPr>
            <a:lstStyle/>
            <a:p>
              <a:endParaRPr lang="fr-FR"/>
            </a:p>
          </p:txBody>
        </p:sp>
      </p:grpSp>
      <p:sp>
        <p:nvSpPr>
          <p:cNvPr id="15" name="Espace réservé du pied de page 29">
            <a:extLst>
              <a:ext uri="{FF2B5EF4-FFF2-40B4-BE49-F238E27FC236}">
                <a16:creationId xmlns="" xmlns:a16="http://schemas.microsoft.com/office/drawing/2014/main" id="{2F4B790A-6EFD-4658-B73D-98008C1C5B5F}"/>
              </a:ext>
            </a:extLst>
          </p:cNvPr>
          <p:cNvSpPr>
            <a:spLocks noGrp="1"/>
          </p:cNvSpPr>
          <p:nvPr>
            <p:ph type="ftr" sz="quarter" idx="11"/>
          </p:nvPr>
        </p:nvSpPr>
        <p:spPr>
          <a:xfrm>
            <a:off x="796719" y="6480000"/>
            <a:ext cx="5212196" cy="180000"/>
          </a:xfrm>
        </p:spPr>
        <p:txBody>
          <a:bodyPr/>
          <a:lstStyle/>
          <a:p>
            <a:r>
              <a:rPr lang="en-US" dirty="0"/>
              <a:t>Smart Beta - Investment </a:t>
            </a:r>
            <a:r>
              <a:rPr lang="en-US" dirty="0" smtClean="0"/>
              <a:t>Solutions</a:t>
            </a:r>
            <a:endParaRPr lang="fr-FR" dirty="0"/>
          </a:p>
        </p:txBody>
      </p:sp>
    </p:spTree>
    <p:extLst>
      <p:ext uri="{BB962C8B-B14F-4D97-AF65-F5344CB8AC3E}">
        <p14:creationId xmlns:p14="http://schemas.microsoft.com/office/powerpoint/2010/main" val="145758274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3"/>
          <p:cNvSpPr>
            <a:spLocks noGrp="1"/>
          </p:cNvSpPr>
          <p:nvPr>
            <p:ph type="body" sz="quarter" idx="11"/>
          </p:nvPr>
        </p:nvSpPr>
        <p:spPr>
          <a:xfrm>
            <a:off x="568896" y="1326969"/>
            <a:ext cx="8106792" cy="718940"/>
          </a:xfrm>
        </p:spPr>
        <p:txBody>
          <a:bodyPr>
            <a:normAutofit/>
          </a:bodyPr>
          <a:lstStyle/>
          <a:p>
            <a:pPr marL="4762" lvl="1" indent="0" algn="just">
              <a:spcBef>
                <a:spcPts val="600"/>
              </a:spcBef>
              <a:buClr>
                <a:schemeClr val="accent1"/>
              </a:buClr>
              <a:buNone/>
            </a:pPr>
            <a:r>
              <a:rPr lang="en-US" b="1" kern="200" dirty="0" smtClean="0">
                <a:solidFill>
                  <a:srgbClr val="002060"/>
                </a:solidFill>
              </a:rPr>
              <a:t>A broad range of strategies to </a:t>
            </a:r>
            <a:r>
              <a:rPr lang="en-US" b="1" kern="200" dirty="0">
                <a:solidFill>
                  <a:srgbClr val="002060"/>
                </a:solidFill>
              </a:rPr>
              <a:t>address investors’ challenges &amp; </a:t>
            </a:r>
            <a:r>
              <a:rPr lang="en-US" b="1" kern="200" dirty="0" smtClean="0">
                <a:solidFill>
                  <a:srgbClr val="002060"/>
                </a:solidFill>
              </a:rPr>
              <a:t>requirements</a:t>
            </a:r>
            <a:r>
              <a:rPr lang="en-US" kern="200" dirty="0" smtClean="0">
                <a:solidFill>
                  <a:srgbClr val="002060"/>
                </a:solidFill>
              </a:rPr>
              <a:t>, implemented in open-ended funds and dedicated mandates </a:t>
            </a:r>
          </a:p>
          <a:p>
            <a:pPr marL="4762" lvl="1" indent="0" algn="just">
              <a:spcBef>
                <a:spcPts val="600"/>
              </a:spcBef>
              <a:buClr>
                <a:schemeClr val="accent1"/>
              </a:buClr>
              <a:buNone/>
            </a:pPr>
            <a:endParaRPr lang="en-US" sz="1600" dirty="0" smtClean="0">
              <a:solidFill>
                <a:srgbClr val="002060"/>
              </a:solidFill>
            </a:endParaRPr>
          </a:p>
        </p:txBody>
      </p:sp>
      <p:sp>
        <p:nvSpPr>
          <p:cNvPr id="6" name="Titre 1"/>
          <p:cNvSpPr>
            <a:spLocks noGrp="1"/>
          </p:cNvSpPr>
          <p:nvPr>
            <p:ph type="title"/>
          </p:nvPr>
        </p:nvSpPr>
        <p:spPr>
          <a:xfrm>
            <a:off x="539750" y="692696"/>
            <a:ext cx="8135938" cy="360363"/>
          </a:xfrm>
        </p:spPr>
        <p:txBody>
          <a:bodyPr anchor="ctr" anchorCtr="0">
            <a:normAutofit fontScale="90000"/>
          </a:bodyPr>
          <a:lstStyle/>
          <a:p>
            <a:r>
              <a:rPr lang="fr-FR" sz="2400" dirty="0"/>
              <a:t>Smart Beta</a:t>
            </a:r>
            <a:r>
              <a:rPr lang="en-US" sz="2400" dirty="0"/>
              <a:t> &amp; Factor Investing</a:t>
            </a:r>
            <a:r>
              <a:rPr lang="fr-FR" sz="2400" dirty="0"/>
              <a:t> at Amundi </a:t>
            </a:r>
            <a:r>
              <a:rPr lang="fr-FR" sz="2400" dirty="0" smtClean="0"/>
              <a:t>– </a:t>
            </a:r>
            <a:r>
              <a:rPr lang="fr-FR" sz="2400" dirty="0" smtClean="0">
                <a:solidFill>
                  <a:schemeClr val="accent1"/>
                </a:solidFill>
              </a:rPr>
              <a:t>Our solutions</a:t>
            </a:r>
            <a:endParaRPr lang="en-US" sz="2400" dirty="0"/>
          </a:p>
        </p:txBody>
      </p:sp>
      <p:sp>
        <p:nvSpPr>
          <p:cNvPr id="13" name="Rectangle 12"/>
          <p:cNvSpPr/>
          <p:nvPr/>
        </p:nvSpPr>
        <p:spPr>
          <a:xfrm>
            <a:off x="624964" y="1905680"/>
            <a:ext cx="3902468" cy="432014"/>
          </a:xfrm>
          <a:prstGeom prst="wedgeRectCallout">
            <a:avLst>
              <a:gd name="adj1" fmla="val -21947"/>
              <a:gd name="adj2" fmla="val 5095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5000"/>
              </a:lnSpc>
              <a:spcBef>
                <a:spcPct val="50000"/>
              </a:spcBef>
            </a:pPr>
            <a:r>
              <a:rPr lang="en-GB" sz="1600" b="1" dirty="0">
                <a:solidFill>
                  <a:schemeClr val="bg1"/>
                </a:solidFill>
                <a:ea typeface="ＭＳ Ｐゴシック" charset="-128"/>
              </a:rPr>
              <a:t>RISK EFFICIENT SOLUTIONS</a:t>
            </a:r>
          </a:p>
        </p:txBody>
      </p:sp>
      <p:sp>
        <p:nvSpPr>
          <p:cNvPr id="14" name="Rectangle 13"/>
          <p:cNvSpPr/>
          <p:nvPr/>
        </p:nvSpPr>
        <p:spPr>
          <a:xfrm>
            <a:off x="4792953" y="1905680"/>
            <a:ext cx="3960440" cy="432014"/>
          </a:xfrm>
          <a:prstGeom prst="wedgeRectCallout">
            <a:avLst>
              <a:gd name="adj1" fmla="val -20683"/>
              <a:gd name="adj2" fmla="val 4573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5000"/>
              </a:lnSpc>
              <a:spcBef>
                <a:spcPct val="50000"/>
              </a:spcBef>
            </a:pPr>
            <a:r>
              <a:rPr lang="en-GB" sz="1600" b="1" dirty="0">
                <a:solidFill>
                  <a:schemeClr val="bg1"/>
                </a:solidFill>
                <a:ea typeface="ＭＳ Ｐゴシック" charset="-128"/>
              </a:rPr>
              <a:t>FACTOR INVESTING SOLUTIONS</a:t>
            </a:r>
          </a:p>
        </p:txBody>
      </p:sp>
      <p:sp>
        <p:nvSpPr>
          <p:cNvPr id="15" name="Forme libre 14"/>
          <p:cNvSpPr/>
          <p:nvPr/>
        </p:nvSpPr>
        <p:spPr>
          <a:xfrm>
            <a:off x="624965" y="2411770"/>
            <a:ext cx="3902467" cy="109612"/>
          </a:xfrm>
          <a:custGeom>
            <a:avLst/>
            <a:gdLst>
              <a:gd name="connsiteX0" fmla="*/ 0 w 3452812"/>
              <a:gd name="connsiteY0" fmla="*/ 4762 h 171450"/>
              <a:gd name="connsiteX1" fmla="*/ 1323975 w 3452812"/>
              <a:gd name="connsiteY1" fmla="*/ 4762 h 171450"/>
              <a:gd name="connsiteX2" fmla="*/ 1323975 w 3452812"/>
              <a:gd name="connsiteY2" fmla="*/ 171450 h 171450"/>
              <a:gd name="connsiteX3" fmla="*/ 1695450 w 3452812"/>
              <a:gd name="connsiteY3" fmla="*/ 0 h 171450"/>
              <a:gd name="connsiteX4" fmla="*/ 3452812 w 3452812"/>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812" h="171450">
                <a:moveTo>
                  <a:pt x="0" y="4762"/>
                </a:moveTo>
                <a:lnTo>
                  <a:pt x="1323975" y="4762"/>
                </a:lnTo>
                <a:lnTo>
                  <a:pt x="1323975" y="171450"/>
                </a:lnTo>
                <a:lnTo>
                  <a:pt x="1695450" y="0"/>
                </a:lnTo>
                <a:lnTo>
                  <a:pt x="3452812"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orme libre 15"/>
          <p:cNvSpPr/>
          <p:nvPr/>
        </p:nvSpPr>
        <p:spPr>
          <a:xfrm>
            <a:off x="4792953" y="2407435"/>
            <a:ext cx="3960440" cy="113947"/>
          </a:xfrm>
          <a:custGeom>
            <a:avLst/>
            <a:gdLst>
              <a:gd name="connsiteX0" fmla="*/ 0 w 3452812"/>
              <a:gd name="connsiteY0" fmla="*/ 4762 h 171450"/>
              <a:gd name="connsiteX1" fmla="*/ 1323975 w 3452812"/>
              <a:gd name="connsiteY1" fmla="*/ 4762 h 171450"/>
              <a:gd name="connsiteX2" fmla="*/ 1323975 w 3452812"/>
              <a:gd name="connsiteY2" fmla="*/ 171450 h 171450"/>
              <a:gd name="connsiteX3" fmla="*/ 1695450 w 3452812"/>
              <a:gd name="connsiteY3" fmla="*/ 0 h 171450"/>
              <a:gd name="connsiteX4" fmla="*/ 3452812 w 3452812"/>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812" h="171450">
                <a:moveTo>
                  <a:pt x="0" y="4762"/>
                </a:moveTo>
                <a:lnTo>
                  <a:pt x="1323975" y="4762"/>
                </a:lnTo>
                <a:lnTo>
                  <a:pt x="1323975" y="171450"/>
                </a:lnTo>
                <a:lnTo>
                  <a:pt x="1695450" y="0"/>
                </a:lnTo>
                <a:lnTo>
                  <a:pt x="3452812"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12"/>
          <p:cNvSpPr/>
          <p:nvPr/>
        </p:nvSpPr>
        <p:spPr>
          <a:xfrm>
            <a:off x="648933" y="2819002"/>
            <a:ext cx="3902468" cy="659118"/>
          </a:xfrm>
          <a:prstGeom prst="wedgeRectCallout">
            <a:avLst>
              <a:gd name="adj1" fmla="val -21947"/>
              <a:gd name="adj2" fmla="val 50959"/>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5000"/>
              </a:lnSpc>
              <a:spcBef>
                <a:spcPct val="50000"/>
              </a:spcBef>
            </a:pPr>
            <a:r>
              <a:rPr lang="en-US" sz="1200" b="1" dirty="0">
                <a:solidFill>
                  <a:srgbClr val="002060"/>
                </a:solidFill>
                <a:ea typeface="ＭＳ Ｐゴシック" charset="-128"/>
              </a:rPr>
              <a:t>Minimum </a:t>
            </a:r>
            <a:r>
              <a:rPr lang="en-US" sz="1200" b="1" dirty="0" smtClean="0">
                <a:solidFill>
                  <a:srgbClr val="002060"/>
                </a:solidFill>
                <a:ea typeface="ＭＳ Ｐゴシック" charset="-128"/>
              </a:rPr>
              <a:t>Variance </a:t>
            </a:r>
          </a:p>
          <a:p>
            <a:pPr algn="ctr" eaLnBrk="0" hangingPunct="0">
              <a:lnSpc>
                <a:spcPct val="85000"/>
              </a:lnSpc>
              <a:spcBef>
                <a:spcPct val="50000"/>
              </a:spcBef>
            </a:pPr>
            <a:r>
              <a:rPr lang="en-US" sz="1200" kern="0" dirty="0" smtClean="0">
                <a:solidFill>
                  <a:srgbClr val="002060"/>
                </a:solidFill>
              </a:rPr>
              <a:t>(Conservative flagship range)</a:t>
            </a:r>
            <a:endParaRPr lang="en-US" sz="1200" kern="0" dirty="0">
              <a:solidFill>
                <a:srgbClr val="002060"/>
              </a:solidFill>
            </a:endParaRPr>
          </a:p>
        </p:txBody>
      </p:sp>
      <p:sp>
        <p:nvSpPr>
          <p:cNvPr id="28" name="Rectangle 13"/>
          <p:cNvSpPr/>
          <p:nvPr/>
        </p:nvSpPr>
        <p:spPr>
          <a:xfrm>
            <a:off x="4792953" y="4241580"/>
            <a:ext cx="3902468" cy="674836"/>
          </a:xfrm>
          <a:prstGeom prst="wedgeRectCallout">
            <a:avLst>
              <a:gd name="adj1" fmla="val -20683"/>
              <a:gd name="adj2" fmla="val 45731"/>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77" fontAlgn="base">
              <a:lnSpc>
                <a:spcPct val="85000"/>
              </a:lnSpc>
              <a:spcBef>
                <a:spcPct val="0"/>
              </a:spcBef>
              <a:spcAft>
                <a:spcPct val="0"/>
              </a:spcAft>
            </a:pPr>
            <a:r>
              <a:rPr lang="en-GB" altLang="fr-FR" sz="1200" b="1" kern="0" dirty="0">
                <a:solidFill>
                  <a:srgbClr val="002060"/>
                </a:solidFill>
              </a:rPr>
              <a:t>Risk-based Dynamic Factor Allocation </a:t>
            </a:r>
          </a:p>
          <a:p>
            <a:pPr algn="ctr" defTabSz="914077" fontAlgn="base">
              <a:lnSpc>
                <a:spcPct val="85000"/>
              </a:lnSpc>
              <a:spcBef>
                <a:spcPct val="0"/>
              </a:spcBef>
              <a:spcAft>
                <a:spcPct val="0"/>
              </a:spcAft>
            </a:pPr>
            <a:endParaRPr lang="en-GB" altLang="fr-FR" sz="1200" b="1" kern="0" dirty="0">
              <a:solidFill>
                <a:srgbClr val="002060"/>
              </a:solidFill>
            </a:endParaRPr>
          </a:p>
          <a:p>
            <a:pPr algn="ctr" defTabSz="914077" fontAlgn="base">
              <a:lnSpc>
                <a:spcPct val="85000"/>
              </a:lnSpc>
              <a:spcBef>
                <a:spcPct val="0"/>
              </a:spcBef>
              <a:spcAft>
                <a:spcPct val="0"/>
              </a:spcAft>
            </a:pPr>
            <a:r>
              <a:rPr lang="en-GB" altLang="fr-FR" sz="1200" kern="0" dirty="0">
                <a:solidFill>
                  <a:srgbClr val="002060"/>
                </a:solidFill>
              </a:rPr>
              <a:t>(Amundi Smart Beta </a:t>
            </a:r>
            <a:r>
              <a:rPr lang="en-GB" altLang="fr-FR" sz="1200" kern="0" dirty="0" smtClean="0">
                <a:solidFill>
                  <a:srgbClr val="002060"/>
                </a:solidFill>
              </a:rPr>
              <a:t>Platform proprietary strategy)</a:t>
            </a:r>
            <a:endParaRPr lang="en-GB" altLang="fr-FR" sz="1200" kern="0" dirty="0">
              <a:solidFill>
                <a:srgbClr val="002060"/>
              </a:solidFill>
            </a:endParaRPr>
          </a:p>
        </p:txBody>
      </p:sp>
      <p:sp>
        <p:nvSpPr>
          <p:cNvPr id="29" name="Rectangle 12"/>
          <p:cNvSpPr/>
          <p:nvPr/>
        </p:nvSpPr>
        <p:spPr>
          <a:xfrm>
            <a:off x="648934" y="3540684"/>
            <a:ext cx="3902468" cy="651823"/>
          </a:xfrm>
          <a:prstGeom prst="wedgeRectCallout">
            <a:avLst>
              <a:gd name="adj1" fmla="val -21947"/>
              <a:gd name="adj2" fmla="val 50959"/>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5000"/>
              </a:lnSpc>
              <a:spcBef>
                <a:spcPct val="50000"/>
              </a:spcBef>
            </a:pPr>
            <a:r>
              <a:rPr lang="en-US" sz="1200" b="1" dirty="0">
                <a:solidFill>
                  <a:srgbClr val="002060"/>
                </a:solidFill>
              </a:rPr>
              <a:t>Risk </a:t>
            </a:r>
            <a:r>
              <a:rPr lang="en-US" sz="1200" b="1" dirty="0" smtClean="0">
                <a:solidFill>
                  <a:srgbClr val="002060"/>
                </a:solidFill>
              </a:rPr>
              <a:t>Parity Strategy</a:t>
            </a:r>
            <a:endParaRPr lang="en-US" sz="1200" b="1" dirty="0">
              <a:solidFill>
                <a:srgbClr val="002060"/>
              </a:solidFill>
              <a:ea typeface="ＭＳ Ｐゴシック" charset="-128"/>
            </a:endParaRPr>
          </a:p>
        </p:txBody>
      </p:sp>
      <p:sp>
        <p:nvSpPr>
          <p:cNvPr id="30" name="Rectangle 29"/>
          <p:cNvSpPr/>
          <p:nvPr/>
        </p:nvSpPr>
        <p:spPr>
          <a:xfrm>
            <a:off x="624964" y="2490429"/>
            <a:ext cx="3950406" cy="341277"/>
          </a:xfrm>
          <a:prstGeom prst="rect">
            <a:avLst/>
          </a:prstGeom>
          <a:noFill/>
          <a:ln w="19050" cmpd="sng">
            <a:noFill/>
          </a:ln>
        </p:spPr>
        <p:txBody>
          <a:bodyPr wrap="square" rtlCol="0" anchor="t">
            <a:noAutofit/>
          </a:bodyPr>
          <a:lstStyle/>
          <a:p>
            <a:pPr algn="ctr">
              <a:buClr>
                <a:srgbClr val="002060"/>
              </a:buClr>
            </a:pPr>
            <a:r>
              <a:rPr lang="en-US" sz="1200" b="1" dirty="0" smtClean="0">
                <a:solidFill>
                  <a:schemeClr val="tx1">
                    <a:lumMod val="50000"/>
                    <a:lumOff val="50000"/>
                  </a:schemeClr>
                </a:solidFill>
              </a:rPr>
              <a:t>To </a:t>
            </a:r>
            <a:r>
              <a:rPr lang="en-US" sz="1200" b="1" dirty="0">
                <a:solidFill>
                  <a:schemeClr val="tx1">
                    <a:lumMod val="50000"/>
                    <a:lumOff val="50000"/>
                  </a:schemeClr>
                </a:solidFill>
              </a:rPr>
              <a:t>A</a:t>
            </a:r>
            <a:r>
              <a:rPr lang="en-US" sz="1200" b="1" dirty="0" smtClean="0">
                <a:solidFill>
                  <a:schemeClr val="tx1">
                    <a:lumMod val="50000"/>
                    <a:lumOff val="50000"/>
                  </a:schemeClr>
                </a:solidFill>
              </a:rPr>
              <a:t>void Unrewarded Risks</a:t>
            </a:r>
            <a:endParaRPr lang="en-US" sz="1200" b="1" dirty="0">
              <a:solidFill>
                <a:schemeClr val="tx1">
                  <a:lumMod val="50000"/>
                  <a:lumOff val="50000"/>
                </a:schemeClr>
              </a:solidFill>
            </a:endParaRPr>
          </a:p>
        </p:txBody>
      </p:sp>
      <p:sp>
        <p:nvSpPr>
          <p:cNvPr id="22" name="Rectangle 12"/>
          <p:cNvSpPr/>
          <p:nvPr/>
        </p:nvSpPr>
        <p:spPr>
          <a:xfrm>
            <a:off x="4792953" y="2819002"/>
            <a:ext cx="3902468" cy="659118"/>
          </a:xfrm>
          <a:prstGeom prst="wedgeRectCallout">
            <a:avLst>
              <a:gd name="adj1" fmla="val -21947"/>
              <a:gd name="adj2" fmla="val 50959"/>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85000"/>
              </a:lnSpc>
              <a:spcBef>
                <a:spcPct val="50000"/>
              </a:spcBef>
            </a:pPr>
            <a:r>
              <a:rPr lang="en-US" sz="1200" b="1" dirty="0" smtClean="0">
                <a:solidFill>
                  <a:srgbClr val="002060"/>
                </a:solidFill>
              </a:rPr>
              <a:t>Single Factors </a:t>
            </a:r>
          </a:p>
          <a:p>
            <a:pPr algn="ctr" eaLnBrk="0" hangingPunct="0">
              <a:lnSpc>
                <a:spcPct val="85000"/>
              </a:lnSpc>
              <a:spcBef>
                <a:spcPct val="50000"/>
              </a:spcBef>
            </a:pPr>
            <a:r>
              <a:rPr lang="en-US" sz="1200" kern="0" dirty="0" smtClean="0">
                <a:solidFill>
                  <a:srgbClr val="002060"/>
                </a:solidFill>
              </a:rPr>
              <a:t>(</a:t>
            </a:r>
            <a:r>
              <a:rPr lang="en-US" sz="1200" kern="0" dirty="0">
                <a:solidFill>
                  <a:srgbClr val="002060"/>
                </a:solidFill>
              </a:rPr>
              <a:t>MSCI ETF </a:t>
            </a:r>
            <a:r>
              <a:rPr lang="en-US" sz="1200" kern="0" dirty="0" smtClean="0">
                <a:solidFill>
                  <a:srgbClr val="002060"/>
                </a:solidFill>
              </a:rPr>
              <a:t>Europe/US Factor </a:t>
            </a:r>
            <a:r>
              <a:rPr lang="en-US" sz="1200" kern="0" dirty="0">
                <a:solidFill>
                  <a:srgbClr val="002060"/>
                </a:solidFill>
              </a:rPr>
              <a:t>Range)</a:t>
            </a:r>
          </a:p>
        </p:txBody>
      </p:sp>
      <p:sp>
        <p:nvSpPr>
          <p:cNvPr id="24" name="Rectangle 12"/>
          <p:cNvSpPr/>
          <p:nvPr/>
        </p:nvSpPr>
        <p:spPr>
          <a:xfrm>
            <a:off x="4792953" y="3524782"/>
            <a:ext cx="3902468" cy="651823"/>
          </a:xfrm>
          <a:prstGeom prst="wedgeRectCallout">
            <a:avLst>
              <a:gd name="adj1" fmla="val -21947"/>
              <a:gd name="adj2" fmla="val 50959"/>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77" fontAlgn="base">
              <a:lnSpc>
                <a:spcPct val="85000"/>
              </a:lnSpc>
              <a:spcBef>
                <a:spcPct val="0"/>
              </a:spcBef>
              <a:spcAft>
                <a:spcPct val="0"/>
              </a:spcAft>
              <a:defRPr/>
            </a:pPr>
            <a:endParaRPr lang="en-GB" altLang="fr-FR" sz="1200" b="1" kern="0" dirty="0" smtClean="0">
              <a:solidFill>
                <a:srgbClr val="002060"/>
              </a:solidFill>
            </a:endParaRPr>
          </a:p>
          <a:p>
            <a:pPr algn="ctr" defTabSz="914077" fontAlgn="base">
              <a:lnSpc>
                <a:spcPct val="85000"/>
              </a:lnSpc>
              <a:spcBef>
                <a:spcPct val="0"/>
              </a:spcBef>
              <a:spcAft>
                <a:spcPct val="0"/>
              </a:spcAft>
              <a:defRPr/>
            </a:pPr>
            <a:endParaRPr lang="en-GB" altLang="fr-FR" sz="1200" b="1" kern="0" dirty="0" smtClean="0">
              <a:solidFill>
                <a:srgbClr val="002060"/>
              </a:solidFill>
            </a:endParaRPr>
          </a:p>
          <a:p>
            <a:pPr algn="ctr" defTabSz="914077" fontAlgn="base">
              <a:lnSpc>
                <a:spcPct val="85000"/>
              </a:lnSpc>
              <a:spcBef>
                <a:spcPct val="0"/>
              </a:spcBef>
              <a:spcAft>
                <a:spcPct val="0"/>
              </a:spcAft>
              <a:defRPr/>
            </a:pPr>
            <a:endParaRPr lang="en-GB" altLang="fr-FR" sz="1200" b="1" kern="0" dirty="0">
              <a:solidFill>
                <a:srgbClr val="002060"/>
              </a:solidFill>
            </a:endParaRPr>
          </a:p>
          <a:p>
            <a:pPr algn="ctr" defTabSz="914077" fontAlgn="base">
              <a:lnSpc>
                <a:spcPct val="85000"/>
              </a:lnSpc>
              <a:spcBef>
                <a:spcPct val="0"/>
              </a:spcBef>
              <a:spcAft>
                <a:spcPct val="0"/>
              </a:spcAft>
              <a:defRPr/>
            </a:pPr>
            <a:r>
              <a:rPr lang="en-GB" altLang="fr-FR" sz="1200" kern="0" dirty="0" smtClean="0">
                <a:solidFill>
                  <a:srgbClr val="002060"/>
                </a:solidFill>
              </a:rPr>
              <a:t> (ERI Scientific Beta partnership / passive solutions)</a:t>
            </a:r>
            <a:endParaRPr lang="en-GB" altLang="fr-FR" sz="1200" kern="0" dirty="0">
              <a:solidFill>
                <a:srgbClr val="002060"/>
              </a:solidFill>
            </a:endParaRPr>
          </a:p>
        </p:txBody>
      </p:sp>
      <p:sp>
        <p:nvSpPr>
          <p:cNvPr id="25" name="Rectangle 13"/>
          <p:cNvSpPr/>
          <p:nvPr/>
        </p:nvSpPr>
        <p:spPr>
          <a:xfrm>
            <a:off x="4792953" y="5443631"/>
            <a:ext cx="3902468" cy="674836"/>
          </a:xfrm>
          <a:prstGeom prst="wedgeRectCallout">
            <a:avLst>
              <a:gd name="adj1" fmla="val -20683"/>
              <a:gd name="adj2" fmla="val 45731"/>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77" fontAlgn="base">
              <a:lnSpc>
                <a:spcPct val="85000"/>
              </a:lnSpc>
              <a:spcBef>
                <a:spcPct val="0"/>
              </a:spcBef>
              <a:spcAft>
                <a:spcPct val="0"/>
              </a:spcAft>
              <a:defRPr/>
            </a:pPr>
            <a:r>
              <a:rPr lang="en-GB" altLang="fr-FR" sz="1200" b="1" kern="0" dirty="0">
                <a:solidFill>
                  <a:srgbClr val="002060"/>
                </a:solidFill>
              </a:rPr>
              <a:t>Return-based Dynamic </a:t>
            </a:r>
            <a:r>
              <a:rPr lang="en-GB" altLang="fr-FR" sz="1200" b="1" kern="0" dirty="0" smtClean="0">
                <a:solidFill>
                  <a:srgbClr val="002060"/>
                </a:solidFill>
              </a:rPr>
              <a:t>Factor allocation</a:t>
            </a:r>
          </a:p>
          <a:p>
            <a:pPr algn="ctr" defTabSz="914077" fontAlgn="base">
              <a:lnSpc>
                <a:spcPct val="85000"/>
              </a:lnSpc>
              <a:spcBef>
                <a:spcPct val="0"/>
              </a:spcBef>
              <a:spcAft>
                <a:spcPct val="0"/>
              </a:spcAft>
              <a:defRPr/>
            </a:pPr>
            <a:endParaRPr lang="en-GB" altLang="fr-FR" sz="1200" b="1" kern="0" dirty="0">
              <a:solidFill>
                <a:srgbClr val="002060"/>
              </a:solidFill>
            </a:endParaRPr>
          </a:p>
          <a:p>
            <a:pPr algn="ctr" defTabSz="914077" fontAlgn="base">
              <a:lnSpc>
                <a:spcPct val="85000"/>
              </a:lnSpc>
              <a:spcBef>
                <a:spcPct val="0"/>
              </a:spcBef>
              <a:spcAft>
                <a:spcPct val="0"/>
              </a:spcAft>
              <a:defRPr/>
            </a:pPr>
            <a:r>
              <a:rPr lang="en-GB" altLang="fr-FR" sz="1200" kern="0" dirty="0">
                <a:solidFill>
                  <a:srgbClr val="002060"/>
                </a:solidFill>
              </a:rPr>
              <a:t>(CPR AM, </a:t>
            </a:r>
            <a:r>
              <a:rPr lang="en-GB" altLang="fr-FR" sz="1200" kern="0" dirty="0" err="1">
                <a:solidFill>
                  <a:srgbClr val="002060"/>
                </a:solidFill>
              </a:rPr>
              <a:t>Amundi’s</a:t>
            </a:r>
            <a:r>
              <a:rPr lang="en-GB" altLang="fr-FR" sz="1200" kern="0" dirty="0">
                <a:solidFill>
                  <a:srgbClr val="002060"/>
                </a:solidFill>
              </a:rPr>
              <a:t> quant boutique strategy)</a:t>
            </a:r>
          </a:p>
        </p:txBody>
      </p:sp>
      <p:sp>
        <p:nvSpPr>
          <p:cNvPr id="26" name="Rectangle 25"/>
          <p:cNvSpPr/>
          <p:nvPr/>
        </p:nvSpPr>
        <p:spPr>
          <a:xfrm>
            <a:off x="4814193" y="2490429"/>
            <a:ext cx="3950406" cy="333447"/>
          </a:xfrm>
          <a:prstGeom prst="rect">
            <a:avLst/>
          </a:prstGeom>
          <a:noFill/>
          <a:ln w="19050" cmpd="sng">
            <a:noFill/>
          </a:ln>
        </p:spPr>
        <p:txBody>
          <a:bodyPr wrap="square" rtlCol="0" anchor="t">
            <a:noAutofit/>
          </a:bodyPr>
          <a:lstStyle/>
          <a:p>
            <a:pPr algn="ctr">
              <a:buClr>
                <a:srgbClr val="002060"/>
              </a:buClr>
            </a:pPr>
            <a:r>
              <a:rPr lang="en-US" sz="1200" b="1" dirty="0" smtClean="0">
                <a:solidFill>
                  <a:schemeClr val="accent3"/>
                </a:solidFill>
              </a:rPr>
              <a:t>To Capture  Rewarded Risk Factors</a:t>
            </a:r>
            <a:endParaRPr lang="en-US" sz="1200" b="1" dirty="0">
              <a:solidFill>
                <a:schemeClr val="accent3"/>
              </a:solidFill>
            </a:endParaRPr>
          </a:p>
        </p:txBody>
      </p:sp>
      <p:sp>
        <p:nvSpPr>
          <p:cNvPr id="31" name="Rectangle 30"/>
          <p:cNvSpPr/>
          <p:nvPr/>
        </p:nvSpPr>
        <p:spPr>
          <a:xfrm>
            <a:off x="4797970" y="5186223"/>
            <a:ext cx="3950406" cy="333447"/>
          </a:xfrm>
          <a:prstGeom prst="rect">
            <a:avLst/>
          </a:prstGeom>
          <a:noFill/>
          <a:ln w="19050" cmpd="sng">
            <a:noFill/>
          </a:ln>
        </p:spPr>
        <p:txBody>
          <a:bodyPr wrap="square" rtlCol="0" anchor="t">
            <a:noAutofit/>
          </a:bodyPr>
          <a:lstStyle/>
          <a:p>
            <a:pPr algn="ctr">
              <a:buClr>
                <a:srgbClr val="002060"/>
              </a:buClr>
            </a:pPr>
            <a:r>
              <a:rPr lang="en-US" sz="1200" b="1" dirty="0" smtClean="0">
                <a:solidFill>
                  <a:schemeClr val="accent3"/>
                </a:solidFill>
              </a:rPr>
              <a:t>To Capture Alpha Factors</a:t>
            </a:r>
            <a:endParaRPr lang="en-US" sz="1200" b="1" dirty="0">
              <a:solidFill>
                <a:schemeClr val="accent3"/>
              </a:solidFill>
            </a:endParaRPr>
          </a:p>
        </p:txBody>
      </p:sp>
      <p:sp>
        <p:nvSpPr>
          <p:cNvPr id="20" name="Forme libre 15"/>
          <p:cNvSpPr/>
          <p:nvPr/>
        </p:nvSpPr>
        <p:spPr>
          <a:xfrm>
            <a:off x="4763967" y="5072276"/>
            <a:ext cx="3960440" cy="113947"/>
          </a:xfrm>
          <a:custGeom>
            <a:avLst/>
            <a:gdLst>
              <a:gd name="connsiteX0" fmla="*/ 0 w 3452812"/>
              <a:gd name="connsiteY0" fmla="*/ 4762 h 171450"/>
              <a:gd name="connsiteX1" fmla="*/ 1323975 w 3452812"/>
              <a:gd name="connsiteY1" fmla="*/ 4762 h 171450"/>
              <a:gd name="connsiteX2" fmla="*/ 1323975 w 3452812"/>
              <a:gd name="connsiteY2" fmla="*/ 171450 h 171450"/>
              <a:gd name="connsiteX3" fmla="*/ 1695450 w 3452812"/>
              <a:gd name="connsiteY3" fmla="*/ 0 h 171450"/>
              <a:gd name="connsiteX4" fmla="*/ 3452812 w 3452812"/>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2812" h="171450">
                <a:moveTo>
                  <a:pt x="0" y="4762"/>
                </a:moveTo>
                <a:lnTo>
                  <a:pt x="1323975" y="4762"/>
                </a:lnTo>
                <a:lnTo>
                  <a:pt x="1323975" y="171450"/>
                </a:lnTo>
                <a:lnTo>
                  <a:pt x="1695450" y="0"/>
                </a:lnTo>
                <a:lnTo>
                  <a:pt x="3452812"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6150" y="3588850"/>
            <a:ext cx="264001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Espace réservé du numéro de diapositive 5"/>
          <p:cNvSpPr txBox="1">
            <a:spLocks/>
          </p:cNvSpPr>
          <p:nvPr/>
        </p:nvSpPr>
        <p:spPr>
          <a:xfrm>
            <a:off x="521528" y="6443056"/>
            <a:ext cx="180000" cy="180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B1C6FFC-D040-034F-8B69-20295064E64D}" type="slidenum">
              <a:rPr lang="fr-FR" sz="800"/>
              <a:pPr/>
              <a:t>8</a:t>
            </a:fld>
            <a:endParaRPr lang="fr-FR" sz="800" dirty="0"/>
          </a:p>
        </p:txBody>
      </p:sp>
      <p:sp>
        <p:nvSpPr>
          <p:cNvPr id="23"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Tree>
    <p:extLst>
      <p:ext uri="{BB962C8B-B14F-4D97-AF65-F5344CB8AC3E}">
        <p14:creationId xmlns:p14="http://schemas.microsoft.com/office/powerpoint/2010/main" val="37819907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8396A9D1-35F6-4C29-B434-62A6558852DE}"/>
              </a:ext>
            </a:extLst>
          </p:cNvPr>
          <p:cNvSpPr>
            <a:spLocks noGrp="1"/>
          </p:cNvSpPr>
          <p:nvPr>
            <p:ph type="title"/>
          </p:nvPr>
        </p:nvSpPr>
        <p:spPr/>
        <p:txBody>
          <a:bodyPr>
            <a:normAutofit fontScale="90000"/>
          </a:bodyPr>
          <a:lstStyle/>
          <a:p>
            <a:r>
              <a:rPr lang="fr-FR" dirty="0"/>
              <a:t>Smart </a:t>
            </a:r>
            <a:r>
              <a:rPr lang="fr-FR" dirty="0" smtClean="0"/>
              <a:t>Beta</a:t>
            </a:r>
            <a:r>
              <a:rPr lang="en-US" dirty="0"/>
              <a:t> &amp; Factor Investing</a:t>
            </a:r>
            <a:r>
              <a:rPr lang="fr-FR" dirty="0" smtClean="0"/>
              <a:t> </a:t>
            </a:r>
            <a:r>
              <a:rPr lang="fr-FR" dirty="0"/>
              <a:t>at Amundi - </a:t>
            </a:r>
            <a:r>
              <a:rPr lang="fr-FR" dirty="0">
                <a:solidFill>
                  <a:schemeClr val="accent1"/>
                </a:solidFill>
              </a:rPr>
              <a:t>In a </a:t>
            </a:r>
            <a:r>
              <a:rPr lang="fr-FR" dirty="0" err="1">
                <a:solidFill>
                  <a:schemeClr val="accent1"/>
                </a:solidFill>
              </a:rPr>
              <a:t>nutshell</a:t>
            </a:r>
            <a:endParaRPr lang="fr-FR" dirty="0">
              <a:solidFill>
                <a:schemeClr val="accent1"/>
              </a:solidFill>
            </a:endParaRPr>
          </a:p>
        </p:txBody>
      </p:sp>
      <p:sp>
        <p:nvSpPr>
          <p:cNvPr id="5" name="Espace réservé du numéro de diapositive 4">
            <a:extLst>
              <a:ext uri="{FF2B5EF4-FFF2-40B4-BE49-F238E27FC236}">
                <a16:creationId xmlns="" xmlns:a16="http://schemas.microsoft.com/office/drawing/2014/main" id="{AC92C54C-F69E-4276-ADD1-5062A8621AA9}"/>
              </a:ext>
            </a:extLst>
          </p:cNvPr>
          <p:cNvSpPr>
            <a:spLocks noGrp="1"/>
          </p:cNvSpPr>
          <p:nvPr>
            <p:ph type="sldNum" sz="quarter" idx="12"/>
          </p:nvPr>
        </p:nvSpPr>
        <p:spPr/>
        <p:txBody>
          <a:bodyPr/>
          <a:lstStyle/>
          <a:p>
            <a:fld id="{2B1C6FFC-D040-034F-8B69-20295064E64D}" type="slidenum">
              <a:rPr lang="fr-FR" smtClean="0"/>
              <a:t>9</a:t>
            </a:fld>
            <a:endParaRPr lang="fr-FR" dirty="0"/>
          </a:p>
        </p:txBody>
      </p:sp>
      <p:sp>
        <p:nvSpPr>
          <p:cNvPr id="9" name="Rectangle 8">
            <a:extLst>
              <a:ext uri="{FF2B5EF4-FFF2-40B4-BE49-F238E27FC236}">
                <a16:creationId xmlns="" xmlns:a16="http://schemas.microsoft.com/office/drawing/2014/main" id="{E46791C1-2162-425D-AD4B-E52B938C1CF6}"/>
              </a:ext>
            </a:extLst>
          </p:cNvPr>
          <p:cNvSpPr/>
          <p:nvPr/>
        </p:nvSpPr>
        <p:spPr bwMode="auto">
          <a:xfrm>
            <a:off x="503238" y="1891559"/>
            <a:ext cx="8134530" cy="849308"/>
          </a:xfrm>
          <a:prstGeom prst="rect">
            <a:avLst/>
          </a:prstGeom>
          <a:solidFill>
            <a:schemeClr val="bg2"/>
          </a:solidFill>
          <a:ln w="19050">
            <a:noFill/>
          </a:ln>
        </p:spPr>
        <p:txBody>
          <a:bodyPr vert="horz" wrap="square" lIns="0" tIns="45720" rIns="91440" bIns="45720" numCol="1" anchor="ctr" anchorCtr="0" compatLnSpc="1">
            <a:prstTxWarp prst="textNoShape">
              <a:avLst/>
            </a:prstTxWarp>
            <a:noAutofit/>
          </a:bodyPr>
          <a:lstStyle/>
          <a:p>
            <a:pPr marL="184150" indent="-3175" defTabSz="914400" eaLnBrk="0" fontAlgn="base" hangingPunct="0">
              <a:lnSpc>
                <a:spcPct val="90000"/>
              </a:lnSpc>
              <a:spcBef>
                <a:spcPct val="0"/>
              </a:spcBef>
              <a:spcAft>
                <a:spcPct val="60000"/>
              </a:spcAft>
            </a:pPr>
            <a:r>
              <a:rPr lang="en-GB" sz="1600" kern="0" dirty="0">
                <a:latin typeface="Arial" charset="0"/>
                <a:ea typeface="ＭＳ Ｐゴシック" pitchFamily="34" charset="-128"/>
              </a:rPr>
              <a:t>Broad coverage</a:t>
            </a:r>
          </a:p>
        </p:txBody>
      </p:sp>
      <p:sp>
        <p:nvSpPr>
          <p:cNvPr id="10" name="Rectangle 9">
            <a:extLst>
              <a:ext uri="{FF2B5EF4-FFF2-40B4-BE49-F238E27FC236}">
                <a16:creationId xmlns="" xmlns:a16="http://schemas.microsoft.com/office/drawing/2014/main" id="{413276E9-26A0-4B3E-B63D-36F374FF164A}"/>
              </a:ext>
            </a:extLst>
          </p:cNvPr>
          <p:cNvSpPr/>
          <p:nvPr/>
        </p:nvSpPr>
        <p:spPr bwMode="auto">
          <a:xfrm>
            <a:off x="503238" y="4080215"/>
            <a:ext cx="8134530" cy="849600"/>
          </a:xfrm>
          <a:prstGeom prst="rect">
            <a:avLst/>
          </a:prstGeom>
          <a:solidFill>
            <a:schemeClr val="bg2"/>
          </a:solidFill>
          <a:ln w="19050">
            <a:noFill/>
          </a:ln>
        </p:spPr>
        <p:txBody>
          <a:bodyPr vert="horz" wrap="square" lIns="0" tIns="45720" rIns="91440" bIns="45720" numCol="1" anchor="ctr" anchorCtr="0" compatLnSpc="1">
            <a:prstTxWarp prst="textNoShape">
              <a:avLst/>
            </a:prstTxWarp>
            <a:noAutofit/>
          </a:bodyPr>
          <a:lstStyle/>
          <a:p>
            <a:pPr marL="184150" indent="-3175" defTabSz="914400" eaLnBrk="0" fontAlgn="base" hangingPunct="0">
              <a:lnSpc>
                <a:spcPct val="90000"/>
              </a:lnSpc>
              <a:spcBef>
                <a:spcPct val="0"/>
              </a:spcBef>
              <a:spcAft>
                <a:spcPct val="60000"/>
              </a:spcAft>
            </a:pPr>
            <a:r>
              <a:rPr lang="en-GB" sz="1600" kern="0" dirty="0">
                <a:latin typeface="Arial" charset="0"/>
                <a:ea typeface="ＭＳ Ｐゴシック" pitchFamily="34" charset="-128"/>
              </a:rPr>
              <a:t>Track record </a:t>
            </a:r>
            <a:br>
              <a:rPr lang="en-GB" sz="1600" kern="0" dirty="0">
                <a:latin typeface="Arial" charset="0"/>
                <a:ea typeface="ＭＳ Ｐゴシック" pitchFamily="34" charset="-128"/>
              </a:rPr>
            </a:br>
            <a:r>
              <a:rPr lang="en-GB" sz="1600" kern="0" dirty="0">
                <a:latin typeface="Arial" charset="0"/>
                <a:ea typeface="ＭＳ Ｐゴシック" pitchFamily="34" charset="-128"/>
              </a:rPr>
              <a:t>&amp; Size</a:t>
            </a:r>
          </a:p>
        </p:txBody>
      </p:sp>
      <p:sp>
        <p:nvSpPr>
          <p:cNvPr id="11" name="Rectangle 10">
            <a:extLst>
              <a:ext uri="{FF2B5EF4-FFF2-40B4-BE49-F238E27FC236}">
                <a16:creationId xmlns="" xmlns:a16="http://schemas.microsoft.com/office/drawing/2014/main" id="{A24E3632-D2C5-4C60-98BE-DB2E0FE3DBD4}"/>
              </a:ext>
            </a:extLst>
          </p:cNvPr>
          <p:cNvSpPr/>
          <p:nvPr/>
        </p:nvSpPr>
        <p:spPr bwMode="auto">
          <a:xfrm>
            <a:off x="4517850" y="1977819"/>
            <a:ext cx="1960410" cy="682301"/>
          </a:xfrm>
          <a:prstGeom prst="rect">
            <a:avLst/>
          </a:prstGeom>
          <a:solidFill>
            <a:schemeClr val="accent2"/>
          </a:solidFill>
          <a:ln w="19050">
            <a:noFill/>
          </a:ln>
        </p:spPr>
        <p:txBody>
          <a:bodyPr vert="horz" wrap="square" lIns="91440" tIns="45720" rIns="91440" bIns="45720" numCol="1" anchor="ctr" anchorCtr="0" compatLnSpc="1">
            <a:prstTxWarp prst="textNoShape">
              <a:avLst/>
            </a:prstTxWarp>
            <a:noAutofit/>
          </a:bodyPr>
          <a:lstStyle/>
          <a:p>
            <a:pPr marL="3175" indent="-3175" algn="ctr" defTabSz="914400" eaLnBrk="0" fontAlgn="base" hangingPunct="0">
              <a:spcBef>
                <a:spcPct val="0"/>
              </a:spcBef>
              <a:spcAft>
                <a:spcPct val="60000"/>
              </a:spcAft>
            </a:pPr>
            <a:r>
              <a:rPr lang="en-GB" sz="1400" b="1" kern="0" dirty="0">
                <a:solidFill>
                  <a:schemeClr val="bg1"/>
                </a:solidFill>
              </a:rPr>
              <a:t>Risk Efficient </a:t>
            </a:r>
            <a:r>
              <a:rPr lang="en-GB" sz="1400" kern="0" dirty="0">
                <a:solidFill>
                  <a:schemeClr val="bg1"/>
                </a:solidFill>
              </a:rPr>
              <a:t>Solutions</a:t>
            </a:r>
            <a:endParaRPr lang="en-GB" sz="1200" kern="0" dirty="0">
              <a:solidFill>
                <a:schemeClr val="bg1"/>
              </a:solidFill>
            </a:endParaRPr>
          </a:p>
        </p:txBody>
      </p:sp>
      <p:sp>
        <p:nvSpPr>
          <p:cNvPr id="12" name="Rectangle 11">
            <a:extLst>
              <a:ext uri="{FF2B5EF4-FFF2-40B4-BE49-F238E27FC236}">
                <a16:creationId xmlns="" xmlns:a16="http://schemas.microsoft.com/office/drawing/2014/main" id="{F5110EED-7773-43B2-AE54-97BDA23FA996}"/>
              </a:ext>
            </a:extLst>
          </p:cNvPr>
          <p:cNvSpPr/>
          <p:nvPr/>
        </p:nvSpPr>
        <p:spPr bwMode="auto">
          <a:xfrm>
            <a:off x="2711874" y="1977819"/>
            <a:ext cx="1762850" cy="682301"/>
          </a:xfrm>
          <a:prstGeom prst="rect">
            <a:avLst/>
          </a:prstGeom>
          <a:solidFill>
            <a:schemeClr val="accent2"/>
          </a:solidFill>
          <a:ln w="19050">
            <a:noFill/>
          </a:ln>
        </p:spPr>
        <p:txBody>
          <a:bodyPr vert="horz" wrap="square" lIns="91440" tIns="45720" rIns="91440" bIns="45720" numCol="1" anchor="ctr" anchorCtr="0" compatLnSpc="1">
            <a:prstTxWarp prst="textNoShape">
              <a:avLst/>
            </a:prstTxWarp>
            <a:noAutofit/>
          </a:bodyPr>
          <a:lstStyle/>
          <a:p>
            <a:pPr marL="3175" indent="-3175" algn="ctr" defTabSz="914400" eaLnBrk="0" fontAlgn="base" hangingPunct="0">
              <a:spcBef>
                <a:spcPct val="0"/>
              </a:spcBef>
              <a:spcAft>
                <a:spcPct val="60000"/>
              </a:spcAft>
            </a:pPr>
            <a:r>
              <a:rPr lang="en-GB" sz="1400" b="1" kern="0" dirty="0">
                <a:solidFill>
                  <a:schemeClr val="bg1"/>
                </a:solidFill>
              </a:rPr>
              <a:t>Factor Investing </a:t>
            </a:r>
            <a:r>
              <a:rPr lang="en-GB" sz="1400" kern="0" dirty="0">
                <a:solidFill>
                  <a:schemeClr val="bg1"/>
                </a:solidFill>
              </a:rPr>
              <a:t>Solutions</a:t>
            </a:r>
            <a:endParaRPr lang="en-GB" sz="1000" kern="0" dirty="0">
              <a:solidFill>
                <a:schemeClr val="bg1"/>
              </a:solidFill>
            </a:endParaRPr>
          </a:p>
        </p:txBody>
      </p:sp>
      <p:sp>
        <p:nvSpPr>
          <p:cNvPr id="13" name="Rectangle 12">
            <a:extLst>
              <a:ext uri="{FF2B5EF4-FFF2-40B4-BE49-F238E27FC236}">
                <a16:creationId xmlns="" xmlns:a16="http://schemas.microsoft.com/office/drawing/2014/main" id="{0F93B2BB-01F5-4956-87E4-08C69A7CB722}"/>
              </a:ext>
            </a:extLst>
          </p:cNvPr>
          <p:cNvSpPr/>
          <p:nvPr/>
        </p:nvSpPr>
        <p:spPr bwMode="auto">
          <a:xfrm>
            <a:off x="4517850" y="4163864"/>
            <a:ext cx="3944483" cy="684000"/>
          </a:xfrm>
          <a:prstGeom prst="rect">
            <a:avLst/>
          </a:prstGeom>
          <a:solidFill>
            <a:schemeClr val="accent2"/>
          </a:solidFill>
          <a:ln w="19050">
            <a:noFill/>
          </a:ln>
        </p:spPr>
        <p:txBody>
          <a:bodyPr vert="horz" wrap="square" lIns="91440" tIns="45720" rIns="91440" bIns="45720" numCol="1" anchor="ctr" anchorCtr="0" compatLnSpc="1">
            <a:prstTxWarp prst="textNoShape">
              <a:avLst/>
            </a:prstTxWarp>
            <a:noAutofit/>
          </a:bodyPr>
          <a:lstStyle/>
          <a:p>
            <a:pPr marL="3175" indent="-3175" algn="ctr" defTabSz="914400" eaLnBrk="0" fontAlgn="base" hangingPunct="0">
              <a:spcBef>
                <a:spcPct val="0"/>
              </a:spcBef>
              <a:spcAft>
                <a:spcPts val="600"/>
              </a:spcAft>
            </a:pPr>
            <a:r>
              <a:rPr lang="en-GB" sz="1400" kern="0" dirty="0">
                <a:solidFill>
                  <a:schemeClr val="bg1"/>
                </a:solidFill>
              </a:rPr>
              <a:t>Close to </a:t>
            </a:r>
            <a:r>
              <a:rPr lang="en-GB" sz="1400" b="1" kern="0" dirty="0">
                <a:solidFill>
                  <a:schemeClr val="bg1"/>
                </a:solidFill>
              </a:rPr>
              <a:t>€12 bn AUM </a:t>
            </a:r>
            <a:r>
              <a:rPr lang="en-GB" sz="1400" kern="0" dirty="0">
                <a:solidFill>
                  <a:schemeClr val="bg1"/>
                </a:solidFill>
              </a:rPr>
              <a:t>split between</a:t>
            </a:r>
            <a:r>
              <a:rPr lang="en-GB" sz="1400" b="1" kern="0" dirty="0">
                <a:solidFill>
                  <a:schemeClr val="bg1"/>
                </a:solidFill>
              </a:rPr>
              <a:t> </a:t>
            </a:r>
            <a:br>
              <a:rPr lang="en-GB" sz="1400" b="1" kern="0" dirty="0">
                <a:solidFill>
                  <a:schemeClr val="bg1"/>
                </a:solidFill>
              </a:rPr>
            </a:br>
            <a:r>
              <a:rPr lang="en-GB" sz="1400" b="1" kern="0" dirty="0">
                <a:solidFill>
                  <a:schemeClr val="bg1"/>
                </a:solidFill>
              </a:rPr>
              <a:t>open-ended and customized solutions</a:t>
            </a:r>
            <a:endParaRPr lang="en-GB" sz="1400" kern="0" dirty="0">
              <a:solidFill>
                <a:schemeClr val="bg1"/>
              </a:solidFill>
            </a:endParaRPr>
          </a:p>
        </p:txBody>
      </p:sp>
      <p:sp>
        <p:nvSpPr>
          <p:cNvPr id="14" name="Rectangle 13">
            <a:extLst>
              <a:ext uri="{FF2B5EF4-FFF2-40B4-BE49-F238E27FC236}">
                <a16:creationId xmlns="" xmlns:a16="http://schemas.microsoft.com/office/drawing/2014/main" id="{D7FA3AE5-99FB-4831-94E7-7EC0663CEF55}"/>
              </a:ext>
            </a:extLst>
          </p:cNvPr>
          <p:cNvSpPr/>
          <p:nvPr/>
        </p:nvSpPr>
        <p:spPr bwMode="auto">
          <a:xfrm>
            <a:off x="2713026" y="4163865"/>
            <a:ext cx="1762850" cy="682300"/>
          </a:xfrm>
          <a:prstGeom prst="rect">
            <a:avLst/>
          </a:prstGeom>
          <a:solidFill>
            <a:schemeClr val="accent2"/>
          </a:solidFill>
          <a:ln w="19050">
            <a:noFill/>
          </a:ln>
        </p:spPr>
        <p:txBody>
          <a:bodyPr vert="horz" wrap="square" lIns="91440" tIns="45720" rIns="91440" bIns="45720" numCol="1" anchor="ctr" anchorCtr="0" compatLnSpc="1">
            <a:prstTxWarp prst="textNoShape">
              <a:avLst/>
            </a:prstTxWarp>
            <a:noAutofit/>
          </a:bodyPr>
          <a:lstStyle/>
          <a:p>
            <a:pPr marL="3175" indent="-3175" algn="ctr" defTabSz="914400" eaLnBrk="0" fontAlgn="base" hangingPunct="0">
              <a:spcBef>
                <a:spcPct val="0"/>
              </a:spcBef>
              <a:spcAft>
                <a:spcPct val="60000"/>
              </a:spcAft>
            </a:pPr>
            <a:r>
              <a:rPr lang="en-GB" sz="1400" kern="0" dirty="0">
                <a:solidFill>
                  <a:schemeClr val="bg1"/>
                </a:solidFill>
              </a:rPr>
              <a:t>First strategy launched in </a:t>
            </a:r>
            <a:r>
              <a:rPr lang="en-GB" sz="1400" b="1" kern="0" dirty="0">
                <a:solidFill>
                  <a:schemeClr val="bg1"/>
                </a:solidFill>
              </a:rPr>
              <a:t>2007</a:t>
            </a:r>
          </a:p>
        </p:txBody>
      </p:sp>
      <p:sp>
        <p:nvSpPr>
          <p:cNvPr id="17" name="Rectangle 16">
            <a:extLst>
              <a:ext uri="{FF2B5EF4-FFF2-40B4-BE49-F238E27FC236}">
                <a16:creationId xmlns="" xmlns:a16="http://schemas.microsoft.com/office/drawing/2014/main" id="{41AB9010-04A2-421A-BE09-966F656B4476}"/>
              </a:ext>
            </a:extLst>
          </p:cNvPr>
          <p:cNvSpPr/>
          <p:nvPr/>
        </p:nvSpPr>
        <p:spPr bwMode="auto">
          <a:xfrm>
            <a:off x="6530016" y="1977819"/>
            <a:ext cx="1932317" cy="682300"/>
          </a:xfrm>
          <a:prstGeom prst="rect">
            <a:avLst/>
          </a:prstGeom>
          <a:solidFill>
            <a:schemeClr val="accent2"/>
          </a:solidFill>
          <a:ln w="19050">
            <a:noFill/>
          </a:ln>
        </p:spPr>
        <p:txBody>
          <a:bodyPr vert="horz" wrap="square" lIns="91440" tIns="45720" rIns="91440" bIns="45720" numCol="1" anchor="ctr" anchorCtr="0" compatLnSpc="1">
            <a:prstTxWarp prst="textNoShape">
              <a:avLst/>
            </a:prstTxWarp>
            <a:noAutofit/>
          </a:bodyPr>
          <a:lstStyle/>
          <a:p>
            <a:pPr marL="3175" indent="-3175" algn="ctr" defTabSz="914400" eaLnBrk="0" fontAlgn="base" hangingPunct="0">
              <a:spcBef>
                <a:spcPct val="0"/>
              </a:spcBef>
              <a:spcAft>
                <a:spcPct val="60000"/>
              </a:spcAft>
            </a:pPr>
            <a:r>
              <a:rPr lang="en-GB" sz="1400" b="1" kern="0" dirty="0">
                <a:solidFill>
                  <a:schemeClr val="bg1"/>
                </a:solidFill>
              </a:rPr>
              <a:t>Global/Europe/Euro/Japan/EM</a:t>
            </a:r>
            <a:r>
              <a:rPr lang="en-GB" sz="1400" kern="0" dirty="0">
                <a:solidFill>
                  <a:schemeClr val="bg1"/>
                </a:solidFill>
              </a:rPr>
              <a:t> equities</a:t>
            </a:r>
          </a:p>
        </p:txBody>
      </p:sp>
      <p:sp>
        <p:nvSpPr>
          <p:cNvPr id="19" name="Rectangle 18">
            <a:extLst>
              <a:ext uri="{FF2B5EF4-FFF2-40B4-BE49-F238E27FC236}">
                <a16:creationId xmlns="" xmlns:a16="http://schemas.microsoft.com/office/drawing/2014/main" id="{BFC1F915-841C-4436-A164-A1B93BF2362E}"/>
              </a:ext>
            </a:extLst>
          </p:cNvPr>
          <p:cNvSpPr/>
          <p:nvPr/>
        </p:nvSpPr>
        <p:spPr bwMode="auto">
          <a:xfrm>
            <a:off x="503238" y="2986411"/>
            <a:ext cx="8134530" cy="849600"/>
          </a:xfrm>
          <a:prstGeom prst="rect">
            <a:avLst/>
          </a:prstGeom>
          <a:solidFill>
            <a:schemeClr val="bg2"/>
          </a:solidFill>
          <a:ln w="19050">
            <a:noFill/>
          </a:ln>
        </p:spPr>
        <p:txBody>
          <a:bodyPr vert="horz" wrap="square" lIns="0" tIns="45720" rIns="91440" bIns="45720" numCol="1" anchor="ctr" anchorCtr="0" compatLnSpc="1">
            <a:prstTxWarp prst="textNoShape">
              <a:avLst/>
            </a:prstTxWarp>
            <a:noAutofit/>
          </a:bodyPr>
          <a:lstStyle/>
          <a:p>
            <a:pPr marL="184150" indent="-3175" defTabSz="914400" eaLnBrk="0" fontAlgn="base" hangingPunct="0">
              <a:lnSpc>
                <a:spcPct val="90000"/>
              </a:lnSpc>
              <a:spcBef>
                <a:spcPct val="0"/>
              </a:spcBef>
              <a:spcAft>
                <a:spcPct val="60000"/>
              </a:spcAft>
            </a:pPr>
            <a:r>
              <a:rPr lang="en-GB" sz="1600" kern="0" dirty="0">
                <a:latin typeface="Arial" charset="0"/>
                <a:ea typeface="ＭＳ Ｐゴシック" pitchFamily="34" charset="-128"/>
              </a:rPr>
              <a:t>Meeting various </a:t>
            </a:r>
            <a:br>
              <a:rPr lang="en-GB" sz="1600" kern="0" dirty="0">
                <a:latin typeface="Arial" charset="0"/>
                <a:ea typeface="ＭＳ Ｐゴシック" pitchFamily="34" charset="-128"/>
              </a:rPr>
            </a:br>
            <a:r>
              <a:rPr lang="en-GB" sz="1600" kern="0" dirty="0">
                <a:latin typeface="Arial" charset="0"/>
                <a:ea typeface="ＭＳ Ｐゴシック" pitchFamily="34" charset="-128"/>
              </a:rPr>
              <a:t>client needs</a:t>
            </a:r>
          </a:p>
        </p:txBody>
      </p:sp>
      <p:sp>
        <p:nvSpPr>
          <p:cNvPr id="20" name="Rectangle 19">
            <a:extLst>
              <a:ext uri="{FF2B5EF4-FFF2-40B4-BE49-F238E27FC236}">
                <a16:creationId xmlns="" xmlns:a16="http://schemas.microsoft.com/office/drawing/2014/main" id="{407F2928-E1D1-4F2C-95E8-74CBC07DECCA}"/>
              </a:ext>
            </a:extLst>
          </p:cNvPr>
          <p:cNvSpPr/>
          <p:nvPr/>
        </p:nvSpPr>
        <p:spPr bwMode="auto">
          <a:xfrm>
            <a:off x="2711876" y="3070060"/>
            <a:ext cx="1764000" cy="682301"/>
          </a:xfrm>
          <a:prstGeom prst="rect">
            <a:avLst/>
          </a:prstGeom>
          <a:solidFill>
            <a:schemeClr val="accent2"/>
          </a:solidFill>
          <a:ln w="19050">
            <a:noFill/>
          </a:ln>
        </p:spPr>
        <p:txBody>
          <a:bodyPr vert="horz" wrap="square" lIns="91440" tIns="45720" rIns="91440" bIns="45720" numCol="1" anchor="ctr" anchorCtr="0" compatLnSpc="1">
            <a:prstTxWarp prst="textNoShape">
              <a:avLst/>
            </a:prstTxWarp>
            <a:noAutofit/>
          </a:bodyPr>
          <a:lstStyle/>
          <a:p>
            <a:pPr marL="3175" indent="-3175" algn="ctr" defTabSz="914400" eaLnBrk="0" fontAlgn="base" hangingPunct="0">
              <a:spcBef>
                <a:spcPct val="0"/>
              </a:spcBef>
              <a:spcAft>
                <a:spcPct val="60000"/>
              </a:spcAft>
            </a:pPr>
            <a:r>
              <a:rPr lang="en-GB" sz="1400" kern="0" dirty="0">
                <a:solidFill>
                  <a:schemeClr val="bg1"/>
                </a:solidFill>
              </a:rPr>
              <a:t>To provide </a:t>
            </a:r>
            <a:r>
              <a:rPr lang="en-GB" sz="1400" b="1" kern="0" dirty="0">
                <a:solidFill>
                  <a:schemeClr val="bg1"/>
                </a:solidFill>
              </a:rPr>
              <a:t>robust performance</a:t>
            </a:r>
            <a:endParaRPr lang="en-GB" sz="1400" kern="0" dirty="0">
              <a:solidFill>
                <a:schemeClr val="bg1"/>
              </a:solidFill>
            </a:endParaRPr>
          </a:p>
        </p:txBody>
      </p:sp>
      <p:sp>
        <p:nvSpPr>
          <p:cNvPr id="21" name="Rectangle 20">
            <a:extLst>
              <a:ext uri="{FF2B5EF4-FFF2-40B4-BE49-F238E27FC236}">
                <a16:creationId xmlns="" xmlns:a16="http://schemas.microsoft.com/office/drawing/2014/main" id="{5CC181CA-28AA-4095-96F6-9B3ACAF822F7}"/>
              </a:ext>
            </a:extLst>
          </p:cNvPr>
          <p:cNvSpPr/>
          <p:nvPr/>
        </p:nvSpPr>
        <p:spPr bwMode="auto">
          <a:xfrm>
            <a:off x="6530016" y="3070060"/>
            <a:ext cx="1932317" cy="682301"/>
          </a:xfrm>
          <a:prstGeom prst="rect">
            <a:avLst/>
          </a:prstGeom>
          <a:solidFill>
            <a:schemeClr val="accent2"/>
          </a:solidFill>
          <a:ln w="19050">
            <a:noFill/>
          </a:ln>
        </p:spPr>
        <p:txBody>
          <a:bodyPr vert="horz" wrap="square" lIns="91440" tIns="45720" rIns="91440" bIns="45720" numCol="1" anchor="ctr" anchorCtr="0" compatLnSpc="1">
            <a:prstTxWarp prst="textNoShape">
              <a:avLst/>
            </a:prstTxWarp>
            <a:noAutofit/>
          </a:bodyPr>
          <a:lstStyle/>
          <a:p>
            <a:pPr marL="3175" indent="-3175" algn="ctr" defTabSz="914400" eaLnBrk="0" fontAlgn="base" hangingPunct="0">
              <a:spcBef>
                <a:spcPct val="0"/>
              </a:spcBef>
              <a:spcAft>
                <a:spcPct val="60000"/>
              </a:spcAft>
            </a:pPr>
            <a:r>
              <a:rPr lang="en-GB" sz="1400" kern="0" dirty="0">
                <a:solidFill>
                  <a:schemeClr val="bg1"/>
                </a:solidFill>
              </a:rPr>
              <a:t>To exploit </a:t>
            </a:r>
            <a:r>
              <a:rPr lang="en-GB" sz="1400" b="1" kern="0" dirty="0">
                <a:solidFill>
                  <a:schemeClr val="bg1"/>
                </a:solidFill>
              </a:rPr>
              <a:t>return asymmetry</a:t>
            </a:r>
            <a:endParaRPr lang="en-GB" sz="1400" kern="0" dirty="0">
              <a:solidFill>
                <a:schemeClr val="bg1"/>
              </a:solidFill>
            </a:endParaRPr>
          </a:p>
        </p:txBody>
      </p:sp>
      <p:sp>
        <p:nvSpPr>
          <p:cNvPr id="22" name="Rectangle 21">
            <a:extLst>
              <a:ext uri="{FF2B5EF4-FFF2-40B4-BE49-F238E27FC236}">
                <a16:creationId xmlns="" xmlns:a16="http://schemas.microsoft.com/office/drawing/2014/main" id="{9FAEE7F1-411E-435D-A639-1C400C152171}"/>
              </a:ext>
            </a:extLst>
          </p:cNvPr>
          <p:cNvSpPr/>
          <p:nvPr/>
        </p:nvSpPr>
        <p:spPr bwMode="auto">
          <a:xfrm>
            <a:off x="4517850" y="3070060"/>
            <a:ext cx="1960410" cy="682300"/>
          </a:xfrm>
          <a:prstGeom prst="rect">
            <a:avLst/>
          </a:prstGeom>
          <a:solidFill>
            <a:schemeClr val="accent2"/>
          </a:solidFill>
          <a:ln w="19050">
            <a:noFill/>
          </a:ln>
        </p:spPr>
        <p:txBody>
          <a:bodyPr vert="horz" wrap="square" lIns="91440" tIns="45720" rIns="91440" bIns="45720" numCol="1" anchor="ctr" anchorCtr="0" compatLnSpc="1">
            <a:prstTxWarp prst="textNoShape">
              <a:avLst/>
            </a:prstTxWarp>
            <a:noAutofit/>
          </a:bodyPr>
          <a:lstStyle/>
          <a:p>
            <a:pPr marL="3175" indent="-3175" algn="ctr" defTabSz="914400" eaLnBrk="0" fontAlgn="base" hangingPunct="0">
              <a:spcBef>
                <a:spcPct val="0"/>
              </a:spcBef>
              <a:spcAft>
                <a:spcPct val="60000"/>
              </a:spcAft>
            </a:pPr>
            <a:r>
              <a:rPr lang="en-GB" sz="1400" kern="0" dirty="0">
                <a:solidFill>
                  <a:schemeClr val="bg1"/>
                </a:solidFill>
              </a:rPr>
              <a:t>To enhance </a:t>
            </a:r>
            <a:r>
              <a:rPr lang="en-GB" sz="1400" b="1" kern="0" dirty="0">
                <a:solidFill>
                  <a:schemeClr val="bg1"/>
                </a:solidFill>
              </a:rPr>
              <a:t>diversification</a:t>
            </a:r>
            <a:endParaRPr lang="en-GB" sz="1400" kern="0" dirty="0">
              <a:solidFill>
                <a:schemeClr val="bg1"/>
              </a:solidFill>
            </a:endParaRPr>
          </a:p>
        </p:txBody>
      </p:sp>
      <p:sp>
        <p:nvSpPr>
          <p:cNvPr id="24" name="Espace réservé du pied de page 29">
            <a:extLst>
              <a:ext uri="{FF2B5EF4-FFF2-40B4-BE49-F238E27FC236}">
                <a16:creationId xmlns="" xmlns:a16="http://schemas.microsoft.com/office/drawing/2014/main" id="{2F4B790A-6EFD-4658-B73D-98008C1C5B5F}"/>
              </a:ext>
            </a:extLst>
          </p:cNvPr>
          <p:cNvSpPr txBox="1">
            <a:spLocks/>
          </p:cNvSpPr>
          <p:nvPr/>
        </p:nvSpPr>
        <p:spPr>
          <a:xfrm>
            <a:off x="796719" y="6489728"/>
            <a:ext cx="5212196" cy="180000"/>
          </a:xfrm>
          <a:prstGeom prst="rect">
            <a:avLst/>
          </a:prstGeom>
        </p:spPr>
        <p:txBody>
          <a:bodyPr vert="horz" lIns="0" tIns="0" rIns="0" bIns="0" rtlCol="0">
            <a:noAutofit/>
          </a:bodyPr>
          <a:lstStyle>
            <a:lvl1pPr marL="223838" indent="-217488" algn="l" defTabSz="914400" rtl="0" eaLnBrk="1" latinLnBrk="0" hangingPunct="1">
              <a:lnSpc>
                <a:spcPct val="100000"/>
              </a:lnSpc>
              <a:spcBef>
                <a:spcPts val="1000"/>
              </a:spcBef>
              <a:buClr>
                <a:schemeClr val="accent1"/>
              </a:buClr>
              <a:buSzPct val="130000"/>
              <a:buFont typeface="CambriaMath" charset="0"/>
              <a:buChar char="⎯"/>
              <a:tabLst/>
              <a:defRPr sz="1600" kern="1200">
                <a:solidFill>
                  <a:schemeClr val="tx1"/>
                </a:solidFill>
                <a:latin typeface="+mn-lt"/>
                <a:ea typeface="+mn-ea"/>
                <a:cs typeface="+mn-cs"/>
              </a:defRPr>
            </a:lvl1pPr>
            <a:lvl2pPr marL="401638" indent="-177800" algn="l" defTabSz="914400" rtl="0" eaLnBrk="1" latinLnBrk="0" hangingPunct="1">
              <a:lnSpc>
                <a:spcPct val="100000"/>
              </a:lnSpc>
              <a:spcBef>
                <a:spcPts val="500"/>
              </a:spcBef>
              <a:buClr>
                <a:schemeClr val="accent3"/>
              </a:buClr>
              <a:buFont typeface="CambriaMath" charset="0"/>
              <a:buChar char="⎯"/>
              <a:tabLst/>
              <a:defRPr sz="1400" kern="1200">
                <a:solidFill>
                  <a:schemeClr val="tx1"/>
                </a:solidFill>
                <a:latin typeface="+mn-lt"/>
                <a:ea typeface="+mn-ea"/>
                <a:cs typeface="+mn-cs"/>
              </a:defRPr>
            </a:lvl2pPr>
            <a:lvl3pPr marL="481012" indent="-285750" algn="l" defTabSz="914400" rtl="0" eaLnBrk="1" latinLnBrk="0" hangingPunct="1">
              <a:lnSpc>
                <a:spcPct val="100000"/>
              </a:lnSpc>
              <a:spcBef>
                <a:spcPts val="500"/>
              </a:spcBef>
              <a:buClr>
                <a:schemeClr val="accent3"/>
              </a:buClr>
              <a:buFont typeface="Wingdings" pitchFamily="2" charset="2"/>
              <a:buChar char="§"/>
              <a:tabLst/>
              <a:defRPr sz="1200" kern="1200">
                <a:solidFill>
                  <a:schemeClr val="tx1"/>
                </a:solidFill>
                <a:latin typeface="+mn-lt"/>
                <a:ea typeface="+mn-ea"/>
                <a:cs typeface="+mn-cs"/>
              </a:defRPr>
            </a:lvl3pPr>
            <a:lvl4pPr marL="7938" indent="0" algn="l" defTabSz="914400" rtl="0" eaLnBrk="1" latinLnBrk="0" hangingPunct="1">
              <a:lnSpc>
                <a:spcPct val="100000"/>
              </a:lnSpc>
              <a:spcBef>
                <a:spcPts val="500"/>
              </a:spcBef>
              <a:buClr>
                <a:schemeClr val="accent3"/>
              </a:buClr>
              <a:buFont typeface="Arial" charset="0"/>
              <a:buNone/>
              <a:tabLst/>
              <a:defRPr sz="1200" kern="1200">
                <a:solidFill>
                  <a:schemeClr val="tx1"/>
                </a:solidFill>
                <a:latin typeface="+mn-lt"/>
                <a:ea typeface="+mn-ea"/>
                <a:cs typeface="+mn-cs"/>
              </a:defRPr>
            </a:lvl4pPr>
            <a:lvl5pPr marL="7938" indent="0" algn="l" defTabSz="914400" rtl="0" eaLnBrk="1" latinLnBrk="0" hangingPunct="1">
              <a:lnSpc>
                <a:spcPct val="100000"/>
              </a:lnSpc>
              <a:spcBef>
                <a:spcPts val="500"/>
              </a:spcBef>
              <a:buFont typeface="Arial" charset="0"/>
              <a:buNone/>
              <a:tabLst/>
              <a:defRPr lang="fr-FR" sz="10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en-US" sz="800" spc="30" dirty="0"/>
              <a:t>Smart Beta - Investment Solutions</a:t>
            </a:r>
            <a:endParaRPr lang="fr-FR" sz="800" spc="30" dirty="0"/>
          </a:p>
        </p:txBody>
      </p:sp>
      <p:sp>
        <p:nvSpPr>
          <p:cNvPr id="3" name="Espace réservé du texte 2"/>
          <p:cNvSpPr>
            <a:spLocks noGrp="1"/>
          </p:cNvSpPr>
          <p:nvPr>
            <p:ph type="body" sz="quarter" idx="14"/>
          </p:nvPr>
        </p:nvSpPr>
        <p:spPr/>
        <p:txBody>
          <a:bodyPr/>
          <a:lstStyle/>
          <a:p>
            <a:r>
              <a:rPr lang="en-GB" altLang="fr-FR" dirty="0">
                <a:solidFill>
                  <a:schemeClr val="tx2">
                    <a:lumMod val="60000"/>
                    <a:lumOff val="40000"/>
                  </a:schemeClr>
                </a:solidFill>
              </a:rPr>
              <a:t>Sources: Amundi ETF Indexing &amp; Smart Beta at end June </a:t>
            </a:r>
            <a:r>
              <a:rPr lang="en-GB" altLang="fr-FR" dirty="0" smtClean="0">
                <a:solidFill>
                  <a:schemeClr val="tx2">
                    <a:lumMod val="60000"/>
                    <a:lumOff val="40000"/>
                  </a:schemeClr>
                </a:solidFill>
              </a:rPr>
              <a:t>2017</a:t>
            </a:r>
            <a:endParaRPr lang="en-US" altLang="fr-FR" dirty="0">
              <a:solidFill>
                <a:schemeClr val="tx2">
                  <a:lumMod val="60000"/>
                  <a:lumOff val="40000"/>
                </a:schemeClr>
              </a:solidFill>
            </a:endParaRPr>
          </a:p>
        </p:txBody>
      </p:sp>
    </p:spTree>
    <p:extLst>
      <p:ext uri="{BB962C8B-B14F-4D97-AF65-F5344CB8AC3E}">
        <p14:creationId xmlns:p14="http://schemas.microsoft.com/office/powerpoint/2010/main" val="29430306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c5ajWVp90ST2oXlY1J4Rw"/>
</p:tagLst>
</file>

<file path=ppt/tags/tag2.xml><?xml version="1.0" encoding="utf-8"?>
<p:tagLst xmlns:a="http://schemas.openxmlformats.org/drawingml/2006/main" xmlns:r="http://schemas.openxmlformats.org/officeDocument/2006/relationships" xmlns:p="http://schemas.openxmlformats.org/presentationml/2006/main">
  <p:tag name="CHARTSCALABLE" val="No"/>
  <p:tag name="CHARTLIBVERSION" val="NO VALUE"/>
  <p:tag name="DDVERSION" val="2.0"/>
  <p:tag name="FONTCOLOR" val="NO VALUE"/>
  <p:tag name="LINECOLOR" val="NO VALUE"/>
  <p:tag name="TYPE" val="GraphChartGroup"/>
  <p:tag name="FILLFORECOLOR" val=""/>
  <p:tag name="SUBOBJECTID" val="XLChart"/>
  <p:tag name="OBJECTID" val="XLChart"/>
  <p:tag name="SOURCE" val="Charts1.ppt!Pie Chart3"/>
  <p:tag name="HEIGHT" val="118.8"/>
  <p:tag name="WIDTH" val="244.8"/>
  <p:tag name="PLACEHOLDERSIZE" val="3"/>
  <p:tag name="ANCHORPOINT" val="2"/>
  <p:tag name="CHARTTYPE" val="Pie Chart"/>
  <p:tag name="CHARTNAME" val="XLChart"/>
  <p:tag name="DEVICE" val="Canon Colorpass 1000"/>
  <p:tag name="TOP" val="187.625"/>
  <p:tag name="LEFT" val="226.875"/>
  <p:tag name="THINKCELLSHAPEDONOTDELETE" val="p8jb8py3Vl0mcAQKSlhlH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c5ajWVp90ST2oXlY1J4Rw"/>
</p:tagLst>
</file>

<file path=ppt/tags/tag4.xml><?xml version="1.0" encoding="utf-8"?>
<p:tagLst xmlns:a="http://schemas.openxmlformats.org/drawingml/2006/main" xmlns:r="http://schemas.openxmlformats.org/officeDocument/2006/relationships" xmlns:p="http://schemas.openxmlformats.org/presentationml/2006/main">
  <p:tag name="UID" val="16125"/>
</p:tagLst>
</file>

<file path=ppt/tags/tag5.xml><?xml version="1.0" encoding="utf-8"?>
<p:tagLst xmlns:a="http://schemas.openxmlformats.org/drawingml/2006/main" xmlns:r="http://schemas.openxmlformats.org/officeDocument/2006/relationships" xmlns:p="http://schemas.openxmlformats.org/presentationml/2006/main">
  <p:tag name="UID" val="16125"/>
</p:tagLst>
</file>

<file path=ppt/tags/tag6.xml><?xml version="1.0" encoding="utf-8"?>
<p:tagLst xmlns:a="http://schemas.openxmlformats.org/drawingml/2006/main" xmlns:r="http://schemas.openxmlformats.org/officeDocument/2006/relationships" xmlns:p="http://schemas.openxmlformats.org/presentationml/2006/main">
  <p:tag name="UID" val="16125"/>
</p:tagLst>
</file>

<file path=ppt/theme/theme1.xml><?xml version="1.0" encoding="utf-8"?>
<a:theme xmlns:a="http://schemas.openxmlformats.org/drawingml/2006/main" name="Thème Office">
  <a:themeElements>
    <a:clrScheme name="AMUNDI-2017">
      <a:dk1>
        <a:srgbClr val="003C64"/>
      </a:dk1>
      <a:lt1>
        <a:srgbClr val="FFFFFF"/>
      </a:lt1>
      <a:dk2>
        <a:srgbClr val="646464"/>
      </a:dk2>
      <a:lt2>
        <a:srgbClr val="E7E6E6"/>
      </a:lt2>
      <a:accent1>
        <a:srgbClr val="00A0E3"/>
      </a:accent1>
      <a:accent2>
        <a:srgbClr val="004F9F"/>
      </a:accent2>
      <a:accent3>
        <a:srgbClr val="38B2B6"/>
      </a:accent3>
      <a:accent4>
        <a:srgbClr val="E6325E"/>
      </a:accent4>
      <a:accent5>
        <a:srgbClr val="F07D00"/>
      </a:accent5>
      <a:accent6>
        <a:srgbClr val="C19134"/>
      </a:accent6>
      <a:hlink>
        <a:srgbClr val="00C2F0"/>
      </a:hlink>
      <a:folHlink>
        <a:srgbClr val="45719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Amundi-template-H_EN-2017_V7" id="{1723C429-F11A-3544-B8C7-19A7D0444052}" vid="{3332631A-0FEB-794C-84EA-C52A1095B2A5}"/>
    </a:ext>
  </a:extLst>
</a:theme>
</file>

<file path=ppt/theme/theme2.xml><?xml version="1.0" encoding="utf-8"?>
<a:theme xmlns:a="http://schemas.openxmlformats.org/drawingml/2006/main" name="1_Thème Office">
  <a:themeElements>
    <a:clrScheme name="AMUNDI-2017">
      <a:dk1>
        <a:srgbClr val="003C64"/>
      </a:dk1>
      <a:lt1>
        <a:srgbClr val="FFFFFF"/>
      </a:lt1>
      <a:dk2>
        <a:srgbClr val="646464"/>
      </a:dk2>
      <a:lt2>
        <a:srgbClr val="E7E6E6"/>
      </a:lt2>
      <a:accent1>
        <a:srgbClr val="00A0E3"/>
      </a:accent1>
      <a:accent2>
        <a:srgbClr val="004F9F"/>
      </a:accent2>
      <a:accent3>
        <a:srgbClr val="38B2B6"/>
      </a:accent3>
      <a:accent4>
        <a:srgbClr val="E6325E"/>
      </a:accent4>
      <a:accent5>
        <a:srgbClr val="F07D00"/>
      </a:accent5>
      <a:accent6>
        <a:srgbClr val="C19134"/>
      </a:accent6>
      <a:hlink>
        <a:srgbClr val="00C2F0"/>
      </a:hlink>
      <a:folHlink>
        <a:srgbClr val="45719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Amundi-template-H_EN-2017_V7" id="{1723C429-F11A-3544-B8C7-19A7D0444052}" vid="{3332631A-0FEB-794C-84EA-C52A1095B2A5}"/>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mundi_Charts">
    <a:dk1>
      <a:srgbClr val="000000"/>
    </a:dk1>
    <a:lt1>
      <a:srgbClr val="FFFFFF"/>
    </a:lt1>
    <a:dk2>
      <a:srgbClr val="001C4B"/>
    </a:dk2>
    <a:lt2>
      <a:srgbClr val="F0EDE8"/>
    </a:lt2>
    <a:accent1>
      <a:srgbClr val="001C4B"/>
    </a:accent1>
    <a:accent2>
      <a:srgbClr val="009EE0"/>
    </a:accent2>
    <a:accent3>
      <a:srgbClr val="ADAFB2"/>
    </a:accent3>
    <a:accent4>
      <a:srgbClr val="EBC666"/>
    </a:accent4>
    <a:accent5>
      <a:srgbClr val="4C96A7"/>
    </a:accent5>
    <a:accent6>
      <a:srgbClr val="B5A48C"/>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Polices Amund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Amundi Hearbeat">
    <a:dk1>
      <a:srgbClr val="000000"/>
    </a:dk1>
    <a:lt1>
      <a:srgbClr val="FFFFFF"/>
    </a:lt1>
    <a:dk2>
      <a:srgbClr val="001C4B"/>
    </a:dk2>
    <a:lt2>
      <a:srgbClr val="FFFFFF"/>
    </a:lt2>
    <a:accent1>
      <a:srgbClr val="001C4B"/>
    </a:accent1>
    <a:accent2>
      <a:srgbClr val="0099CC"/>
    </a:accent2>
    <a:accent3>
      <a:srgbClr val="ADAFB2"/>
    </a:accent3>
    <a:accent4>
      <a:srgbClr val="DDA000"/>
    </a:accent4>
    <a:accent5>
      <a:srgbClr val="66A6B4"/>
    </a:accent5>
    <a:accent6>
      <a:srgbClr val="B5A48C"/>
    </a:accent6>
    <a:hlink>
      <a:srgbClr val="0099CC"/>
    </a:hlink>
    <a:folHlink>
      <a:srgbClr val="001C4B"/>
    </a:folHlink>
  </a:clrScheme>
  <a:fontScheme name="Polices Amund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ersonnalisé 8">
    <a:dk1>
      <a:srgbClr val="000000"/>
    </a:dk1>
    <a:lt1>
      <a:srgbClr val="FFFFFF"/>
    </a:lt1>
    <a:dk2>
      <a:srgbClr val="001C4B"/>
    </a:dk2>
    <a:lt2>
      <a:srgbClr val="EEECE1"/>
    </a:lt2>
    <a:accent1>
      <a:srgbClr val="001C4B"/>
    </a:accent1>
    <a:accent2>
      <a:srgbClr val="009EE0"/>
    </a:accent2>
    <a:accent3>
      <a:srgbClr val="DDA000"/>
    </a:accent3>
    <a:accent4>
      <a:srgbClr val="66A6B4"/>
    </a:accent4>
    <a:accent5>
      <a:srgbClr val="B5A48C"/>
    </a:accent5>
    <a:accent6>
      <a:srgbClr val="767A7E"/>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harte_Amundi2">
    <a:dk1>
      <a:srgbClr val="000000"/>
    </a:dk1>
    <a:lt1>
      <a:srgbClr val="FFFFFF"/>
    </a:lt1>
    <a:dk2>
      <a:srgbClr val="001C4B"/>
    </a:dk2>
    <a:lt2>
      <a:srgbClr val="F0EDE8"/>
    </a:lt2>
    <a:accent1>
      <a:srgbClr val="001C4B"/>
    </a:accent1>
    <a:accent2>
      <a:srgbClr val="0099CC"/>
    </a:accent2>
    <a:accent3>
      <a:srgbClr val="ADAFB2"/>
    </a:accent3>
    <a:accent4>
      <a:srgbClr val="DDA000"/>
    </a:accent4>
    <a:accent5>
      <a:srgbClr val="78A6A7"/>
    </a:accent5>
    <a:accent6>
      <a:srgbClr val="B5A48C"/>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harte_Amundi2">
    <a:dk1>
      <a:srgbClr val="000000"/>
    </a:dk1>
    <a:lt1>
      <a:srgbClr val="FFFFFF"/>
    </a:lt1>
    <a:dk2>
      <a:srgbClr val="001C4B"/>
    </a:dk2>
    <a:lt2>
      <a:srgbClr val="F0EDE8"/>
    </a:lt2>
    <a:accent1>
      <a:srgbClr val="001C4B"/>
    </a:accent1>
    <a:accent2>
      <a:srgbClr val="0099CC"/>
    </a:accent2>
    <a:accent3>
      <a:srgbClr val="ADAFB2"/>
    </a:accent3>
    <a:accent4>
      <a:srgbClr val="DDA000"/>
    </a:accent4>
    <a:accent5>
      <a:srgbClr val="78A6A7"/>
    </a:accent5>
    <a:accent6>
      <a:srgbClr val="B5A48C"/>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harte_Amundi2">
    <a:dk1>
      <a:srgbClr val="000000"/>
    </a:dk1>
    <a:lt1>
      <a:srgbClr val="FFFFFF"/>
    </a:lt1>
    <a:dk2>
      <a:srgbClr val="001C4B"/>
    </a:dk2>
    <a:lt2>
      <a:srgbClr val="F0EDE8"/>
    </a:lt2>
    <a:accent1>
      <a:srgbClr val="001C4B"/>
    </a:accent1>
    <a:accent2>
      <a:srgbClr val="0099CC"/>
    </a:accent2>
    <a:accent3>
      <a:srgbClr val="ADAFB2"/>
    </a:accent3>
    <a:accent4>
      <a:srgbClr val="DDA000"/>
    </a:accent4>
    <a:accent5>
      <a:srgbClr val="78A6A7"/>
    </a:accent5>
    <a:accent6>
      <a:srgbClr val="B5A48C"/>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irls1">
    <a:dk1>
      <a:srgbClr val="000000"/>
    </a:dk1>
    <a:lt1>
      <a:srgbClr val="FFFFFF"/>
    </a:lt1>
    <a:dk2>
      <a:srgbClr val="001C4B"/>
    </a:dk2>
    <a:lt2>
      <a:srgbClr val="F0EDE8"/>
    </a:lt2>
    <a:accent1>
      <a:srgbClr val="4C96A7"/>
    </a:accent1>
    <a:accent2>
      <a:srgbClr val="667793"/>
    </a:accent2>
    <a:accent3>
      <a:srgbClr val="009EE0"/>
    </a:accent3>
    <a:accent4>
      <a:srgbClr val="EBC666"/>
    </a:accent4>
    <a:accent5>
      <a:srgbClr val="D3C8BA"/>
    </a:accent5>
    <a:accent6>
      <a:srgbClr val="CF614D"/>
    </a:accent6>
    <a:hlink>
      <a:srgbClr val="009EE0"/>
    </a:hlink>
    <a:folHlink>
      <a:srgbClr val="001C4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8868</Words>
  <Application>Microsoft Office PowerPoint</Application>
  <PresentationFormat>On-screen Show (4:3)</PresentationFormat>
  <Paragraphs>2091</Paragraphs>
  <Slides>69</Slides>
  <Notes>10</Notes>
  <HiddenSlides>0</HiddenSlides>
  <MMClips>0</MMClips>
  <ScaleCrop>false</ScaleCrop>
  <HeadingPairs>
    <vt:vector size="4" baseType="variant">
      <vt:variant>
        <vt:lpstr>Theme</vt:lpstr>
      </vt:variant>
      <vt:variant>
        <vt:i4>2</vt:i4>
      </vt:variant>
      <vt:variant>
        <vt:lpstr>Slide Titles</vt:lpstr>
      </vt:variant>
      <vt:variant>
        <vt:i4>69</vt:i4>
      </vt:variant>
    </vt:vector>
  </HeadingPairs>
  <TitlesOfParts>
    <vt:vector size="71" baseType="lpstr">
      <vt:lpstr>Thème Office</vt:lpstr>
      <vt:lpstr>1_Thème Office</vt:lpstr>
      <vt:lpstr>Smart Beta  Investment Solutions</vt:lpstr>
      <vt:lpstr>A stronger firm, a greater reach</vt:lpstr>
      <vt:lpstr>A comprehensive range of investment strategies</vt:lpstr>
      <vt:lpstr>A client-centric service model</vt:lpstr>
      <vt:lpstr>Global geographic coverage, true client proximity</vt:lpstr>
      <vt:lpstr>Amundi ETF, Indexing &amp; Smart Beta platform</vt:lpstr>
      <vt:lpstr>Smart Beta &amp; Factor Investing at Amundi - Our philosophy</vt:lpstr>
      <vt:lpstr>Smart Beta &amp; Factor Investing at Amundi – Our solutions</vt:lpstr>
      <vt:lpstr>Smart Beta &amp; Factor Investing at Amundi - In a nutshell</vt:lpstr>
      <vt:lpstr>Smart Beta at Amundi - A dedicated set-up</vt:lpstr>
      <vt:lpstr>Risk-efficient solutions </vt:lpstr>
      <vt:lpstr>The Conservative Equities Range</vt:lpstr>
      <vt:lpstr>A risk-efficient approach that reduces drawdowns</vt:lpstr>
      <vt:lpstr>A risk-efficient approach that delivers return asymmetry </vt:lpstr>
      <vt:lpstr>A risk-efficient approach to get better risk-adjusted returns</vt:lpstr>
      <vt:lpstr>A risk-efficient approach to get better risk-adjusted returns</vt:lpstr>
      <vt:lpstr>A risk-efficient approach to deliver consistent performance</vt:lpstr>
      <vt:lpstr>A disciplined investment process to address a wide spectrum of risks</vt:lpstr>
      <vt:lpstr>A disciplined investment process to address a wide spectrum of risks</vt:lpstr>
      <vt:lpstr>Risk-efficient solutions</vt:lpstr>
      <vt:lpstr>A risk-efficient approach limiting drawdowns</vt:lpstr>
      <vt:lpstr>A risk-efficient approach to achieve a higher capital diversification</vt:lpstr>
      <vt:lpstr>A risk-efficient approach that delivers return asymmetry </vt:lpstr>
      <vt:lpstr>A risk-efficient approach to get better risk-adjusted returns</vt:lpstr>
      <vt:lpstr>A risk-efficient approach to get better risk-adjusted returns</vt:lpstr>
      <vt:lpstr>Risk Parity: allocate the same risk budget to each asset</vt:lpstr>
      <vt:lpstr>Amundi Risk Parity process</vt:lpstr>
      <vt:lpstr>Step 1: Equalizing risk contribution within sectors</vt:lpstr>
      <vt:lpstr>Step 2: Equalizing risk contribution between sectors </vt:lpstr>
      <vt:lpstr>Factor Investing</vt:lpstr>
      <vt:lpstr>Factor Theory: from CAPM to Factor investing</vt:lpstr>
      <vt:lpstr>Mapping of our selected risk factors</vt:lpstr>
      <vt:lpstr>Payoff of Amundi Value factor</vt:lpstr>
      <vt:lpstr>Payoff of Amundi Low volatility factor</vt:lpstr>
      <vt:lpstr>Factor performance are highly cyclical</vt:lpstr>
      <vt:lpstr>Factor Investing to harvest uncorrelated risk factors</vt:lpstr>
      <vt:lpstr>Multi-Factor Investing through a consistent index design</vt:lpstr>
      <vt:lpstr>Multi-Factor Investing to diversify across factors</vt:lpstr>
      <vt:lpstr>Portfolio snapshot – January 2018</vt:lpstr>
      <vt:lpstr>Factors construction matters: Value</vt:lpstr>
      <vt:lpstr>From theory to practice: a robust definition of factors</vt:lpstr>
      <vt:lpstr>Construction of our factor portfolios: example with Value North America</vt:lpstr>
      <vt:lpstr>Our factor allocation approach: a dynamic risk allocation</vt:lpstr>
      <vt:lpstr>Strategic allocation: Minimize expected drawdowns</vt:lpstr>
      <vt:lpstr>Strategic allocation - Minimize expected drawdowns</vt:lpstr>
      <vt:lpstr>Tactical allocation: adjust for Valuation pressure</vt:lpstr>
      <vt:lpstr>Tactical allocation: adjust for valuation pressure</vt:lpstr>
      <vt:lpstr>PowerPoint Presentation</vt:lpstr>
      <vt:lpstr>PowerPoint Presentation</vt:lpstr>
      <vt:lpstr>PowerPoint Presentation</vt:lpstr>
      <vt:lpstr>Map the smart beta stars</vt:lpstr>
      <vt:lpstr>A broad range to offer investors various benefits</vt:lpstr>
      <vt:lpstr>Appendix</vt:lpstr>
      <vt:lpstr>Smart Beta at Amundi: Product flagships</vt:lpstr>
      <vt:lpstr>Portfolio construction matters in Factor investing - Example with the Momentum factor </vt:lpstr>
      <vt:lpstr>Performance of Amundi Funds Equity  Europe Conservative</vt:lpstr>
      <vt:lpstr>Europe Conservative – Portfolio views</vt:lpstr>
      <vt:lpstr>Performance of Amundi Funds Equity  Global Conservative</vt:lpstr>
      <vt:lpstr>Global Conservative – Portfolio views</vt:lpstr>
      <vt:lpstr>Performance of Amundi Funds Equity  Emerging Conservative</vt:lpstr>
      <vt:lpstr>Euro Risk Parity: Performance</vt:lpstr>
      <vt:lpstr>Euro Risk Parity: Portfolio views</vt:lpstr>
      <vt:lpstr>Mono factor: Amundi ETF suite</vt:lpstr>
      <vt:lpstr>Multi Factor range: Amundi ETF &amp; Index funds</vt:lpstr>
      <vt:lpstr>Multi factor investing generates steady outperformance</vt:lpstr>
      <vt:lpstr>AMUNDI ETF  &amp; INDEXING FUNDS MAIN RISKS</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first line second line of title and other text, third line of title</dc:title>
  <dc:creator>Utilisateur de Microsoft Office</dc:creator>
  <cp:lastModifiedBy>benryane</cp:lastModifiedBy>
  <cp:revision>299</cp:revision>
  <cp:lastPrinted>2017-09-11T12:08:41Z</cp:lastPrinted>
  <dcterms:created xsi:type="dcterms:W3CDTF">2017-06-20T10:19:43Z</dcterms:created>
  <dcterms:modified xsi:type="dcterms:W3CDTF">2018-03-06T17:1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86798056</vt:i4>
  </property>
  <property fmtid="{D5CDD505-2E9C-101B-9397-08002B2CF9AE}" pid="3" name="_NewReviewCycle">
    <vt:lpwstr/>
  </property>
  <property fmtid="{D5CDD505-2E9C-101B-9397-08002B2CF9AE}" pid="4" name="_EmailSubject">
    <vt:lpwstr>Presentation Smart Beta Global/ DFA</vt:lpwstr>
  </property>
  <property fmtid="{D5CDD505-2E9C-101B-9397-08002B2CF9AE}" pid="5" name="_AuthorEmail">
    <vt:lpwstr>emmanuel.auger@amundi.com</vt:lpwstr>
  </property>
  <property fmtid="{D5CDD505-2E9C-101B-9397-08002B2CF9AE}" pid="6" name="_AuthorEmailDisplayName">
    <vt:lpwstr>Auger Emmanuel (AMUNDI)</vt:lpwstr>
  </property>
  <property fmtid="{D5CDD505-2E9C-101B-9397-08002B2CF9AE}" pid="7" name="_PreviousAdHocReviewCycleID">
    <vt:i4>51391696</vt:i4>
  </property>
</Properties>
</file>